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media/image37.svg" ContentType="image/svg+xml"/>
  <Override PartName="/ppt/media/image39.svg" ContentType="image/svg+xml"/>
  <Override PartName="/ppt/media/image4.svg" ContentType="image/svg+xml"/>
  <Override PartName="/ppt/media/image45.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30"/>
  </p:notesMasterIdLst>
  <p:handoutMasterIdLst>
    <p:handoutMasterId r:id="rId31"/>
  </p:handoutMasterIdLst>
  <p:sldIdLst>
    <p:sldId id="377" r:id="rId3"/>
    <p:sldId id="375" r:id="rId4"/>
    <p:sldId id="402" r:id="rId5"/>
    <p:sldId id="403" r:id="rId6"/>
    <p:sldId id="404" r:id="rId7"/>
    <p:sldId id="405" r:id="rId8"/>
    <p:sldId id="406" r:id="rId9"/>
    <p:sldId id="407" r:id="rId10"/>
    <p:sldId id="270" r:id="rId11"/>
    <p:sldId id="389" r:id="rId12"/>
    <p:sldId id="374" r:id="rId13"/>
    <p:sldId id="382" r:id="rId14"/>
    <p:sldId id="383" r:id="rId15"/>
    <p:sldId id="384" r:id="rId16"/>
    <p:sldId id="385" r:id="rId17"/>
    <p:sldId id="390" r:id="rId18"/>
    <p:sldId id="396" r:id="rId19"/>
    <p:sldId id="398" r:id="rId20"/>
    <p:sldId id="400" r:id="rId21"/>
    <p:sldId id="399" r:id="rId22"/>
    <p:sldId id="401" r:id="rId23"/>
    <p:sldId id="411" r:id="rId24"/>
    <p:sldId id="426" r:id="rId25"/>
    <p:sldId id="408" r:id="rId26"/>
    <p:sldId id="410" r:id="rId27"/>
    <p:sldId id="409" r:id="rId28"/>
    <p:sldId id="261" r:id="rId29"/>
  </p:sldIdLst>
  <p:sldSz cx="12192000" cy="6858000"/>
  <p:notesSz cx="6858000" cy="9144000"/>
  <p:custDataLst>
    <p:tags r:id="rId36"/>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a Vida Villanueva" initials="MVV" lastIdx="1" clrIdx="0"/>
  <p:cmAuthor id="7" name="1206988966@qq.com" initials="1" lastIdx="1" clrIdx="2"/>
  <p:cmAuthor id="1" name="杨 伟洲" initials="杨" lastIdx="1" clrIdx="0"/>
  <p:cmAuthor id="8" name="姜伟光" initials="姜" lastIdx="1" clrIdx="0"/>
  <p:cmAuthor id="2" name="Fish Zheng" initials="FZ" lastIdx="1" clrIdx="1"/>
  <p:cmAuthor id="3" name="Author" initials="A" lastIdx="0" clrIdx="3"/>
  <p:cmAuthor id="4" name="Administrator" initials="A" lastIdx="4" clrIdx="3"/>
  <p:cmAuthor id="5" name="宋洁然" initials="宋" lastIdx="2" clrIdx="1"/>
  <p:cmAuthor id="6" name="ming qiu" initials="m" lastIdx="1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632"/>
    <a:srgbClr val="56E395"/>
    <a:srgbClr val="2059F4"/>
    <a:srgbClr val="003AA5"/>
    <a:srgbClr val="0066F1"/>
    <a:srgbClr val="E4EBFE"/>
    <a:srgbClr val="7D95EB"/>
    <a:srgbClr val="B7AAEC"/>
    <a:srgbClr val="40DCB3"/>
    <a:srgbClr val="978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varScale="1">
        <p:scale>
          <a:sx n="88" d="100"/>
          <a:sy n="88" d="100"/>
        </p:scale>
        <p:origin x="388" y="52"/>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6" Type="http://schemas.openxmlformats.org/officeDocument/2006/relationships/tags" Target="tags/tag642.xml"/><Relationship Id="rId35" Type="http://schemas.openxmlformats.org/officeDocument/2006/relationships/commentAuthors" Target="commentAuthors.xml"/><Relationship Id="rId34" Type="http://schemas.openxmlformats.org/officeDocument/2006/relationships/tableStyles" Target="tableStyles.xml"/><Relationship Id="rId33" Type="http://schemas.openxmlformats.org/officeDocument/2006/relationships/viewProps" Target="viewProps.xml"/><Relationship Id="rId32" Type="http://schemas.openxmlformats.org/officeDocument/2006/relationships/presProps" Target="presProps.xml"/><Relationship Id="rId31" Type="http://schemas.openxmlformats.org/officeDocument/2006/relationships/handoutMaster" Target="handoutMasters/handoutMaster1.xml"/><Relationship Id="rId30" Type="http://schemas.openxmlformats.org/officeDocument/2006/relationships/notesMaster" Target="notesMasters/notesMaster1.xml"/><Relationship Id="rId3" Type="http://schemas.openxmlformats.org/officeDocument/2006/relationships/slide" Target="slides/slide1.xml"/><Relationship Id="rId29" Type="http://schemas.openxmlformats.org/officeDocument/2006/relationships/slide" Target="slides/slide27.xml"/><Relationship Id="rId28" Type="http://schemas.openxmlformats.org/officeDocument/2006/relationships/slide" Target="slides/slide26.xml"/><Relationship Id="rId27" Type="http://schemas.openxmlformats.org/officeDocument/2006/relationships/slide" Target="slides/slide25.xml"/><Relationship Id="rId26" Type="http://schemas.openxmlformats.org/officeDocument/2006/relationships/slide" Target="slides/slide24.xml"/><Relationship Id="rId25" Type="http://schemas.openxmlformats.org/officeDocument/2006/relationships/slide" Target="slides/slide23.xml"/><Relationship Id="rId24" Type="http://schemas.openxmlformats.org/officeDocument/2006/relationships/slide" Target="slides/slide22.xml"/><Relationship Id="rId23" Type="http://schemas.openxmlformats.org/officeDocument/2006/relationships/slide" Target="slides/slide2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userDrawn="1">
  <p:cSld name="标题幻灯片">
    <p:bg>
      <p:bgPr>
        <a:solidFill>
          <a:schemeClr val="accent3"/>
        </a:solidFill>
        <a:effectLst/>
      </p:bgPr>
    </p:bg>
    <p:spTree>
      <p:nvGrpSpPr>
        <p:cNvPr id="1" name=""/>
        <p:cNvGrpSpPr/>
        <p:nvPr/>
      </p:nvGrpSpPr>
      <p:grpSpPr>
        <a:xfrm>
          <a:off x="0" y="0"/>
          <a:ext cx="0" cy="0"/>
          <a:chOff x="0" y="0"/>
          <a:chExt cx="0" cy="0"/>
        </a:xfrm>
      </p:grpSpPr>
      <p:sp>
        <p:nvSpPr>
          <p:cNvPr id="245" name="箭头: 五边形 244"/>
          <p:cNvSpPr/>
          <p:nvPr userDrawn="1"/>
        </p:nvSpPr>
        <p:spPr>
          <a:xfrm>
            <a:off x="0" y="5577894"/>
            <a:ext cx="6388101" cy="319660"/>
          </a:xfrm>
          <a:prstGeom prst="homePlate">
            <a:avLst/>
          </a:prstGeom>
          <a:solidFill>
            <a:srgbClr val="1D7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2"/>
          <p:cNvSpPr>
            <a:spLocks noGrp="1"/>
          </p:cNvSpPr>
          <p:nvPr userDrawn="1">
            <p:ph type="subTitle" idx="1"/>
          </p:nvPr>
        </p:nvSpPr>
        <p:spPr>
          <a:xfrm>
            <a:off x="6816562" y="4402056"/>
            <a:ext cx="4702336" cy="558799"/>
          </a:xfrm>
        </p:spPr>
        <p:txBody>
          <a:bodyPr anchor="t">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US" dirty="0"/>
          </a:p>
        </p:txBody>
      </p:sp>
      <p:sp>
        <p:nvSpPr>
          <p:cNvPr id="9802" name="标题 1"/>
          <p:cNvSpPr>
            <a:spLocks noGrp="1"/>
          </p:cNvSpPr>
          <p:nvPr userDrawn="1">
            <p:ph type="ctrTitle"/>
          </p:nvPr>
        </p:nvSpPr>
        <p:spPr>
          <a:xfrm>
            <a:off x="6816562" y="1012939"/>
            <a:ext cx="4702336" cy="3092846"/>
          </a:xfrm>
        </p:spPr>
        <p:txBody>
          <a:bodyPr anchor="b">
            <a:normAutofit/>
          </a:bodyPr>
          <a:lstStyle>
            <a:lvl1pPr algn="l">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816562" y="5252520"/>
            <a:ext cx="4702336" cy="296271"/>
          </a:xfrm>
        </p:spPr>
        <p:txBody>
          <a:bodyPr vert="horz" anchor="ctr">
            <a:noAutofit/>
          </a:bodyPr>
          <a:lstStyle>
            <a:lvl1pPr marL="0" indent="0" algn="l">
              <a:buNone/>
              <a:defRPr sz="14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
        <p:nvSpPr>
          <p:cNvPr id="13" name="文本占位符 13"/>
          <p:cNvSpPr>
            <a:spLocks noGrp="1"/>
          </p:cNvSpPr>
          <p:nvPr userDrawn="1">
            <p:ph type="body" sz="quarter" idx="11" hasCustomPrompt="1"/>
          </p:nvPr>
        </p:nvSpPr>
        <p:spPr>
          <a:xfrm>
            <a:off x="6816562" y="5548791"/>
            <a:ext cx="4702336" cy="296271"/>
          </a:xfrm>
        </p:spPr>
        <p:txBody>
          <a:bodyPr vert="horz" anchor="ctr">
            <a:noAutofit/>
          </a:bodyPr>
          <a:lstStyle>
            <a:lvl1pPr marL="0" indent="0" algn="l">
              <a:buNone/>
              <a:defRPr sz="14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grpSp>
        <p:nvGrpSpPr>
          <p:cNvPr id="10257" name="组合 10256"/>
          <p:cNvGrpSpPr/>
          <p:nvPr userDrawn="1"/>
        </p:nvGrpSpPr>
        <p:grpSpPr>
          <a:xfrm>
            <a:off x="825543" y="1192839"/>
            <a:ext cx="4858480" cy="4704715"/>
            <a:chOff x="1116573" y="751970"/>
            <a:chExt cx="5533732" cy="5358596"/>
          </a:xfrm>
        </p:grpSpPr>
        <p:sp>
          <p:nvSpPr>
            <p:cNvPr id="10019" name="任意多边形: 形状 10018"/>
            <p:cNvSpPr/>
            <p:nvPr/>
          </p:nvSpPr>
          <p:spPr>
            <a:xfrm>
              <a:off x="1162292" y="3086990"/>
              <a:ext cx="5429838" cy="3023576"/>
            </a:xfrm>
            <a:custGeom>
              <a:avLst/>
              <a:gdLst>
                <a:gd name="connsiteX0" fmla="*/ 3506069 w 5429838"/>
                <a:gd name="connsiteY0" fmla="*/ 260121 h 3023575"/>
                <a:gd name="connsiteX1" fmla="*/ 432100 w 5429838"/>
                <a:gd name="connsiteY1" fmla="*/ 415080 h 3023575"/>
                <a:gd name="connsiteX2" fmla="*/ 1867039 w 5429838"/>
                <a:gd name="connsiteY2" fmla="*/ 3019135 h 3023575"/>
                <a:gd name="connsiteX3" fmla="*/ 4060391 w 5429838"/>
                <a:gd name="connsiteY3" fmla="*/ 2221667 h 3023575"/>
                <a:gd name="connsiteX4" fmla="*/ 5432338 w 5429838"/>
                <a:gd name="connsiteY4" fmla="*/ 1314594 h 3023575"/>
                <a:gd name="connsiteX5" fmla="*/ 3506069 w 5429838"/>
                <a:gd name="connsiteY5" fmla="*/ 260121 h 302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9838" h="3023575">
                  <a:moveTo>
                    <a:pt x="3506069" y="260121"/>
                  </a:moveTo>
                  <a:cubicBezTo>
                    <a:pt x="2314276" y="567518"/>
                    <a:pt x="1494131" y="-580181"/>
                    <a:pt x="432100" y="415080"/>
                  </a:cubicBezTo>
                  <a:cubicBezTo>
                    <a:pt x="-629931" y="1410340"/>
                    <a:pt x="425801" y="3127479"/>
                    <a:pt x="1867039" y="3019135"/>
                  </a:cubicBezTo>
                  <a:cubicBezTo>
                    <a:pt x="2934109" y="2939766"/>
                    <a:pt x="2992061" y="2259461"/>
                    <a:pt x="4060391" y="2221667"/>
                  </a:cubicBezTo>
                  <a:cubicBezTo>
                    <a:pt x="5066990" y="2186391"/>
                    <a:pt x="5380686" y="1793327"/>
                    <a:pt x="5432338" y="1314594"/>
                  </a:cubicBezTo>
                  <a:cubicBezTo>
                    <a:pt x="5516747" y="528464"/>
                    <a:pt x="4697861" y="-47275"/>
                    <a:pt x="3506069" y="260121"/>
                  </a:cubicBezTo>
                  <a:close/>
                </a:path>
              </a:pathLst>
            </a:custGeom>
            <a:solidFill>
              <a:srgbClr val="0066F1"/>
            </a:solidFill>
            <a:ln w="12584" cap="flat">
              <a:noFill/>
              <a:prstDash val="solid"/>
              <a:miter/>
            </a:ln>
          </p:spPr>
          <p:txBody>
            <a:bodyPr rtlCol="0" anchor="ctr"/>
            <a:lstStyle/>
            <a:p>
              <a:endParaRPr lang="zh-CN" altLang="en-US"/>
            </a:p>
          </p:txBody>
        </p:sp>
        <p:sp>
          <p:nvSpPr>
            <p:cNvPr id="10020" name="任意多边形: 形状 10019"/>
            <p:cNvSpPr/>
            <p:nvPr/>
          </p:nvSpPr>
          <p:spPr>
            <a:xfrm>
              <a:off x="1187469" y="4725358"/>
              <a:ext cx="5316454" cy="1373207"/>
            </a:xfrm>
            <a:custGeom>
              <a:avLst/>
              <a:gdLst>
                <a:gd name="connsiteX0" fmla="*/ 0 w 5316454"/>
                <a:gd name="connsiteY0" fmla="*/ 0 h 1373207"/>
                <a:gd name="connsiteX1" fmla="*/ 1841862 w 5316454"/>
                <a:gd name="connsiteY1" fmla="*/ 1380766 h 1373207"/>
                <a:gd name="connsiteX2" fmla="*/ 4035214 w 5316454"/>
                <a:gd name="connsiteY2" fmla="*/ 583298 h 1373207"/>
                <a:gd name="connsiteX3" fmla="*/ 5320234 w 5316454"/>
                <a:gd name="connsiteY3" fmla="*/ 0 h 1373207"/>
                <a:gd name="connsiteX4" fmla="*/ 0 w 5316454"/>
                <a:gd name="connsiteY4" fmla="*/ 0 h 1373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6454" h="1373207">
                  <a:moveTo>
                    <a:pt x="0" y="0"/>
                  </a:moveTo>
                  <a:cubicBezTo>
                    <a:pt x="146140" y="763453"/>
                    <a:pt x="914632" y="1450057"/>
                    <a:pt x="1841862" y="1380766"/>
                  </a:cubicBezTo>
                  <a:cubicBezTo>
                    <a:pt x="2908932" y="1301398"/>
                    <a:pt x="2966884" y="621093"/>
                    <a:pt x="4035214" y="583298"/>
                  </a:cubicBezTo>
                  <a:cubicBezTo>
                    <a:pt x="4802446" y="556842"/>
                    <a:pt x="5167795" y="321255"/>
                    <a:pt x="5320234" y="0"/>
                  </a:cubicBezTo>
                  <a:lnTo>
                    <a:pt x="0" y="0"/>
                  </a:lnTo>
                  <a:close/>
                </a:path>
              </a:pathLst>
            </a:custGeom>
            <a:solidFill>
              <a:srgbClr val="0524C1"/>
            </a:solidFill>
            <a:ln w="12584" cap="flat">
              <a:noFill/>
              <a:prstDash val="solid"/>
              <a:miter/>
            </a:ln>
          </p:spPr>
          <p:txBody>
            <a:bodyPr rtlCol="0" anchor="ctr"/>
            <a:lstStyle/>
            <a:p>
              <a:endParaRPr lang="zh-CN" altLang="en-US"/>
            </a:p>
          </p:txBody>
        </p:sp>
        <p:sp>
          <p:nvSpPr>
            <p:cNvPr id="10021" name="任意多边形: 形状 10020"/>
            <p:cNvSpPr/>
            <p:nvPr/>
          </p:nvSpPr>
          <p:spPr>
            <a:xfrm>
              <a:off x="1450772" y="5117672"/>
              <a:ext cx="2796808" cy="982662"/>
            </a:xfrm>
            <a:custGeom>
              <a:avLst/>
              <a:gdLst>
                <a:gd name="connsiteX0" fmla="*/ 2347051 w 2796807"/>
                <a:gd name="connsiteY0" fmla="*/ 8309 h 982662"/>
                <a:gd name="connsiteX1" fmla="*/ 1162817 w 2796807"/>
                <a:gd name="connsiteY1" fmla="*/ 46104 h 982662"/>
                <a:gd name="connsiteX2" fmla="*/ 312436 w 2796807"/>
                <a:gd name="connsiteY2" fmla="*/ 33506 h 982662"/>
                <a:gd name="connsiteX3" fmla="*/ 0 w 2796807"/>
                <a:gd name="connsiteY3" fmla="*/ 221219 h 982662"/>
                <a:gd name="connsiteX4" fmla="*/ 1578559 w 2796807"/>
                <a:gd name="connsiteY4" fmla="*/ 988452 h 982662"/>
                <a:gd name="connsiteX5" fmla="*/ 1657928 w 2796807"/>
                <a:gd name="connsiteY5" fmla="*/ 980893 h 982662"/>
                <a:gd name="connsiteX6" fmla="*/ 2798068 w 2796807"/>
                <a:gd name="connsiteY6" fmla="*/ 23427 h 982662"/>
                <a:gd name="connsiteX7" fmla="*/ 2347051 w 2796807"/>
                <a:gd name="connsiteY7" fmla="*/ 8309 h 98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6807" h="982662">
                  <a:moveTo>
                    <a:pt x="2347051" y="8309"/>
                  </a:moveTo>
                  <a:cubicBezTo>
                    <a:pt x="1956506" y="-16887"/>
                    <a:pt x="1553362" y="20908"/>
                    <a:pt x="1162817" y="46104"/>
                  </a:cubicBezTo>
                  <a:cubicBezTo>
                    <a:pt x="876837" y="57442"/>
                    <a:pt x="594637" y="44844"/>
                    <a:pt x="312436" y="33506"/>
                  </a:cubicBezTo>
                  <a:cubicBezTo>
                    <a:pt x="207871" y="96497"/>
                    <a:pt x="102046" y="156968"/>
                    <a:pt x="0" y="221219"/>
                  </a:cubicBezTo>
                  <a:cubicBezTo>
                    <a:pt x="330074" y="698692"/>
                    <a:pt x="913372" y="1037585"/>
                    <a:pt x="1578559" y="988452"/>
                  </a:cubicBezTo>
                  <a:cubicBezTo>
                    <a:pt x="1605015" y="985932"/>
                    <a:pt x="1631471" y="983413"/>
                    <a:pt x="1657928" y="980893"/>
                  </a:cubicBezTo>
                  <a:cubicBezTo>
                    <a:pt x="2056032" y="681055"/>
                    <a:pt x="2444057" y="372398"/>
                    <a:pt x="2798068" y="23427"/>
                  </a:cubicBezTo>
                  <a:cubicBezTo>
                    <a:pt x="2648149" y="10829"/>
                    <a:pt x="2493190" y="18388"/>
                    <a:pt x="2347051" y="8309"/>
                  </a:cubicBezTo>
                  <a:close/>
                </a:path>
              </a:pathLst>
            </a:custGeom>
            <a:solidFill>
              <a:srgbClr val="001B66"/>
            </a:solidFill>
            <a:ln w="12584" cap="flat">
              <a:noFill/>
              <a:prstDash val="solid"/>
              <a:miter/>
            </a:ln>
          </p:spPr>
          <p:txBody>
            <a:bodyPr rtlCol="0" anchor="ctr"/>
            <a:lstStyle/>
            <a:p>
              <a:endParaRPr lang="zh-CN" altLang="en-US"/>
            </a:p>
          </p:txBody>
        </p:sp>
        <p:sp>
          <p:nvSpPr>
            <p:cNvPr id="10022" name="任意多边形: 形状 10021"/>
            <p:cNvSpPr/>
            <p:nvPr/>
          </p:nvSpPr>
          <p:spPr>
            <a:xfrm>
              <a:off x="1448253" y="1063051"/>
              <a:ext cx="4862918" cy="3351130"/>
            </a:xfrm>
            <a:custGeom>
              <a:avLst/>
              <a:gdLst>
                <a:gd name="connsiteX0" fmla="*/ 0 w 4862917"/>
                <a:gd name="connsiteY0" fmla="*/ 0 h 3351129"/>
                <a:gd name="connsiteX1" fmla="*/ 4870477 w 4862917"/>
                <a:gd name="connsiteY1" fmla="*/ 0 h 3351129"/>
                <a:gd name="connsiteX2" fmla="*/ 4870477 w 4862917"/>
                <a:gd name="connsiteY2" fmla="*/ 3351130 h 3351129"/>
                <a:gd name="connsiteX3" fmla="*/ 0 w 4862917"/>
                <a:gd name="connsiteY3" fmla="*/ 3351130 h 3351129"/>
              </a:gdLst>
              <a:ahLst/>
              <a:cxnLst>
                <a:cxn ang="0">
                  <a:pos x="connsiteX0" y="connsiteY0"/>
                </a:cxn>
                <a:cxn ang="0">
                  <a:pos x="connsiteX1" y="connsiteY1"/>
                </a:cxn>
                <a:cxn ang="0">
                  <a:pos x="connsiteX2" y="connsiteY2"/>
                </a:cxn>
                <a:cxn ang="0">
                  <a:pos x="connsiteX3" y="connsiteY3"/>
                </a:cxn>
              </a:cxnLst>
              <a:rect l="l" t="t" r="r" b="b"/>
              <a:pathLst>
                <a:path w="4862917" h="3351129">
                  <a:moveTo>
                    <a:pt x="0" y="0"/>
                  </a:moveTo>
                  <a:lnTo>
                    <a:pt x="4870477" y="0"/>
                  </a:lnTo>
                  <a:lnTo>
                    <a:pt x="4870477" y="3351130"/>
                  </a:lnTo>
                  <a:lnTo>
                    <a:pt x="0" y="3351130"/>
                  </a:lnTo>
                  <a:close/>
                </a:path>
              </a:pathLst>
            </a:custGeom>
            <a:solidFill>
              <a:srgbClr val="FFD671"/>
            </a:solidFill>
            <a:ln w="12584" cap="flat">
              <a:noFill/>
              <a:prstDash val="solid"/>
              <a:miter/>
            </a:ln>
          </p:spPr>
          <p:txBody>
            <a:bodyPr rtlCol="0" anchor="ctr"/>
            <a:lstStyle/>
            <a:p>
              <a:endParaRPr lang="zh-CN" altLang="en-US"/>
            </a:p>
          </p:txBody>
        </p:sp>
        <p:sp>
          <p:nvSpPr>
            <p:cNvPr id="10023" name="任意多边形: 形状 10022"/>
            <p:cNvSpPr/>
            <p:nvPr/>
          </p:nvSpPr>
          <p:spPr>
            <a:xfrm>
              <a:off x="1448253" y="1063051"/>
              <a:ext cx="4862918" cy="3351130"/>
            </a:xfrm>
            <a:custGeom>
              <a:avLst/>
              <a:gdLst>
                <a:gd name="connsiteX0" fmla="*/ 4870477 w 4862917"/>
                <a:gd name="connsiteY0" fmla="*/ 3351130 h 3351129"/>
                <a:gd name="connsiteX1" fmla="*/ 0 w 4862917"/>
                <a:gd name="connsiteY1" fmla="*/ 3351130 h 3351129"/>
                <a:gd name="connsiteX2" fmla="*/ 0 w 4862917"/>
                <a:gd name="connsiteY2" fmla="*/ 0 h 3351129"/>
                <a:gd name="connsiteX3" fmla="*/ 89447 w 4862917"/>
                <a:gd name="connsiteY3" fmla="*/ 89447 h 3351129"/>
                <a:gd name="connsiteX4" fmla="*/ 4781029 w 4862917"/>
                <a:gd name="connsiteY4" fmla="*/ 3261683 h 3351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2917" h="3351129">
                  <a:moveTo>
                    <a:pt x="4870477" y="3351130"/>
                  </a:moveTo>
                  <a:lnTo>
                    <a:pt x="0" y="3351130"/>
                  </a:lnTo>
                  <a:lnTo>
                    <a:pt x="0" y="0"/>
                  </a:lnTo>
                  <a:lnTo>
                    <a:pt x="89447" y="89447"/>
                  </a:lnTo>
                  <a:lnTo>
                    <a:pt x="4781029" y="3261683"/>
                  </a:lnTo>
                  <a:close/>
                </a:path>
              </a:pathLst>
            </a:custGeom>
            <a:solidFill>
              <a:srgbClr val="F4BA4B"/>
            </a:solidFill>
            <a:ln w="12584" cap="flat">
              <a:noFill/>
              <a:prstDash val="solid"/>
              <a:miter/>
            </a:ln>
          </p:spPr>
          <p:txBody>
            <a:bodyPr rtlCol="0" anchor="ctr"/>
            <a:lstStyle/>
            <a:p>
              <a:endParaRPr lang="zh-CN" altLang="en-US"/>
            </a:p>
          </p:txBody>
        </p:sp>
        <p:sp>
          <p:nvSpPr>
            <p:cNvPr id="10024" name="任意多边形: 形状 10023"/>
            <p:cNvSpPr/>
            <p:nvPr/>
          </p:nvSpPr>
          <p:spPr>
            <a:xfrm>
              <a:off x="1537822" y="1152597"/>
              <a:ext cx="4686542" cy="3162156"/>
            </a:xfrm>
            <a:custGeom>
              <a:avLst/>
              <a:gdLst>
                <a:gd name="connsiteX0" fmla="*/ 4691582 w 4686542"/>
                <a:gd name="connsiteY0" fmla="*/ 0 h 3162156"/>
                <a:gd name="connsiteX1" fmla="*/ 4691582 w 4686542"/>
                <a:gd name="connsiteY1" fmla="*/ 3172235 h 3162156"/>
                <a:gd name="connsiteX2" fmla="*/ 0 w 4686542"/>
                <a:gd name="connsiteY2" fmla="*/ 3172235 h 3162156"/>
                <a:gd name="connsiteX3" fmla="*/ 0 w 4686542"/>
                <a:gd name="connsiteY3" fmla="*/ 0 h 3162156"/>
              </a:gdLst>
              <a:ahLst/>
              <a:cxnLst>
                <a:cxn ang="0">
                  <a:pos x="connsiteX0" y="connsiteY0"/>
                </a:cxn>
                <a:cxn ang="0">
                  <a:pos x="connsiteX1" y="connsiteY1"/>
                </a:cxn>
                <a:cxn ang="0">
                  <a:pos x="connsiteX2" y="connsiteY2"/>
                </a:cxn>
                <a:cxn ang="0">
                  <a:pos x="connsiteX3" y="connsiteY3"/>
                </a:cxn>
              </a:cxnLst>
              <a:rect l="l" t="t" r="r" b="b"/>
              <a:pathLst>
                <a:path w="4686542" h="3162156">
                  <a:moveTo>
                    <a:pt x="4691582" y="0"/>
                  </a:moveTo>
                  <a:lnTo>
                    <a:pt x="4691582" y="3172235"/>
                  </a:lnTo>
                  <a:lnTo>
                    <a:pt x="0" y="3172235"/>
                  </a:lnTo>
                  <a:lnTo>
                    <a:pt x="0" y="0"/>
                  </a:lnTo>
                  <a:close/>
                </a:path>
              </a:pathLst>
            </a:custGeom>
            <a:solidFill>
              <a:srgbClr val="DAE8F3"/>
            </a:solidFill>
            <a:ln w="12584" cap="flat">
              <a:noFill/>
              <a:prstDash val="solid"/>
              <a:miter/>
            </a:ln>
          </p:spPr>
          <p:txBody>
            <a:bodyPr rtlCol="0" anchor="ctr"/>
            <a:lstStyle/>
            <a:p>
              <a:endParaRPr lang="zh-CN" altLang="en-US"/>
            </a:p>
          </p:txBody>
        </p:sp>
        <p:sp>
          <p:nvSpPr>
            <p:cNvPr id="10025" name="任意多边形: 形状 10024"/>
            <p:cNvSpPr/>
            <p:nvPr/>
          </p:nvSpPr>
          <p:spPr>
            <a:xfrm>
              <a:off x="1537700" y="1152499"/>
              <a:ext cx="4573158" cy="3048773"/>
            </a:xfrm>
            <a:custGeom>
              <a:avLst/>
              <a:gdLst>
                <a:gd name="connsiteX0" fmla="*/ 0 w 4573158"/>
                <a:gd name="connsiteY0" fmla="*/ 3050032 h 3048772"/>
                <a:gd name="connsiteX1" fmla="*/ 0 w 4573158"/>
                <a:gd name="connsiteY1" fmla="*/ 0 h 3048772"/>
                <a:gd name="connsiteX2" fmla="*/ 4581977 w 4573158"/>
                <a:gd name="connsiteY2" fmla="*/ 0 h 3048772"/>
                <a:gd name="connsiteX3" fmla="*/ 4581977 w 4573158"/>
                <a:gd name="connsiteY3" fmla="*/ 2874917 h 3048772"/>
                <a:gd name="connsiteX4" fmla="*/ 4406862 w 4573158"/>
                <a:gd name="connsiteY4" fmla="*/ 3050032 h 3048772"/>
                <a:gd name="connsiteX5" fmla="*/ 0 w 4573158"/>
                <a:gd name="connsiteY5" fmla="*/ 3050032 h 30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3158" h="3048772">
                  <a:moveTo>
                    <a:pt x="0" y="3050032"/>
                  </a:moveTo>
                  <a:lnTo>
                    <a:pt x="0" y="0"/>
                  </a:lnTo>
                  <a:lnTo>
                    <a:pt x="4581977" y="0"/>
                  </a:lnTo>
                  <a:lnTo>
                    <a:pt x="4581977" y="2874917"/>
                  </a:lnTo>
                  <a:cubicBezTo>
                    <a:pt x="4581977" y="2971923"/>
                    <a:pt x="4503868" y="3050032"/>
                    <a:pt x="4406862" y="3050032"/>
                  </a:cubicBezTo>
                  <a:lnTo>
                    <a:pt x="0" y="3050032"/>
                  </a:lnTo>
                  <a:close/>
                </a:path>
              </a:pathLst>
            </a:custGeom>
            <a:solidFill>
              <a:srgbClr val="FFFFFF"/>
            </a:solidFill>
            <a:ln w="12584" cap="flat">
              <a:noFill/>
              <a:prstDash val="solid"/>
              <a:miter/>
            </a:ln>
          </p:spPr>
          <p:txBody>
            <a:bodyPr rtlCol="0" anchor="ctr"/>
            <a:lstStyle/>
            <a:p>
              <a:endParaRPr lang="zh-CN" altLang="en-US"/>
            </a:p>
          </p:txBody>
        </p:sp>
        <p:sp>
          <p:nvSpPr>
            <p:cNvPr id="10026" name="任意多边形: 形状 10025"/>
            <p:cNvSpPr/>
            <p:nvPr/>
          </p:nvSpPr>
          <p:spPr>
            <a:xfrm>
              <a:off x="4090102" y="2688223"/>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0027" name="任意多边形: 形状 10026"/>
            <p:cNvSpPr/>
            <p:nvPr/>
          </p:nvSpPr>
          <p:spPr>
            <a:xfrm>
              <a:off x="4090102" y="2826804"/>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0028" name="任意多边形: 形状 10027"/>
            <p:cNvSpPr/>
            <p:nvPr/>
          </p:nvSpPr>
          <p:spPr>
            <a:xfrm>
              <a:off x="4090102" y="2966644"/>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511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0029" name="任意多边形: 形状 10028"/>
            <p:cNvSpPr/>
            <p:nvPr/>
          </p:nvSpPr>
          <p:spPr>
            <a:xfrm>
              <a:off x="4090102" y="3105225"/>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511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0030" name="任意多边形: 形状 10029"/>
            <p:cNvSpPr/>
            <p:nvPr/>
          </p:nvSpPr>
          <p:spPr>
            <a:xfrm>
              <a:off x="4090102" y="3243806"/>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3780"/>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0031" name="任意多边形: 形状 10030"/>
            <p:cNvSpPr/>
            <p:nvPr/>
          </p:nvSpPr>
          <p:spPr>
            <a:xfrm>
              <a:off x="4090102" y="3382386"/>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0032" name="任意多边形: 形状 10031"/>
            <p:cNvSpPr/>
            <p:nvPr/>
          </p:nvSpPr>
          <p:spPr>
            <a:xfrm>
              <a:off x="4090102" y="3522226"/>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511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0033" name="任意多边形: 形状 10032"/>
            <p:cNvSpPr/>
            <p:nvPr/>
          </p:nvSpPr>
          <p:spPr>
            <a:xfrm>
              <a:off x="4585212" y="1516588"/>
              <a:ext cx="1159037" cy="919671"/>
            </a:xfrm>
            <a:custGeom>
              <a:avLst/>
              <a:gdLst>
                <a:gd name="connsiteX0" fmla="*/ 1088488 w 1159037"/>
                <a:gd name="connsiteY0" fmla="*/ 924710 h 919671"/>
                <a:gd name="connsiteX1" fmla="*/ 75589 w 1159037"/>
                <a:gd name="connsiteY1" fmla="*/ 924710 h 919671"/>
                <a:gd name="connsiteX2" fmla="*/ 0 w 1159037"/>
                <a:gd name="connsiteY2" fmla="*/ 849121 h 919671"/>
                <a:gd name="connsiteX3" fmla="*/ 0 w 1159037"/>
                <a:gd name="connsiteY3" fmla="*/ 75589 h 919671"/>
                <a:gd name="connsiteX4" fmla="*/ 75589 w 1159037"/>
                <a:gd name="connsiteY4" fmla="*/ 0 h 919671"/>
                <a:gd name="connsiteX5" fmla="*/ 1088488 w 1159037"/>
                <a:gd name="connsiteY5" fmla="*/ 0 h 919671"/>
                <a:gd name="connsiteX6" fmla="*/ 1164077 w 1159037"/>
                <a:gd name="connsiteY6" fmla="*/ 75589 h 919671"/>
                <a:gd name="connsiteX7" fmla="*/ 1164077 w 1159037"/>
                <a:gd name="connsiteY7" fmla="*/ 849121 h 919671"/>
                <a:gd name="connsiteX8" fmla="*/ 1088488 w 1159037"/>
                <a:gd name="connsiteY8" fmla="*/ 924710 h 919671"/>
                <a:gd name="connsiteX9" fmla="*/ 74330 w 1159037"/>
                <a:gd name="connsiteY9" fmla="*/ 18897 h 919671"/>
                <a:gd name="connsiteX10" fmla="*/ 17638 w 1159037"/>
                <a:gd name="connsiteY10" fmla="*/ 75589 h 919671"/>
                <a:gd name="connsiteX11" fmla="*/ 17638 w 1159037"/>
                <a:gd name="connsiteY11" fmla="*/ 849121 h 919671"/>
                <a:gd name="connsiteX12" fmla="*/ 74330 w 1159037"/>
                <a:gd name="connsiteY12" fmla="*/ 905813 h 919671"/>
                <a:gd name="connsiteX13" fmla="*/ 1087228 w 1159037"/>
                <a:gd name="connsiteY13" fmla="*/ 905813 h 919671"/>
                <a:gd name="connsiteX14" fmla="*/ 1143920 w 1159037"/>
                <a:gd name="connsiteY14" fmla="*/ 849121 h 919671"/>
                <a:gd name="connsiteX15" fmla="*/ 1143920 w 1159037"/>
                <a:gd name="connsiteY15" fmla="*/ 75589 h 919671"/>
                <a:gd name="connsiteX16" fmla="*/ 1087228 w 1159037"/>
                <a:gd name="connsiteY16" fmla="*/ 18897 h 919671"/>
                <a:gd name="connsiteX17" fmla="*/ 74330 w 1159037"/>
                <a:gd name="connsiteY17" fmla="*/ 18897 h 9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59037" h="919671">
                  <a:moveTo>
                    <a:pt x="1088488" y="924710"/>
                  </a:moveTo>
                  <a:lnTo>
                    <a:pt x="75589" y="924710"/>
                  </a:lnTo>
                  <a:cubicBezTo>
                    <a:pt x="34015" y="924710"/>
                    <a:pt x="0" y="890695"/>
                    <a:pt x="0" y="849121"/>
                  </a:cubicBezTo>
                  <a:lnTo>
                    <a:pt x="0" y="75589"/>
                  </a:lnTo>
                  <a:cubicBezTo>
                    <a:pt x="0" y="34015"/>
                    <a:pt x="34015" y="0"/>
                    <a:pt x="75589" y="0"/>
                  </a:cubicBezTo>
                  <a:lnTo>
                    <a:pt x="1088488" y="0"/>
                  </a:lnTo>
                  <a:cubicBezTo>
                    <a:pt x="1130062" y="0"/>
                    <a:pt x="1164077" y="34015"/>
                    <a:pt x="1164077" y="75589"/>
                  </a:cubicBezTo>
                  <a:lnTo>
                    <a:pt x="1164077" y="849121"/>
                  </a:lnTo>
                  <a:cubicBezTo>
                    <a:pt x="1164077" y="890695"/>
                    <a:pt x="1130062" y="924710"/>
                    <a:pt x="1088488" y="924710"/>
                  </a:cubicBezTo>
                  <a:close/>
                  <a:moveTo>
                    <a:pt x="74330" y="18897"/>
                  </a:moveTo>
                  <a:cubicBezTo>
                    <a:pt x="42834" y="18897"/>
                    <a:pt x="17638" y="44094"/>
                    <a:pt x="17638" y="75589"/>
                  </a:cubicBezTo>
                  <a:lnTo>
                    <a:pt x="17638" y="849121"/>
                  </a:lnTo>
                  <a:cubicBezTo>
                    <a:pt x="17638" y="880617"/>
                    <a:pt x="42834" y="905813"/>
                    <a:pt x="74330" y="905813"/>
                  </a:cubicBezTo>
                  <a:lnTo>
                    <a:pt x="1087228" y="905813"/>
                  </a:lnTo>
                  <a:cubicBezTo>
                    <a:pt x="1118723" y="905813"/>
                    <a:pt x="1143920" y="880617"/>
                    <a:pt x="1143920" y="849121"/>
                  </a:cubicBezTo>
                  <a:lnTo>
                    <a:pt x="1143920" y="75589"/>
                  </a:lnTo>
                  <a:cubicBezTo>
                    <a:pt x="1143920" y="44094"/>
                    <a:pt x="1118723" y="18897"/>
                    <a:pt x="1087228" y="18897"/>
                  </a:cubicBezTo>
                  <a:lnTo>
                    <a:pt x="74330" y="18897"/>
                  </a:lnTo>
                  <a:close/>
                </a:path>
              </a:pathLst>
            </a:custGeom>
            <a:solidFill>
              <a:srgbClr val="CADEEE"/>
            </a:solidFill>
            <a:ln w="12584" cap="flat">
              <a:noFill/>
              <a:prstDash val="solid"/>
              <a:miter/>
            </a:ln>
          </p:spPr>
          <p:txBody>
            <a:bodyPr rtlCol="0" anchor="ctr"/>
            <a:lstStyle/>
            <a:p>
              <a:endParaRPr lang="zh-CN" altLang="en-US"/>
            </a:p>
          </p:txBody>
        </p:sp>
        <p:sp>
          <p:nvSpPr>
            <p:cNvPr id="10034" name="任意多边形: 形状 10033"/>
            <p:cNvSpPr/>
            <p:nvPr/>
          </p:nvSpPr>
          <p:spPr>
            <a:xfrm>
              <a:off x="1818641" y="1515328"/>
              <a:ext cx="894474" cy="12598"/>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511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10035" name="任意多边形: 形状 10034"/>
            <p:cNvSpPr/>
            <p:nvPr/>
          </p:nvSpPr>
          <p:spPr>
            <a:xfrm>
              <a:off x="1818641" y="1666507"/>
              <a:ext cx="894474" cy="12598"/>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511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10036" name="任意多边形: 形状 10035"/>
            <p:cNvSpPr/>
            <p:nvPr/>
          </p:nvSpPr>
          <p:spPr>
            <a:xfrm>
              <a:off x="1818641" y="1816426"/>
              <a:ext cx="894474" cy="12598"/>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3780"/>
                    <a:pt x="3779" y="0"/>
                    <a:pt x="10079" y="0"/>
                  </a:cubicBezTo>
                  <a:lnTo>
                    <a:pt x="885656" y="0"/>
                  </a:lnTo>
                  <a:cubicBezTo>
                    <a:pt x="890695" y="0"/>
                    <a:pt x="895734" y="3780"/>
                    <a:pt x="895734" y="10079"/>
                  </a:cubicBezTo>
                  <a:cubicBezTo>
                    <a:pt x="895734" y="1637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10037" name="任意多边形: 形状 10036"/>
            <p:cNvSpPr/>
            <p:nvPr/>
          </p:nvSpPr>
          <p:spPr>
            <a:xfrm>
              <a:off x="1818641" y="1967604"/>
              <a:ext cx="894474" cy="12598"/>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637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10038" name="任意多边形: 形状 10037"/>
            <p:cNvSpPr/>
            <p:nvPr/>
          </p:nvSpPr>
          <p:spPr>
            <a:xfrm>
              <a:off x="1818641" y="2118783"/>
              <a:ext cx="894474" cy="12598"/>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637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10039" name="任意多边形: 形状 10038"/>
            <p:cNvSpPr/>
            <p:nvPr/>
          </p:nvSpPr>
          <p:spPr>
            <a:xfrm>
              <a:off x="2407929" y="2972944"/>
              <a:ext cx="579519" cy="617313"/>
            </a:xfrm>
            <a:custGeom>
              <a:avLst/>
              <a:gdLst>
                <a:gd name="connsiteX0" fmla="*/ 536994 w 579518"/>
                <a:gd name="connsiteY0" fmla="*/ 618573 h 617313"/>
                <a:gd name="connsiteX1" fmla="*/ 166605 w 579518"/>
                <a:gd name="connsiteY1" fmla="*/ 488811 h 617313"/>
                <a:gd name="connsiteX2" fmla="*/ 309 w 579518"/>
                <a:gd name="connsiteY2" fmla="*/ 8819 h 617313"/>
                <a:gd name="connsiteX3" fmla="*/ 9128 w 579518"/>
                <a:gd name="connsiteY3" fmla="*/ 0 h 617313"/>
                <a:gd name="connsiteX4" fmla="*/ 9128 w 579518"/>
                <a:gd name="connsiteY4" fmla="*/ 0 h 617313"/>
                <a:gd name="connsiteX5" fmla="*/ 17946 w 579518"/>
                <a:gd name="connsiteY5" fmla="*/ 10079 h 617313"/>
                <a:gd name="connsiteX6" fmla="*/ 177944 w 579518"/>
                <a:gd name="connsiteY6" fmla="*/ 474953 h 617313"/>
                <a:gd name="connsiteX7" fmla="*/ 579828 w 579518"/>
                <a:gd name="connsiteY7" fmla="*/ 598416 h 617313"/>
                <a:gd name="connsiteX8" fmla="*/ 589906 w 579518"/>
                <a:gd name="connsiteY8" fmla="*/ 607235 h 617313"/>
                <a:gd name="connsiteX9" fmla="*/ 581087 w 579518"/>
                <a:gd name="connsiteY9" fmla="*/ 617313 h 617313"/>
                <a:gd name="connsiteX10" fmla="*/ 536994 w 579518"/>
                <a:gd name="connsiteY10" fmla="*/ 618573 h 61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9518" h="617313">
                  <a:moveTo>
                    <a:pt x="536994" y="618573"/>
                  </a:moveTo>
                  <a:cubicBezTo>
                    <a:pt x="457625" y="618573"/>
                    <a:pt x="292588" y="603455"/>
                    <a:pt x="166605" y="488811"/>
                  </a:cubicBezTo>
                  <a:cubicBezTo>
                    <a:pt x="51962" y="384246"/>
                    <a:pt x="-4731" y="222989"/>
                    <a:pt x="309" y="8819"/>
                  </a:cubicBezTo>
                  <a:cubicBezTo>
                    <a:pt x="309" y="3780"/>
                    <a:pt x="4088" y="0"/>
                    <a:pt x="9128" y="0"/>
                  </a:cubicBezTo>
                  <a:cubicBezTo>
                    <a:pt x="9128" y="0"/>
                    <a:pt x="9128" y="0"/>
                    <a:pt x="9128" y="0"/>
                  </a:cubicBezTo>
                  <a:cubicBezTo>
                    <a:pt x="14167" y="0"/>
                    <a:pt x="17946" y="5039"/>
                    <a:pt x="17946" y="10079"/>
                  </a:cubicBezTo>
                  <a:cubicBezTo>
                    <a:pt x="12907" y="217949"/>
                    <a:pt x="67079" y="374167"/>
                    <a:pt x="177944" y="474953"/>
                  </a:cubicBezTo>
                  <a:cubicBezTo>
                    <a:pt x="341721" y="623613"/>
                    <a:pt x="577308" y="598416"/>
                    <a:pt x="579828" y="598416"/>
                  </a:cubicBezTo>
                  <a:cubicBezTo>
                    <a:pt x="584867" y="598416"/>
                    <a:pt x="589906" y="600936"/>
                    <a:pt x="589906" y="607235"/>
                  </a:cubicBezTo>
                  <a:cubicBezTo>
                    <a:pt x="589906" y="612274"/>
                    <a:pt x="587387" y="617313"/>
                    <a:pt x="581087" y="617313"/>
                  </a:cubicBezTo>
                  <a:cubicBezTo>
                    <a:pt x="581087" y="616054"/>
                    <a:pt x="564710" y="618573"/>
                    <a:pt x="536994" y="618573"/>
                  </a:cubicBezTo>
                  <a:close/>
                </a:path>
              </a:pathLst>
            </a:custGeom>
            <a:solidFill>
              <a:srgbClr val="CADEEE"/>
            </a:solidFill>
            <a:ln w="12584" cap="flat">
              <a:noFill/>
              <a:prstDash val="solid"/>
              <a:miter/>
            </a:ln>
          </p:spPr>
          <p:txBody>
            <a:bodyPr rtlCol="0" anchor="ctr"/>
            <a:lstStyle/>
            <a:p>
              <a:endParaRPr lang="zh-CN" altLang="en-US"/>
            </a:p>
          </p:txBody>
        </p:sp>
        <p:sp>
          <p:nvSpPr>
            <p:cNvPr id="10040" name="任意多边形: 形状 10039"/>
            <p:cNvSpPr/>
            <p:nvPr/>
          </p:nvSpPr>
          <p:spPr>
            <a:xfrm>
              <a:off x="2367608" y="2972447"/>
              <a:ext cx="100786" cy="50393"/>
            </a:xfrm>
            <a:custGeom>
              <a:avLst/>
              <a:gdLst>
                <a:gd name="connsiteX0" fmla="*/ 9134 w 100785"/>
                <a:gd name="connsiteY0" fmla="*/ 60968 h 50392"/>
                <a:gd name="connsiteX1" fmla="*/ 2835 w 100785"/>
                <a:gd name="connsiteY1" fmla="*/ 58448 h 50392"/>
                <a:gd name="connsiteX2" fmla="*/ 2835 w 100785"/>
                <a:gd name="connsiteY2" fmla="*/ 44590 h 50392"/>
                <a:gd name="connsiteX3" fmla="*/ 41889 w 100785"/>
                <a:gd name="connsiteY3" fmla="*/ 3016 h 50392"/>
                <a:gd name="connsiteX4" fmla="*/ 54487 w 100785"/>
                <a:gd name="connsiteY4" fmla="*/ 1756 h 50392"/>
                <a:gd name="connsiteX5" fmla="*/ 99841 w 100785"/>
                <a:gd name="connsiteY5" fmla="*/ 38291 h 50392"/>
                <a:gd name="connsiteX6" fmla="*/ 101101 w 100785"/>
                <a:gd name="connsiteY6" fmla="*/ 52149 h 50392"/>
                <a:gd name="connsiteX7" fmla="*/ 87243 w 100785"/>
                <a:gd name="connsiteY7" fmla="*/ 53409 h 50392"/>
                <a:gd name="connsiteX8" fmla="*/ 48188 w 100785"/>
                <a:gd name="connsiteY8" fmla="*/ 21913 h 50392"/>
                <a:gd name="connsiteX9" fmla="*/ 14173 w 100785"/>
                <a:gd name="connsiteY9" fmla="*/ 57188 h 50392"/>
                <a:gd name="connsiteX10" fmla="*/ 9134 w 100785"/>
                <a:gd name="connsiteY10" fmla="*/ 60968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785" h="50392">
                  <a:moveTo>
                    <a:pt x="9134" y="60968"/>
                  </a:moveTo>
                  <a:cubicBezTo>
                    <a:pt x="6614" y="60968"/>
                    <a:pt x="4094" y="59708"/>
                    <a:pt x="2835" y="58448"/>
                  </a:cubicBezTo>
                  <a:cubicBezTo>
                    <a:pt x="-945" y="54669"/>
                    <a:pt x="-945" y="48370"/>
                    <a:pt x="2835" y="44590"/>
                  </a:cubicBezTo>
                  <a:lnTo>
                    <a:pt x="41889" y="3016"/>
                  </a:lnTo>
                  <a:cubicBezTo>
                    <a:pt x="45669" y="-764"/>
                    <a:pt x="50708" y="-764"/>
                    <a:pt x="54487" y="1756"/>
                  </a:cubicBezTo>
                  <a:lnTo>
                    <a:pt x="99841" y="38291"/>
                  </a:lnTo>
                  <a:cubicBezTo>
                    <a:pt x="103620" y="42071"/>
                    <a:pt x="104880" y="47110"/>
                    <a:pt x="101101" y="52149"/>
                  </a:cubicBezTo>
                  <a:cubicBezTo>
                    <a:pt x="97321" y="55928"/>
                    <a:pt x="92282" y="57188"/>
                    <a:pt x="87243" y="53409"/>
                  </a:cubicBezTo>
                  <a:lnTo>
                    <a:pt x="48188" y="21913"/>
                  </a:lnTo>
                  <a:lnTo>
                    <a:pt x="14173" y="57188"/>
                  </a:lnTo>
                  <a:cubicBezTo>
                    <a:pt x="14173" y="59708"/>
                    <a:pt x="11653" y="60968"/>
                    <a:pt x="9134" y="60968"/>
                  </a:cubicBezTo>
                  <a:close/>
                </a:path>
              </a:pathLst>
            </a:custGeom>
            <a:solidFill>
              <a:srgbClr val="CADEEE"/>
            </a:solidFill>
            <a:ln w="12584" cap="flat">
              <a:noFill/>
              <a:prstDash val="solid"/>
              <a:miter/>
            </a:ln>
          </p:spPr>
          <p:txBody>
            <a:bodyPr rtlCol="0" anchor="ctr"/>
            <a:lstStyle/>
            <a:p>
              <a:endParaRPr lang="zh-CN" altLang="en-US"/>
            </a:p>
          </p:txBody>
        </p:sp>
        <p:sp>
          <p:nvSpPr>
            <p:cNvPr id="10041" name="任意多边形: 形状 10040"/>
            <p:cNvSpPr/>
            <p:nvPr/>
          </p:nvSpPr>
          <p:spPr>
            <a:xfrm>
              <a:off x="2457371" y="2447597"/>
              <a:ext cx="768492" cy="239366"/>
            </a:xfrm>
            <a:custGeom>
              <a:avLst/>
              <a:gdLst>
                <a:gd name="connsiteX0" fmla="*/ 748335 w 768492"/>
                <a:gd name="connsiteY0" fmla="*/ 249445 h 239366"/>
                <a:gd name="connsiteX1" fmla="*/ 25196 w 768492"/>
                <a:gd name="connsiteY1" fmla="*/ 249445 h 239366"/>
                <a:gd name="connsiteX2" fmla="*/ 0 w 768492"/>
                <a:gd name="connsiteY2" fmla="*/ 224248 h 239366"/>
                <a:gd name="connsiteX3" fmla="*/ 0 w 768492"/>
                <a:gd name="connsiteY3" fmla="*/ 25196 h 239366"/>
                <a:gd name="connsiteX4" fmla="*/ 25196 w 768492"/>
                <a:gd name="connsiteY4" fmla="*/ 0 h 239366"/>
                <a:gd name="connsiteX5" fmla="*/ 748335 w 768492"/>
                <a:gd name="connsiteY5" fmla="*/ 0 h 239366"/>
                <a:gd name="connsiteX6" fmla="*/ 773532 w 768492"/>
                <a:gd name="connsiteY6" fmla="*/ 25196 h 239366"/>
                <a:gd name="connsiteX7" fmla="*/ 773532 w 768492"/>
                <a:gd name="connsiteY7" fmla="*/ 224248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8"/>
                  </a:cubicBezTo>
                  <a:lnTo>
                    <a:pt x="0" y="25196"/>
                  </a:lnTo>
                  <a:cubicBezTo>
                    <a:pt x="0" y="11338"/>
                    <a:pt x="11338" y="0"/>
                    <a:pt x="25196" y="0"/>
                  </a:cubicBezTo>
                  <a:lnTo>
                    <a:pt x="748335" y="0"/>
                  </a:lnTo>
                  <a:cubicBezTo>
                    <a:pt x="762193" y="0"/>
                    <a:pt x="773532" y="11338"/>
                    <a:pt x="773532" y="25196"/>
                  </a:cubicBezTo>
                  <a:lnTo>
                    <a:pt x="773532" y="224248"/>
                  </a:lnTo>
                  <a:cubicBezTo>
                    <a:pt x="773532" y="238107"/>
                    <a:pt x="762193" y="249445"/>
                    <a:pt x="748335" y="249445"/>
                  </a:cubicBezTo>
                  <a:close/>
                </a:path>
              </a:pathLst>
            </a:custGeom>
            <a:solidFill>
              <a:srgbClr val="CADEEE"/>
            </a:solidFill>
            <a:ln w="12584" cap="flat">
              <a:noFill/>
              <a:prstDash val="solid"/>
              <a:miter/>
            </a:ln>
          </p:spPr>
          <p:txBody>
            <a:bodyPr rtlCol="0" anchor="ctr"/>
            <a:lstStyle/>
            <a:p>
              <a:endParaRPr lang="zh-CN" altLang="en-US"/>
            </a:p>
          </p:txBody>
        </p:sp>
        <p:sp>
          <p:nvSpPr>
            <p:cNvPr id="10042" name="任意多边形: 形状 10041"/>
            <p:cNvSpPr/>
            <p:nvPr/>
          </p:nvSpPr>
          <p:spPr>
            <a:xfrm>
              <a:off x="2008874" y="2611374"/>
              <a:ext cx="768492" cy="239366"/>
            </a:xfrm>
            <a:custGeom>
              <a:avLst/>
              <a:gdLst>
                <a:gd name="connsiteX0" fmla="*/ 747075 w 768492"/>
                <a:gd name="connsiteY0" fmla="*/ 249445 h 239366"/>
                <a:gd name="connsiteX1" fmla="*/ 25196 w 768492"/>
                <a:gd name="connsiteY1" fmla="*/ 249445 h 239366"/>
                <a:gd name="connsiteX2" fmla="*/ 0 w 768492"/>
                <a:gd name="connsiteY2" fmla="*/ 224248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8 h 239366"/>
                <a:gd name="connsiteX8" fmla="*/ 74707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7075" y="249445"/>
                  </a:moveTo>
                  <a:lnTo>
                    <a:pt x="25196" y="249445"/>
                  </a:lnTo>
                  <a:cubicBezTo>
                    <a:pt x="11338" y="249445"/>
                    <a:pt x="0" y="238107"/>
                    <a:pt x="0" y="224248"/>
                  </a:cubicBezTo>
                  <a:lnTo>
                    <a:pt x="0" y="25196"/>
                  </a:lnTo>
                  <a:cubicBezTo>
                    <a:pt x="0" y="11338"/>
                    <a:pt x="11338" y="0"/>
                    <a:pt x="25196" y="0"/>
                  </a:cubicBezTo>
                  <a:lnTo>
                    <a:pt x="748335" y="0"/>
                  </a:lnTo>
                  <a:cubicBezTo>
                    <a:pt x="762193" y="0"/>
                    <a:pt x="773531" y="11338"/>
                    <a:pt x="773531" y="25196"/>
                  </a:cubicBezTo>
                  <a:lnTo>
                    <a:pt x="773531" y="224248"/>
                  </a:lnTo>
                  <a:cubicBezTo>
                    <a:pt x="772272" y="238107"/>
                    <a:pt x="760933" y="249445"/>
                    <a:pt x="747075" y="249445"/>
                  </a:cubicBezTo>
                  <a:close/>
                </a:path>
              </a:pathLst>
            </a:custGeom>
            <a:solidFill>
              <a:srgbClr val="CADEEE"/>
            </a:solidFill>
            <a:ln w="12584" cap="flat">
              <a:noFill/>
              <a:prstDash val="solid"/>
              <a:miter/>
            </a:ln>
          </p:spPr>
          <p:txBody>
            <a:bodyPr rtlCol="0" anchor="ctr"/>
            <a:lstStyle/>
            <a:p>
              <a:endParaRPr lang="zh-CN" altLang="en-US"/>
            </a:p>
          </p:txBody>
        </p:sp>
        <p:sp>
          <p:nvSpPr>
            <p:cNvPr id="10043" name="任意多边形: 形状 10042"/>
            <p:cNvSpPr/>
            <p:nvPr/>
          </p:nvSpPr>
          <p:spPr>
            <a:xfrm>
              <a:off x="2457371" y="2382086"/>
              <a:ext cx="768492" cy="239366"/>
            </a:xfrm>
            <a:custGeom>
              <a:avLst/>
              <a:gdLst>
                <a:gd name="connsiteX0" fmla="*/ 74833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2 w 768492"/>
                <a:gd name="connsiteY6" fmla="*/ 25196 h 239366"/>
                <a:gd name="connsiteX7" fmla="*/ 773532 w 768492"/>
                <a:gd name="connsiteY7" fmla="*/ 224249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9"/>
                  </a:cubicBezTo>
                  <a:lnTo>
                    <a:pt x="0" y="25196"/>
                  </a:lnTo>
                  <a:cubicBezTo>
                    <a:pt x="0" y="11339"/>
                    <a:pt x="11338" y="0"/>
                    <a:pt x="25196" y="0"/>
                  </a:cubicBezTo>
                  <a:lnTo>
                    <a:pt x="748335" y="0"/>
                  </a:lnTo>
                  <a:cubicBezTo>
                    <a:pt x="762193" y="0"/>
                    <a:pt x="773532" y="11339"/>
                    <a:pt x="773532" y="25196"/>
                  </a:cubicBezTo>
                  <a:lnTo>
                    <a:pt x="773532" y="224249"/>
                  </a:lnTo>
                  <a:cubicBezTo>
                    <a:pt x="773532" y="238107"/>
                    <a:pt x="762193" y="249445"/>
                    <a:pt x="748335" y="249445"/>
                  </a:cubicBezTo>
                  <a:close/>
                </a:path>
              </a:pathLst>
            </a:custGeom>
            <a:solidFill>
              <a:srgbClr val="1943F1"/>
            </a:solidFill>
            <a:ln w="12584" cap="flat">
              <a:noFill/>
              <a:prstDash val="solid"/>
              <a:miter/>
            </a:ln>
          </p:spPr>
          <p:txBody>
            <a:bodyPr rtlCol="0" anchor="ctr"/>
            <a:lstStyle/>
            <a:p>
              <a:endParaRPr lang="zh-CN" altLang="en-US"/>
            </a:p>
          </p:txBody>
        </p:sp>
        <p:sp>
          <p:nvSpPr>
            <p:cNvPr id="10044" name="任意多边形: 形状 10043"/>
            <p:cNvSpPr/>
            <p:nvPr/>
          </p:nvSpPr>
          <p:spPr>
            <a:xfrm>
              <a:off x="5165991" y="1483832"/>
              <a:ext cx="768492" cy="239366"/>
            </a:xfrm>
            <a:custGeom>
              <a:avLst/>
              <a:gdLst>
                <a:gd name="connsiteX0" fmla="*/ 74833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9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9"/>
                  </a:cubicBezTo>
                  <a:lnTo>
                    <a:pt x="0" y="25196"/>
                  </a:lnTo>
                  <a:cubicBezTo>
                    <a:pt x="0" y="11338"/>
                    <a:pt x="11338" y="0"/>
                    <a:pt x="25196" y="0"/>
                  </a:cubicBezTo>
                  <a:lnTo>
                    <a:pt x="748335" y="0"/>
                  </a:lnTo>
                  <a:cubicBezTo>
                    <a:pt x="762193" y="0"/>
                    <a:pt x="773531" y="11338"/>
                    <a:pt x="773531" y="25196"/>
                  </a:cubicBezTo>
                  <a:lnTo>
                    <a:pt x="773531" y="224249"/>
                  </a:lnTo>
                  <a:cubicBezTo>
                    <a:pt x="772272" y="238107"/>
                    <a:pt x="760933" y="249445"/>
                    <a:pt x="748335" y="249445"/>
                  </a:cubicBezTo>
                  <a:close/>
                </a:path>
              </a:pathLst>
            </a:custGeom>
            <a:solidFill>
              <a:srgbClr val="CADEEE"/>
            </a:solidFill>
            <a:ln w="12584" cap="flat">
              <a:noFill/>
              <a:prstDash val="solid"/>
              <a:miter/>
            </a:ln>
          </p:spPr>
          <p:txBody>
            <a:bodyPr rtlCol="0" anchor="ctr"/>
            <a:lstStyle/>
            <a:p>
              <a:endParaRPr lang="zh-CN" altLang="en-US"/>
            </a:p>
          </p:txBody>
        </p:sp>
        <p:sp>
          <p:nvSpPr>
            <p:cNvPr id="10045" name="任意多边形: 形状 10044"/>
            <p:cNvSpPr/>
            <p:nvPr/>
          </p:nvSpPr>
          <p:spPr>
            <a:xfrm>
              <a:off x="5579213" y="1807607"/>
              <a:ext cx="352751" cy="239366"/>
            </a:xfrm>
            <a:custGeom>
              <a:avLst/>
              <a:gdLst>
                <a:gd name="connsiteX0" fmla="*/ 335113 w 352750"/>
                <a:gd name="connsiteY0" fmla="*/ 249445 h 239366"/>
                <a:gd name="connsiteX1" fmla="*/ 25196 w 352750"/>
                <a:gd name="connsiteY1" fmla="*/ 249445 h 239366"/>
                <a:gd name="connsiteX2" fmla="*/ 0 w 352750"/>
                <a:gd name="connsiteY2" fmla="*/ 224248 h 239366"/>
                <a:gd name="connsiteX3" fmla="*/ 0 w 352750"/>
                <a:gd name="connsiteY3" fmla="*/ 25196 h 239366"/>
                <a:gd name="connsiteX4" fmla="*/ 25196 w 352750"/>
                <a:gd name="connsiteY4" fmla="*/ 0 h 239366"/>
                <a:gd name="connsiteX5" fmla="*/ 335113 w 352750"/>
                <a:gd name="connsiteY5" fmla="*/ 0 h 239366"/>
                <a:gd name="connsiteX6" fmla="*/ 360309 w 352750"/>
                <a:gd name="connsiteY6" fmla="*/ 25196 h 239366"/>
                <a:gd name="connsiteX7" fmla="*/ 360309 w 352750"/>
                <a:gd name="connsiteY7" fmla="*/ 224248 h 239366"/>
                <a:gd name="connsiteX8" fmla="*/ 335113 w 352750"/>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750" h="239366">
                  <a:moveTo>
                    <a:pt x="335113" y="249445"/>
                  </a:moveTo>
                  <a:lnTo>
                    <a:pt x="25196" y="249445"/>
                  </a:lnTo>
                  <a:cubicBezTo>
                    <a:pt x="11338" y="249445"/>
                    <a:pt x="0" y="238107"/>
                    <a:pt x="0" y="224248"/>
                  </a:cubicBezTo>
                  <a:lnTo>
                    <a:pt x="0" y="25196"/>
                  </a:lnTo>
                  <a:cubicBezTo>
                    <a:pt x="0" y="11338"/>
                    <a:pt x="11338" y="0"/>
                    <a:pt x="25196" y="0"/>
                  </a:cubicBezTo>
                  <a:lnTo>
                    <a:pt x="335113" y="0"/>
                  </a:lnTo>
                  <a:cubicBezTo>
                    <a:pt x="348971" y="0"/>
                    <a:pt x="360309" y="11338"/>
                    <a:pt x="360309" y="25196"/>
                  </a:cubicBezTo>
                  <a:lnTo>
                    <a:pt x="360309" y="224248"/>
                  </a:lnTo>
                  <a:cubicBezTo>
                    <a:pt x="359050" y="238107"/>
                    <a:pt x="347711" y="249445"/>
                    <a:pt x="335113" y="249445"/>
                  </a:cubicBezTo>
                  <a:close/>
                </a:path>
              </a:pathLst>
            </a:custGeom>
            <a:solidFill>
              <a:srgbClr val="CADEEE"/>
            </a:solidFill>
            <a:ln w="12584" cap="flat">
              <a:noFill/>
              <a:prstDash val="solid"/>
              <a:miter/>
            </a:ln>
          </p:spPr>
          <p:txBody>
            <a:bodyPr rtlCol="0" anchor="ctr"/>
            <a:lstStyle/>
            <a:p>
              <a:endParaRPr lang="zh-CN" altLang="en-US"/>
            </a:p>
          </p:txBody>
        </p:sp>
        <p:sp>
          <p:nvSpPr>
            <p:cNvPr id="10046" name="任意多边形: 形状 10045"/>
            <p:cNvSpPr/>
            <p:nvPr/>
          </p:nvSpPr>
          <p:spPr>
            <a:xfrm>
              <a:off x="5165991" y="1400684"/>
              <a:ext cx="768492" cy="239366"/>
            </a:xfrm>
            <a:custGeom>
              <a:avLst/>
              <a:gdLst>
                <a:gd name="connsiteX0" fmla="*/ 74833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9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9"/>
                  </a:cubicBezTo>
                  <a:lnTo>
                    <a:pt x="0" y="25196"/>
                  </a:lnTo>
                  <a:cubicBezTo>
                    <a:pt x="0" y="11338"/>
                    <a:pt x="11338" y="0"/>
                    <a:pt x="25196" y="0"/>
                  </a:cubicBezTo>
                  <a:lnTo>
                    <a:pt x="748335" y="0"/>
                  </a:lnTo>
                  <a:cubicBezTo>
                    <a:pt x="762193" y="0"/>
                    <a:pt x="773531" y="11338"/>
                    <a:pt x="773531" y="25196"/>
                  </a:cubicBezTo>
                  <a:lnTo>
                    <a:pt x="773531" y="224249"/>
                  </a:lnTo>
                  <a:cubicBezTo>
                    <a:pt x="772272" y="238107"/>
                    <a:pt x="760933" y="249445"/>
                    <a:pt x="748335" y="249445"/>
                  </a:cubicBezTo>
                  <a:close/>
                </a:path>
              </a:pathLst>
            </a:custGeom>
            <a:solidFill>
              <a:srgbClr val="FFD671"/>
            </a:solidFill>
            <a:ln w="12584" cap="flat">
              <a:noFill/>
              <a:prstDash val="solid"/>
              <a:miter/>
            </a:ln>
          </p:spPr>
          <p:txBody>
            <a:bodyPr rtlCol="0" anchor="ctr"/>
            <a:lstStyle/>
            <a:p>
              <a:endParaRPr lang="zh-CN" altLang="en-US"/>
            </a:p>
          </p:txBody>
        </p:sp>
        <p:sp>
          <p:nvSpPr>
            <p:cNvPr id="10047" name="任意多边形: 形状 10046"/>
            <p:cNvSpPr/>
            <p:nvPr/>
          </p:nvSpPr>
          <p:spPr>
            <a:xfrm>
              <a:off x="5579213" y="1725718"/>
              <a:ext cx="352751" cy="239366"/>
            </a:xfrm>
            <a:custGeom>
              <a:avLst/>
              <a:gdLst>
                <a:gd name="connsiteX0" fmla="*/ 335113 w 352750"/>
                <a:gd name="connsiteY0" fmla="*/ 248185 h 239366"/>
                <a:gd name="connsiteX1" fmla="*/ 25196 w 352750"/>
                <a:gd name="connsiteY1" fmla="*/ 248185 h 239366"/>
                <a:gd name="connsiteX2" fmla="*/ 0 w 352750"/>
                <a:gd name="connsiteY2" fmla="*/ 222989 h 239366"/>
                <a:gd name="connsiteX3" fmla="*/ 0 w 352750"/>
                <a:gd name="connsiteY3" fmla="*/ 25196 h 239366"/>
                <a:gd name="connsiteX4" fmla="*/ 25196 w 352750"/>
                <a:gd name="connsiteY4" fmla="*/ 0 h 239366"/>
                <a:gd name="connsiteX5" fmla="*/ 335113 w 352750"/>
                <a:gd name="connsiteY5" fmla="*/ 0 h 239366"/>
                <a:gd name="connsiteX6" fmla="*/ 360309 w 352750"/>
                <a:gd name="connsiteY6" fmla="*/ 25196 h 239366"/>
                <a:gd name="connsiteX7" fmla="*/ 360309 w 352750"/>
                <a:gd name="connsiteY7" fmla="*/ 222989 h 239366"/>
                <a:gd name="connsiteX8" fmla="*/ 335113 w 352750"/>
                <a:gd name="connsiteY8" fmla="*/ 24818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750" h="239366">
                  <a:moveTo>
                    <a:pt x="335113" y="248185"/>
                  </a:moveTo>
                  <a:lnTo>
                    <a:pt x="25196" y="248185"/>
                  </a:lnTo>
                  <a:cubicBezTo>
                    <a:pt x="11338" y="248185"/>
                    <a:pt x="0" y="236847"/>
                    <a:pt x="0" y="222989"/>
                  </a:cubicBezTo>
                  <a:lnTo>
                    <a:pt x="0" y="25196"/>
                  </a:lnTo>
                  <a:cubicBezTo>
                    <a:pt x="0" y="11338"/>
                    <a:pt x="11338" y="0"/>
                    <a:pt x="25196" y="0"/>
                  </a:cubicBezTo>
                  <a:lnTo>
                    <a:pt x="335113" y="0"/>
                  </a:lnTo>
                  <a:cubicBezTo>
                    <a:pt x="348971" y="0"/>
                    <a:pt x="360309" y="11338"/>
                    <a:pt x="360309" y="25196"/>
                  </a:cubicBezTo>
                  <a:lnTo>
                    <a:pt x="360309" y="222989"/>
                  </a:lnTo>
                  <a:cubicBezTo>
                    <a:pt x="359050" y="236847"/>
                    <a:pt x="347711" y="248185"/>
                    <a:pt x="335113" y="248185"/>
                  </a:cubicBezTo>
                  <a:close/>
                </a:path>
              </a:pathLst>
            </a:custGeom>
            <a:solidFill>
              <a:srgbClr val="1943F1"/>
            </a:solidFill>
            <a:ln w="12584" cap="flat">
              <a:noFill/>
              <a:prstDash val="solid"/>
              <a:miter/>
            </a:ln>
          </p:spPr>
          <p:txBody>
            <a:bodyPr rtlCol="0" anchor="ctr"/>
            <a:lstStyle/>
            <a:p>
              <a:endParaRPr lang="zh-CN" altLang="en-US"/>
            </a:p>
          </p:txBody>
        </p:sp>
        <p:sp>
          <p:nvSpPr>
            <p:cNvPr id="10048" name="任意多边形: 形状 10047"/>
            <p:cNvSpPr/>
            <p:nvPr/>
          </p:nvSpPr>
          <p:spPr>
            <a:xfrm>
              <a:off x="2008874" y="2544604"/>
              <a:ext cx="768492" cy="239366"/>
            </a:xfrm>
            <a:custGeom>
              <a:avLst/>
              <a:gdLst>
                <a:gd name="connsiteX0" fmla="*/ 74707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9 h 239366"/>
                <a:gd name="connsiteX8" fmla="*/ 74707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7075" y="249445"/>
                  </a:moveTo>
                  <a:lnTo>
                    <a:pt x="25196" y="249445"/>
                  </a:lnTo>
                  <a:cubicBezTo>
                    <a:pt x="11338" y="249445"/>
                    <a:pt x="0" y="238107"/>
                    <a:pt x="0" y="224249"/>
                  </a:cubicBezTo>
                  <a:lnTo>
                    <a:pt x="0" y="25196"/>
                  </a:lnTo>
                  <a:cubicBezTo>
                    <a:pt x="0" y="11338"/>
                    <a:pt x="11338" y="0"/>
                    <a:pt x="25196" y="0"/>
                  </a:cubicBezTo>
                  <a:lnTo>
                    <a:pt x="748335" y="0"/>
                  </a:lnTo>
                  <a:cubicBezTo>
                    <a:pt x="762193" y="0"/>
                    <a:pt x="773531" y="11338"/>
                    <a:pt x="773531" y="25196"/>
                  </a:cubicBezTo>
                  <a:lnTo>
                    <a:pt x="773531" y="224249"/>
                  </a:lnTo>
                  <a:cubicBezTo>
                    <a:pt x="772272" y="239366"/>
                    <a:pt x="760933" y="249445"/>
                    <a:pt x="747075" y="249445"/>
                  </a:cubicBezTo>
                  <a:close/>
                </a:path>
              </a:pathLst>
            </a:custGeom>
            <a:solidFill>
              <a:srgbClr val="FFD671"/>
            </a:solidFill>
            <a:ln w="12584" cap="flat">
              <a:noFill/>
              <a:prstDash val="solid"/>
              <a:miter/>
            </a:ln>
          </p:spPr>
          <p:txBody>
            <a:bodyPr rtlCol="0" anchor="ctr"/>
            <a:lstStyle/>
            <a:p>
              <a:endParaRPr lang="zh-CN" altLang="en-US"/>
            </a:p>
          </p:txBody>
        </p:sp>
        <p:sp>
          <p:nvSpPr>
            <p:cNvPr id="10049" name="任意多边形: 形状 10048"/>
            <p:cNvSpPr/>
            <p:nvPr/>
          </p:nvSpPr>
          <p:spPr>
            <a:xfrm>
              <a:off x="5511631" y="3244852"/>
              <a:ext cx="629912" cy="1360609"/>
            </a:xfrm>
            <a:custGeom>
              <a:avLst/>
              <a:gdLst>
                <a:gd name="connsiteX0" fmla="*/ 416553 w 629911"/>
                <a:gd name="connsiteY0" fmla="*/ 1364602 h 1360609"/>
                <a:gd name="connsiteX1" fmla="*/ 582850 w 629911"/>
                <a:gd name="connsiteY1" fmla="*/ 1120196 h 1360609"/>
                <a:gd name="connsiteX2" fmla="*/ 615606 w 629911"/>
                <a:gd name="connsiteY2" fmla="*/ 715793 h 1360609"/>
                <a:gd name="connsiteX3" fmla="*/ 405215 w 629911"/>
                <a:gd name="connsiteY3" fmla="*/ 386979 h 1360609"/>
                <a:gd name="connsiteX4" fmla="*/ 338445 w 629911"/>
                <a:gd name="connsiteY4" fmla="*/ 95960 h 1360609"/>
                <a:gd name="connsiteX5" fmla="*/ 13410 w 629911"/>
                <a:gd name="connsiteY5" fmla="*/ 249658 h 1360609"/>
                <a:gd name="connsiteX6" fmla="*/ 125534 w 629911"/>
                <a:gd name="connsiteY6" fmla="*/ 540677 h 1360609"/>
                <a:gd name="connsiteX7" fmla="*/ 121755 w 629911"/>
                <a:gd name="connsiteY7" fmla="*/ 845554 h 1360609"/>
                <a:gd name="connsiteX8" fmla="*/ 242698 w 629911"/>
                <a:gd name="connsiteY8" fmla="*/ 1157990 h 1360609"/>
                <a:gd name="connsiteX9" fmla="*/ 416553 w 629911"/>
                <a:gd name="connsiteY9" fmla="*/ 1364602 h 13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911" h="1360609">
                  <a:moveTo>
                    <a:pt x="416553" y="1364602"/>
                  </a:moveTo>
                  <a:cubicBezTo>
                    <a:pt x="511040" y="1350744"/>
                    <a:pt x="599228" y="1305390"/>
                    <a:pt x="582850" y="1120196"/>
                  </a:cubicBezTo>
                  <a:cubicBezTo>
                    <a:pt x="566472" y="935002"/>
                    <a:pt x="667258" y="890908"/>
                    <a:pt x="615606" y="715793"/>
                  </a:cubicBezTo>
                  <a:cubicBezTo>
                    <a:pt x="563953" y="540677"/>
                    <a:pt x="401436" y="533118"/>
                    <a:pt x="405215" y="386979"/>
                  </a:cubicBezTo>
                  <a:cubicBezTo>
                    <a:pt x="407735" y="315169"/>
                    <a:pt x="392617" y="185407"/>
                    <a:pt x="338445" y="95960"/>
                  </a:cubicBezTo>
                  <a:cubicBezTo>
                    <a:pt x="247737" y="-53959"/>
                    <a:pt x="-68479" y="-46401"/>
                    <a:pt x="13410" y="249658"/>
                  </a:cubicBezTo>
                  <a:cubicBezTo>
                    <a:pt x="41126" y="350444"/>
                    <a:pt x="121755" y="407136"/>
                    <a:pt x="125534" y="540677"/>
                  </a:cubicBezTo>
                  <a:cubicBezTo>
                    <a:pt x="128054" y="635164"/>
                    <a:pt x="78921" y="675478"/>
                    <a:pt x="121755" y="845554"/>
                  </a:cubicBezTo>
                  <a:cubicBezTo>
                    <a:pt x="160809" y="997993"/>
                    <a:pt x="255296" y="1006812"/>
                    <a:pt x="242698" y="1157990"/>
                  </a:cubicBezTo>
                  <a:cubicBezTo>
                    <a:pt x="230100" y="1310429"/>
                    <a:pt x="304429" y="1380979"/>
                    <a:pt x="416553" y="1364602"/>
                  </a:cubicBezTo>
                  <a:close/>
                </a:path>
              </a:pathLst>
            </a:custGeom>
            <a:solidFill>
              <a:srgbClr val="10BE61"/>
            </a:solidFill>
            <a:ln w="12584" cap="flat">
              <a:noFill/>
              <a:prstDash val="solid"/>
              <a:miter/>
            </a:ln>
          </p:spPr>
          <p:txBody>
            <a:bodyPr rtlCol="0" anchor="ctr"/>
            <a:lstStyle/>
            <a:p>
              <a:endParaRPr lang="zh-CN" altLang="en-US"/>
            </a:p>
          </p:txBody>
        </p:sp>
        <p:sp>
          <p:nvSpPr>
            <p:cNvPr id="10050" name="任意多边形: 形状 10049"/>
            <p:cNvSpPr/>
            <p:nvPr/>
          </p:nvSpPr>
          <p:spPr>
            <a:xfrm>
              <a:off x="5646723" y="3254900"/>
              <a:ext cx="302358" cy="1310216"/>
            </a:xfrm>
            <a:custGeom>
              <a:avLst/>
              <a:gdLst>
                <a:gd name="connsiteX0" fmla="*/ 304138 w 302357"/>
                <a:gd name="connsiteY0" fmla="*/ 1320539 h 1310216"/>
                <a:gd name="connsiteX1" fmla="*/ 307918 w 302357"/>
                <a:gd name="connsiteY1" fmla="*/ 1319279 h 1310216"/>
                <a:gd name="connsiteX2" fmla="*/ 311697 w 302357"/>
                <a:gd name="connsiteY2" fmla="*/ 1304162 h 1310216"/>
                <a:gd name="connsiteX3" fmla="*/ 277682 w 302357"/>
                <a:gd name="connsiteY3" fmla="*/ 1142904 h 1310216"/>
                <a:gd name="connsiteX4" fmla="*/ 276422 w 302357"/>
                <a:gd name="connsiteY4" fmla="*/ 1059755 h 1310216"/>
                <a:gd name="connsiteX5" fmla="*/ 215951 w 302357"/>
                <a:gd name="connsiteY5" fmla="*/ 621337 h 1310216"/>
                <a:gd name="connsiteX6" fmla="*/ 137842 w 302357"/>
                <a:gd name="connsiteY6" fmla="*/ 476457 h 1310216"/>
                <a:gd name="connsiteX7" fmla="*/ 58473 w 302357"/>
                <a:gd name="connsiteY7" fmla="*/ 326539 h 1310216"/>
                <a:gd name="connsiteX8" fmla="*/ 33276 w 302357"/>
                <a:gd name="connsiteY8" fmla="*/ 12842 h 1310216"/>
                <a:gd name="connsiteX9" fmla="*/ 25717 w 302357"/>
                <a:gd name="connsiteY9" fmla="*/ 244 h 1310216"/>
                <a:gd name="connsiteX10" fmla="*/ 13119 w 302357"/>
                <a:gd name="connsiteY10" fmla="*/ 7803 h 1310216"/>
                <a:gd name="connsiteX11" fmla="*/ 39575 w 302357"/>
                <a:gd name="connsiteY11" fmla="*/ 334097 h 1310216"/>
                <a:gd name="connsiteX12" fmla="*/ 120204 w 302357"/>
                <a:gd name="connsiteY12" fmla="*/ 486536 h 1310216"/>
                <a:gd name="connsiteX13" fmla="*/ 197053 w 302357"/>
                <a:gd name="connsiteY13" fmla="*/ 628896 h 1310216"/>
                <a:gd name="connsiteX14" fmla="*/ 256265 w 302357"/>
                <a:gd name="connsiteY14" fmla="*/ 1059755 h 1310216"/>
                <a:gd name="connsiteX15" fmla="*/ 257525 w 302357"/>
                <a:gd name="connsiteY15" fmla="*/ 1142904 h 1310216"/>
                <a:gd name="connsiteX16" fmla="*/ 295319 w 302357"/>
                <a:gd name="connsiteY16" fmla="*/ 1315500 h 1310216"/>
                <a:gd name="connsiteX17" fmla="*/ 304138 w 302357"/>
                <a:gd name="connsiteY17" fmla="*/ 1320539 h 131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2357" h="1310216">
                  <a:moveTo>
                    <a:pt x="304138" y="1320539"/>
                  </a:moveTo>
                  <a:cubicBezTo>
                    <a:pt x="305398" y="1320539"/>
                    <a:pt x="306658" y="1319279"/>
                    <a:pt x="307918" y="1319279"/>
                  </a:cubicBezTo>
                  <a:cubicBezTo>
                    <a:pt x="312957" y="1316760"/>
                    <a:pt x="314217" y="1309201"/>
                    <a:pt x="311697" y="1304162"/>
                  </a:cubicBezTo>
                  <a:cubicBezTo>
                    <a:pt x="282721" y="1257548"/>
                    <a:pt x="278942" y="1199596"/>
                    <a:pt x="277682" y="1142904"/>
                  </a:cubicBezTo>
                  <a:cubicBezTo>
                    <a:pt x="276422" y="1115188"/>
                    <a:pt x="276422" y="1087472"/>
                    <a:pt x="276422" y="1059755"/>
                  </a:cubicBezTo>
                  <a:cubicBezTo>
                    <a:pt x="275162" y="912356"/>
                    <a:pt x="272643" y="758658"/>
                    <a:pt x="215951" y="621337"/>
                  </a:cubicBezTo>
                  <a:cubicBezTo>
                    <a:pt x="194534" y="570944"/>
                    <a:pt x="165558" y="523071"/>
                    <a:pt x="137842" y="476457"/>
                  </a:cubicBezTo>
                  <a:cubicBezTo>
                    <a:pt x="108866" y="428584"/>
                    <a:pt x="79890" y="379451"/>
                    <a:pt x="58473" y="326539"/>
                  </a:cubicBezTo>
                  <a:cubicBezTo>
                    <a:pt x="19418" y="228272"/>
                    <a:pt x="10599" y="116148"/>
                    <a:pt x="33276" y="12842"/>
                  </a:cubicBezTo>
                  <a:cubicBezTo>
                    <a:pt x="34536" y="6543"/>
                    <a:pt x="30757" y="1504"/>
                    <a:pt x="25717" y="244"/>
                  </a:cubicBezTo>
                  <a:cubicBezTo>
                    <a:pt x="19418" y="-1016"/>
                    <a:pt x="14379" y="2764"/>
                    <a:pt x="13119" y="7803"/>
                  </a:cubicBezTo>
                  <a:cubicBezTo>
                    <a:pt x="-10817" y="116148"/>
                    <a:pt x="-1999" y="230792"/>
                    <a:pt x="39575" y="334097"/>
                  </a:cubicBezTo>
                  <a:cubicBezTo>
                    <a:pt x="60992" y="388270"/>
                    <a:pt x="91228" y="438663"/>
                    <a:pt x="120204" y="486536"/>
                  </a:cubicBezTo>
                  <a:cubicBezTo>
                    <a:pt x="147920" y="531890"/>
                    <a:pt x="175636" y="579763"/>
                    <a:pt x="197053" y="628896"/>
                  </a:cubicBezTo>
                  <a:cubicBezTo>
                    <a:pt x="253745" y="762437"/>
                    <a:pt x="255005" y="913616"/>
                    <a:pt x="256265" y="1059755"/>
                  </a:cubicBezTo>
                  <a:cubicBezTo>
                    <a:pt x="256265" y="1087472"/>
                    <a:pt x="256265" y="1115188"/>
                    <a:pt x="257525" y="1142904"/>
                  </a:cubicBezTo>
                  <a:cubicBezTo>
                    <a:pt x="258785" y="1202116"/>
                    <a:pt x="262564" y="1263847"/>
                    <a:pt x="295319" y="1315500"/>
                  </a:cubicBezTo>
                  <a:cubicBezTo>
                    <a:pt x="295319" y="1319279"/>
                    <a:pt x="300359" y="1321799"/>
                    <a:pt x="304138" y="1320539"/>
                  </a:cubicBezTo>
                  <a:close/>
                </a:path>
              </a:pathLst>
            </a:custGeom>
            <a:solidFill>
              <a:srgbClr val="56E395"/>
            </a:solidFill>
            <a:ln w="12584" cap="flat">
              <a:noFill/>
              <a:prstDash val="solid"/>
              <a:miter/>
            </a:ln>
          </p:spPr>
          <p:txBody>
            <a:bodyPr rtlCol="0" anchor="ctr"/>
            <a:lstStyle/>
            <a:p>
              <a:endParaRPr lang="zh-CN" altLang="en-US"/>
            </a:p>
          </p:txBody>
        </p:sp>
        <p:sp>
          <p:nvSpPr>
            <p:cNvPr id="10051" name="任意多边形: 形状 10050"/>
            <p:cNvSpPr/>
            <p:nvPr/>
          </p:nvSpPr>
          <p:spPr>
            <a:xfrm>
              <a:off x="5899530" y="3929387"/>
              <a:ext cx="201572" cy="264563"/>
            </a:xfrm>
            <a:custGeom>
              <a:avLst/>
              <a:gdLst>
                <a:gd name="connsiteX0" fmla="*/ 12276 w 201571"/>
                <a:gd name="connsiteY0" fmla="*/ 264325 h 264562"/>
                <a:gd name="connsiteX1" fmla="*/ 19835 w 201571"/>
                <a:gd name="connsiteY1" fmla="*/ 259286 h 264562"/>
                <a:gd name="connsiteX2" fmla="*/ 199990 w 201571"/>
                <a:gd name="connsiteY2" fmla="*/ 17400 h 264562"/>
                <a:gd name="connsiteX3" fmla="*/ 198730 w 201571"/>
                <a:gd name="connsiteY3" fmla="*/ 2282 h 264562"/>
                <a:gd name="connsiteX4" fmla="*/ 183612 w 201571"/>
                <a:gd name="connsiteY4" fmla="*/ 3542 h 264562"/>
                <a:gd name="connsiteX5" fmla="*/ 2197 w 201571"/>
                <a:gd name="connsiteY5" fmla="*/ 246688 h 264562"/>
                <a:gd name="connsiteX6" fmla="*/ 4717 w 201571"/>
                <a:gd name="connsiteY6" fmla="*/ 261806 h 264562"/>
                <a:gd name="connsiteX7" fmla="*/ 12276 w 201571"/>
                <a:gd name="connsiteY7" fmla="*/ 264325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571" h="264562">
                  <a:moveTo>
                    <a:pt x="12276" y="264325"/>
                  </a:moveTo>
                  <a:cubicBezTo>
                    <a:pt x="14796" y="264325"/>
                    <a:pt x="17315" y="261806"/>
                    <a:pt x="19835" y="259286"/>
                  </a:cubicBezTo>
                  <a:cubicBezTo>
                    <a:pt x="77787" y="177397"/>
                    <a:pt x="138259" y="95509"/>
                    <a:pt x="199990" y="17400"/>
                  </a:cubicBezTo>
                  <a:cubicBezTo>
                    <a:pt x="203769" y="12361"/>
                    <a:pt x="202510" y="6061"/>
                    <a:pt x="198730" y="2282"/>
                  </a:cubicBezTo>
                  <a:cubicBezTo>
                    <a:pt x="193691" y="-1497"/>
                    <a:pt x="187392" y="-238"/>
                    <a:pt x="183612" y="3542"/>
                  </a:cubicBezTo>
                  <a:cubicBezTo>
                    <a:pt x="120621" y="82911"/>
                    <a:pt x="60149" y="164799"/>
                    <a:pt x="2197" y="246688"/>
                  </a:cubicBezTo>
                  <a:cubicBezTo>
                    <a:pt x="-1582" y="251727"/>
                    <a:pt x="-322" y="258026"/>
                    <a:pt x="4717" y="261806"/>
                  </a:cubicBezTo>
                  <a:cubicBezTo>
                    <a:pt x="7237" y="264325"/>
                    <a:pt x="9756" y="265585"/>
                    <a:pt x="12276" y="264325"/>
                  </a:cubicBezTo>
                  <a:close/>
                </a:path>
              </a:pathLst>
            </a:custGeom>
            <a:solidFill>
              <a:srgbClr val="56E395"/>
            </a:solidFill>
            <a:ln w="12584" cap="flat">
              <a:noFill/>
              <a:prstDash val="solid"/>
              <a:miter/>
            </a:ln>
          </p:spPr>
          <p:txBody>
            <a:bodyPr rtlCol="0" anchor="ctr"/>
            <a:lstStyle/>
            <a:p>
              <a:endParaRPr lang="zh-CN" altLang="en-US"/>
            </a:p>
          </p:txBody>
        </p:sp>
        <p:sp>
          <p:nvSpPr>
            <p:cNvPr id="10052" name="任意多边形: 形状 10051"/>
            <p:cNvSpPr/>
            <p:nvPr/>
          </p:nvSpPr>
          <p:spPr>
            <a:xfrm>
              <a:off x="5902050" y="4044738"/>
              <a:ext cx="176375" cy="214170"/>
            </a:xfrm>
            <a:custGeom>
              <a:avLst/>
              <a:gdLst>
                <a:gd name="connsiteX0" fmla="*/ 11016 w 176375"/>
                <a:gd name="connsiteY0" fmla="*/ 214485 h 214169"/>
                <a:gd name="connsiteX1" fmla="*/ 18575 w 176375"/>
                <a:gd name="connsiteY1" fmla="*/ 210706 h 214169"/>
                <a:gd name="connsiteX2" fmla="*/ 179833 w 176375"/>
                <a:gd name="connsiteY2" fmla="*/ 17952 h 214169"/>
                <a:gd name="connsiteX3" fmla="*/ 179833 w 176375"/>
                <a:gd name="connsiteY3" fmla="*/ 2835 h 214169"/>
                <a:gd name="connsiteX4" fmla="*/ 164715 w 176375"/>
                <a:gd name="connsiteY4" fmla="*/ 2835 h 214169"/>
                <a:gd name="connsiteX5" fmla="*/ 2198 w 176375"/>
                <a:gd name="connsiteY5" fmla="*/ 198107 h 214169"/>
                <a:gd name="connsiteX6" fmla="*/ 4717 w 176375"/>
                <a:gd name="connsiteY6" fmla="*/ 213225 h 214169"/>
                <a:gd name="connsiteX7" fmla="*/ 11016 w 176375"/>
                <a:gd name="connsiteY7" fmla="*/ 214485 h 21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214169">
                  <a:moveTo>
                    <a:pt x="11016" y="214485"/>
                  </a:moveTo>
                  <a:cubicBezTo>
                    <a:pt x="13536" y="214485"/>
                    <a:pt x="16056" y="213225"/>
                    <a:pt x="18575" y="210706"/>
                  </a:cubicBezTo>
                  <a:cubicBezTo>
                    <a:pt x="67708" y="142675"/>
                    <a:pt x="121881" y="78424"/>
                    <a:pt x="179833" y="17952"/>
                  </a:cubicBezTo>
                  <a:cubicBezTo>
                    <a:pt x="183612" y="14173"/>
                    <a:pt x="183612" y="6614"/>
                    <a:pt x="179833" y="2835"/>
                  </a:cubicBezTo>
                  <a:cubicBezTo>
                    <a:pt x="176053" y="-945"/>
                    <a:pt x="168494" y="-945"/>
                    <a:pt x="164715" y="2835"/>
                  </a:cubicBezTo>
                  <a:cubicBezTo>
                    <a:pt x="106763" y="63306"/>
                    <a:pt x="51331" y="128817"/>
                    <a:pt x="2198" y="198107"/>
                  </a:cubicBezTo>
                  <a:cubicBezTo>
                    <a:pt x="-1582" y="203147"/>
                    <a:pt x="-322" y="209446"/>
                    <a:pt x="4717" y="213225"/>
                  </a:cubicBezTo>
                  <a:cubicBezTo>
                    <a:pt x="4717" y="214485"/>
                    <a:pt x="8497" y="214485"/>
                    <a:pt x="11016" y="214485"/>
                  </a:cubicBezTo>
                  <a:close/>
                </a:path>
              </a:pathLst>
            </a:custGeom>
            <a:solidFill>
              <a:srgbClr val="56E395"/>
            </a:solidFill>
            <a:ln w="12584" cap="flat">
              <a:noFill/>
              <a:prstDash val="solid"/>
              <a:miter/>
            </a:ln>
          </p:spPr>
          <p:txBody>
            <a:bodyPr rtlCol="0" anchor="ctr"/>
            <a:lstStyle/>
            <a:p>
              <a:endParaRPr lang="zh-CN" altLang="en-US"/>
            </a:p>
          </p:txBody>
        </p:sp>
        <p:sp>
          <p:nvSpPr>
            <p:cNvPr id="10053" name="任意多边形: 形状 10052"/>
            <p:cNvSpPr/>
            <p:nvPr/>
          </p:nvSpPr>
          <p:spPr>
            <a:xfrm>
              <a:off x="5902050" y="4232592"/>
              <a:ext cx="113384" cy="125982"/>
            </a:xfrm>
            <a:custGeom>
              <a:avLst/>
              <a:gdLst>
                <a:gd name="connsiteX0" fmla="*/ 12276 w 113384"/>
                <a:gd name="connsiteY0" fmla="*/ 136235 h 125982"/>
                <a:gd name="connsiteX1" fmla="*/ 19835 w 113384"/>
                <a:gd name="connsiteY1" fmla="*/ 131196 h 125982"/>
                <a:gd name="connsiteX2" fmla="*/ 121881 w 113384"/>
                <a:gd name="connsiteY2" fmla="*/ 19071 h 125982"/>
                <a:gd name="connsiteX3" fmla="*/ 123141 w 113384"/>
                <a:gd name="connsiteY3" fmla="*/ 3954 h 125982"/>
                <a:gd name="connsiteX4" fmla="*/ 108023 w 113384"/>
                <a:gd name="connsiteY4" fmla="*/ 2694 h 125982"/>
                <a:gd name="connsiteX5" fmla="*/ 2198 w 113384"/>
                <a:gd name="connsiteY5" fmla="*/ 119857 h 125982"/>
                <a:gd name="connsiteX6" fmla="*/ 4717 w 113384"/>
                <a:gd name="connsiteY6" fmla="*/ 134975 h 125982"/>
                <a:gd name="connsiteX7" fmla="*/ 12276 w 113384"/>
                <a:gd name="connsiteY7" fmla="*/ 136235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25982">
                  <a:moveTo>
                    <a:pt x="12276" y="136235"/>
                  </a:moveTo>
                  <a:cubicBezTo>
                    <a:pt x="14796" y="136235"/>
                    <a:pt x="17316" y="133715"/>
                    <a:pt x="19835" y="131196"/>
                  </a:cubicBezTo>
                  <a:cubicBezTo>
                    <a:pt x="48811" y="89622"/>
                    <a:pt x="82826" y="51827"/>
                    <a:pt x="121881" y="19071"/>
                  </a:cubicBezTo>
                  <a:cubicBezTo>
                    <a:pt x="126920" y="15292"/>
                    <a:pt x="126920" y="8993"/>
                    <a:pt x="123141" y="3954"/>
                  </a:cubicBezTo>
                  <a:cubicBezTo>
                    <a:pt x="119361" y="-1085"/>
                    <a:pt x="113062" y="-1085"/>
                    <a:pt x="108023" y="2694"/>
                  </a:cubicBezTo>
                  <a:cubicBezTo>
                    <a:pt x="67708" y="36709"/>
                    <a:pt x="32433" y="75764"/>
                    <a:pt x="2198" y="119857"/>
                  </a:cubicBezTo>
                  <a:cubicBezTo>
                    <a:pt x="-1582" y="124897"/>
                    <a:pt x="-322" y="131196"/>
                    <a:pt x="4717" y="134975"/>
                  </a:cubicBezTo>
                  <a:cubicBezTo>
                    <a:pt x="7237" y="134975"/>
                    <a:pt x="9757" y="136235"/>
                    <a:pt x="12276" y="136235"/>
                  </a:cubicBezTo>
                  <a:close/>
                </a:path>
              </a:pathLst>
            </a:custGeom>
            <a:solidFill>
              <a:srgbClr val="56E395"/>
            </a:solidFill>
            <a:ln w="12584" cap="flat">
              <a:noFill/>
              <a:prstDash val="solid"/>
              <a:miter/>
            </a:ln>
          </p:spPr>
          <p:txBody>
            <a:bodyPr rtlCol="0" anchor="ctr"/>
            <a:lstStyle/>
            <a:p>
              <a:endParaRPr lang="zh-CN" altLang="en-US"/>
            </a:p>
          </p:txBody>
        </p:sp>
        <p:sp>
          <p:nvSpPr>
            <p:cNvPr id="10054" name="任意多边形: 形状 10053"/>
            <p:cNvSpPr/>
            <p:nvPr/>
          </p:nvSpPr>
          <p:spPr>
            <a:xfrm>
              <a:off x="5647701" y="3949764"/>
              <a:ext cx="251965" cy="125982"/>
            </a:xfrm>
            <a:custGeom>
              <a:avLst/>
              <a:gdLst>
                <a:gd name="connsiteX0" fmla="*/ 255286 w 251964"/>
                <a:gd name="connsiteY0" fmla="*/ 129304 h 125982"/>
                <a:gd name="connsiteX1" fmla="*/ 262845 w 251964"/>
                <a:gd name="connsiteY1" fmla="*/ 124265 h 125982"/>
                <a:gd name="connsiteX2" fmla="*/ 259066 w 251964"/>
                <a:gd name="connsiteY2" fmla="*/ 110407 h 125982"/>
                <a:gd name="connsiteX3" fmla="*/ 14660 w 251964"/>
                <a:gd name="connsiteY3" fmla="*/ 802 h 125982"/>
                <a:gd name="connsiteX4" fmla="*/ 802 w 251964"/>
                <a:gd name="connsiteY4" fmla="*/ 7101 h 125982"/>
                <a:gd name="connsiteX5" fmla="*/ 7101 w 251964"/>
                <a:gd name="connsiteY5" fmla="*/ 20959 h 125982"/>
                <a:gd name="connsiteX6" fmla="*/ 248987 w 251964"/>
                <a:gd name="connsiteY6" fmla="*/ 129304 h 125982"/>
                <a:gd name="connsiteX7" fmla="*/ 255286 w 251964"/>
                <a:gd name="connsiteY7" fmla="*/ 129304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125982">
                  <a:moveTo>
                    <a:pt x="255286" y="129304"/>
                  </a:moveTo>
                  <a:cubicBezTo>
                    <a:pt x="259066" y="129304"/>
                    <a:pt x="261585" y="126784"/>
                    <a:pt x="262845" y="124265"/>
                  </a:cubicBezTo>
                  <a:cubicBezTo>
                    <a:pt x="265365" y="119225"/>
                    <a:pt x="264105" y="112926"/>
                    <a:pt x="259066" y="110407"/>
                  </a:cubicBezTo>
                  <a:cubicBezTo>
                    <a:pt x="180957" y="68832"/>
                    <a:pt x="97808" y="31038"/>
                    <a:pt x="14660" y="802"/>
                  </a:cubicBezTo>
                  <a:cubicBezTo>
                    <a:pt x="9621" y="-1718"/>
                    <a:pt x="3322" y="2062"/>
                    <a:pt x="802" y="7101"/>
                  </a:cubicBezTo>
                  <a:cubicBezTo>
                    <a:pt x="-1718" y="12141"/>
                    <a:pt x="2062" y="18440"/>
                    <a:pt x="7101" y="20959"/>
                  </a:cubicBezTo>
                  <a:cubicBezTo>
                    <a:pt x="90249" y="51195"/>
                    <a:pt x="170878" y="87730"/>
                    <a:pt x="248987" y="129304"/>
                  </a:cubicBezTo>
                  <a:cubicBezTo>
                    <a:pt x="250247" y="129304"/>
                    <a:pt x="252767" y="129304"/>
                    <a:pt x="255286" y="129304"/>
                  </a:cubicBezTo>
                  <a:close/>
                </a:path>
              </a:pathLst>
            </a:custGeom>
            <a:solidFill>
              <a:srgbClr val="56E395"/>
            </a:solidFill>
            <a:ln w="12584" cap="flat">
              <a:noFill/>
              <a:prstDash val="solid"/>
              <a:miter/>
            </a:ln>
          </p:spPr>
          <p:txBody>
            <a:bodyPr rtlCol="0" anchor="ctr"/>
            <a:lstStyle/>
            <a:p>
              <a:endParaRPr lang="zh-CN" altLang="en-US"/>
            </a:p>
          </p:txBody>
        </p:sp>
        <p:sp>
          <p:nvSpPr>
            <p:cNvPr id="10055" name="任意多边形: 形状 10054"/>
            <p:cNvSpPr/>
            <p:nvPr/>
          </p:nvSpPr>
          <p:spPr>
            <a:xfrm>
              <a:off x="5633064" y="4018276"/>
              <a:ext cx="264563" cy="100786"/>
            </a:xfrm>
            <a:custGeom>
              <a:avLst/>
              <a:gdLst>
                <a:gd name="connsiteX0" fmla="*/ 264884 w 264562"/>
                <a:gd name="connsiteY0" fmla="*/ 103627 h 100785"/>
                <a:gd name="connsiteX1" fmla="*/ 273703 w 264562"/>
                <a:gd name="connsiteY1" fmla="*/ 96068 h 100785"/>
                <a:gd name="connsiteX2" fmla="*/ 267404 w 264562"/>
                <a:gd name="connsiteY2" fmla="*/ 82209 h 100785"/>
                <a:gd name="connsiteX3" fmla="*/ 14179 w 264562"/>
                <a:gd name="connsiteY3" fmla="*/ 321 h 100785"/>
                <a:gd name="connsiteX4" fmla="*/ 321 w 264562"/>
                <a:gd name="connsiteY4" fmla="*/ 6620 h 100785"/>
                <a:gd name="connsiteX5" fmla="*/ 6620 w 264562"/>
                <a:gd name="connsiteY5" fmla="*/ 20478 h 100785"/>
                <a:gd name="connsiteX6" fmla="*/ 259845 w 264562"/>
                <a:gd name="connsiteY6" fmla="*/ 102367 h 100785"/>
                <a:gd name="connsiteX7" fmla="*/ 264884 w 264562"/>
                <a:gd name="connsiteY7" fmla="*/ 103627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562" h="100785">
                  <a:moveTo>
                    <a:pt x="264884" y="103627"/>
                  </a:moveTo>
                  <a:cubicBezTo>
                    <a:pt x="268663" y="103627"/>
                    <a:pt x="272443" y="99847"/>
                    <a:pt x="273703" y="96068"/>
                  </a:cubicBezTo>
                  <a:cubicBezTo>
                    <a:pt x="274962" y="91028"/>
                    <a:pt x="272443" y="84729"/>
                    <a:pt x="267404" y="82209"/>
                  </a:cubicBezTo>
                  <a:lnTo>
                    <a:pt x="14179" y="321"/>
                  </a:lnTo>
                  <a:cubicBezTo>
                    <a:pt x="9140" y="-939"/>
                    <a:pt x="2841" y="1581"/>
                    <a:pt x="321" y="6620"/>
                  </a:cubicBezTo>
                  <a:cubicBezTo>
                    <a:pt x="-939" y="11660"/>
                    <a:pt x="1581" y="17959"/>
                    <a:pt x="6620" y="20478"/>
                  </a:cubicBezTo>
                  <a:lnTo>
                    <a:pt x="259845" y="102367"/>
                  </a:lnTo>
                  <a:cubicBezTo>
                    <a:pt x="262364" y="103627"/>
                    <a:pt x="263624" y="103627"/>
                    <a:pt x="264884" y="103627"/>
                  </a:cubicBezTo>
                  <a:close/>
                </a:path>
              </a:pathLst>
            </a:custGeom>
            <a:solidFill>
              <a:srgbClr val="56E395"/>
            </a:solidFill>
            <a:ln w="12584" cap="flat">
              <a:noFill/>
              <a:prstDash val="solid"/>
              <a:miter/>
            </a:ln>
          </p:spPr>
          <p:txBody>
            <a:bodyPr rtlCol="0" anchor="ctr"/>
            <a:lstStyle/>
            <a:p>
              <a:endParaRPr lang="zh-CN" altLang="en-US"/>
            </a:p>
          </p:txBody>
        </p:sp>
        <p:sp>
          <p:nvSpPr>
            <p:cNvPr id="10056" name="任意多边形: 形状 10055"/>
            <p:cNvSpPr/>
            <p:nvPr/>
          </p:nvSpPr>
          <p:spPr>
            <a:xfrm>
              <a:off x="5817642" y="3735459"/>
              <a:ext cx="75589" cy="100786"/>
            </a:xfrm>
            <a:custGeom>
              <a:avLst/>
              <a:gdLst>
                <a:gd name="connsiteX0" fmla="*/ 12276 w 75589"/>
                <a:gd name="connsiteY0" fmla="*/ 104243 h 100785"/>
                <a:gd name="connsiteX1" fmla="*/ 19835 w 75589"/>
                <a:gd name="connsiteY1" fmla="*/ 100464 h 100785"/>
                <a:gd name="connsiteX2" fmla="*/ 81567 w 75589"/>
                <a:gd name="connsiteY2" fmla="*/ 17315 h 100785"/>
                <a:gd name="connsiteX3" fmla="*/ 79047 w 75589"/>
                <a:gd name="connsiteY3" fmla="*/ 2198 h 100785"/>
                <a:gd name="connsiteX4" fmla="*/ 63929 w 75589"/>
                <a:gd name="connsiteY4" fmla="*/ 4717 h 100785"/>
                <a:gd name="connsiteX5" fmla="*/ 2197 w 75589"/>
                <a:gd name="connsiteY5" fmla="*/ 87866 h 100785"/>
                <a:gd name="connsiteX6" fmla="*/ 4717 w 75589"/>
                <a:gd name="connsiteY6" fmla="*/ 102983 h 100785"/>
                <a:gd name="connsiteX7" fmla="*/ 12276 w 75589"/>
                <a:gd name="connsiteY7" fmla="*/ 104243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00785">
                  <a:moveTo>
                    <a:pt x="12276" y="104243"/>
                  </a:moveTo>
                  <a:cubicBezTo>
                    <a:pt x="14796" y="104243"/>
                    <a:pt x="17315" y="102983"/>
                    <a:pt x="19835" y="100464"/>
                  </a:cubicBezTo>
                  <a:lnTo>
                    <a:pt x="81567" y="17315"/>
                  </a:lnTo>
                  <a:cubicBezTo>
                    <a:pt x="85346" y="12276"/>
                    <a:pt x="84086" y="5977"/>
                    <a:pt x="79047" y="2198"/>
                  </a:cubicBezTo>
                  <a:cubicBezTo>
                    <a:pt x="74007" y="-1582"/>
                    <a:pt x="67708" y="-322"/>
                    <a:pt x="63929" y="4717"/>
                  </a:cubicBezTo>
                  <a:lnTo>
                    <a:pt x="2197" y="87866"/>
                  </a:lnTo>
                  <a:cubicBezTo>
                    <a:pt x="-1582" y="92905"/>
                    <a:pt x="-322" y="99204"/>
                    <a:pt x="4717" y="102983"/>
                  </a:cubicBezTo>
                  <a:cubicBezTo>
                    <a:pt x="7237" y="104243"/>
                    <a:pt x="9756" y="104243"/>
                    <a:pt x="12276" y="104243"/>
                  </a:cubicBezTo>
                  <a:close/>
                </a:path>
              </a:pathLst>
            </a:custGeom>
            <a:solidFill>
              <a:srgbClr val="56E395"/>
            </a:solidFill>
            <a:ln w="12584" cap="flat">
              <a:noFill/>
              <a:prstDash val="solid"/>
              <a:miter/>
            </a:ln>
          </p:spPr>
          <p:txBody>
            <a:bodyPr rtlCol="0" anchor="ctr"/>
            <a:lstStyle/>
            <a:p>
              <a:endParaRPr lang="zh-CN" altLang="en-US"/>
            </a:p>
          </p:txBody>
        </p:sp>
        <p:sp>
          <p:nvSpPr>
            <p:cNvPr id="10057" name="任意多边形: 形状 10056"/>
            <p:cNvSpPr/>
            <p:nvPr/>
          </p:nvSpPr>
          <p:spPr>
            <a:xfrm>
              <a:off x="5795902" y="3647649"/>
              <a:ext cx="88188" cy="138581"/>
            </a:xfrm>
            <a:custGeom>
              <a:avLst/>
              <a:gdLst>
                <a:gd name="connsiteX0" fmla="*/ 12598 w 88187"/>
                <a:gd name="connsiteY0" fmla="*/ 145440 h 138580"/>
                <a:gd name="connsiteX1" fmla="*/ 20157 w 88187"/>
                <a:gd name="connsiteY1" fmla="*/ 140400 h 138580"/>
                <a:gd name="connsiteX2" fmla="*/ 93227 w 88187"/>
                <a:gd name="connsiteY2" fmla="*/ 16938 h 138580"/>
                <a:gd name="connsiteX3" fmla="*/ 89448 w 88187"/>
                <a:gd name="connsiteY3" fmla="*/ 1820 h 138580"/>
                <a:gd name="connsiteX4" fmla="*/ 74330 w 88187"/>
                <a:gd name="connsiteY4" fmla="*/ 5599 h 138580"/>
                <a:gd name="connsiteX5" fmla="*/ 1260 w 88187"/>
                <a:gd name="connsiteY5" fmla="*/ 130322 h 138580"/>
                <a:gd name="connsiteX6" fmla="*/ 5039 w 88187"/>
                <a:gd name="connsiteY6" fmla="*/ 144180 h 138580"/>
                <a:gd name="connsiteX7" fmla="*/ 12598 w 88187"/>
                <a:gd name="connsiteY7" fmla="*/ 14544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187" h="138580">
                  <a:moveTo>
                    <a:pt x="12598" y="145440"/>
                  </a:moveTo>
                  <a:cubicBezTo>
                    <a:pt x="16378" y="145440"/>
                    <a:pt x="18897" y="142920"/>
                    <a:pt x="20157" y="140400"/>
                  </a:cubicBezTo>
                  <a:cubicBezTo>
                    <a:pt x="42834" y="98826"/>
                    <a:pt x="66771" y="57252"/>
                    <a:pt x="93227" y="16938"/>
                  </a:cubicBezTo>
                  <a:cubicBezTo>
                    <a:pt x="97007" y="11898"/>
                    <a:pt x="94487" y="5599"/>
                    <a:pt x="89448" y="1820"/>
                  </a:cubicBezTo>
                  <a:cubicBezTo>
                    <a:pt x="84408" y="-1960"/>
                    <a:pt x="78109" y="560"/>
                    <a:pt x="74330" y="5599"/>
                  </a:cubicBezTo>
                  <a:cubicBezTo>
                    <a:pt x="47874" y="45914"/>
                    <a:pt x="23937" y="87488"/>
                    <a:pt x="1260" y="130322"/>
                  </a:cubicBezTo>
                  <a:cubicBezTo>
                    <a:pt x="-1260" y="135361"/>
                    <a:pt x="0" y="141660"/>
                    <a:pt x="5039" y="144180"/>
                  </a:cubicBezTo>
                  <a:cubicBezTo>
                    <a:pt x="7559" y="145440"/>
                    <a:pt x="10079" y="145440"/>
                    <a:pt x="12598" y="145440"/>
                  </a:cubicBezTo>
                  <a:close/>
                </a:path>
              </a:pathLst>
            </a:custGeom>
            <a:solidFill>
              <a:srgbClr val="56E395"/>
            </a:solidFill>
            <a:ln w="12584" cap="flat">
              <a:noFill/>
              <a:prstDash val="solid"/>
              <a:miter/>
            </a:ln>
          </p:spPr>
          <p:txBody>
            <a:bodyPr rtlCol="0" anchor="ctr"/>
            <a:lstStyle/>
            <a:p>
              <a:endParaRPr lang="zh-CN" altLang="en-US"/>
            </a:p>
          </p:txBody>
        </p:sp>
        <p:sp>
          <p:nvSpPr>
            <p:cNvPr id="10058" name="任意多边形: 形状 10057"/>
            <p:cNvSpPr/>
            <p:nvPr/>
          </p:nvSpPr>
          <p:spPr>
            <a:xfrm>
              <a:off x="5630064" y="3697800"/>
              <a:ext cx="151179" cy="50393"/>
            </a:xfrm>
            <a:custGeom>
              <a:avLst/>
              <a:gdLst>
                <a:gd name="connsiteX0" fmla="*/ 148201 w 151178"/>
                <a:gd name="connsiteY0" fmla="*/ 61274 h 50392"/>
                <a:gd name="connsiteX1" fmla="*/ 157020 w 151178"/>
                <a:gd name="connsiteY1" fmla="*/ 53715 h 50392"/>
                <a:gd name="connsiteX2" fmla="*/ 149461 w 151178"/>
                <a:gd name="connsiteY2" fmla="*/ 41116 h 50392"/>
                <a:gd name="connsiteX3" fmla="*/ 14660 w 151178"/>
                <a:gd name="connsiteY3" fmla="*/ 802 h 50392"/>
                <a:gd name="connsiteX4" fmla="*/ 802 w 151178"/>
                <a:gd name="connsiteY4" fmla="*/ 7101 h 50392"/>
                <a:gd name="connsiteX5" fmla="*/ 7101 w 151178"/>
                <a:gd name="connsiteY5" fmla="*/ 20959 h 50392"/>
                <a:gd name="connsiteX6" fmla="*/ 144422 w 151178"/>
                <a:gd name="connsiteY6" fmla="*/ 62533 h 50392"/>
                <a:gd name="connsiteX7" fmla="*/ 148201 w 151178"/>
                <a:gd name="connsiteY7" fmla="*/ 61274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50392">
                  <a:moveTo>
                    <a:pt x="148201" y="61274"/>
                  </a:moveTo>
                  <a:cubicBezTo>
                    <a:pt x="151981" y="61274"/>
                    <a:pt x="155760" y="57494"/>
                    <a:pt x="157020" y="53715"/>
                  </a:cubicBezTo>
                  <a:cubicBezTo>
                    <a:pt x="158280" y="47416"/>
                    <a:pt x="154500" y="42376"/>
                    <a:pt x="149461" y="41116"/>
                  </a:cubicBezTo>
                  <a:cubicBezTo>
                    <a:pt x="104108" y="29778"/>
                    <a:pt x="58754" y="17180"/>
                    <a:pt x="14660" y="802"/>
                  </a:cubicBezTo>
                  <a:cubicBezTo>
                    <a:pt x="9621" y="-1718"/>
                    <a:pt x="3322" y="2062"/>
                    <a:pt x="802" y="7101"/>
                  </a:cubicBezTo>
                  <a:cubicBezTo>
                    <a:pt x="-1718" y="12141"/>
                    <a:pt x="2062" y="18440"/>
                    <a:pt x="7101" y="20959"/>
                  </a:cubicBezTo>
                  <a:cubicBezTo>
                    <a:pt x="52455" y="37337"/>
                    <a:pt x="97808" y="51195"/>
                    <a:pt x="144422" y="62533"/>
                  </a:cubicBezTo>
                  <a:cubicBezTo>
                    <a:pt x="145682" y="61274"/>
                    <a:pt x="146941" y="61274"/>
                    <a:pt x="148201" y="61274"/>
                  </a:cubicBezTo>
                  <a:close/>
                </a:path>
              </a:pathLst>
            </a:custGeom>
            <a:solidFill>
              <a:srgbClr val="56E395"/>
            </a:solidFill>
            <a:ln w="12584" cap="flat">
              <a:noFill/>
              <a:prstDash val="solid"/>
              <a:miter/>
            </a:ln>
          </p:spPr>
          <p:txBody>
            <a:bodyPr rtlCol="0" anchor="ctr"/>
            <a:lstStyle/>
            <a:p>
              <a:endParaRPr lang="zh-CN" altLang="en-US"/>
            </a:p>
          </p:txBody>
        </p:sp>
        <p:sp>
          <p:nvSpPr>
            <p:cNvPr id="10059" name="任意多边形: 形状 10058"/>
            <p:cNvSpPr/>
            <p:nvPr/>
          </p:nvSpPr>
          <p:spPr>
            <a:xfrm>
              <a:off x="5770146" y="4354410"/>
              <a:ext cx="138581" cy="88188"/>
            </a:xfrm>
            <a:custGeom>
              <a:avLst/>
              <a:gdLst>
                <a:gd name="connsiteX0" fmla="*/ 139140 w 138580"/>
                <a:gd name="connsiteY0" fmla="*/ 88748 h 88187"/>
                <a:gd name="connsiteX1" fmla="*/ 146699 w 138580"/>
                <a:gd name="connsiteY1" fmla="*/ 82448 h 88187"/>
                <a:gd name="connsiteX2" fmla="*/ 141660 w 138580"/>
                <a:gd name="connsiteY2" fmla="*/ 68590 h 88187"/>
                <a:gd name="connsiteX3" fmla="*/ 16938 w 138580"/>
                <a:gd name="connsiteY3" fmla="*/ 1820 h 88187"/>
                <a:gd name="connsiteX4" fmla="*/ 1820 w 138580"/>
                <a:gd name="connsiteY4" fmla="*/ 5599 h 88187"/>
                <a:gd name="connsiteX5" fmla="*/ 5599 w 138580"/>
                <a:gd name="connsiteY5" fmla="*/ 20717 h 88187"/>
                <a:gd name="connsiteX6" fmla="*/ 132841 w 138580"/>
                <a:gd name="connsiteY6" fmla="*/ 90008 h 88187"/>
                <a:gd name="connsiteX7" fmla="*/ 139140 w 138580"/>
                <a:gd name="connsiteY7" fmla="*/ 88748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88187">
                  <a:moveTo>
                    <a:pt x="139140" y="88748"/>
                  </a:moveTo>
                  <a:cubicBezTo>
                    <a:pt x="142920" y="88748"/>
                    <a:pt x="145439" y="86228"/>
                    <a:pt x="146699" y="82448"/>
                  </a:cubicBezTo>
                  <a:cubicBezTo>
                    <a:pt x="149219" y="77409"/>
                    <a:pt x="146699" y="71110"/>
                    <a:pt x="141660" y="68590"/>
                  </a:cubicBezTo>
                  <a:cubicBezTo>
                    <a:pt x="98826" y="49693"/>
                    <a:pt x="57252" y="27016"/>
                    <a:pt x="16938" y="1820"/>
                  </a:cubicBezTo>
                  <a:cubicBezTo>
                    <a:pt x="11898" y="-1960"/>
                    <a:pt x="5599" y="560"/>
                    <a:pt x="1820" y="5599"/>
                  </a:cubicBezTo>
                  <a:cubicBezTo>
                    <a:pt x="-1960" y="10638"/>
                    <a:pt x="560" y="16938"/>
                    <a:pt x="5599" y="20717"/>
                  </a:cubicBezTo>
                  <a:cubicBezTo>
                    <a:pt x="45914" y="45914"/>
                    <a:pt x="88747" y="69850"/>
                    <a:pt x="132841" y="90008"/>
                  </a:cubicBezTo>
                  <a:cubicBezTo>
                    <a:pt x="135361" y="88748"/>
                    <a:pt x="136621" y="90008"/>
                    <a:pt x="139140" y="88748"/>
                  </a:cubicBezTo>
                  <a:close/>
                </a:path>
              </a:pathLst>
            </a:custGeom>
            <a:solidFill>
              <a:srgbClr val="56E395"/>
            </a:solidFill>
            <a:ln w="12584" cap="flat">
              <a:noFill/>
              <a:prstDash val="solid"/>
              <a:miter/>
            </a:ln>
          </p:spPr>
          <p:txBody>
            <a:bodyPr rtlCol="0" anchor="ctr"/>
            <a:lstStyle/>
            <a:p>
              <a:endParaRPr lang="zh-CN" altLang="en-US"/>
            </a:p>
          </p:txBody>
        </p:sp>
        <p:sp>
          <p:nvSpPr>
            <p:cNvPr id="10060" name="任意多边形: 形状 10059"/>
            <p:cNvSpPr/>
            <p:nvPr/>
          </p:nvSpPr>
          <p:spPr>
            <a:xfrm>
              <a:off x="5702970" y="3414967"/>
              <a:ext cx="138581" cy="201572"/>
            </a:xfrm>
            <a:custGeom>
              <a:avLst/>
              <a:gdLst>
                <a:gd name="connsiteX0" fmla="*/ 12304 w 138580"/>
                <a:gd name="connsiteY0" fmla="*/ 209305 h 201571"/>
                <a:gd name="connsiteX1" fmla="*/ 21123 w 138580"/>
                <a:gd name="connsiteY1" fmla="*/ 203006 h 201571"/>
                <a:gd name="connsiteX2" fmla="*/ 137026 w 138580"/>
                <a:gd name="connsiteY2" fmla="*/ 17812 h 201571"/>
                <a:gd name="connsiteX3" fmla="*/ 135766 w 138580"/>
                <a:gd name="connsiteY3" fmla="*/ 2694 h 201571"/>
                <a:gd name="connsiteX4" fmla="*/ 120649 w 138580"/>
                <a:gd name="connsiteY4" fmla="*/ 3954 h 201571"/>
                <a:gd name="connsiteX5" fmla="*/ 966 w 138580"/>
                <a:gd name="connsiteY5" fmla="*/ 195447 h 201571"/>
                <a:gd name="connsiteX6" fmla="*/ 7265 w 138580"/>
                <a:gd name="connsiteY6" fmla="*/ 209305 h 201571"/>
                <a:gd name="connsiteX7" fmla="*/ 12304 w 138580"/>
                <a:gd name="connsiteY7" fmla="*/ 209305 h 201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201571">
                  <a:moveTo>
                    <a:pt x="12304" y="209305"/>
                  </a:moveTo>
                  <a:cubicBezTo>
                    <a:pt x="16083" y="209305"/>
                    <a:pt x="18603" y="206785"/>
                    <a:pt x="21123" y="203006"/>
                  </a:cubicBezTo>
                  <a:cubicBezTo>
                    <a:pt x="48839" y="134976"/>
                    <a:pt x="87893" y="71984"/>
                    <a:pt x="137026" y="17812"/>
                  </a:cubicBezTo>
                  <a:cubicBezTo>
                    <a:pt x="140806" y="14032"/>
                    <a:pt x="140806" y="6473"/>
                    <a:pt x="135766" y="2694"/>
                  </a:cubicBezTo>
                  <a:cubicBezTo>
                    <a:pt x="131987" y="-1085"/>
                    <a:pt x="124428" y="-1085"/>
                    <a:pt x="120649" y="3954"/>
                  </a:cubicBezTo>
                  <a:cubicBezTo>
                    <a:pt x="68996" y="60646"/>
                    <a:pt x="28681" y="124897"/>
                    <a:pt x="966" y="195447"/>
                  </a:cubicBezTo>
                  <a:cubicBezTo>
                    <a:pt x="-1554" y="200486"/>
                    <a:pt x="966" y="206785"/>
                    <a:pt x="7265" y="209305"/>
                  </a:cubicBezTo>
                  <a:cubicBezTo>
                    <a:pt x="8525" y="209305"/>
                    <a:pt x="11044" y="209305"/>
                    <a:pt x="12304" y="209305"/>
                  </a:cubicBezTo>
                  <a:close/>
                </a:path>
              </a:pathLst>
            </a:custGeom>
            <a:solidFill>
              <a:srgbClr val="56E395"/>
            </a:solidFill>
            <a:ln w="12584" cap="flat">
              <a:noFill/>
              <a:prstDash val="solid"/>
              <a:miter/>
            </a:ln>
          </p:spPr>
          <p:txBody>
            <a:bodyPr rtlCol="0" anchor="ctr"/>
            <a:lstStyle/>
            <a:p>
              <a:endParaRPr lang="zh-CN" altLang="en-US"/>
            </a:p>
          </p:txBody>
        </p:sp>
        <p:sp>
          <p:nvSpPr>
            <p:cNvPr id="10061" name="任意多边形: 形状 10060"/>
            <p:cNvSpPr/>
            <p:nvPr/>
          </p:nvSpPr>
          <p:spPr>
            <a:xfrm>
              <a:off x="5670214" y="3433073"/>
              <a:ext cx="62991" cy="125982"/>
            </a:xfrm>
            <a:custGeom>
              <a:avLst/>
              <a:gdLst>
                <a:gd name="connsiteX0" fmla="*/ 12304 w 62991"/>
                <a:gd name="connsiteY0" fmla="*/ 126948 h 125982"/>
                <a:gd name="connsiteX1" fmla="*/ 21123 w 62991"/>
                <a:gd name="connsiteY1" fmla="*/ 120649 h 125982"/>
                <a:gd name="connsiteX2" fmla="*/ 65217 w 62991"/>
                <a:gd name="connsiteY2" fmla="*/ 14824 h 125982"/>
                <a:gd name="connsiteX3" fmla="*/ 58918 w 62991"/>
                <a:gd name="connsiteY3" fmla="*/ 966 h 125982"/>
                <a:gd name="connsiteX4" fmla="*/ 45059 w 62991"/>
                <a:gd name="connsiteY4" fmla="*/ 7265 h 125982"/>
                <a:gd name="connsiteX5" fmla="*/ 966 w 62991"/>
                <a:gd name="connsiteY5" fmla="*/ 113090 h 125982"/>
                <a:gd name="connsiteX6" fmla="*/ 7265 w 62991"/>
                <a:gd name="connsiteY6" fmla="*/ 126948 h 125982"/>
                <a:gd name="connsiteX7" fmla="*/ 12304 w 62991"/>
                <a:gd name="connsiteY7" fmla="*/ 126948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991" h="125982">
                  <a:moveTo>
                    <a:pt x="12304" y="126948"/>
                  </a:moveTo>
                  <a:cubicBezTo>
                    <a:pt x="16084" y="126948"/>
                    <a:pt x="18603" y="124428"/>
                    <a:pt x="21123" y="120649"/>
                  </a:cubicBezTo>
                  <a:lnTo>
                    <a:pt x="65217" y="14824"/>
                  </a:lnTo>
                  <a:cubicBezTo>
                    <a:pt x="67736" y="9784"/>
                    <a:pt x="65217" y="3485"/>
                    <a:pt x="58918" y="966"/>
                  </a:cubicBezTo>
                  <a:cubicBezTo>
                    <a:pt x="53878" y="-1554"/>
                    <a:pt x="47579" y="966"/>
                    <a:pt x="45059" y="7265"/>
                  </a:cubicBezTo>
                  <a:lnTo>
                    <a:pt x="966" y="113090"/>
                  </a:lnTo>
                  <a:cubicBezTo>
                    <a:pt x="-1554" y="118129"/>
                    <a:pt x="966" y="124428"/>
                    <a:pt x="7265" y="126948"/>
                  </a:cubicBezTo>
                  <a:cubicBezTo>
                    <a:pt x="8525" y="126948"/>
                    <a:pt x="11044" y="126948"/>
                    <a:pt x="12304" y="126948"/>
                  </a:cubicBezTo>
                  <a:close/>
                </a:path>
              </a:pathLst>
            </a:custGeom>
            <a:solidFill>
              <a:srgbClr val="56E395"/>
            </a:solidFill>
            <a:ln w="12584" cap="flat">
              <a:noFill/>
              <a:prstDash val="solid"/>
              <a:miter/>
            </a:ln>
          </p:spPr>
          <p:txBody>
            <a:bodyPr rtlCol="0" anchor="ctr"/>
            <a:lstStyle/>
            <a:p>
              <a:endParaRPr lang="zh-CN" altLang="en-US"/>
            </a:p>
          </p:txBody>
        </p:sp>
        <p:sp>
          <p:nvSpPr>
            <p:cNvPr id="10062" name="任意多边形: 形状 10061"/>
            <p:cNvSpPr/>
            <p:nvPr/>
          </p:nvSpPr>
          <p:spPr>
            <a:xfrm>
              <a:off x="5524103" y="3339874"/>
              <a:ext cx="138581" cy="113384"/>
            </a:xfrm>
            <a:custGeom>
              <a:avLst/>
              <a:gdLst>
                <a:gd name="connsiteX0" fmla="*/ 130700 w 138580"/>
                <a:gd name="connsiteY0" fmla="*/ 120621 h 113384"/>
                <a:gd name="connsiteX1" fmla="*/ 136999 w 138580"/>
                <a:gd name="connsiteY1" fmla="*/ 116841 h 113384"/>
                <a:gd name="connsiteX2" fmla="*/ 135739 w 138580"/>
                <a:gd name="connsiteY2" fmla="*/ 101724 h 113384"/>
                <a:gd name="connsiteX3" fmla="*/ 17316 w 138580"/>
                <a:gd name="connsiteY3" fmla="*/ 2198 h 113384"/>
                <a:gd name="connsiteX4" fmla="*/ 2198 w 138580"/>
                <a:gd name="connsiteY4" fmla="*/ 4717 h 113384"/>
                <a:gd name="connsiteX5" fmla="*/ 4717 w 138580"/>
                <a:gd name="connsiteY5" fmla="*/ 19835 h 113384"/>
                <a:gd name="connsiteX6" fmla="*/ 121881 w 138580"/>
                <a:gd name="connsiteY6" fmla="*/ 118101 h 113384"/>
                <a:gd name="connsiteX7" fmla="*/ 130700 w 138580"/>
                <a:gd name="connsiteY7" fmla="*/ 120621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13384">
                  <a:moveTo>
                    <a:pt x="130700" y="120621"/>
                  </a:moveTo>
                  <a:cubicBezTo>
                    <a:pt x="133219" y="120621"/>
                    <a:pt x="135739" y="119361"/>
                    <a:pt x="136999" y="116841"/>
                  </a:cubicBezTo>
                  <a:cubicBezTo>
                    <a:pt x="140778" y="113062"/>
                    <a:pt x="140778" y="105503"/>
                    <a:pt x="135739" y="101724"/>
                  </a:cubicBezTo>
                  <a:cubicBezTo>
                    <a:pt x="97944" y="66448"/>
                    <a:pt x="57630" y="33693"/>
                    <a:pt x="17316" y="2198"/>
                  </a:cubicBezTo>
                  <a:cubicBezTo>
                    <a:pt x="12276" y="-1582"/>
                    <a:pt x="5977" y="-322"/>
                    <a:pt x="2198" y="4717"/>
                  </a:cubicBezTo>
                  <a:cubicBezTo>
                    <a:pt x="-1582" y="9756"/>
                    <a:pt x="-322" y="16056"/>
                    <a:pt x="4717" y="19835"/>
                  </a:cubicBezTo>
                  <a:cubicBezTo>
                    <a:pt x="45031" y="50071"/>
                    <a:pt x="84086" y="84086"/>
                    <a:pt x="121881" y="118101"/>
                  </a:cubicBezTo>
                  <a:cubicBezTo>
                    <a:pt x="124401" y="120621"/>
                    <a:pt x="128180" y="120621"/>
                    <a:pt x="130700" y="120621"/>
                  </a:cubicBezTo>
                  <a:close/>
                </a:path>
              </a:pathLst>
            </a:custGeom>
            <a:solidFill>
              <a:srgbClr val="56E395"/>
            </a:solidFill>
            <a:ln w="12584" cap="flat">
              <a:noFill/>
              <a:prstDash val="solid"/>
              <a:miter/>
            </a:ln>
          </p:spPr>
          <p:txBody>
            <a:bodyPr rtlCol="0" anchor="ctr"/>
            <a:lstStyle/>
            <a:p>
              <a:endParaRPr lang="zh-CN" altLang="en-US"/>
            </a:p>
          </p:txBody>
        </p:sp>
        <p:sp>
          <p:nvSpPr>
            <p:cNvPr id="10063" name="任意多边形: 形状 10062"/>
            <p:cNvSpPr/>
            <p:nvPr/>
          </p:nvSpPr>
          <p:spPr>
            <a:xfrm>
              <a:off x="5548039" y="3298300"/>
              <a:ext cx="113384" cy="88188"/>
            </a:xfrm>
            <a:custGeom>
              <a:avLst/>
              <a:gdLst>
                <a:gd name="connsiteX0" fmla="*/ 105503 w 113384"/>
                <a:gd name="connsiteY0" fmla="*/ 92905 h 88187"/>
                <a:gd name="connsiteX1" fmla="*/ 111802 w 113384"/>
                <a:gd name="connsiteY1" fmla="*/ 89125 h 88187"/>
                <a:gd name="connsiteX2" fmla="*/ 110542 w 113384"/>
                <a:gd name="connsiteY2" fmla="*/ 74007 h 88187"/>
                <a:gd name="connsiteX3" fmla="*/ 17315 w 113384"/>
                <a:gd name="connsiteY3" fmla="*/ 2198 h 88187"/>
                <a:gd name="connsiteX4" fmla="*/ 2197 w 113384"/>
                <a:gd name="connsiteY4" fmla="*/ 4717 h 88187"/>
                <a:gd name="connsiteX5" fmla="*/ 4717 w 113384"/>
                <a:gd name="connsiteY5" fmla="*/ 19835 h 88187"/>
                <a:gd name="connsiteX6" fmla="*/ 95424 w 113384"/>
                <a:gd name="connsiteY6" fmla="*/ 90385 h 88187"/>
                <a:gd name="connsiteX7" fmla="*/ 105503 w 113384"/>
                <a:gd name="connsiteY7" fmla="*/ 92905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88187">
                  <a:moveTo>
                    <a:pt x="105503" y="92905"/>
                  </a:moveTo>
                  <a:cubicBezTo>
                    <a:pt x="108022" y="92905"/>
                    <a:pt x="110542" y="91645"/>
                    <a:pt x="111802" y="89125"/>
                  </a:cubicBezTo>
                  <a:cubicBezTo>
                    <a:pt x="115582" y="85346"/>
                    <a:pt x="115582" y="77787"/>
                    <a:pt x="110542" y="74007"/>
                  </a:cubicBezTo>
                  <a:cubicBezTo>
                    <a:pt x="81567" y="47551"/>
                    <a:pt x="50071" y="23615"/>
                    <a:pt x="17315" y="2198"/>
                  </a:cubicBezTo>
                  <a:cubicBezTo>
                    <a:pt x="12276" y="-1582"/>
                    <a:pt x="5977" y="-322"/>
                    <a:pt x="2197" y="4717"/>
                  </a:cubicBezTo>
                  <a:cubicBezTo>
                    <a:pt x="-1582" y="9756"/>
                    <a:pt x="-322" y="16056"/>
                    <a:pt x="4717" y="19835"/>
                  </a:cubicBezTo>
                  <a:cubicBezTo>
                    <a:pt x="36213" y="41252"/>
                    <a:pt x="66448" y="63929"/>
                    <a:pt x="95424" y="90385"/>
                  </a:cubicBezTo>
                  <a:cubicBezTo>
                    <a:pt x="99204" y="92905"/>
                    <a:pt x="101723" y="92905"/>
                    <a:pt x="105503" y="92905"/>
                  </a:cubicBezTo>
                  <a:close/>
                </a:path>
              </a:pathLst>
            </a:custGeom>
            <a:solidFill>
              <a:srgbClr val="56E395"/>
            </a:solidFill>
            <a:ln w="12584" cap="flat">
              <a:noFill/>
              <a:prstDash val="solid"/>
              <a:miter/>
            </a:ln>
          </p:spPr>
          <p:txBody>
            <a:bodyPr rtlCol="0" anchor="ctr"/>
            <a:lstStyle/>
            <a:p>
              <a:endParaRPr lang="zh-CN" altLang="en-US"/>
            </a:p>
          </p:txBody>
        </p:sp>
        <p:sp>
          <p:nvSpPr>
            <p:cNvPr id="10064" name="任意多边形: 形状 10063"/>
            <p:cNvSpPr/>
            <p:nvPr/>
          </p:nvSpPr>
          <p:spPr>
            <a:xfrm>
              <a:off x="5716890" y="3389945"/>
              <a:ext cx="415742" cy="1222029"/>
            </a:xfrm>
            <a:custGeom>
              <a:avLst/>
              <a:gdLst>
                <a:gd name="connsiteX0" fmla="*/ 81532 w 415741"/>
                <a:gd name="connsiteY0" fmla="*/ 835263 h 1222028"/>
                <a:gd name="connsiteX1" fmla="*/ 155861 w 415741"/>
                <a:gd name="connsiteY1" fmla="*/ 0 h 1222028"/>
                <a:gd name="connsiteX2" fmla="*/ 198695 w 415741"/>
                <a:gd name="connsiteY2" fmla="*/ 243146 h 1222028"/>
                <a:gd name="connsiteX3" fmla="*/ 409086 w 415741"/>
                <a:gd name="connsiteY3" fmla="*/ 571960 h 1222028"/>
                <a:gd name="connsiteX4" fmla="*/ 376331 w 415741"/>
                <a:gd name="connsiteY4" fmla="*/ 976363 h 1222028"/>
                <a:gd name="connsiteX5" fmla="*/ 210034 w 415741"/>
                <a:gd name="connsiteY5" fmla="*/ 1220769 h 1222028"/>
                <a:gd name="connsiteX6" fmla="*/ 48776 w 415741"/>
                <a:gd name="connsiteY6" fmla="*/ 1131322 h 1222028"/>
                <a:gd name="connsiteX7" fmla="*/ 81532 w 415741"/>
                <a:gd name="connsiteY7" fmla="*/ 835263 h 122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5741" h="1222028">
                  <a:moveTo>
                    <a:pt x="81532" y="835263"/>
                  </a:moveTo>
                  <a:cubicBezTo>
                    <a:pt x="-30592" y="549283"/>
                    <a:pt x="-45710" y="212910"/>
                    <a:pt x="155861" y="0"/>
                  </a:cubicBezTo>
                  <a:cubicBezTo>
                    <a:pt x="189877" y="83148"/>
                    <a:pt x="201215" y="182674"/>
                    <a:pt x="198695" y="243146"/>
                  </a:cubicBezTo>
                  <a:cubicBezTo>
                    <a:pt x="193656" y="389286"/>
                    <a:pt x="357433" y="396844"/>
                    <a:pt x="409086" y="571960"/>
                  </a:cubicBezTo>
                  <a:cubicBezTo>
                    <a:pt x="460739" y="747075"/>
                    <a:pt x="359953" y="791169"/>
                    <a:pt x="376331" y="976363"/>
                  </a:cubicBezTo>
                  <a:cubicBezTo>
                    <a:pt x="392708" y="1161557"/>
                    <a:pt x="304520" y="1206911"/>
                    <a:pt x="210034" y="1220769"/>
                  </a:cubicBezTo>
                  <a:cubicBezTo>
                    <a:pt x="133185" y="1232107"/>
                    <a:pt x="73973" y="1201871"/>
                    <a:pt x="48776" y="1131322"/>
                  </a:cubicBezTo>
                  <a:cubicBezTo>
                    <a:pt x="84051" y="1028016"/>
                    <a:pt x="120587" y="929750"/>
                    <a:pt x="81532" y="835263"/>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10065" name="任意多边形: 形状 10064"/>
            <p:cNvSpPr/>
            <p:nvPr/>
          </p:nvSpPr>
          <p:spPr>
            <a:xfrm>
              <a:off x="5844018" y="2930229"/>
              <a:ext cx="806287" cy="1751154"/>
            </a:xfrm>
            <a:custGeom>
              <a:avLst/>
              <a:gdLst>
                <a:gd name="connsiteX0" fmla="*/ 274399 w 806286"/>
                <a:gd name="connsiteY0" fmla="*/ 1748516 h 1751154"/>
                <a:gd name="connsiteX1" fmla="*/ 61489 w 806286"/>
                <a:gd name="connsiteY1" fmla="*/ 1436079 h 1751154"/>
                <a:gd name="connsiteX2" fmla="*/ 18655 w 806286"/>
                <a:gd name="connsiteY2" fmla="*/ 918292 h 1751154"/>
                <a:gd name="connsiteX3" fmla="*/ 286997 w 806286"/>
                <a:gd name="connsiteY3" fmla="*/ 496251 h 1751154"/>
                <a:gd name="connsiteX4" fmla="*/ 372665 w 806286"/>
                <a:gd name="connsiteY4" fmla="*/ 123343 h 1751154"/>
                <a:gd name="connsiteX5" fmla="*/ 789667 w 806286"/>
                <a:gd name="connsiteY5" fmla="*/ 319876 h 1751154"/>
                <a:gd name="connsiteX6" fmla="*/ 646047 w 806286"/>
                <a:gd name="connsiteY6" fmla="*/ 694043 h 1751154"/>
                <a:gd name="connsiteX7" fmla="*/ 651086 w 806286"/>
                <a:gd name="connsiteY7" fmla="*/ 1084589 h 1751154"/>
                <a:gd name="connsiteX8" fmla="*/ 496128 w 806286"/>
                <a:gd name="connsiteY8" fmla="*/ 1485212 h 1751154"/>
                <a:gd name="connsiteX9" fmla="*/ 274399 w 806286"/>
                <a:gd name="connsiteY9" fmla="*/ 1748516 h 1751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6286" h="1751154">
                  <a:moveTo>
                    <a:pt x="274399" y="1748516"/>
                  </a:moveTo>
                  <a:cubicBezTo>
                    <a:pt x="153456" y="1730878"/>
                    <a:pt x="40072" y="1672926"/>
                    <a:pt x="61489" y="1436079"/>
                  </a:cubicBezTo>
                  <a:cubicBezTo>
                    <a:pt x="82906" y="1199233"/>
                    <a:pt x="-46856" y="1142541"/>
                    <a:pt x="18655" y="918292"/>
                  </a:cubicBezTo>
                  <a:cubicBezTo>
                    <a:pt x="84166" y="692783"/>
                    <a:pt x="293296" y="683965"/>
                    <a:pt x="286997" y="496251"/>
                  </a:cubicBezTo>
                  <a:cubicBezTo>
                    <a:pt x="284477" y="404284"/>
                    <a:pt x="303375" y="237987"/>
                    <a:pt x="372665" y="123343"/>
                  </a:cubicBezTo>
                  <a:cubicBezTo>
                    <a:pt x="488569" y="-69410"/>
                    <a:pt x="892972" y="-59331"/>
                    <a:pt x="789667" y="319876"/>
                  </a:cubicBezTo>
                  <a:cubicBezTo>
                    <a:pt x="754392" y="449638"/>
                    <a:pt x="651086" y="521448"/>
                    <a:pt x="646047" y="694043"/>
                  </a:cubicBezTo>
                  <a:cubicBezTo>
                    <a:pt x="642267" y="814986"/>
                    <a:pt x="706518" y="867899"/>
                    <a:pt x="651086" y="1084589"/>
                  </a:cubicBezTo>
                  <a:cubicBezTo>
                    <a:pt x="600693" y="1281121"/>
                    <a:pt x="479750" y="1291200"/>
                    <a:pt x="496128" y="1485212"/>
                  </a:cubicBezTo>
                  <a:cubicBezTo>
                    <a:pt x="512505" y="1677965"/>
                    <a:pt x="418019" y="1768672"/>
                    <a:pt x="274399" y="1748516"/>
                  </a:cubicBezTo>
                  <a:close/>
                </a:path>
              </a:pathLst>
            </a:custGeom>
            <a:solidFill>
              <a:srgbClr val="56E395"/>
            </a:solidFill>
            <a:ln w="12584" cap="flat">
              <a:noFill/>
              <a:prstDash val="solid"/>
              <a:miter/>
            </a:ln>
          </p:spPr>
          <p:txBody>
            <a:bodyPr rtlCol="0" anchor="ctr"/>
            <a:lstStyle/>
            <a:p>
              <a:endParaRPr lang="zh-CN" altLang="en-US"/>
            </a:p>
          </p:txBody>
        </p:sp>
        <p:sp>
          <p:nvSpPr>
            <p:cNvPr id="10066" name="任意多边形: 形状 10065"/>
            <p:cNvSpPr/>
            <p:nvPr/>
          </p:nvSpPr>
          <p:spPr>
            <a:xfrm>
              <a:off x="5843555" y="3955606"/>
              <a:ext cx="478733" cy="718099"/>
            </a:xfrm>
            <a:custGeom>
              <a:avLst/>
              <a:gdLst>
                <a:gd name="connsiteX0" fmla="*/ 221 w 478732"/>
                <a:gd name="connsiteY0" fmla="*/ 0 h 718099"/>
                <a:gd name="connsiteX1" fmla="*/ 489032 w 478732"/>
                <a:gd name="connsiteY1" fmla="*/ 580778 h 718099"/>
                <a:gd name="connsiteX2" fmla="*/ 273602 w 478732"/>
                <a:gd name="connsiteY2" fmla="*/ 723139 h 718099"/>
                <a:gd name="connsiteX3" fmla="*/ 60692 w 478732"/>
                <a:gd name="connsiteY3" fmla="*/ 410702 h 718099"/>
                <a:gd name="connsiteX4" fmla="*/ 221 w 478732"/>
                <a:gd name="connsiteY4" fmla="*/ 0 h 718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32" h="718099">
                  <a:moveTo>
                    <a:pt x="221" y="0"/>
                  </a:moveTo>
                  <a:cubicBezTo>
                    <a:pt x="206832" y="122203"/>
                    <a:pt x="373128" y="321255"/>
                    <a:pt x="489032" y="580778"/>
                  </a:cubicBezTo>
                  <a:cubicBezTo>
                    <a:pt x="463835" y="690383"/>
                    <a:pt x="383207" y="739516"/>
                    <a:pt x="273602" y="723139"/>
                  </a:cubicBezTo>
                  <a:cubicBezTo>
                    <a:pt x="152659" y="705501"/>
                    <a:pt x="39275" y="647549"/>
                    <a:pt x="60692" y="410702"/>
                  </a:cubicBezTo>
                  <a:cubicBezTo>
                    <a:pt x="78329" y="216690"/>
                    <a:pt x="-4819" y="143620"/>
                    <a:pt x="221" y="0"/>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10067" name="任意多边形: 形状 10066"/>
            <p:cNvSpPr/>
            <p:nvPr/>
          </p:nvSpPr>
          <p:spPr>
            <a:xfrm>
              <a:off x="6081882" y="2946172"/>
              <a:ext cx="390545" cy="1675565"/>
            </a:xfrm>
            <a:custGeom>
              <a:avLst/>
              <a:gdLst>
                <a:gd name="connsiteX0" fmla="*/ 8819 w 390545"/>
                <a:gd name="connsiteY0" fmla="*/ 1685959 h 1675564"/>
                <a:gd name="connsiteX1" fmla="*/ 17637 w 390545"/>
                <a:gd name="connsiteY1" fmla="*/ 1680919 h 1675564"/>
                <a:gd name="connsiteX2" fmla="*/ 65511 w 390545"/>
                <a:gd name="connsiteY2" fmla="*/ 1461710 h 1675564"/>
                <a:gd name="connsiteX3" fmla="*/ 66770 w 390545"/>
                <a:gd name="connsiteY3" fmla="*/ 1354625 h 1675564"/>
                <a:gd name="connsiteX4" fmla="*/ 142360 w 390545"/>
                <a:gd name="connsiteY4" fmla="*/ 801563 h 1675564"/>
                <a:gd name="connsiteX5" fmla="*/ 240626 w 390545"/>
                <a:gd name="connsiteY5" fmla="*/ 618888 h 1675564"/>
                <a:gd name="connsiteX6" fmla="*/ 343932 w 390545"/>
                <a:gd name="connsiteY6" fmla="*/ 423616 h 1675564"/>
                <a:gd name="connsiteX7" fmla="*/ 376687 w 390545"/>
                <a:gd name="connsiteY7" fmla="*/ 7874 h 1675564"/>
                <a:gd name="connsiteX8" fmla="*/ 364089 w 390545"/>
                <a:gd name="connsiteY8" fmla="*/ 315 h 1675564"/>
                <a:gd name="connsiteX9" fmla="*/ 356530 w 390545"/>
                <a:gd name="connsiteY9" fmla="*/ 12913 h 1675564"/>
                <a:gd name="connsiteX10" fmla="*/ 325034 w 390545"/>
                <a:gd name="connsiteY10" fmla="*/ 416057 h 1675564"/>
                <a:gd name="connsiteX11" fmla="*/ 222989 w 390545"/>
                <a:gd name="connsiteY11" fmla="*/ 608810 h 1675564"/>
                <a:gd name="connsiteX12" fmla="*/ 123463 w 390545"/>
                <a:gd name="connsiteY12" fmla="*/ 794004 h 1675564"/>
                <a:gd name="connsiteX13" fmla="*/ 46613 w 390545"/>
                <a:gd name="connsiteY13" fmla="*/ 1354625 h 1675564"/>
                <a:gd name="connsiteX14" fmla="*/ 45354 w 390545"/>
                <a:gd name="connsiteY14" fmla="*/ 1460450 h 1675564"/>
                <a:gd name="connsiteX15" fmla="*/ 1260 w 390545"/>
                <a:gd name="connsiteY15" fmla="*/ 1668321 h 1675564"/>
                <a:gd name="connsiteX16" fmla="*/ 5039 w 390545"/>
                <a:gd name="connsiteY16" fmla="*/ 1683439 h 1675564"/>
                <a:gd name="connsiteX17" fmla="*/ 8819 w 390545"/>
                <a:gd name="connsiteY17" fmla="*/ 1685959 h 167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545" h="1675564">
                  <a:moveTo>
                    <a:pt x="8819" y="1685959"/>
                  </a:moveTo>
                  <a:cubicBezTo>
                    <a:pt x="12598" y="1685959"/>
                    <a:pt x="15118" y="1684699"/>
                    <a:pt x="17637" y="1680919"/>
                  </a:cubicBezTo>
                  <a:cubicBezTo>
                    <a:pt x="57952" y="1616668"/>
                    <a:pt x="62991" y="1537300"/>
                    <a:pt x="65511" y="1461710"/>
                  </a:cubicBezTo>
                  <a:cubicBezTo>
                    <a:pt x="66770" y="1426435"/>
                    <a:pt x="66770" y="1391160"/>
                    <a:pt x="66770" y="1354625"/>
                  </a:cubicBezTo>
                  <a:cubicBezTo>
                    <a:pt x="68030" y="1166911"/>
                    <a:pt x="70550" y="974158"/>
                    <a:pt x="142360" y="801563"/>
                  </a:cubicBezTo>
                  <a:cubicBezTo>
                    <a:pt x="168816" y="738571"/>
                    <a:pt x="205351" y="676840"/>
                    <a:pt x="240626" y="618888"/>
                  </a:cubicBezTo>
                  <a:cubicBezTo>
                    <a:pt x="278421" y="557157"/>
                    <a:pt x="316216" y="491646"/>
                    <a:pt x="343932" y="423616"/>
                  </a:cubicBezTo>
                  <a:cubicBezTo>
                    <a:pt x="396844" y="292594"/>
                    <a:pt x="408183" y="145195"/>
                    <a:pt x="376687" y="7874"/>
                  </a:cubicBezTo>
                  <a:cubicBezTo>
                    <a:pt x="375427" y="1575"/>
                    <a:pt x="369128" y="-945"/>
                    <a:pt x="364089" y="315"/>
                  </a:cubicBezTo>
                  <a:cubicBezTo>
                    <a:pt x="357790" y="1575"/>
                    <a:pt x="355270" y="7874"/>
                    <a:pt x="356530" y="12913"/>
                  </a:cubicBezTo>
                  <a:cubicBezTo>
                    <a:pt x="386766" y="146454"/>
                    <a:pt x="375427" y="290074"/>
                    <a:pt x="325034" y="416057"/>
                  </a:cubicBezTo>
                  <a:cubicBezTo>
                    <a:pt x="298578" y="482827"/>
                    <a:pt x="259524" y="547078"/>
                    <a:pt x="222989" y="608810"/>
                  </a:cubicBezTo>
                  <a:cubicBezTo>
                    <a:pt x="187714" y="668021"/>
                    <a:pt x="151179" y="729753"/>
                    <a:pt x="123463" y="794004"/>
                  </a:cubicBezTo>
                  <a:cubicBezTo>
                    <a:pt x="50393" y="970379"/>
                    <a:pt x="47873" y="1165652"/>
                    <a:pt x="46613" y="1354625"/>
                  </a:cubicBezTo>
                  <a:cubicBezTo>
                    <a:pt x="46613" y="1389900"/>
                    <a:pt x="45354" y="1425175"/>
                    <a:pt x="45354" y="1460450"/>
                  </a:cubicBezTo>
                  <a:cubicBezTo>
                    <a:pt x="44094" y="1532260"/>
                    <a:pt x="39055" y="1607849"/>
                    <a:pt x="1260" y="1668321"/>
                  </a:cubicBezTo>
                  <a:cubicBezTo>
                    <a:pt x="-1260" y="1673360"/>
                    <a:pt x="0" y="1679659"/>
                    <a:pt x="5039" y="1683439"/>
                  </a:cubicBezTo>
                  <a:cubicBezTo>
                    <a:pt x="5039" y="1685959"/>
                    <a:pt x="7559" y="1685959"/>
                    <a:pt x="8819" y="1685959"/>
                  </a:cubicBezTo>
                  <a:close/>
                </a:path>
              </a:pathLst>
            </a:custGeom>
            <a:solidFill>
              <a:srgbClr val="10BE61"/>
            </a:solidFill>
            <a:ln w="12584" cap="flat">
              <a:noFill/>
              <a:prstDash val="solid"/>
              <a:miter/>
            </a:ln>
          </p:spPr>
          <p:txBody>
            <a:bodyPr rtlCol="0" anchor="ctr"/>
            <a:lstStyle/>
            <a:p>
              <a:endParaRPr lang="zh-CN" altLang="en-US"/>
            </a:p>
          </p:txBody>
        </p:sp>
        <p:sp>
          <p:nvSpPr>
            <p:cNvPr id="10068" name="任意多边形: 形状 10067"/>
            <p:cNvSpPr/>
            <p:nvPr/>
          </p:nvSpPr>
          <p:spPr>
            <a:xfrm>
              <a:off x="5896514" y="3810552"/>
              <a:ext cx="251965" cy="327554"/>
            </a:xfrm>
            <a:custGeom>
              <a:avLst/>
              <a:gdLst>
                <a:gd name="connsiteX0" fmla="*/ 243321 w 251964"/>
                <a:gd name="connsiteY0" fmla="*/ 332768 h 327554"/>
                <a:gd name="connsiteX1" fmla="*/ 249620 w 251964"/>
                <a:gd name="connsiteY1" fmla="*/ 330248 h 327554"/>
                <a:gd name="connsiteX2" fmla="*/ 252139 w 251964"/>
                <a:gd name="connsiteY2" fmla="*/ 315130 h 327554"/>
                <a:gd name="connsiteX3" fmla="*/ 19072 w 251964"/>
                <a:gd name="connsiteY3" fmla="*/ 3954 h 327554"/>
                <a:gd name="connsiteX4" fmla="*/ 3954 w 251964"/>
                <a:gd name="connsiteY4" fmla="*/ 2694 h 327554"/>
                <a:gd name="connsiteX5" fmla="*/ 2694 w 251964"/>
                <a:gd name="connsiteY5" fmla="*/ 17812 h 327554"/>
                <a:gd name="connsiteX6" fmla="*/ 234502 w 251964"/>
                <a:gd name="connsiteY6" fmla="*/ 327728 h 327554"/>
                <a:gd name="connsiteX7" fmla="*/ 243321 w 251964"/>
                <a:gd name="connsiteY7" fmla="*/ 332768 h 32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327554">
                  <a:moveTo>
                    <a:pt x="243321" y="332768"/>
                  </a:moveTo>
                  <a:cubicBezTo>
                    <a:pt x="245840" y="332768"/>
                    <a:pt x="247100" y="331508"/>
                    <a:pt x="249620" y="330248"/>
                  </a:cubicBezTo>
                  <a:cubicBezTo>
                    <a:pt x="254659" y="326469"/>
                    <a:pt x="255919" y="320170"/>
                    <a:pt x="252139" y="315130"/>
                  </a:cubicBezTo>
                  <a:cubicBezTo>
                    <a:pt x="177810" y="209305"/>
                    <a:pt x="99700" y="104740"/>
                    <a:pt x="19072" y="3954"/>
                  </a:cubicBezTo>
                  <a:cubicBezTo>
                    <a:pt x="15292" y="-1085"/>
                    <a:pt x="8993" y="-1085"/>
                    <a:pt x="3954" y="2694"/>
                  </a:cubicBezTo>
                  <a:cubicBezTo>
                    <a:pt x="-1085" y="6474"/>
                    <a:pt x="-1085" y="12773"/>
                    <a:pt x="2694" y="17812"/>
                  </a:cubicBezTo>
                  <a:cubicBezTo>
                    <a:pt x="83323" y="118598"/>
                    <a:pt x="160172" y="223163"/>
                    <a:pt x="234502" y="327728"/>
                  </a:cubicBezTo>
                  <a:cubicBezTo>
                    <a:pt x="237021" y="330248"/>
                    <a:pt x="239541" y="332768"/>
                    <a:pt x="243321" y="332768"/>
                  </a:cubicBezTo>
                  <a:close/>
                </a:path>
              </a:pathLst>
            </a:custGeom>
            <a:solidFill>
              <a:srgbClr val="10BE61"/>
            </a:solidFill>
            <a:ln w="12584" cap="flat">
              <a:noFill/>
              <a:prstDash val="solid"/>
              <a:miter/>
            </a:ln>
          </p:spPr>
          <p:txBody>
            <a:bodyPr rtlCol="0" anchor="ctr"/>
            <a:lstStyle/>
            <a:p>
              <a:endParaRPr lang="zh-CN" altLang="en-US"/>
            </a:p>
          </p:txBody>
        </p:sp>
        <p:sp>
          <p:nvSpPr>
            <p:cNvPr id="10069" name="任意多边形: 形状 10068"/>
            <p:cNvSpPr/>
            <p:nvPr/>
          </p:nvSpPr>
          <p:spPr>
            <a:xfrm>
              <a:off x="5921570" y="3956551"/>
              <a:ext cx="226768" cy="264563"/>
            </a:xfrm>
            <a:custGeom>
              <a:avLst/>
              <a:gdLst>
                <a:gd name="connsiteX0" fmla="*/ 217005 w 226768"/>
                <a:gd name="connsiteY0" fmla="*/ 269917 h 264562"/>
                <a:gd name="connsiteX1" fmla="*/ 223304 w 226768"/>
                <a:gd name="connsiteY1" fmla="*/ 267398 h 264562"/>
                <a:gd name="connsiteX2" fmla="*/ 225823 w 226768"/>
                <a:gd name="connsiteY2" fmla="*/ 252279 h 264562"/>
                <a:gd name="connsiteX3" fmla="*/ 17952 w 226768"/>
                <a:gd name="connsiteY3" fmla="*/ 2835 h 264562"/>
                <a:gd name="connsiteX4" fmla="*/ 2835 w 226768"/>
                <a:gd name="connsiteY4" fmla="*/ 2835 h 264562"/>
                <a:gd name="connsiteX5" fmla="*/ 2835 w 226768"/>
                <a:gd name="connsiteY5" fmla="*/ 17952 h 264562"/>
                <a:gd name="connsiteX6" fmla="*/ 209446 w 226768"/>
                <a:gd name="connsiteY6" fmla="*/ 264878 h 264562"/>
                <a:gd name="connsiteX7" fmla="*/ 217005 w 226768"/>
                <a:gd name="connsiteY7" fmla="*/ 269917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768" h="264562">
                  <a:moveTo>
                    <a:pt x="217005" y="269917"/>
                  </a:moveTo>
                  <a:cubicBezTo>
                    <a:pt x="219524" y="269917"/>
                    <a:pt x="220784" y="268657"/>
                    <a:pt x="223304" y="267398"/>
                  </a:cubicBezTo>
                  <a:cubicBezTo>
                    <a:pt x="228343" y="263618"/>
                    <a:pt x="229603" y="257319"/>
                    <a:pt x="225823" y="252279"/>
                  </a:cubicBezTo>
                  <a:cubicBezTo>
                    <a:pt x="161573" y="165352"/>
                    <a:pt x="92282" y="80943"/>
                    <a:pt x="17952" y="2835"/>
                  </a:cubicBezTo>
                  <a:cubicBezTo>
                    <a:pt x="14173" y="-945"/>
                    <a:pt x="6614" y="-945"/>
                    <a:pt x="2835" y="2835"/>
                  </a:cubicBezTo>
                  <a:cubicBezTo>
                    <a:pt x="-945" y="6614"/>
                    <a:pt x="-945" y="14173"/>
                    <a:pt x="2835" y="17952"/>
                  </a:cubicBezTo>
                  <a:cubicBezTo>
                    <a:pt x="77164" y="94802"/>
                    <a:pt x="146455" y="177950"/>
                    <a:pt x="209446" y="264878"/>
                  </a:cubicBezTo>
                  <a:cubicBezTo>
                    <a:pt x="210706" y="268657"/>
                    <a:pt x="214485" y="269917"/>
                    <a:pt x="217005" y="269917"/>
                  </a:cubicBezTo>
                  <a:close/>
                </a:path>
              </a:pathLst>
            </a:custGeom>
            <a:solidFill>
              <a:srgbClr val="10BE61"/>
            </a:solidFill>
            <a:ln w="12584" cap="flat">
              <a:noFill/>
              <a:prstDash val="solid"/>
              <a:miter/>
            </a:ln>
          </p:spPr>
          <p:txBody>
            <a:bodyPr rtlCol="0" anchor="ctr"/>
            <a:lstStyle/>
            <a:p>
              <a:endParaRPr lang="zh-CN" altLang="en-US"/>
            </a:p>
          </p:txBody>
        </p:sp>
        <p:sp>
          <p:nvSpPr>
            <p:cNvPr id="10070" name="任意多边形: 形状 10069"/>
            <p:cNvSpPr/>
            <p:nvPr/>
          </p:nvSpPr>
          <p:spPr>
            <a:xfrm>
              <a:off x="5991001" y="4197317"/>
              <a:ext cx="151179" cy="163777"/>
            </a:xfrm>
            <a:custGeom>
              <a:avLst/>
              <a:gdLst>
                <a:gd name="connsiteX0" fmla="*/ 145054 w 151178"/>
                <a:gd name="connsiteY0" fmla="*/ 168991 h 163777"/>
                <a:gd name="connsiteX1" fmla="*/ 151353 w 151178"/>
                <a:gd name="connsiteY1" fmla="*/ 166471 h 163777"/>
                <a:gd name="connsiteX2" fmla="*/ 153873 w 151178"/>
                <a:gd name="connsiteY2" fmla="*/ 151353 h 163777"/>
                <a:gd name="connsiteX3" fmla="*/ 17812 w 151178"/>
                <a:gd name="connsiteY3" fmla="*/ 2694 h 163777"/>
                <a:gd name="connsiteX4" fmla="*/ 2694 w 151178"/>
                <a:gd name="connsiteY4" fmla="*/ 3954 h 163777"/>
                <a:gd name="connsiteX5" fmla="*/ 3954 w 151178"/>
                <a:gd name="connsiteY5" fmla="*/ 19072 h 163777"/>
                <a:gd name="connsiteX6" fmla="*/ 136236 w 151178"/>
                <a:gd name="connsiteY6" fmla="*/ 163951 h 163777"/>
                <a:gd name="connsiteX7" fmla="*/ 145054 w 151178"/>
                <a:gd name="connsiteY7" fmla="*/ 168991 h 16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163777">
                  <a:moveTo>
                    <a:pt x="145054" y="168991"/>
                  </a:moveTo>
                  <a:cubicBezTo>
                    <a:pt x="147574" y="168991"/>
                    <a:pt x="148834" y="167731"/>
                    <a:pt x="151353" y="166471"/>
                  </a:cubicBezTo>
                  <a:cubicBezTo>
                    <a:pt x="156392" y="162692"/>
                    <a:pt x="157652" y="156392"/>
                    <a:pt x="153873" y="151353"/>
                  </a:cubicBezTo>
                  <a:cubicBezTo>
                    <a:pt x="114818" y="95921"/>
                    <a:pt x="69465" y="45528"/>
                    <a:pt x="17812" y="2694"/>
                  </a:cubicBezTo>
                  <a:cubicBezTo>
                    <a:pt x="12773" y="-1085"/>
                    <a:pt x="6474" y="-1085"/>
                    <a:pt x="2694" y="3954"/>
                  </a:cubicBezTo>
                  <a:cubicBezTo>
                    <a:pt x="-1085" y="8993"/>
                    <a:pt x="-1085" y="15292"/>
                    <a:pt x="3954" y="19072"/>
                  </a:cubicBezTo>
                  <a:cubicBezTo>
                    <a:pt x="54347" y="61906"/>
                    <a:pt x="98441" y="109779"/>
                    <a:pt x="136236" y="163951"/>
                  </a:cubicBezTo>
                  <a:cubicBezTo>
                    <a:pt x="138755" y="167731"/>
                    <a:pt x="142535" y="168991"/>
                    <a:pt x="145054" y="168991"/>
                  </a:cubicBezTo>
                  <a:close/>
                </a:path>
              </a:pathLst>
            </a:custGeom>
            <a:solidFill>
              <a:srgbClr val="10BE61"/>
            </a:solidFill>
            <a:ln w="12584" cap="flat">
              <a:noFill/>
              <a:prstDash val="solid"/>
              <a:miter/>
            </a:ln>
          </p:spPr>
          <p:txBody>
            <a:bodyPr rtlCol="0" anchor="ctr"/>
            <a:lstStyle/>
            <a:p>
              <a:endParaRPr lang="zh-CN" altLang="en-US"/>
            </a:p>
          </p:txBody>
        </p:sp>
        <p:sp>
          <p:nvSpPr>
            <p:cNvPr id="10071" name="任意多边形: 形状 10070"/>
            <p:cNvSpPr/>
            <p:nvPr/>
          </p:nvSpPr>
          <p:spPr>
            <a:xfrm>
              <a:off x="6139274" y="3832601"/>
              <a:ext cx="327554" cy="151179"/>
            </a:xfrm>
            <a:custGeom>
              <a:avLst/>
              <a:gdLst>
                <a:gd name="connsiteX0" fmla="*/ 11898 w 327554"/>
                <a:gd name="connsiteY0" fmla="*/ 162059 h 151178"/>
                <a:gd name="connsiteX1" fmla="*/ 16938 w 327554"/>
                <a:gd name="connsiteY1" fmla="*/ 160799 h 151178"/>
                <a:gd name="connsiteX2" fmla="*/ 326854 w 327554"/>
                <a:gd name="connsiteY2" fmla="*/ 20959 h 151178"/>
                <a:gd name="connsiteX3" fmla="*/ 333153 w 327554"/>
                <a:gd name="connsiteY3" fmla="*/ 7101 h 151178"/>
                <a:gd name="connsiteX4" fmla="*/ 319295 w 327554"/>
                <a:gd name="connsiteY4" fmla="*/ 802 h 151178"/>
                <a:gd name="connsiteX5" fmla="*/ 5599 w 327554"/>
                <a:gd name="connsiteY5" fmla="*/ 141902 h 151178"/>
                <a:gd name="connsiteX6" fmla="*/ 1820 w 327554"/>
                <a:gd name="connsiteY6" fmla="*/ 155760 h 151178"/>
                <a:gd name="connsiteX7" fmla="*/ 11898 w 327554"/>
                <a:gd name="connsiteY7" fmla="*/ 16205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554" h="151178">
                  <a:moveTo>
                    <a:pt x="11898" y="162059"/>
                  </a:moveTo>
                  <a:cubicBezTo>
                    <a:pt x="13158" y="162059"/>
                    <a:pt x="15678" y="162059"/>
                    <a:pt x="16938" y="160799"/>
                  </a:cubicBezTo>
                  <a:cubicBezTo>
                    <a:pt x="116464" y="106627"/>
                    <a:pt x="221029" y="60014"/>
                    <a:pt x="326854" y="20959"/>
                  </a:cubicBezTo>
                  <a:cubicBezTo>
                    <a:pt x="331893" y="18440"/>
                    <a:pt x="335673" y="13400"/>
                    <a:pt x="333153" y="7101"/>
                  </a:cubicBezTo>
                  <a:cubicBezTo>
                    <a:pt x="330634" y="2062"/>
                    <a:pt x="325594" y="-1718"/>
                    <a:pt x="319295" y="802"/>
                  </a:cubicBezTo>
                  <a:cubicBezTo>
                    <a:pt x="212210" y="39856"/>
                    <a:pt x="106385" y="87730"/>
                    <a:pt x="5599" y="141902"/>
                  </a:cubicBezTo>
                  <a:cubicBezTo>
                    <a:pt x="560" y="144422"/>
                    <a:pt x="-1960" y="150721"/>
                    <a:pt x="1820" y="155760"/>
                  </a:cubicBezTo>
                  <a:cubicBezTo>
                    <a:pt x="4339" y="160799"/>
                    <a:pt x="8119" y="162059"/>
                    <a:pt x="11898" y="162059"/>
                  </a:cubicBezTo>
                  <a:close/>
                </a:path>
              </a:pathLst>
            </a:custGeom>
            <a:solidFill>
              <a:srgbClr val="10BE61"/>
            </a:solidFill>
            <a:ln w="12584" cap="flat">
              <a:noFill/>
              <a:prstDash val="solid"/>
              <a:miter/>
            </a:ln>
          </p:spPr>
          <p:txBody>
            <a:bodyPr rtlCol="0" anchor="ctr"/>
            <a:lstStyle/>
            <a:p>
              <a:endParaRPr lang="zh-CN" altLang="en-US"/>
            </a:p>
          </p:txBody>
        </p:sp>
        <p:sp>
          <p:nvSpPr>
            <p:cNvPr id="10072" name="任意多边形: 形状 10071"/>
            <p:cNvSpPr/>
            <p:nvPr/>
          </p:nvSpPr>
          <p:spPr>
            <a:xfrm>
              <a:off x="6145331" y="3924568"/>
              <a:ext cx="340152" cy="113384"/>
            </a:xfrm>
            <a:custGeom>
              <a:avLst/>
              <a:gdLst>
                <a:gd name="connsiteX0" fmla="*/ 12140 w 340152"/>
                <a:gd name="connsiteY0" fmla="*/ 125524 h 113384"/>
                <a:gd name="connsiteX1" fmla="*/ 14660 w 340152"/>
                <a:gd name="connsiteY1" fmla="*/ 125524 h 113384"/>
                <a:gd name="connsiteX2" fmla="*/ 339694 w 340152"/>
                <a:gd name="connsiteY2" fmla="*/ 20959 h 113384"/>
                <a:gd name="connsiteX3" fmla="*/ 345994 w 340152"/>
                <a:gd name="connsiteY3" fmla="*/ 7101 h 113384"/>
                <a:gd name="connsiteX4" fmla="*/ 332135 w 340152"/>
                <a:gd name="connsiteY4" fmla="*/ 802 h 113384"/>
                <a:gd name="connsiteX5" fmla="*/ 7101 w 340152"/>
                <a:gd name="connsiteY5" fmla="*/ 105368 h 113384"/>
                <a:gd name="connsiteX6" fmla="*/ 802 w 340152"/>
                <a:gd name="connsiteY6" fmla="*/ 119225 h 113384"/>
                <a:gd name="connsiteX7" fmla="*/ 12140 w 340152"/>
                <a:gd name="connsiteY7" fmla="*/ 125524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0152" h="113384">
                  <a:moveTo>
                    <a:pt x="12140" y="125524"/>
                  </a:moveTo>
                  <a:cubicBezTo>
                    <a:pt x="13400" y="125524"/>
                    <a:pt x="14660" y="125524"/>
                    <a:pt x="14660" y="125524"/>
                  </a:cubicBezTo>
                  <a:lnTo>
                    <a:pt x="339694" y="20959"/>
                  </a:lnTo>
                  <a:cubicBezTo>
                    <a:pt x="344734" y="19699"/>
                    <a:pt x="348513" y="13400"/>
                    <a:pt x="345994" y="7101"/>
                  </a:cubicBezTo>
                  <a:cubicBezTo>
                    <a:pt x="344734" y="2062"/>
                    <a:pt x="338435" y="-1718"/>
                    <a:pt x="332135" y="802"/>
                  </a:cubicBezTo>
                  <a:lnTo>
                    <a:pt x="7101" y="105368"/>
                  </a:lnTo>
                  <a:cubicBezTo>
                    <a:pt x="2062" y="106627"/>
                    <a:pt x="-1718" y="112926"/>
                    <a:pt x="802" y="119225"/>
                  </a:cubicBezTo>
                  <a:cubicBezTo>
                    <a:pt x="3322" y="123005"/>
                    <a:pt x="8361" y="125524"/>
                    <a:pt x="12140" y="125524"/>
                  </a:cubicBezTo>
                  <a:close/>
                </a:path>
              </a:pathLst>
            </a:custGeom>
            <a:solidFill>
              <a:srgbClr val="10BE61"/>
            </a:solidFill>
            <a:ln w="12584" cap="flat">
              <a:noFill/>
              <a:prstDash val="solid"/>
              <a:miter/>
            </a:ln>
          </p:spPr>
          <p:txBody>
            <a:bodyPr rtlCol="0" anchor="ctr"/>
            <a:lstStyle/>
            <a:p>
              <a:endParaRPr lang="zh-CN" altLang="en-US"/>
            </a:p>
          </p:txBody>
        </p:sp>
        <p:sp>
          <p:nvSpPr>
            <p:cNvPr id="10073" name="任意多边形: 形状 10072"/>
            <p:cNvSpPr/>
            <p:nvPr/>
          </p:nvSpPr>
          <p:spPr>
            <a:xfrm>
              <a:off x="6154014" y="3560343"/>
              <a:ext cx="100786" cy="125982"/>
            </a:xfrm>
            <a:custGeom>
              <a:avLst/>
              <a:gdLst>
                <a:gd name="connsiteX0" fmla="*/ 90385 w 100785"/>
                <a:gd name="connsiteY0" fmla="*/ 128180 h 125982"/>
                <a:gd name="connsiteX1" fmla="*/ 96684 w 100785"/>
                <a:gd name="connsiteY1" fmla="*/ 125660 h 125982"/>
                <a:gd name="connsiteX2" fmla="*/ 99204 w 100785"/>
                <a:gd name="connsiteY2" fmla="*/ 110542 h 125982"/>
                <a:gd name="connsiteX3" fmla="*/ 19835 w 100785"/>
                <a:gd name="connsiteY3" fmla="*/ 4717 h 125982"/>
                <a:gd name="connsiteX4" fmla="*/ 4717 w 100785"/>
                <a:gd name="connsiteY4" fmla="*/ 2198 h 125982"/>
                <a:gd name="connsiteX5" fmla="*/ 2198 w 100785"/>
                <a:gd name="connsiteY5" fmla="*/ 17315 h 125982"/>
                <a:gd name="connsiteX6" fmla="*/ 81566 w 100785"/>
                <a:gd name="connsiteY6" fmla="*/ 123141 h 125982"/>
                <a:gd name="connsiteX7" fmla="*/ 90385 w 100785"/>
                <a:gd name="connsiteY7" fmla="*/ 12818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785" h="125982">
                  <a:moveTo>
                    <a:pt x="90385" y="128180"/>
                  </a:moveTo>
                  <a:cubicBezTo>
                    <a:pt x="92905" y="128180"/>
                    <a:pt x="94164" y="126920"/>
                    <a:pt x="96684" y="125660"/>
                  </a:cubicBezTo>
                  <a:cubicBezTo>
                    <a:pt x="101723" y="121881"/>
                    <a:pt x="102983" y="115582"/>
                    <a:pt x="99204" y="110542"/>
                  </a:cubicBezTo>
                  <a:lnTo>
                    <a:pt x="19835" y="4717"/>
                  </a:lnTo>
                  <a:cubicBezTo>
                    <a:pt x="16056" y="-322"/>
                    <a:pt x="9757" y="-1582"/>
                    <a:pt x="4717" y="2198"/>
                  </a:cubicBezTo>
                  <a:cubicBezTo>
                    <a:pt x="-322" y="5977"/>
                    <a:pt x="-1582" y="12276"/>
                    <a:pt x="2198" y="17315"/>
                  </a:cubicBezTo>
                  <a:lnTo>
                    <a:pt x="81566" y="123141"/>
                  </a:lnTo>
                  <a:cubicBezTo>
                    <a:pt x="84086" y="126920"/>
                    <a:pt x="87865" y="128180"/>
                    <a:pt x="90385" y="128180"/>
                  </a:cubicBezTo>
                  <a:close/>
                </a:path>
              </a:pathLst>
            </a:custGeom>
            <a:solidFill>
              <a:srgbClr val="10BE61"/>
            </a:solidFill>
            <a:ln w="12584" cap="flat">
              <a:noFill/>
              <a:prstDash val="solid"/>
              <a:miter/>
            </a:ln>
          </p:spPr>
          <p:txBody>
            <a:bodyPr rtlCol="0" anchor="ctr"/>
            <a:lstStyle/>
            <a:p>
              <a:endParaRPr lang="zh-CN" altLang="en-US"/>
            </a:p>
          </p:txBody>
        </p:sp>
        <p:sp>
          <p:nvSpPr>
            <p:cNvPr id="10074" name="任意多边形: 形状 10073"/>
            <p:cNvSpPr/>
            <p:nvPr/>
          </p:nvSpPr>
          <p:spPr>
            <a:xfrm>
              <a:off x="6166291" y="3447897"/>
              <a:ext cx="113384" cy="176375"/>
            </a:xfrm>
            <a:custGeom>
              <a:avLst/>
              <a:gdLst>
                <a:gd name="connsiteX0" fmla="*/ 105825 w 113384"/>
                <a:gd name="connsiteY0" fmla="*/ 180155 h 176375"/>
                <a:gd name="connsiteX1" fmla="*/ 110865 w 113384"/>
                <a:gd name="connsiteY1" fmla="*/ 178895 h 176375"/>
                <a:gd name="connsiteX2" fmla="*/ 114644 w 113384"/>
                <a:gd name="connsiteY2" fmla="*/ 165037 h 176375"/>
                <a:gd name="connsiteX3" fmla="*/ 20157 w 113384"/>
                <a:gd name="connsiteY3" fmla="*/ 5039 h 176375"/>
                <a:gd name="connsiteX4" fmla="*/ 5039 w 113384"/>
                <a:gd name="connsiteY4" fmla="*/ 1260 h 176375"/>
                <a:gd name="connsiteX5" fmla="*/ 1260 w 113384"/>
                <a:gd name="connsiteY5" fmla="*/ 16378 h 176375"/>
                <a:gd name="connsiteX6" fmla="*/ 94487 w 113384"/>
                <a:gd name="connsiteY6" fmla="*/ 175115 h 176375"/>
                <a:gd name="connsiteX7" fmla="*/ 105825 w 113384"/>
                <a:gd name="connsiteY7" fmla="*/ 180155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76375">
                  <a:moveTo>
                    <a:pt x="105825" y="180155"/>
                  </a:moveTo>
                  <a:cubicBezTo>
                    <a:pt x="107085" y="180155"/>
                    <a:pt x="109605" y="180155"/>
                    <a:pt x="110865" y="178895"/>
                  </a:cubicBezTo>
                  <a:cubicBezTo>
                    <a:pt x="115904" y="176375"/>
                    <a:pt x="118424" y="170076"/>
                    <a:pt x="114644" y="165037"/>
                  </a:cubicBezTo>
                  <a:cubicBezTo>
                    <a:pt x="85668" y="110865"/>
                    <a:pt x="54172" y="56692"/>
                    <a:pt x="20157" y="5039"/>
                  </a:cubicBezTo>
                  <a:cubicBezTo>
                    <a:pt x="16378" y="0"/>
                    <a:pt x="10079" y="-1260"/>
                    <a:pt x="5039" y="1260"/>
                  </a:cubicBezTo>
                  <a:cubicBezTo>
                    <a:pt x="0" y="5039"/>
                    <a:pt x="-1260" y="11338"/>
                    <a:pt x="1260" y="16378"/>
                  </a:cubicBezTo>
                  <a:cubicBezTo>
                    <a:pt x="34015" y="68030"/>
                    <a:pt x="65511" y="120943"/>
                    <a:pt x="94487" y="175115"/>
                  </a:cubicBezTo>
                  <a:cubicBezTo>
                    <a:pt x="98266" y="178895"/>
                    <a:pt x="102046" y="180155"/>
                    <a:pt x="105825" y="180155"/>
                  </a:cubicBezTo>
                  <a:close/>
                </a:path>
              </a:pathLst>
            </a:custGeom>
            <a:solidFill>
              <a:srgbClr val="10BE61"/>
            </a:solidFill>
            <a:ln w="12584" cap="flat">
              <a:noFill/>
              <a:prstDash val="solid"/>
              <a:miter/>
            </a:ln>
          </p:spPr>
          <p:txBody>
            <a:bodyPr rtlCol="0" anchor="ctr"/>
            <a:lstStyle/>
            <a:p>
              <a:endParaRPr lang="zh-CN" altLang="en-US"/>
            </a:p>
          </p:txBody>
        </p:sp>
        <p:sp>
          <p:nvSpPr>
            <p:cNvPr id="10075" name="任意多边形: 形状 10074"/>
            <p:cNvSpPr/>
            <p:nvPr/>
          </p:nvSpPr>
          <p:spPr>
            <a:xfrm>
              <a:off x="6299517" y="3510086"/>
              <a:ext cx="188973" cy="62991"/>
            </a:xfrm>
            <a:custGeom>
              <a:avLst/>
              <a:gdLst>
                <a:gd name="connsiteX0" fmla="*/ 11653 w 188973"/>
                <a:gd name="connsiteY0" fmla="*/ 73872 h 62991"/>
                <a:gd name="connsiteX1" fmla="*/ 14173 w 188973"/>
                <a:gd name="connsiteY1" fmla="*/ 73872 h 62991"/>
                <a:gd name="connsiteX2" fmla="*/ 189288 w 188973"/>
                <a:gd name="connsiteY2" fmla="*/ 20959 h 62991"/>
                <a:gd name="connsiteX3" fmla="*/ 195588 w 188973"/>
                <a:gd name="connsiteY3" fmla="*/ 7101 h 62991"/>
                <a:gd name="connsiteX4" fmla="*/ 181729 w 188973"/>
                <a:gd name="connsiteY4" fmla="*/ 802 h 62991"/>
                <a:gd name="connsiteX5" fmla="*/ 7874 w 188973"/>
                <a:gd name="connsiteY5" fmla="*/ 53715 h 62991"/>
                <a:gd name="connsiteX6" fmla="*/ 315 w 188973"/>
                <a:gd name="connsiteY6" fmla="*/ 66313 h 62991"/>
                <a:gd name="connsiteX7" fmla="*/ 11653 w 188973"/>
                <a:gd name="connsiteY7" fmla="*/ 73872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973" h="62991">
                  <a:moveTo>
                    <a:pt x="11653" y="73872"/>
                  </a:moveTo>
                  <a:cubicBezTo>
                    <a:pt x="12913" y="73872"/>
                    <a:pt x="12913" y="73872"/>
                    <a:pt x="14173" y="73872"/>
                  </a:cubicBezTo>
                  <a:cubicBezTo>
                    <a:pt x="73385" y="60014"/>
                    <a:pt x="132596" y="41116"/>
                    <a:pt x="189288" y="20959"/>
                  </a:cubicBezTo>
                  <a:cubicBezTo>
                    <a:pt x="194328" y="18439"/>
                    <a:pt x="198107" y="12140"/>
                    <a:pt x="195588" y="7101"/>
                  </a:cubicBezTo>
                  <a:cubicBezTo>
                    <a:pt x="193068" y="2062"/>
                    <a:pt x="186769" y="-1718"/>
                    <a:pt x="181729" y="802"/>
                  </a:cubicBezTo>
                  <a:cubicBezTo>
                    <a:pt x="125037" y="22219"/>
                    <a:pt x="67086" y="39857"/>
                    <a:pt x="7874" y="53715"/>
                  </a:cubicBezTo>
                  <a:cubicBezTo>
                    <a:pt x="1575" y="54974"/>
                    <a:pt x="-945" y="61274"/>
                    <a:pt x="315" y="66313"/>
                  </a:cubicBezTo>
                  <a:cubicBezTo>
                    <a:pt x="2835" y="71352"/>
                    <a:pt x="6614" y="75131"/>
                    <a:pt x="11653" y="73872"/>
                  </a:cubicBezTo>
                  <a:close/>
                </a:path>
              </a:pathLst>
            </a:custGeom>
            <a:solidFill>
              <a:srgbClr val="10BE61"/>
            </a:solidFill>
            <a:ln w="12584" cap="flat">
              <a:noFill/>
              <a:prstDash val="solid"/>
              <a:miter/>
            </a:ln>
          </p:spPr>
          <p:txBody>
            <a:bodyPr rtlCol="0" anchor="ctr"/>
            <a:lstStyle/>
            <a:p>
              <a:endParaRPr lang="zh-CN" altLang="en-US"/>
            </a:p>
          </p:txBody>
        </p:sp>
        <p:sp>
          <p:nvSpPr>
            <p:cNvPr id="10076" name="任意多边形: 形状 10075"/>
            <p:cNvSpPr/>
            <p:nvPr/>
          </p:nvSpPr>
          <p:spPr>
            <a:xfrm>
              <a:off x="6132547" y="4353710"/>
              <a:ext cx="176375" cy="100786"/>
            </a:xfrm>
            <a:custGeom>
              <a:avLst/>
              <a:gdLst>
                <a:gd name="connsiteX0" fmla="*/ 11067 w 176375"/>
                <a:gd name="connsiteY0" fmla="*/ 109605 h 100785"/>
                <a:gd name="connsiteX1" fmla="*/ 14846 w 176375"/>
                <a:gd name="connsiteY1" fmla="*/ 108345 h 100785"/>
                <a:gd name="connsiteX2" fmla="*/ 176104 w 176375"/>
                <a:gd name="connsiteY2" fmla="*/ 20157 h 100785"/>
                <a:gd name="connsiteX3" fmla="*/ 179883 w 176375"/>
                <a:gd name="connsiteY3" fmla="*/ 5039 h 100785"/>
                <a:gd name="connsiteX4" fmla="*/ 164766 w 176375"/>
                <a:gd name="connsiteY4" fmla="*/ 1260 h 100785"/>
                <a:gd name="connsiteX5" fmla="*/ 6028 w 176375"/>
                <a:gd name="connsiteY5" fmla="*/ 88188 h 100785"/>
                <a:gd name="connsiteX6" fmla="*/ 989 w 176375"/>
                <a:gd name="connsiteY6" fmla="*/ 102046 h 100785"/>
                <a:gd name="connsiteX7" fmla="*/ 11067 w 176375"/>
                <a:gd name="connsiteY7" fmla="*/ 10960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100785">
                  <a:moveTo>
                    <a:pt x="11067" y="109605"/>
                  </a:moveTo>
                  <a:cubicBezTo>
                    <a:pt x="12327" y="109605"/>
                    <a:pt x="13587" y="109605"/>
                    <a:pt x="14846" y="108345"/>
                  </a:cubicBezTo>
                  <a:cubicBezTo>
                    <a:pt x="70279" y="83148"/>
                    <a:pt x="124451" y="52913"/>
                    <a:pt x="176104" y="20157"/>
                  </a:cubicBezTo>
                  <a:cubicBezTo>
                    <a:pt x="181143" y="16378"/>
                    <a:pt x="182403" y="10079"/>
                    <a:pt x="179883" y="5039"/>
                  </a:cubicBezTo>
                  <a:cubicBezTo>
                    <a:pt x="176104" y="0"/>
                    <a:pt x="169805" y="-1260"/>
                    <a:pt x="164766" y="1260"/>
                  </a:cubicBezTo>
                  <a:cubicBezTo>
                    <a:pt x="114373" y="34015"/>
                    <a:pt x="60200" y="62991"/>
                    <a:pt x="6028" y="88188"/>
                  </a:cubicBezTo>
                  <a:cubicBezTo>
                    <a:pt x="989" y="90707"/>
                    <a:pt x="-1531" y="97007"/>
                    <a:pt x="989" y="102046"/>
                  </a:cubicBezTo>
                  <a:cubicBezTo>
                    <a:pt x="3508" y="107085"/>
                    <a:pt x="7288" y="109605"/>
                    <a:pt x="11067" y="109605"/>
                  </a:cubicBezTo>
                  <a:close/>
                </a:path>
              </a:pathLst>
            </a:custGeom>
            <a:solidFill>
              <a:srgbClr val="10BE61"/>
            </a:solidFill>
            <a:ln w="12584" cap="flat">
              <a:noFill/>
              <a:prstDash val="solid"/>
              <a:miter/>
            </a:ln>
          </p:spPr>
          <p:txBody>
            <a:bodyPr rtlCol="0" anchor="ctr"/>
            <a:lstStyle/>
            <a:p>
              <a:endParaRPr lang="zh-CN" altLang="en-US"/>
            </a:p>
          </p:txBody>
        </p:sp>
        <p:sp>
          <p:nvSpPr>
            <p:cNvPr id="10077" name="任意多边形: 形状 10076"/>
            <p:cNvSpPr/>
            <p:nvPr/>
          </p:nvSpPr>
          <p:spPr>
            <a:xfrm>
              <a:off x="6228260" y="3148297"/>
              <a:ext cx="163777" cy="251965"/>
            </a:xfrm>
            <a:custGeom>
              <a:avLst/>
              <a:gdLst>
                <a:gd name="connsiteX0" fmla="*/ 162280 w 163777"/>
                <a:gd name="connsiteY0" fmla="*/ 263066 h 251964"/>
                <a:gd name="connsiteX1" fmla="*/ 166059 w 163777"/>
                <a:gd name="connsiteY1" fmla="*/ 261806 h 251964"/>
                <a:gd name="connsiteX2" fmla="*/ 172358 w 163777"/>
                <a:gd name="connsiteY2" fmla="*/ 247947 h 251964"/>
                <a:gd name="connsiteX3" fmla="*/ 18660 w 163777"/>
                <a:gd name="connsiteY3" fmla="*/ 3542 h 251964"/>
                <a:gd name="connsiteX4" fmla="*/ 3542 w 163777"/>
                <a:gd name="connsiteY4" fmla="*/ 2282 h 251964"/>
                <a:gd name="connsiteX5" fmla="*/ 2282 w 163777"/>
                <a:gd name="connsiteY5" fmla="*/ 17400 h 251964"/>
                <a:gd name="connsiteX6" fmla="*/ 152201 w 163777"/>
                <a:gd name="connsiteY6" fmla="*/ 255507 h 251964"/>
                <a:gd name="connsiteX7" fmla="*/ 162280 w 163777"/>
                <a:gd name="connsiteY7" fmla="*/ 263066 h 25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251964">
                  <a:moveTo>
                    <a:pt x="162280" y="263066"/>
                  </a:moveTo>
                  <a:cubicBezTo>
                    <a:pt x="163540" y="263066"/>
                    <a:pt x="164799" y="263066"/>
                    <a:pt x="166059" y="261806"/>
                  </a:cubicBezTo>
                  <a:cubicBezTo>
                    <a:pt x="171098" y="259286"/>
                    <a:pt x="173618" y="252987"/>
                    <a:pt x="172358" y="247947"/>
                  </a:cubicBezTo>
                  <a:cubicBezTo>
                    <a:pt x="135823" y="157240"/>
                    <a:pt x="84170" y="75352"/>
                    <a:pt x="18660" y="3542"/>
                  </a:cubicBezTo>
                  <a:cubicBezTo>
                    <a:pt x="14880" y="-238"/>
                    <a:pt x="8581" y="-1497"/>
                    <a:pt x="3542" y="2282"/>
                  </a:cubicBezTo>
                  <a:cubicBezTo>
                    <a:pt x="-238" y="6061"/>
                    <a:pt x="-1497" y="12361"/>
                    <a:pt x="2282" y="17400"/>
                  </a:cubicBezTo>
                  <a:cubicBezTo>
                    <a:pt x="66533" y="87950"/>
                    <a:pt x="116926" y="167319"/>
                    <a:pt x="152201" y="255507"/>
                  </a:cubicBezTo>
                  <a:cubicBezTo>
                    <a:pt x="153461" y="260546"/>
                    <a:pt x="158500" y="263066"/>
                    <a:pt x="162280" y="263066"/>
                  </a:cubicBezTo>
                  <a:close/>
                </a:path>
              </a:pathLst>
            </a:custGeom>
            <a:solidFill>
              <a:srgbClr val="10BE61"/>
            </a:solidFill>
            <a:ln w="12584" cap="flat">
              <a:noFill/>
              <a:prstDash val="solid"/>
              <a:miter/>
            </a:ln>
          </p:spPr>
          <p:txBody>
            <a:bodyPr rtlCol="0" anchor="ctr"/>
            <a:lstStyle/>
            <a:p>
              <a:endParaRPr lang="zh-CN" altLang="en-US"/>
            </a:p>
          </p:txBody>
        </p:sp>
        <p:sp>
          <p:nvSpPr>
            <p:cNvPr id="10078" name="任意多边形: 形状 10077"/>
            <p:cNvSpPr/>
            <p:nvPr/>
          </p:nvSpPr>
          <p:spPr>
            <a:xfrm>
              <a:off x="6366281" y="3171675"/>
              <a:ext cx="75589" cy="151179"/>
            </a:xfrm>
            <a:custGeom>
              <a:avLst/>
              <a:gdLst>
                <a:gd name="connsiteX0" fmla="*/ 67092 w 75589"/>
                <a:gd name="connsiteY0" fmla="*/ 157799 h 151178"/>
                <a:gd name="connsiteX1" fmla="*/ 70871 w 75589"/>
                <a:gd name="connsiteY1" fmla="*/ 156539 h 151178"/>
                <a:gd name="connsiteX2" fmla="*/ 77170 w 75589"/>
                <a:gd name="connsiteY2" fmla="*/ 142681 h 151178"/>
                <a:gd name="connsiteX3" fmla="*/ 20478 w 75589"/>
                <a:gd name="connsiteY3" fmla="*/ 6620 h 151178"/>
                <a:gd name="connsiteX4" fmla="*/ 6620 w 75589"/>
                <a:gd name="connsiteY4" fmla="*/ 321 h 151178"/>
                <a:gd name="connsiteX5" fmla="*/ 321 w 75589"/>
                <a:gd name="connsiteY5" fmla="*/ 14179 h 151178"/>
                <a:gd name="connsiteX6" fmla="*/ 57013 w 75589"/>
                <a:gd name="connsiteY6" fmla="*/ 150240 h 151178"/>
                <a:gd name="connsiteX7" fmla="*/ 67092 w 75589"/>
                <a:gd name="connsiteY7" fmla="*/ 15779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51178">
                  <a:moveTo>
                    <a:pt x="67092" y="157799"/>
                  </a:moveTo>
                  <a:cubicBezTo>
                    <a:pt x="68351" y="157799"/>
                    <a:pt x="69611" y="157799"/>
                    <a:pt x="70871" y="156539"/>
                  </a:cubicBezTo>
                  <a:cubicBezTo>
                    <a:pt x="75910" y="154019"/>
                    <a:pt x="78430" y="147720"/>
                    <a:pt x="77170" y="142681"/>
                  </a:cubicBezTo>
                  <a:lnTo>
                    <a:pt x="20478" y="6620"/>
                  </a:lnTo>
                  <a:cubicBezTo>
                    <a:pt x="17959" y="1581"/>
                    <a:pt x="11659" y="-939"/>
                    <a:pt x="6620" y="321"/>
                  </a:cubicBezTo>
                  <a:cubicBezTo>
                    <a:pt x="1581" y="2841"/>
                    <a:pt x="-939" y="9140"/>
                    <a:pt x="321" y="14179"/>
                  </a:cubicBezTo>
                  <a:lnTo>
                    <a:pt x="57013" y="150240"/>
                  </a:lnTo>
                  <a:cubicBezTo>
                    <a:pt x="58273" y="156539"/>
                    <a:pt x="62052" y="157799"/>
                    <a:pt x="67092" y="157799"/>
                  </a:cubicBezTo>
                  <a:close/>
                </a:path>
              </a:pathLst>
            </a:custGeom>
            <a:solidFill>
              <a:srgbClr val="10BE61"/>
            </a:solidFill>
            <a:ln w="12584" cap="flat">
              <a:noFill/>
              <a:prstDash val="solid"/>
              <a:miter/>
            </a:ln>
          </p:spPr>
          <p:txBody>
            <a:bodyPr rtlCol="0" anchor="ctr"/>
            <a:lstStyle/>
            <a:p>
              <a:endParaRPr lang="zh-CN" altLang="en-US"/>
            </a:p>
          </p:txBody>
        </p:sp>
        <p:sp>
          <p:nvSpPr>
            <p:cNvPr id="10079" name="任意多边形: 形状 10078"/>
            <p:cNvSpPr/>
            <p:nvPr/>
          </p:nvSpPr>
          <p:spPr>
            <a:xfrm>
              <a:off x="6457765" y="3054437"/>
              <a:ext cx="163777" cy="138581"/>
            </a:xfrm>
            <a:custGeom>
              <a:avLst/>
              <a:gdLst>
                <a:gd name="connsiteX0" fmla="*/ 9623 w 163777"/>
                <a:gd name="connsiteY0" fmla="*/ 147795 h 138580"/>
                <a:gd name="connsiteX1" fmla="*/ 17182 w 163777"/>
                <a:gd name="connsiteY1" fmla="*/ 145275 h 138580"/>
                <a:gd name="connsiteX2" fmla="*/ 167101 w 163777"/>
                <a:gd name="connsiteY2" fmla="*/ 19293 h 138580"/>
                <a:gd name="connsiteX3" fmla="*/ 169620 w 163777"/>
                <a:gd name="connsiteY3" fmla="*/ 4175 h 138580"/>
                <a:gd name="connsiteX4" fmla="*/ 154503 w 163777"/>
                <a:gd name="connsiteY4" fmla="*/ 1655 h 138580"/>
                <a:gd name="connsiteX5" fmla="*/ 3324 w 163777"/>
                <a:gd name="connsiteY5" fmla="*/ 128897 h 138580"/>
                <a:gd name="connsiteX6" fmla="*/ 3324 w 163777"/>
                <a:gd name="connsiteY6" fmla="*/ 144015 h 138580"/>
                <a:gd name="connsiteX7" fmla="*/ 9623 w 163777"/>
                <a:gd name="connsiteY7" fmla="*/ 147795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138580">
                  <a:moveTo>
                    <a:pt x="9623" y="147795"/>
                  </a:moveTo>
                  <a:cubicBezTo>
                    <a:pt x="12142" y="147795"/>
                    <a:pt x="14662" y="146535"/>
                    <a:pt x="17182" y="145275"/>
                  </a:cubicBezTo>
                  <a:cubicBezTo>
                    <a:pt x="65055" y="101181"/>
                    <a:pt x="115448" y="58347"/>
                    <a:pt x="167101" y="19293"/>
                  </a:cubicBezTo>
                  <a:cubicBezTo>
                    <a:pt x="172140" y="15513"/>
                    <a:pt x="172140" y="9214"/>
                    <a:pt x="169620" y="4175"/>
                  </a:cubicBezTo>
                  <a:cubicBezTo>
                    <a:pt x="165841" y="-865"/>
                    <a:pt x="159542" y="-865"/>
                    <a:pt x="154503" y="1655"/>
                  </a:cubicBezTo>
                  <a:cubicBezTo>
                    <a:pt x="102850" y="41970"/>
                    <a:pt x="51197" y="84803"/>
                    <a:pt x="3324" y="128897"/>
                  </a:cubicBezTo>
                  <a:cubicBezTo>
                    <a:pt x="-456" y="132677"/>
                    <a:pt x="-1716" y="140236"/>
                    <a:pt x="3324" y="144015"/>
                  </a:cubicBezTo>
                  <a:cubicBezTo>
                    <a:pt x="4583" y="146535"/>
                    <a:pt x="7103" y="147795"/>
                    <a:pt x="9623" y="147795"/>
                  </a:cubicBezTo>
                  <a:close/>
                </a:path>
              </a:pathLst>
            </a:custGeom>
            <a:solidFill>
              <a:srgbClr val="10BE61"/>
            </a:solidFill>
            <a:ln w="12584" cap="flat">
              <a:noFill/>
              <a:prstDash val="solid"/>
              <a:miter/>
            </a:ln>
          </p:spPr>
          <p:txBody>
            <a:bodyPr rtlCol="0" anchor="ctr"/>
            <a:lstStyle/>
            <a:p>
              <a:endParaRPr lang="zh-CN" altLang="en-US"/>
            </a:p>
          </p:txBody>
        </p:sp>
        <p:sp>
          <p:nvSpPr>
            <p:cNvPr id="10080" name="任意多边形: 形状 10079"/>
            <p:cNvSpPr/>
            <p:nvPr/>
          </p:nvSpPr>
          <p:spPr>
            <a:xfrm>
              <a:off x="6458807" y="3000982"/>
              <a:ext cx="138581" cy="100786"/>
            </a:xfrm>
            <a:custGeom>
              <a:avLst/>
              <a:gdLst>
                <a:gd name="connsiteX0" fmla="*/ 11101 w 138580"/>
                <a:gd name="connsiteY0" fmla="*/ 113062 h 100785"/>
                <a:gd name="connsiteX1" fmla="*/ 18660 w 138580"/>
                <a:gd name="connsiteY1" fmla="*/ 110542 h 100785"/>
                <a:gd name="connsiteX2" fmla="*/ 134564 w 138580"/>
                <a:gd name="connsiteY2" fmla="*/ 19835 h 100785"/>
                <a:gd name="connsiteX3" fmla="*/ 137083 w 138580"/>
                <a:gd name="connsiteY3" fmla="*/ 4717 h 100785"/>
                <a:gd name="connsiteX4" fmla="*/ 121965 w 138580"/>
                <a:gd name="connsiteY4" fmla="*/ 2198 h 100785"/>
                <a:gd name="connsiteX5" fmla="*/ 3542 w 138580"/>
                <a:gd name="connsiteY5" fmla="*/ 94165 h 100785"/>
                <a:gd name="connsiteX6" fmla="*/ 2282 w 138580"/>
                <a:gd name="connsiteY6" fmla="*/ 109283 h 100785"/>
                <a:gd name="connsiteX7" fmla="*/ 11101 w 138580"/>
                <a:gd name="connsiteY7" fmla="*/ 113062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00785">
                  <a:moveTo>
                    <a:pt x="11101" y="113062"/>
                  </a:moveTo>
                  <a:cubicBezTo>
                    <a:pt x="13621" y="113062"/>
                    <a:pt x="16140" y="111802"/>
                    <a:pt x="18660" y="110542"/>
                  </a:cubicBezTo>
                  <a:cubicBezTo>
                    <a:pt x="55195" y="77787"/>
                    <a:pt x="94249" y="47551"/>
                    <a:pt x="134564" y="19835"/>
                  </a:cubicBezTo>
                  <a:cubicBezTo>
                    <a:pt x="139603" y="16056"/>
                    <a:pt x="140863" y="9757"/>
                    <a:pt x="137083" y="4717"/>
                  </a:cubicBezTo>
                  <a:cubicBezTo>
                    <a:pt x="133304" y="-322"/>
                    <a:pt x="127005" y="-1582"/>
                    <a:pt x="121965" y="2198"/>
                  </a:cubicBezTo>
                  <a:cubicBezTo>
                    <a:pt x="80391" y="29914"/>
                    <a:pt x="40077" y="61409"/>
                    <a:pt x="3542" y="94165"/>
                  </a:cubicBezTo>
                  <a:cubicBezTo>
                    <a:pt x="-238" y="97944"/>
                    <a:pt x="-1498" y="105503"/>
                    <a:pt x="2282" y="109283"/>
                  </a:cubicBezTo>
                  <a:cubicBezTo>
                    <a:pt x="6062" y="111802"/>
                    <a:pt x="8581" y="113062"/>
                    <a:pt x="11101" y="113062"/>
                  </a:cubicBezTo>
                  <a:close/>
                </a:path>
              </a:pathLst>
            </a:custGeom>
            <a:solidFill>
              <a:srgbClr val="10BE61"/>
            </a:solidFill>
            <a:ln w="12584" cap="flat">
              <a:noFill/>
              <a:prstDash val="solid"/>
              <a:miter/>
            </a:ln>
          </p:spPr>
          <p:txBody>
            <a:bodyPr rtlCol="0" anchor="ctr"/>
            <a:lstStyle/>
            <a:p>
              <a:endParaRPr lang="zh-CN" altLang="en-US"/>
            </a:p>
          </p:txBody>
        </p:sp>
        <p:sp>
          <p:nvSpPr>
            <p:cNvPr id="10081" name="任意多边形: 形状 10080"/>
            <p:cNvSpPr/>
            <p:nvPr/>
          </p:nvSpPr>
          <p:spPr>
            <a:xfrm>
              <a:off x="1624873" y="3244852"/>
              <a:ext cx="629912" cy="1360609"/>
            </a:xfrm>
            <a:custGeom>
              <a:avLst/>
              <a:gdLst>
                <a:gd name="connsiteX0" fmla="*/ 213924 w 629911"/>
                <a:gd name="connsiteY0" fmla="*/ 1364602 h 1360609"/>
                <a:gd name="connsiteX1" fmla="*/ 47628 w 629911"/>
                <a:gd name="connsiteY1" fmla="*/ 1120196 h 1360609"/>
                <a:gd name="connsiteX2" fmla="*/ 14872 w 629911"/>
                <a:gd name="connsiteY2" fmla="*/ 715793 h 1360609"/>
                <a:gd name="connsiteX3" fmla="*/ 225263 w 629911"/>
                <a:gd name="connsiteY3" fmla="*/ 386979 h 1360609"/>
                <a:gd name="connsiteX4" fmla="*/ 292033 w 629911"/>
                <a:gd name="connsiteY4" fmla="*/ 95960 h 1360609"/>
                <a:gd name="connsiteX5" fmla="*/ 617068 w 629911"/>
                <a:gd name="connsiteY5" fmla="*/ 249658 h 1360609"/>
                <a:gd name="connsiteX6" fmla="*/ 504943 w 629911"/>
                <a:gd name="connsiteY6" fmla="*/ 540677 h 1360609"/>
                <a:gd name="connsiteX7" fmla="*/ 508723 w 629911"/>
                <a:gd name="connsiteY7" fmla="*/ 845554 h 1360609"/>
                <a:gd name="connsiteX8" fmla="*/ 387780 w 629911"/>
                <a:gd name="connsiteY8" fmla="*/ 1157990 h 1360609"/>
                <a:gd name="connsiteX9" fmla="*/ 213924 w 629911"/>
                <a:gd name="connsiteY9" fmla="*/ 1364602 h 13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911" h="1360609">
                  <a:moveTo>
                    <a:pt x="213924" y="1364602"/>
                  </a:moveTo>
                  <a:cubicBezTo>
                    <a:pt x="119438" y="1350744"/>
                    <a:pt x="31250" y="1305390"/>
                    <a:pt x="47628" y="1120196"/>
                  </a:cubicBezTo>
                  <a:cubicBezTo>
                    <a:pt x="64005" y="935002"/>
                    <a:pt x="-36781" y="890908"/>
                    <a:pt x="14872" y="715793"/>
                  </a:cubicBezTo>
                  <a:cubicBezTo>
                    <a:pt x="66525" y="540677"/>
                    <a:pt x="229042" y="533118"/>
                    <a:pt x="225263" y="386979"/>
                  </a:cubicBezTo>
                  <a:cubicBezTo>
                    <a:pt x="222743" y="315169"/>
                    <a:pt x="237861" y="185407"/>
                    <a:pt x="292033" y="95960"/>
                  </a:cubicBezTo>
                  <a:cubicBezTo>
                    <a:pt x="382741" y="-53959"/>
                    <a:pt x="698956" y="-46401"/>
                    <a:pt x="617068" y="249658"/>
                  </a:cubicBezTo>
                  <a:cubicBezTo>
                    <a:pt x="589352" y="350444"/>
                    <a:pt x="508723" y="407136"/>
                    <a:pt x="504943" y="540677"/>
                  </a:cubicBezTo>
                  <a:cubicBezTo>
                    <a:pt x="502424" y="635164"/>
                    <a:pt x="551557" y="675478"/>
                    <a:pt x="508723" y="845554"/>
                  </a:cubicBezTo>
                  <a:cubicBezTo>
                    <a:pt x="469668" y="997993"/>
                    <a:pt x="375182" y="1006812"/>
                    <a:pt x="387780" y="1157990"/>
                  </a:cubicBezTo>
                  <a:cubicBezTo>
                    <a:pt x="400378" y="1310429"/>
                    <a:pt x="326049" y="1380979"/>
                    <a:pt x="213924" y="1364602"/>
                  </a:cubicBezTo>
                  <a:close/>
                </a:path>
              </a:pathLst>
            </a:custGeom>
            <a:solidFill>
              <a:srgbClr val="56E395"/>
            </a:solidFill>
            <a:ln w="12584" cap="flat">
              <a:noFill/>
              <a:prstDash val="solid"/>
              <a:miter/>
            </a:ln>
          </p:spPr>
          <p:txBody>
            <a:bodyPr rtlCol="0" anchor="ctr"/>
            <a:lstStyle/>
            <a:p>
              <a:endParaRPr lang="zh-CN" altLang="en-US"/>
            </a:p>
          </p:txBody>
        </p:sp>
        <p:sp>
          <p:nvSpPr>
            <p:cNvPr id="10082" name="任意多边形: 形状 10081"/>
            <p:cNvSpPr/>
            <p:nvPr/>
          </p:nvSpPr>
          <p:spPr>
            <a:xfrm>
              <a:off x="1807302" y="3254900"/>
              <a:ext cx="302358" cy="1310216"/>
            </a:xfrm>
            <a:custGeom>
              <a:avLst/>
              <a:gdLst>
                <a:gd name="connsiteX0" fmla="*/ 8819 w 302357"/>
                <a:gd name="connsiteY0" fmla="*/ 1320539 h 1310216"/>
                <a:gd name="connsiteX1" fmla="*/ 5039 w 302357"/>
                <a:gd name="connsiteY1" fmla="*/ 1319279 h 1310216"/>
                <a:gd name="connsiteX2" fmla="*/ 1260 w 302357"/>
                <a:gd name="connsiteY2" fmla="*/ 1304162 h 1310216"/>
                <a:gd name="connsiteX3" fmla="*/ 35275 w 302357"/>
                <a:gd name="connsiteY3" fmla="*/ 1142904 h 1310216"/>
                <a:gd name="connsiteX4" fmla="*/ 36535 w 302357"/>
                <a:gd name="connsiteY4" fmla="*/ 1059755 h 1310216"/>
                <a:gd name="connsiteX5" fmla="*/ 97006 w 302357"/>
                <a:gd name="connsiteY5" fmla="*/ 621337 h 1310216"/>
                <a:gd name="connsiteX6" fmla="*/ 175115 w 302357"/>
                <a:gd name="connsiteY6" fmla="*/ 476457 h 1310216"/>
                <a:gd name="connsiteX7" fmla="*/ 254484 w 302357"/>
                <a:gd name="connsiteY7" fmla="*/ 326539 h 1310216"/>
                <a:gd name="connsiteX8" fmla="*/ 279681 w 302357"/>
                <a:gd name="connsiteY8" fmla="*/ 12842 h 1310216"/>
                <a:gd name="connsiteX9" fmla="*/ 287240 w 302357"/>
                <a:gd name="connsiteY9" fmla="*/ 244 h 1310216"/>
                <a:gd name="connsiteX10" fmla="*/ 299838 w 302357"/>
                <a:gd name="connsiteY10" fmla="*/ 7803 h 1310216"/>
                <a:gd name="connsiteX11" fmla="*/ 273382 w 302357"/>
                <a:gd name="connsiteY11" fmla="*/ 334097 h 1310216"/>
                <a:gd name="connsiteX12" fmla="*/ 192753 w 302357"/>
                <a:gd name="connsiteY12" fmla="*/ 486536 h 1310216"/>
                <a:gd name="connsiteX13" fmla="*/ 115904 w 302357"/>
                <a:gd name="connsiteY13" fmla="*/ 628896 h 1310216"/>
                <a:gd name="connsiteX14" fmla="*/ 56692 w 302357"/>
                <a:gd name="connsiteY14" fmla="*/ 1059755 h 1310216"/>
                <a:gd name="connsiteX15" fmla="*/ 55432 w 302357"/>
                <a:gd name="connsiteY15" fmla="*/ 1142904 h 1310216"/>
                <a:gd name="connsiteX16" fmla="*/ 17638 w 302357"/>
                <a:gd name="connsiteY16" fmla="*/ 1315500 h 1310216"/>
                <a:gd name="connsiteX17" fmla="*/ 8819 w 302357"/>
                <a:gd name="connsiteY17" fmla="*/ 1320539 h 131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2357" h="1310216">
                  <a:moveTo>
                    <a:pt x="8819" y="1320539"/>
                  </a:moveTo>
                  <a:cubicBezTo>
                    <a:pt x="7559" y="1320539"/>
                    <a:pt x="6299" y="1319279"/>
                    <a:pt x="5039" y="1319279"/>
                  </a:cubicBezTo>
                  <a:cubicBezTo>
                    <a:pt x="0" y="1316760"/>
                    <a:pt x="-1260" y="1309201"/>
                    <a:pt x="1260" y="1304162"/>
                  </a:cubicBezTo>
                  <a:cubicBezTo>
                    <a:pt x="30236" y="1257548"/>
                    <a:pt x="34015" y="1199596"/>
                    <a:pt x="35275" y="1142904"/>
                  </a:cubicBezTo>
                  <a:cubicBezTo>
                    <a:pt x="36535" y="1115188"/>
                    <a:pt x="36535" y="1087472"/>
                    <a:pt x="36535" y="1059755"/>
                  </a:cubicBezTo>
                  <a:cubicBezTo>
                    <a:pt x="37795" y="912356"/>
                    <a:pt x="40314" y="758658"/>
                    <a:pt x="97006" y="621337"/>
                  </a:cubicBezTo>
                  <a:cubicBezTo>
                    <a:pt x="118423" y="570944"/>
                    <a:pt x="147399" y="523071"/>
                    <a:pt x="175115" y="476457"/>
                  </a:cubicBezTo>
                  <a:cubicBezTo>
                    <a:pt x="204091" y="428584"/>
                    <a:pt x="233067" y="379451"/>
                    <a:pt x="254484" y="326539"/>
                  </a:cubicBezTo>
                  <a:cubicBezTo>
                    <a:pt x="293539" y="228272"/>
                    <a:pt x="302358" y="116148"/>
                    <a:pt x="279681" y="12842"/>
                  </a:cubicBezTo>
                  <a:cubicBezTo>
                    <a:pt x="278421" y="6543"/>
                    <a:pt x="282200" y="1504"/>
                    <a:pt x="287240" y="244"/>
                  </a:cubicBezTo>
                  <a:cubicBezTo>
                    <a:pt x="293539" y="-1016"/>
                    <a:pt x="298578" y="2764"/>
                    <a:pt x="299838" y="7803"/>
                  </a:cubicBezTo>
                  <a:cubicBezTo>
                    <a:pt x="323775" y="116148"/>
                    <a:pt x="314956" y="230792"/>
                    <a:pt x="273382" y="334097"/>
                  </a:cubicBezTo>
                  <a:cubicBezTo>
                    <a:pt x="251965" y="388270"/>
                    <a:pt x="221729" y="438663"/>
                    <a:pt x="192753" y="486536"/>
                  </a:cubicBezTo>
                  <a:cubicBezTo>
                    <a:pt x="165037" y="531890"/>
                    <a:pt x="137321" y="579763"/>
                    <a:pt x="115904" y="628896"/>
                  </a:cubicBezTo>
                  <a:cubicBezTo>
                    <a:pt x="59212" y="762437"/>
                    <a:pt x="57952" y="913616"/>
                    <a:pt x="56692" y="1059755"/>
                  </a:cubicBezTo>
                  <a:cubicBezTo>
                    <a:pt x="56692" y="1087472"/>
                    <a:pt x="56692" y="1115188"/>
                    <a:pt x="55432" y="1142904"/>
                  </a:cubicBezTo>
                  <a:cubicBezTo>
                    <a:pt x="54172" y="1202116"/>
                    <a:pt x="50393" y="1263847"/>
                    <a:pt x="17638" y="1315500"/>
                  </a:cubicBezTo>
                  <a:cubicBezTo>
                    <a:pt x="17638" y="1319279"/>
                    <a:pt x="12598" y="1321799"/>
                    <a:pt x="8819" y="1320539"/>
                  </a:cubicBezTo>
                  <a:close/>
                </a:path>
              </a:pathLst>
            </a:custGeom>
            <a:solidFill>
              <a:srgbClr val="10BE61"/>
            </a:solidFill>
            <a:ln w="12584" cap="flat">
              <a:noFill/>
              <a:prstDash val="solid"/>
              <a:miter/>
            </a:ln>
          </p:spPr>
          <p:txBody>
            <a:bodyPr rtlCol="0" anchor="ctr"/>
            <a:lstStyle/>
            <a:p>
              <a:endParaRPr lang="zh-CN" altLang="en-US"/>
            </a:p>
          </p:txBody>
        </p:sp>
        <p:sp>
          <p:nvSpPr>
            <p:cNvPr id="10083" name="任意多边形: 形状 10082"/>
            <p:cNvSpPr/>
            <p:nvPr/>
          </p:nvSpPr>
          <p:spPr>
            <a:xfrm>
              <a:off x="1665180" y="3929387"/>
              <a:ext cx="201572" cy="264563"/>
            </a:xfrm>
            <a:custGeom>
              <a:avLst/>
              <a:gdLst>
                <a:gd name="connsiteX0" fmla="*/ 189996 w 201571"/>
                <a:gd name="connsiteY0" fmla="*/ 264325 h 264562"/>
                <a:gd name="connsiteX1" fmla="*/ 182437 w 201571"/>
                <a:gd name="connsiteY1" fmla="*/ 259286 h 264562"/>
                <a:gd name="connsiteX2" fmla="*/ 2282 w 201571"/>
                <a:gd name="connsiteY2" fmla="*/ 17400 h 264562"/>
                <a:gd name="connsiteX3" fmla="*/ 3542 w 201571"/>
                <a:gd name="connsiteY3" fmla="*/ 2282 h 264562"/>
                <a:gd name="connsiteX4" fmla="*/ 18660 w 201571"/>
                <a:gd name="connsiteY4" fmla="*/ 3542 h 264562"/>
                <a:gd name="connsiteX5" fmla="*/ 200074 w 201571"/>
                <a:gd name="connsiteY5" fmla="*/ 246688 h 264562"/>
                <a:gd name="connsiteX6" fmla="*/ 197555 w 201571"/>
                <a:gd name="connsiteY6" fmla="*/ 261806 h 264562"/>
                <a:gd name="connsiteX7" fmla="*/ 189996 w 201571"/>
                <a:gd name="connsiteY7" fmla="*/ 264325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571" h="264562">
                  <a:moveTo>
                    <a:pt x="189996" y="264325"/>
                  </a:moveTo>
                  <a:cubicBezTo>
                    <a:pt x="187476" y="264325"/>
                    <a:pt x="184956" y="261806"/>
                    <a:pt x="182437" y="259286"/>
                  </a:cubicBezTo>
                  <a:cubicBezTo>
                    <a:pt x="124485" y="177397"/>
                    <a:pt x="64013" y="95509"/>
                    <a:pt x="2282" y="17400"/>
                  </a:cubicBezTo>
                  <a:cubicBezTo>
                    <a:pt x="-1497" y="12361"/>
                    <a:pt x="-238" y="6061"/>
                    <a:pt x="3542" y="2282"/>
                  </a:cubicBezTo>
                  <a:cubicBezTo>
                    <a:pt x="8581" y="-1497"/>
                    <a:pt x="14880" y="-238"/>
                    <a:pt x="18660" y="3542"/>
                  </a:cubicBezTo>
                  <a:cubicBezTo>
                    <a:pt x="81651" y="82911"/>
                    <a:pt x="142122" y="164799"/>
                    <a:pt x="200074" y="246688"/>
                  </a:cubicBezTo>
                  <a:cubicBezTo>
                    <a:pt x="203854" y="251727"/>
                    <a:pt x="202594" y="258026"/>
                    <a:pt x="197555" y="261806"/>
                  </a:cubicBezTo>
                  <a:cubicBezTo>
                    <a:pt x="195035" y="264325"/>
                    <a:pt x="192515" y="265585"/>
                    <a:pt x="189996" y="264325"/>
                  </a:cubicBezTo>
                  <a:close/>
                </a:path>
              </a:pathLst>
            </a:custGeom>
            <a:solidFill>
              <a:srgbClr val="10BE61"/>
            </a:solidFill>
            <a:ln w="12584" cap="flat">
              <a:noFill/>
              <a:prstDash val="solid"/>
              <a:miter/>
            </a:ln>
          </p:spPr>
          <p:txBody>
            <a:bodyPr rtlCol="0" anchor="ctr"/>
            <a:lstStyle/>
            <a:p>
              <a:endParaRPr lang="zh-CN" altLang="en-US"/>
            </a:p>
          </p:txBody>
        </p:sp>
        <p:sp>
          <p:nvSpPr>
            <p:cNvPr id="10084" name="任意多边形: 形状 10083"/>
            <p:cNvSpPr/>
            <p:nvPr/>
          </p:nvSpPr>
          <p:spPr>
            <a:xfrm>
              <a:off x="1682265" y="4044738"/>
              <a:ext cx="176375" cy="214170"/>
            </a:xfrm>
            <a:custGeom>
              <a:avLst/>
              <a:gdLst>
                <a:gd name="connsiteX0" fmla="*/ 171651 w 176375"/>
                <a:gd name="connsiteY0" fmla="*/ 214485 h 214169"/>
                <a:gd name="connsiteX1" fmla="*/ 164092 w 176375"/>
                <a:gd name="connsiteY1" fmla="*/ 210706 h 214169"/>
                <a:gd name="connsiteX2" fmla="*/ 2835 w 176375"/>
                <a:gd name="connsiteY2" fmla="*/ 17952 h 214169"/>
                <a:gd name="connsiteX3" fmla="*/ 2835 w 176375"/>
                <a:gd name="connsiteY3" fmla="*/ 2835 h 214169"/>
                <a:gd name="connsiteX4" fmla="*/ 17952 w 176375"/>
                <a:gd name="connsiteY4" fmla="*/ 2835 h 214169"/>
                <a:gd name="connsiteX5" fmla="*/ 180470 w 176375"/>
                <a:gd name="connsiteY5" fmla="*/ 198107 h 214169"/>
                <a:gd name="connsiteX6" fmla="*/ 177950 w 176375"/>
                <a:gd name="connsiteY6" fmla="*/ 213225 h 214169"/>
                <a:gd name="connsiteX7" fmla="*/ 171651 w 176375"/>
                <a:gd name="connsiteY7" fmla="*/ 214485 h 21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214169">
                  <a:moveTo>
                    <a:pt x="171651" y="214485"/>
                  </a:moveTo>
                  <a:cubicBezTo>
                    <a:pt x="169131" y="214485"/>
                    <a:pt x="166612" y="213225"/>
                    <a:pt x="164092" y="210706"/>
                  </a:cubicBezTo>
                  <a:cubicBezTo>
                    <a:pt x="114959" y="142675"/>
                    <a:pt x="60786" y="78424"/>
                    <a:pt x="2835" y="17952"/>
                  </a:cubicBezTo>
                  <a:cubicBezTo>
                    <a:pt x="-945" y="14173"/>
                    <a:pt x="-945" y="6614"/>
                    <a:pt x="2835" y="2835"/>
                  </a:cubicBezTo>
                  <a:cubicBezTo>
                    <a:pt x="6614" y="-945"/>
                    <a:pt x="14173" y="-945"/>
                    <a:pt x="17952" y="2835"/>
                  </a:cubicBezTo>
                  <a:cubicBezTo>
                    <a:pt x="75904" y="63306"/>
                    <a:pt x="131337" y="128817"/>
                    <a:pt x="180470" y="198107"/>
                  </a:cubicBezTo>
                  <a:cubicBezTo>
                    <a:pt x="184249" y="203147"/>
                    <a:pt x="182989" y="209446"/>
                    <a:pt x="177950" y="213225"/>
                  </a:cubicBezTo>
                  <a:cubicBezTo>
                    <a:pt x="177950" y="214485"/>
                    <a:pt x="174171" y="214485"/>
                    <a:pt x="171651" y="214485"/>
                  </a:cubicBezTo>
                  <a:close/>
                </a:path>
              </a:pathLst>
            </a:custGeom>
            <a:solidFill>
              <a:srgbClr val="10BE61"/>
            </a:solidFill>
            <a:ln w="12584" cap="flat">
              <a:noFill/>
              <a:prstDash val="solid"/>
              <a:miter/>
            </a:ln>
          </p:spPr>
          <p:txBody>
            <a:bodyPr rtlCol="0" anchor="ctr"/>
            <a:lstStyle/>
            <a:p>
              <a:endParaRPr lang="zh-CN" altLang="en-US"/>
            </a:p>
          </p:txBody>
        </p:sp>
        <p:sp>
          <p:nvSpPr>
            <p:cNvPr id="10085" name="任意多边形: 形状 10084"/>
            <p:cNvSpPr/>
            <p:nvPr/>
          </p:nvSpPr>
          <p:spPr>
            <a:xfrm>
              <a:off x="1739097" y="4232592"/>
              <a:ext cx="113384" cy="125982"/>
            </a:xfrm>
            <a:custGeom>
              <a:avLst/>
              <a:gdLst>
                <a:gd name="connsiteX0" fmla="*/ 113559 w 113384"/>
                <a:gd name="connsiteY0" fmla="*/ 136235 h 125982"/>
                <a:gd name="connsiteX1" fmla="*/ 106000 w 113384"/>
                <a:gd name="connsiteY1" fmla="*/ 131196 h 125982"/>
                <a:gd name="connsiteX2" fmla="*/ 3954 w 113384"/>
                <a:gd name="connsiteY2" fmla="*/ 19071 h 125982"/>
                <a:gd name="connsiteX3" fmla="*/ 2694 w 113384"/>
                <a:gd name="connsiteY3" fmla="*/ 3954 h 125982"/>
                <a:gd name="connsiteX4" fmla="*/ 17812 w 113384"/>
                <a:gd name="connsiteY4" fmla="*/ 2694 h 125982"/>
                <a:gd name="connsiteX5" fmla="*/ 123637 w 113384"/>
                <a:gd name="connsiteY5" fmla="*/ 119857 h 125982"/>
                <a:gd name="connsiteX6" fmla="*/ 121117 w 113384"/>
                <a:gd name="connsiteY6" fmla="*/ 134975 h 125982"/>
                <a:gd name="connsiteX7" fmla="*/ 113559 w 113384"/>
                <a:gd name="connsiteY7" fmla="*/ 136235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25982">
                  <a:moveTo>
                    <a:pt x="113559" y="136235"/>
                  </a:moveTo>
                  <a:cubicBezTo>
                    <a:pt x="111039" y="136235"/>
                    <a:pt x="108519" y="133715"/>
                    <a:pt x="106000" y="131196"/>
                  </a:cubicBezTo>
                  <a:cubicBezTo>
                    <a:pt x="77024" y="89622"/>
                    <a:pt x="43008" y="51827"/>
                    <a:pt x="3954" y="19071"/>
                  </a:cubicBezTo>
                  <a:cubicBezTo>
                    <a:pt x="-1085" y="15292"/>
                    <a:pt x="-1085" y="8993"/>
                    <a:pt x="2694" y="3954"/>
                  </a:cubicBezTo>
                  <a:cubicBezTo>
                    <a:pt x="6474" y="-1085"/>
                    <a:pt x="12773" y="-1085"/>
                    <a:pt x="17812" y="2694"/>
                  </a:cubicBezTo>
                  <a:cubicBezTo>
                    <a:pt x="58126" y="36709"/>
                    <a:pt x="93401" y="75764"/>
                    <a:pt x="123637" y="119857"/>
                  </a:cubicBezTo>
                  <a:cubicBezTo>
                    <a:pt x="127417" y="124897"/>
                    <a:pt x="126157" y="131196"/>
                    <a:pt x="121117" y="134975"/>
                  </a:cubicBezTo>
                  <a:cubicBezTo>
                    <a:pt x="118598" y="134975"/>
                    <a:pt x="116078" y="136235"/>
                    <a:pt x="113559" y="136235"/>
                  </a:cubicBezTo>
                  <a:close/>
                </a:path>
              </a:pathLst>
            </a:custGeom>
            <a:solidFill>
              <a:srgbClr val="10BE61"/>
            </a:solidFill>
            <a:ln w="12584" cap="flat">
              <a:noFill/>
              <a:prstDash val="solid"/>
              <a:miter/>
            </a:ln>
          </p:spPr>
          <p:txBody>
            <a:bodyPr rtlCol="0" anchor="ctr"/>
            <a:lstStyle/>
            <a:p>
              <a:endParaRPr lang="zh-CN" altLang="en-US"/>
            </a:p>
          </p:txBody>
        </p:sp>
        <p:sp>
          <p:nvSpPr>
            <p:cNvPr id="10086" name="任意多边形: 形状 10085"/>
            <p:cNvSpPr/>
            <p:nvPr/>
          </p:nvSpPr>
          <p:spPr>
            <a:xfrm>
              <a:off x="1855175" y="3949764"/>
              <a:ext cx="251965" cy="125982"/>
            </a:xfrm>
            <a:custGeom>
              <a:avLst/>
              <a:gdLst>
                <a:gd name="connsiteX0" fmla="*/ 8819 w 251964"/>
                <a:gd name="connsiteY0" fmla="*/ 129304 h 125982"/>
                <a:gd name="connsiteX1" fmla="*/ 1260 w 251964"/>
                <a:gd name="connsiteY1" fmla="*/ 124265 h 125982"/>
                <a:gd name="connsiteX2" fmla="*/ 5039 w 251964"/>
                <a:gd name="connsiteY2" fmla="*/ 110407 h 125982"/>
                <a:gd name="connsiteX3" fmla="*/ 249445 w 251964"/>
                <a:gd name="connsiteY3" fmla="*/ 802 h 125982"/>
                <a:gd name="connsiteX4" fmla="*/ 263303 w 251964"/>
                <a:gd name="connsiteY4" fmla="*/ 7101 h 125982"/>
                <a:gd name="connsiteX5" fmla="*/ 257004 w 251964"/>
                <a:gd name="connsiteY5" fmla="*/ 20959 h 125982"/>
                <a:gd name="connsiteX6" fmla="*/ 15118 w 251964"/>
                <a:gd name="connsiteY6" fmla="*/ 129304 h 125982"/>
                <a:gd name="connsiteX7" fmla="*/ 8819 w 251964"/>
                <a:gd name="connsiteY7" fmla="*/ 129304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125982">
                  <a:moveTo>
                    <a:pt x="8819" y="129304"/>
                  </a:moveTo>
                  <a:cubicBezTo>
                    <a:pt x="5039" y="129304"/>
                    <a:pt x="2520" y="126784"/>
                    <a:pt x="1260" y="124265"/>
                  </a:cubicBezTo>
                  <a:cubicBezTo>
                    <a:pt x="-1260" y="119225"/>
                    <a:pt x="0" y="112926"/>
                    <a:pt x="5039" y="110407"/>
                  </a:cubicBezTo>
                  <a:cubicBezTo>
                    <a:pt x="83148" y="68832"/>
                    <a:pt x="166297" y="31038"/>
                    <a:pt x="249445" y="802"/>
                  </a:cubicBezTo>
                  <a:cubicBezTo>
                    <a:pt x="254484" y="-1718"/>
                    <a:pt x="260783" y="2062"/>
                    <a:pt x="263303" y="7101"/>
                  </a:cubicBezTo>
                  <a:cubicBezTo>
                    <a:pt x="265823" y="12141"/>
                    <a:pt x="262043" y="18440"/>
                    <a:pt x="257004" y="20959"/>
                  </a:cubicBezTo>
                  <a:cubicBezTo>
                    <a:pt x="173856" y="51195"/>
                    <a:pt x="93227" y="87730"/>
                    <a:pt x="15118" y="129304"/>
                  </a:cubicBezTo>
                  <a:cubicBezTo>
                    <a:pt x="13858" y="129304"/>
                    <a:pt x="11338" y="129304"/>
                    <a:pt x="8819" y="129304"/>
                  </a:cubicBezTo>
                  <a:close/>
                </a:path>
              </a:pathLst>
            </a:custGeom>
            <a:solidFill>
              <a:srgbClr val="10BE61"/>
            </a:solidFill>
            <a:ln w="12584" cap="flat">
              <a:noFill/>
              <a:prstDash val="solid"/>
              <a:miter/>
            </a:ln>
          </p:spPr>
          <p:txBody>
            <a:bodyPr rtlCol="0" anchor="ctr"/>
            <a:lstStyle/>
            <a:p>
              <a:endParaRPr lang="zh-CN" altLang="en-US"/>
            </a:p>
          </p:txBody>
        </p:sp>
        <p:sp>
          <p:nvSpPr>
            <p:cNvPr id="10087" name="任意多边形: 形状 10086"/>
            <p:cNvSpPr/>
            <p:nvPr/>
          </p:nvSpPr>
          <p:spPr>
            <a:xfrm>
              <a:off x="1859894" y="4018276"/>
              <a:ext cx="264563" cy="100786"/>
            </a:xfrm>
            <a:custGeom>
              <a:avLst/>
              <a:gdLst>
                <a:gd name="connsiteX0" fmla="*/ 9140 w 264562"/>
                <a:gd name="connsiteY0" fmla="*/ 103627 h 100785"/>
                <a:gd name="connsiteX1" fmla="*/ 321 w 264562"/>
                <a:gd name="connsiteY1" fmla="*/ 96068 h 100785"/>
                <a:gd name="connsiteX2" fmla="*/ 6620 w 264562"/>
                <a:gd name="connsiteY2" fmla="*/ 82209 h 100785"/>
                <a:gd name="connsiteX3" fmla="*/ 259845 w 264562"/>
                <a:gd name="connsiteY3" fmla="*/ 321 h 100785"/>
                <a:gd name="connsiteX4" fmla="*/ 273703 w 264562"/>
                <a:gd name="connsiteY4" fmla="*/ 6620 h 100785"/>
                <a:gd name="connsiteX5" fmla="*/ 267404 w 264562"/>
                <a:gd name="connsiteY5" fmla="*/ 20478 h 100785"/>
                <a:gd name="connsiteX6" fmla="*/ 14179 w 264562"/>
                <a:gd name="connsiteY6" fmla="*/ 102367 h 100785"/>
                <a:gd name="connsiteX7" fmla="*/ 9140 w 264562"/>
                <a:gd name="connsiteY7" fmla="*/ 103627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562" h="100785">
                  <a:moveTo>
                    <a:pt x="9140" y="103627"/>
                  </a:moveTo>
                  <a:cubicBezTo>
                    <a:pt x="5360" y="103627"/>
                    <a:pt x="1581" y="99847"/>
                    <a:pt x="321" y="96068"/>
                  </a:cubicBezTo>
                  <a:cubicBezTo>
                    <a:pt x="-939" y="91028"/>
                    <a:pt x="1581" y="84729"/>
                    <a:pt x="6620" y="82209"/>
                  </a:cubicBezTo>
                  <a:lnTo>
                    <a:pt x="259845" y="321"/>
                  </a:lnTo>
                  <a:cubicBezTo>
                    <a:pt x="264884" y="-939"/>
                    <a:pt x="271183" y="1581"/>
                    <a:pt x="273703" y="6620"/>
                  </a:cubicBezTo>
                  <a:cubicBezTo>
                    <a:pt x="274963" y="11660"/>
                    <a:pt x="272443" y="17959"/>
                    <a:pt x="267404" y="20478"/>
                  </a:cubicBezTo>
                  <a:lnTo>
                    <a:pt x="14179" y="102367"/>
                  </a:lnTo>
                  <a:cubicBezTo>
                    <a:pt x="11659" y="103627"/>
                    <a:pt x="10400" y="103627"/>
                    <a:pt x="9140" y="103627"/>
                  </a:cubicBezTo>
                  <a:close/>
                </a:path>
              </a:pathLst>
            </a:custGeom>
            <a:solidFill>
              <a:srgbClr val="10BE61"/>
            </a:solidFill>
            <a:ln w="12584" cap="flat">
              <a:noFill/>
              <a:prstDash val="solid"/>
              <a:miter/>
            </a:ln>
          </p:spPr>
          <p:txBody>
            <a:bodyPr rtlCol="0" anchor="ctr"/>
            <a:lstStyle/>
            <a:p>
              <a:endParaRPr lang="zh-CN" altLang="en-US"/>
            </a:p>
          </p:txBody>
        </p:sp>
        <p:sp>
          <p:nvSpPr>
            <p:cNvPr id="10088" name="任意多边形: 形状 10087"/>
            <p:cNvSpPr/>
            <p:nvPr/>
          </p:nvSpPr>
          <p:spPr>
            <a:xfrm>
              <a:off x="1865576" y="3735459"/>
              <a:ext cx="75589" cy="100786"/>
            </a:xfrm>
            <a:custGeom>
              <a:avLst/>
              <a:gdLst>
                <a:gd name="connsiteX0" fmla="*/ 71488 w 75589"/>
                <a:gd name="connsiteY0" fmla="*/ 104243 h 100785"/>
                <a:gd name="connsiteX1" fmla="*/ 63929 w 75589"/>
                <a:gd name="connsiteY1" fmla="*/ 100464 h 100785"/>
                <a:gd name="connsiteX2" fmla="*/ 2198 w 75589"/>
                <a:gd name="connsiteY2" fmla="*/ 17315 h 100785"/>
                <a:gd name="connsiteX3" fmla="*/ 4717 w 75589"/>
                <a:gd name="connsiteY3" fmla="*/ 2198 h 100785"/>
                <a:gd name="connsiteX4" fmla="*/ 19835 w 75589"/>
                <a:gd name="connsiteY4" fmla="*/ 4717 h 100785"/>
                <a:gd name="connsiteX5" fmla="*/ 81566 w 75589"/>
                <a:gd name="connsiteY5" fmla="*/ 87866 h 100785"/>
                <a:gd name="connsiteX6" fmla="*/ 79047 w 75589"/>
                <a:gd name="connsiteY6" fmla="*/ 102983 h 100785"/>
                <a:gd name="connsiteX7" fmla="*/ 71488 w 75589"/>
                <a:gd name="connsiteY7" fmla="*/ 104243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00785">
                  <a:moveTo>
                    <a:pt x="71488" y="104243"/>
                  </a:moveTo>
                  <a:cubicBezTo>
                    <a:pt x="68968" y="104243"/>
                    <a:pt x="66449" y="102983"/>
                    <a:pt x="63929" y="100464"/>
                  </a:cubicBezTo>
                  <a:lnTo>
                    <a:pt x="2198" y="17315"/>
                  </a:lnTo>
                  <a:cubicBezTo>
                    <a:pt x="-1582" y="12276"/>
                    <a:pt x="-322" y="5977"/>
                    <a:pt x="4717" y="2198"/>
                  </a:cubicBezTo>
                  <a:cubicBezTo>
                    <a:pt x="9757" y="-1582"/>
                    <a:pt x="16056" y="-322"/>
                    <a:pt x="19835" y="4717"/>
                  </a:cubicBezTo>
                  <a:lnTo>
                    <a:pt x="81566" y="87866"/>
                  </a:lnTo>
                  <a:cubicBezTo>
                    <a:pt x="85346" y="92905"/>
                    <a:pt x="84086" y="99204"/>
                    <a:pt x="79047" y="102983"/>
                  </a:cubicBezTo>
                  <a:cubicBezTo>
                    <a:pt x="76527" y="104243"/>
                    <a:pt x="74008" y="104243"/>
                    <a:pt x="71488" y="104243"/>
                  </a:cubicBezTo>
                  <a:close/>
                </a:path>
              </a:pathLst>
            </a:custGeom>
            <a:solidFill>
              <a:srgbClr val="10BE61"/>
            </a:solidFill>
            <a:ln w="12584" cap="flat">
              <a:noFill/>
              <a:prstDash val="solid"/>
              <a:miter/>
            </a:ln>
          </p:spPr>
          <p:txBody>
            <a:bodyPr rtlCol="0" anchor="ctr"/>
            <a:lstStyle/>
            <a:p>
              <a:endParaRPr lang="zh-CN" altLang="en-US"/>
            </a:p>
          </p:txBody>
        </p:sp>
        <p:sp>
          <p:nvSpPr>
            <p:cNvPr id="10089" name="任意多边形: 形状 10088"/>
            <p:cNvSpPr/>
            <p:nvPr/>
          </p:nvSpPr>
          <p:spPr>
            <a:xfrm>
              <a:off x="1876032" y="3647649"/>
              <a:ext cx="88188" cy="138581"/>
            </a:xfrm>
            <a:custGeom>
              <a:avLst/>
              <a:gdLst>
                <a:gd name="connsiteX0" fmla="*/ 82448 w 88187"/>
                <a:gd name="connsiteY0" fmla="*/ 145440 h 138580"/>
                <a:gd name="connsiteX1" fmla="*/ 74889 w 88187"/>
                <a:gd name="connsiteY1" fmla="*/ 140400 h 138580"/>
                <a:gd name="connsiteX2" fmla="*/ 1820 w 88187"/>
                <a:gd name="connsiteY2" fmla="*/ 16938 h 138580"/>
                <a:gd name="connsiteX3" fmla="*/ 5599 w 88187"/>
                <a:gd name="connsiteY3" fmla="*/ 1820 h 138580"/>
                <a:gd name="connsiteX4" fmla="*/ 20717 w 88187"/>
                <a:gd name="connsiteY4" fmla="*/ 5599 h 138580"/>
                <a:gd name="connsiteX5" fmla="*/ 93787 w 88187"/>
                <a:gd name="connsiteY5" fmla="*/ 130322 h 138580"/>
                <a:gd name="connsiteX6" fmla="*/ 90007 w 88187"/>
                <a:gd name="connsiteY6" fmla="*/ 144180 h 138580"/>
                <a:gd name="connsiteX7" fmla="*/ 82448 w 88187"/>
                <a:gd name="connsiteY7" fmla="*/ 14544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187" h="138580">
                  <a:moveTo>
                    <a:pt x="82448" y="145440"/>
                  </a:moveTo>
                  <a:cubicBezTo>
                    <a:pt x="78669" y="145440"/>
                    <a:pt x="76149" y="142920"/>
                    <a:pt x="74889" y="140400"/>
                  </a:cubicBezTo>
                  <a:cubicBezTo>
                    <a:pt x="52213" y="98826"/>
                    <a:pt x="28276" y="57252"/>
                    <a:pt x="1820" y="16938"/>
                  </a:cubicBezTo>
                  <a:cubicBezTo>
                    <a:pt x="-1960" y="11898"/>
                    <a:pt x="560" y="5599"/>
                    <a:pt x="5599" y="1820"/>
                  </a:cubicBezTo>
                  <a:cubicBezTo>
                    <a:pt x="10638" y="-1960"/>
                    <a:pt x="16938" y="560"/>
                    <a:pt x="20717" y="5599"/>
                  </a:cubicBezTo>
                  <a:cubicBezTo>
                    <a:pt x="47173" y="45914"/>
                    <a:pt x="71110" y="87488"/>
                    <a:pt x="93787" y="130322"/>
                  </a:cubicBezTo>
                  <a:cubicBezTo>
                    <a:pt x="96307" y="135361"/>
                    <a:pt x="95047" y="141660"/>
                    <a:pt x="90007" y="144180"/>
                  </a:cubicBezTo>
                  <a:cubicBezTo>
                    <a:pt x="87488" y="145440"/>
                    <a:pt x="84968" y="145440"/>
                    <a:pt x="82448" y="145440"/>
                  </a:cubicBezTo>
                  <a:close/>
                </a:path>
              </a:pathLst>
            </a:custGeom>
            <a:solidFill>
              <a:srgbClr val="10BE61"/>
            </a:solidFill>
            <a:ln w="12584" cap="flat">
              <a:noFill/>
              <a:prstDash val="solid"/>
              <a:miter/>
            </a:ln>
          </p:spPr>
          <p:txBody>
            <a:bodyPr rtlCol="0" anchor="ctr"/>
            <a:lstStyle/>
            <a:p>
              <a:endParaRPr lang="zh-CN" altLang="en-US"/>
            </a:p>
          </p:txBody>
        </p:sp>
        <p:sp>
          <p:nvSpPr>
            <p:cNvPr id="10090" name="任意多边形: 形状 10089"/>
            <p:cNvSpPr/>
            <p:nvPr/>
          </p:nvSpPr>
          <p:spPr>
            <a:xfrm>
              <a:off x="1979654" y="3697800"/>
              <a:ext cx="151179" cy="50393"/>
            </a:xfrm>
            <a:custGeom>
              <a:avLst/>
              <a:gdLst>
                <a:gd name="connsiteX0" fmla="*/ 9063 w 151178"/>
                <a:gd name="connsiteY0" fmla="*/ 61274 h 50392"/>
                <a:gd name="connsiteX1" fmla="*/ 244 w 151178"/>
                <a:gd name="connsiteY1" fmla="*/ 53715 h 50392"/>
                <a:gd name="connsiteX2" fmla="*/ 7803 w 151178"/>
                <a:gd name="connsiteY2" fmla="*/ 41116 h 50392"/>
                <a:gd name="connsiteX3" fmla="*/ 142604 w 151178"/>
                <a:gd name="connsiteY3" fmla="*/ 802 h 50392"/>
                <a:gd name="connsiteX4" fmla="*/ 156462 w 151178"/>
                <a:gd name="connsiteY4" fmla="*/ 7101 h 50392"/>
                <a:gd name="connsiteX5" fmla="*/ 150163 w 151178"/>
                <a:gd name="connsiteY5" fmla="*/ 20959 h 50392"/>
                <a:gd name="connsiteX6" fmla="*/ 12842 w 151178"/>
                <a:gd name="connsiteY6" fmla="*/ 62533 h 50392"/>
                <a:gd name="connsiteX7" fmla="*/ 9063 w 151178"/>
                <a:gd name="connsiteY7" fmla="*/ 61274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50392">
                  <a:moveTo>
                    <a:pt x="9063" y="61274"/>
                  </a:moveTo>
                  <a:cubicBezTo>
                    <a:pt x="5283" y="61274"/>
                    <a:pt x="1504" y="57494"/>
                    <a:pt x="244" y="53715"/>
                  </a:cubicBezTo>
                  <a:cubicBezTo>
                    <a:pt x="-1016" y="47416"/>
                    <a:pt x="2764" y="42376"/>
                    <a:pt x="7803" y="41116"/>
                  </a:cubicBezTo>
                  <a:cubicBezTo>
                    <a:pt x="53157" y="29778"/>
                    <a:pt x="98510" y="17180"/>
                    <a:pt x="142604" y="802"/>
                  </a:cubicBezTo>
                  <a:cubicBezTo>
                    <a:pt x="147643" y="-1718"/>
                    <a:pt x="153943" y="2062"/>
                    <a:pt x="156462" y="7101"/>
                  </a:cubicBezTo>
                  <a:cubicBezTo>
                    <a:pt x="158982" y="12141"/>
                    <a:pt x="155202" y="18440"/>
                    <a:pt x="150163" y="20959"/>
                  </a:cubicBezTo>
                  <a:cubicBezTo>
                    <a:pt x="104810" y="37337"/>
                    <a:pt x="59456" y="51195"/>
                    <a:pt x="12842" y="62533"/>
                  </a:cubicBezTo>
                  <a:cubicBezTo>
                    <a:pt x="12842" y="61274"/>
                    <a:pt x="10323" y="61274"/>
                    <a:pt x="9063" y="61274"/>
                  </a:cubicBezTo>
                  <a:close/>
                </a:path>
              </a:pathLst>
            </a:custGeom>
            <a:solidFill>
              <a:srgbClr val="10BE61"/>
            </a:solidFill>
            <a:ln w="12584" cap="flat">
              <a:noFill/>
              <a:prstDash val="solid"/>
              <a:miter/>
            </a:ln>
          </p:spPr>
          <p:txBody>
            <a:bodyPr rtlCol="0" anchor="ctr"/>
            <a:lstStyle/>
            <a:p>
              <a:endParaRPr lang="zh-CN" altLang="en-US"/>
            </a:p>
          </p:txBody>
        </p:sp>
        <p:sp>
          <p:nvSpPr>
            <p:cNvPr id="10091" name="任意多边形: 形状 10090"/>
            <p:cNvSpPr/>
            <p:nvPr/>
          </p:nvSpPr>
          <p:spPr>
            <a:xfrm>
              <a:off x="1849148" y="4354410"/>
              <a:ext cx="138581" cy="88188"/>
            </a:xfrm>
            <a:custGeom>
              <a:avLst/>
              <a:gdLst>
                <a:gd name="connsiteX0" fmla="*/ 8547 w 138580"/>
                <a:gd name="connsiteY0" fmla="*/ 88748 h 88187"/>
                <a:gd name="connsiteX1" fmla="*/ 988 w 138580"/>
                <a:gd name="connsiteY1" fmla="*/ 82448 h 88187"/>
                <a:gd name="connsiteX2" fmla="*/ 6028 w 138580"/>
                <a:gd name="connsiteY2" fmla="*/ 68590 h 88187"/>
                <a:gd name="connsiteX3" fmla="*/ 130750 w 138580"/>
                <a:gd name="connsiteY3" fmla="*/ 1820 h 88187"/>
                <a:gd name="connsiteX4" fmla="*/ 145868 w 138580"/>
                <a:gd name="connsiteY4" fmla="*/ 5599 h 88187"/>
                <a:gd name="connsiteX5" fmla="*/ 142089 w 138580"/>
                <a:gd name="connsiteY5" fmla="*/ 20717 h 88187"/>
                <a:gd name="connsiteX6" fmla="*/ 14847 w 138580"/>
                <a:gd name="connsiteY6" fmla="*/ 90008 h 88187"/>
                <a:gd name="connsiteX7" fmla="*/ 8547 w 138580"/>
                <a:gd name="connsiteY7" fmla="*/ 88748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88187">
                  <a:moveTo>
                    <a:pt x="8547" y="88748"/>
                  </a:moveTo>
                  <a:cubicBezTo>
                    <a:pt x="4768" y="88748"/>
                    <a:pt x="2248" y="86228"/>
                    <a:pt x="988" y="82448"/>
                  </a:cubicBezTo>
                  <a:cubicBezTo>
                    <a:pt x="-1531" y="77409"/>
                    <a:pt x="988" y="71110"/>
                    <a:pt x="6028" y="68590"/>
                  </a:cubicBezTo>
                  <a:cubicBezTo>
                    <a:pt x="48862" y="49693"/>
                    <a:pt x="90436" y="27016"/>
                    <a:pt x="130750" y="1820"/>
                  </a:cubicBezTo>
                  <a:cubicBezTo>
                    <a:pt x="135790" y="-1960"/>
                    <a:pt x="142089" y="560"/>
                    <a:pt x="145868" y="5599"/>
                  </a:cubicBezTo>
                  <a:cubicBezTo>
                    <a:pt x="149648" y="10638"/>
                    <a:pt x="147128" y="16938"/>
                    <a:pt x="142089" y="20717"/>
                  </a:cubicBezTo>
                  <a:cubicBezTo>
                    <a:pt x="101774" y="45914"/>
                    <a:pt x="58940" y="69850"/>
                    <a:pt x="14847" y="90008"/>
                  </a:cubicBezTo>
                  <a:cubicBezTo>
                    <a:pt x="12327" y="88748"/>
                    <a:pt x="11067" y="90008"/>
                    <a:pt x="8547" y="88748"/>
                  </a:cubicBezTo>
                  <a:close/>
                </a:path>
              </a:pathLst>
            </a:custGeom>
            <a:solidFill>
              <a:srgbClr val="10BE61"/>
            </a:solidFill>
            <a:ln w="12584" cap="flat">
              <a:noFill/>
              <a:prstDash val="solid"/>
              <a:miter/>
            </a:ln>
          </p:spPr>
          <p:txBody>
            <a:bodyPr rtlCol="0" anchor="ctr"/>
            <a:lstStyle/>
            <a:p>
              <a:endParaRPr lang="zh-CN" altLang="en-US"/>
            </a:p>
          </p:txBody>
        </p:sp>
        <p:sp>
          <p:nvSpPr>
            <p:cNvPr id="10092" name="任意多边形: 形状 10091"/>
            <p:cNvSpPr/>
            <p:nvPr/>
          </p:nvSpPr>
          <p:spPr>
            <a:xfrm>
              <a:off x="1924291" y="3414967"/>
              <a:ext cx="138581" cy="201572"/>
            </a:xfrm>
            <a:custGeom>
              <a:avLst/>
              <a:gdLst>
                <a:gd name="connsiteX0" fmla="*/ 127417 w 138580"/>
                <a:gd name="connsiteY0" fmla="*/ 209305 h 201571"/>
                <a:gd name="connsiteX1" fmla="*/ 118598 w 138580"/>
                <a:gd name="connsiteY1" fmla="*/ 203006 h 201571"/>
                <a:gd name="connsiteX2" fmla="*/ 2694 w 138580"/>
                <a:gd name="connsiteY2" fmla="*/ 17812 h 201571"/>
                <a:gd name="connsiteX3" fmla="*/ 3954 w 138580"/>
                <a:gd name="connsiteY3" fmla="*/ 2694 h 201571"/>
                <a:gd name="connsiteX4" fmla="*/ 19072 w 138580"/>
                <a:gd name="connsiteY4" fmla="*/ 3954 h 201571"/>
                <a:gd name="connsiteX5" fmla="*/ 138755 w 138580"/>
                <a:gd name="connsiteY5" fmla="*/ 195447 h 201571"/>
                <a:gd name="connsiteX6" fmla="*/ 132456 w 138580"/>
                <a:gd name="connsiteY6" fmla="*/ 209305 h 201571"/>
                <a:gd name="connsiteX7" fmla="*/ 127417 w 138580"/>
                <a:gd name="connsiteY7" fmla="*/ 209305 h 201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201571">
                  <a:moveTo>
                    <a:pt x="127417" y="209305"/>
                  </a:moveTo>
                  <a:cubicBezTo>
                    <a:pt x="123637" y="209305"/>
                    <a:pt x="121117" y="206785"/>
                    <a:pt x="118598" y="203006"/>
                  </a:cubicBezTo>
                  <a:cubicBezTo>
                    <a:pt x="90882" y="134976"/>
                    <a:pt x="51827" y="71984"/>
                    <a:pt x="2694" y="17812"/>
                  </a:cubicBezTo>
                  <a:cubicBezTo>
                    <a:pt x="-1085" y="14032"/>
                    <a:pt x="-1085" y="6473"/>
                    <a:pt x="3954" y="2694"/>
                  </a:cubicBezTo>
                  <a:cubicBezTo>
                    <a:pt x="7733" y="-1085"/>
                    <a:pt x="15292" y="-1085"/>
                    <a:pt x="19072" y="3954"/>
                  </a:cubicBezTo>
                  <a:cubicBezTo>
                    <a:pt x="70724" y="60646"/>
                    <a:pt x="111039" y="124897"/>
                    <a:pt x="138755" y="195447"/>
                  </a:cubicBezTo>
                  <a:cubicBezTo>
                    <a:pt x="141275" y="200486"/>
                    <a:pt x="138755" y="206785"/>
                    <a:pt x="132456" y="209305"/>
                  </a:cubicBezTo>
                  <a:cubicBezTo>
                    <a:pt x="131196" y="209305"/>
                    <a:pt x="128676" y="209305"/>
                    <a:pt x="127417" y="209305"/>
                  </a:cubicBezTo>
                  <a:close/>
                </a:path>
              </a:pathLst>
            </a:custGeom>
            <a:solidFill>
              <a:srgbClr val="10BE61"/>
            </a:solidFill>
            <a:ln w="12584" cap="flat">
              <a:noFill/>
              <a:prstDash val="solid"/>
              <a:miter/>
            </a:ln>
          </p:spPr>
          <p:txBody>
            <a:bodyPr rtlCol="0" anchor="ctr"/>
            <a:lstStyle/>
            <a:p>
              <a:endParaRPr lang="zh-CN" altLang="en-US"/>
            </a:p>
          </p:txBody>
        </p:sp>
        <p:sp>
          <p:nvSpPr>
            <p:cNvPr id="10093" name="任意多边形: 形状 10092"/>
            <p:cNvSpPr/>
            <p:nvPr/>
          </p:nvSpPr>
          <p:spPr>
            <a:xfrm>
              <a:off x="2030585" y="3433073"/>
              <a:ext cx="62991" cy="125982"/>
            </a:xfrm>
            <a:custGeom>
              <a:avLst/>
              <a:gdLst>
                <a:gd name="connsiteX0" fmla="*/ 53878 w 62991"/>
                <a:gd name="connsiteY0" fmla="*/ 126948 h 125982"/>
                <a:gd name="connsiteX1" fmla="*/ 45059 w 62991"/>
                <a:gd name="connsiteY1" fmla="*/ 120649 h 125982"/>
                <a:gd name="connsiteX2" fmla="*/ 966 w 62991"/>
                <a:gd name="connsiteY2" fmla="*/ 14824 h 125982"/>
                <a:gd name="connsiteX3" fmla="*/ 7265 w 62991"/>
                <a:gd name="connsiteY3" fmla="*/ 966 h 125982"/>
                <a:gd name="connsiteX4" fmla="*/ 21123 w 62991"/>
                <a:gd name="connsiteY4" fmla="*/ 7265 h 125982"/>
                <a:gd name="connsiteX5" fmla="*/ 65216 w 62991"/>
                <a:gd name="connsiteY5" fmla="*/ 113090 h 125982"/>
                <a:gd name="connsiteX6" fmla="*/ 58917 w 62991"/>
                <a:gd name="connsiteY6" fmla="*/ 126948 h 125982"/>
                <a:gd name="connsiteX7" fmla="*/ 53878 w 62991"/>
                <a:gd name="connsiteY7" fmla="*/ 126948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991" h="125982">
                  <a:moveTo>
                    <a:pt x="53878" y="126948"/>
                  </a:moveTo>
                  <a:cubicBezTo>
                    <a:pt x="50099" y="126948"/>
                    <a:pt x="47579" y="124428"/>
                    <a:pt x="45059" y="120649"/>
                  </a:cubicBezTo>
                  <a:lnTo>
                    <a:pt x="966" y="14824"/>
                  </a:lnTo>
                  <a:cubicBezTo>
                    <a:pt x="-1554" y="9784"/>
                    <a:pt x="966" y="3485"/>
                    <a:pt x="7265" y="966"/>
                  </a:cubicBezTo>
                  <a:cubicBezTo>
                    <a:pt x="12304" y="-1554"/>
                    <a:pt x="18603" y="966"/>
                    <a:pt x="21123" y="7265"/>
                  </a:cubicBezTo>
                  <a:lnTo>
                    <a:pt x="65216" y="113090"/>
                  </a:lnTo>
                  <a:cubicBezTo>
                    <a:pt x="67736" y="118129"/>
                    <a:pt x="65216" y="124428"/>
                    <a:pt x="58917" y="126948"/>
                  </a:cubicBezTo>
                  <a:cubicBezTo>
                    <a:pt x="57658" y="126948"/>
                    <a:pt x="56398" y="126948"/>
                    <a:pt x="53878" y="126948"/>
                  </a:cubicBezTo>
                  <a:close/>
                </a:path>
              </a:pathLst>
            </a:custGeom>
            <a:solidFill>
              <a:srgbClr val="10BE61"/>
            </a:solidFill>
            <a:ln w="12584" cap="flat">
              <a:noFill/>
              <a:prstDash val="solid"/>
              <a:miter/>
            </a:ln>
          </p:spPr>
          <p:txBody>
            <a:bodyPr rtlCol="0" anchor="ctr"/>
            <a:lstStyle/>
            <a:p>
              <a:endParaRPr lang="zh-CN" altLang="en-US"/>
            </a:p>
          </p:txBody>
        </p:sp>
        <p:sp>
          <p:nvSpPr>
            <p:cNvPr id="10094" name="任意多边形: 形状 10093"/>
            <p:cNvSpPr/>
            <p:nvPr/>
          </p:nvSpPr>
          <p:spPr>
            <a:xfrm>
              <a:off x="2103186" y="3339874"/>
              <a:ext cx="138581" cy="113384"/>
            </a:xfrm>
            <a:custGeom>
              <a:avLst/>
              <a:gdLst>
                <a:gd name="connsiteX0" fmla="*/ 8993 w 138580"/>
                <a:gd name="connsiteY0" fmla="*/ 120621 h 113384"/>
                <a:gd name="connsiteX1" fmla="*/ 2694 w 138580"/>
                <a:gd name="connsiteY1" fmla="*/ 116841 h 113384"/>
                <a:gd name="connsiteX2" fmla="*/ 3954 w 138580"/>
                <a:gd name="connsiteY2" fmla="*/ 101724 h 113384"/>
                <a:gd name="connsiteX3" fmla="*/ 122377 w 138580"/>
                <a:gd name="connsiteY3" fmla="*/ 2198 h 113384"/>
                <a:gd name="connsiteX4" fmla="*/ 137495 w 138580"/>
                <a:gd name="connsiteY4" fmla="*/ 4717 h 113384"/>
                <a:gd name="connsiteX5" fmla="*/ 134976 w 138580"/>
                <a:gd name="connsiteY5" fmla="*/ 19835 h 113384"/>
                <a:gd name="connsiteX6" fmla="*/ 17812 w 138580"/>
                <a:gd name="connsiteY6" fmla="*/ 118101 h 113384"/>
                <a:gd name="connsiteX7" fmla="*/ 8993 w 138580"/>
                <a:gd name="connsiteY7" fmla="*/ 120621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13384">
                  <a:moveTo>
                    <a:pt x="8993" y="120621"/>
                  </a:moveTo>
                  <a:cubicBezTo>
                    <a:pt x="6474" y="120621"/>
                    <a:pt x="3954" y="119361"/>
                    <a:pt x="2694" y="116841"/>
                  </a:cubicBezTo>
                  <a:cubicBezTo>
                    <a:pt x="-1085" y="113062"/>
                    <a:pt x="-1085" y="105503"/>
                    <a:pt x="3954" y="101724"/>
                  </a:cubicBezTo>
                  <a:cubicBezTo>
                    <a:pt x="41749" y="66448"/>
                    <a:pt x="82063" y="33693"/>
                    <a:pt x="122377" y="2198"/>
                  </a:cubicBezTo>
                  <a:cubicBezTo>
                    <a:pt x="127417" y="-1582"/>
                    <a:pt x="133716" y="-322"/>
                    <a:pt x="137495" y="4717"/>
                  </a:cubicBezTo>
                  <a:cubicBezTo>
                    <a:pt x="141275" y="9756"/>
                    <a:pt x="140015" y="16056"/>
                    <a:pt x="134976" y="19835"/>
                  </a:cubicBezTo>
                  <a:cubicBezTo>
                    <a:pt x="94661" y="50071"/>
                    <a:pt x="55607" y="84086"/>
                    <a:pt x="17812" y="118101"/>
                  </a:cubicBezTo>
                  <a:cubicBezTo>
                    <a:pt x="15292" y="120621"/>
                    <a:pt x="11513" y="120621"/>
                    <a:pt x="8993" y="120621"/>
                  </a:cubicBezTo>
                  <a:close/>
                </a:path>
              </a:pathLst>
            </a:custGeom>
            <a:solidFill>
              <a:srgbClr val="10BE61"/>
            </a:solidFill>
            <a:ln w="12584" cap="flat">
              <a:noFill/>
              <a:prstDash val="solid"/>
              <a:miter/>
            </a:ln>
          </p:spPr>
          <p:txBody>
            <a:bodyPr rtlCol="0" anchor="ctr"/>
            <a:lstStyle/>
            <a:p>
              <a:endParaRPr lang="zh-CN" altLang="en-US"/>
            </a:p>
          </p:txBody>
        </p:sp>
        <p:sp>
          <p:nvSpPr>
            <p:cNvPr id="10095" name="任意多边形: 形状 10094"/>
            <p:cNvSpPr/>
            <p:nvPr/>
          </p:nvSpPr>
          <p:spPr>
            <a:xfrm>
              <a:off x="2104446" y="3298300"/>
              <a:ext cx="113384" cy="88188"/>
            </a:xfrm>
            <a:custGeom>
              <a:avLst/>
              <a:gdLst>
                <a:gd name="connsiteX0" fmla="*/ 8993 w 113384"/>
                <a:gd name="connsiteY0" fmla="*/ 92905 h 88187"/>
                <a:gd name="connsiteX1" fmla="*/ 2694 w 113384"/>
                <a:gd name="connsiteY1" fmla="*/ 89125 h 88187"/>
                <a:gd name="connsiteX2" fmla="*/ 3954 w 113384"/>
                <a:gd name="connsiteY2" fmla="*/ 74007 h 88187"/>
                <a:gd name="connsiteX3" fmla="*/ 97181 w 113384"/>
                <a:gd name="connsiteY3" fmla="*/ 2198 h 88187"/>
                <a:gd name="connsiteX4" fmla="*/ 112299 w 113384"/>
                <a:gd name="connsiteY4" fmla="*/ 4717 h 88187"/>
                <a:gd name="connsiteX5" fmla="*/ 109779 w 113384"/>
                <a:gd name="connsiteY5" fmla="*/ 19835 h 88187"/>
                <a:gd name="connsiteX6" fmla="*/ 19072 w 113384"/>
                <a:gd name="connsiteY6" fmla="*/ 90385 h 88187"/>
                <a:gd name="connsiteX7" fmla="*/ 8993 w 113384"/>
                <a:gd name="connsiteY7" fmla="*/ 92905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88187">
                  <a:moveTo>
                    <a:pt x="8993" y="92905"/>
                  </a:moveTo>
                  <a:cubicBezTo>
                    <a:pt x="6474" y="92905"/>
                    <a:pt x="3954" y="91645"/>
                    <a:pt x="2694" y="89125"/>
                  </a:cubicBezTo>
                  <a:cubicBezTo>
                    <a:pt x="-1085" y="85346"/>
                    <a:pt x="-1085" y="77787"/>
                    <a:pt x="3954" y="74007"/>
                  </a:cubicBezTo>
                  <a:cubicBezTo>
                    <a:pt x="32930" y="47551"/>
                    <a:pt x="64425" y="23615"/>
                    <a:pt x="97181" y="2198"/>
                  </a:cubicBezTo>
                  <a:cubicBezTo>
                    <a:pt x="102220" y="-1582"/>
                    <a:pt x="108519" y="-322"/>
                    <a:pt x="112299" y="4717"/>
                  </a:cubicBezTo>
                  <a:cubicBezTo>
                    <a:pt x="116078" y="9756"/>
                    <a:pt x="114818" y="16056"/>
                    <a:pt x="109779" y="19835"/>
                  </a:cubicBezTo>
                  <a:cubicBezTo>
                    <a:pt x="78283" y="41252"/>
                    <a:pt x="48048" y="63929"/>
                    <a:pt x="19072" y="90385"/>
                  </a:cubicBezTo>
                  <a:cubicBezTo>
                    <a:pt x="15292" y="92905"/>
                    <a:pt x="12773" y="92905"/>
                    <a:pt x="8993" y="92905"/>
                  </a:cubicBezTo>
                  <a:close/>
                </a:path>
              </a:pathLst>
            </a:custGeom>
            <a:solidFill>
              <a:srgbClr val="10BE61"/>
            </a:solidFill>
            <a:ln w="12584" cap="flat">
              <a:noFill/>
              <a:prstDash val="solid"/>
              <a:miter/>
            </a:ln>
          </p:spPr>
          <p:txBody>
            <a:bodyPr rtlCol="0" anchor="ctr"/>
            <a:lstStyle/>
            <a:p>
              <a:endParaRPr lang="zh-CN" altLang="en-US"/>
            </a:p>
          </p:txBody>
        </p:sp>
        <p:sp>
          <p:nvSpPr>
            <p:cNvPr id="10096" name="任意多边形: 形状 10095"/>
            <p:cNvSpPr/>
            <p:nvPr/>
          </p:nvSpPr>
          <p:spPr>
            <a:xfrm>
              <a:off x="1626133" y="3389945"/>
              <a:ext cx="415742" cy="1222029"/>
            </a:xfrm>
            <a:custGeom>
              <a:avLst/>
              <a:gdLst>
                <a:gd name="connsiteX0" fmla="*/ 342426 w 415741"/>
                <a:gd name="connsiteY0" fmla="*/ 835263 h 1222028"/>
                <a:gd name="connsiteX1" fmla="*/ 268097 w 415741"/>
                <a:gd name="connsiteY1" fmla="*/ 0 h 1222028"/>
                <a:gd name="connsiteX2" fmla="*/ 225263 w 415741"/>
                <a:gd name="connsiteY2" fmla="*/ 243146 h 1222028"/>
                <a:gd name="connsiteX3" fmla="*/ 14872 w 415741"/>
                <a:gd name="connsiteY3" fmla="*/ 571960 h 1222028"/>
                <a:gd name="connsiteX4" fmla="*/ 47628 w 415741"/>
                <a:gd name="connsiteY4" fmla="*/ 976363 h 1222028"/>
                <a:gd name="connsiteX5" fmla="*/ 213924 w 415741"/>
                <a:gd name="connsiteY5" fmla="*/ 1220769 h 1222028"/>
                <a:gd name="connsiteX6" fmla="*/ 375182 w 415741"/>
                <a:gd name="connsiteY6" fmla="*/ 1131322 h 1222028"/>
                <a:gd name="connsiteX7" fmla="*/ 342426 w 415741"/>
                <a:gd name="connsiteY7" fmla="*/ 835263 h 122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5741" h="1222028">
                  <a:moveTo>
                    <a:pt x="342426" y="835263"/>
                  </a:moveTo>
                  <a:cubicBezTo>
                    <a:pt x="454551" y="549283"/>
                    <a:pt x="469668" y="212910"/>
                    <a:pt x="268097" y="0"/>
                  </a:cubicBezTo>
                  <a:cubicBezTo>
                    <a:pt x="234081" y="83148"/>
                    <a:pt x="222743" y="182674"/>
                    <a:pt x="225263" y="243146"/>
                  </a:cubicBezTo>
                  <a:cubicBezTo>
                    <a:pt x="230302" y="389286"/>
                    <a:pt x="66525" y="396844"/>
                    <a:pt x="14872" y="571960"/>
                  </a:cubicBezTo>
                  <a:cubicBezTo>
                    <a:pt x="-36781" y="747075"/>
                    <a:pt x="64005" y="791169"/>
                    <a:pt x="47628" y="976363"/>
                  </a:cubicBezTo>
                  <a:cubicBezTo>
                    <a:pt x="31250" y="1161557"/>
                    <a:pt x="119438" y="1206911"/>
                    <a:pt x="213924" y="1220769"/>
                  </a:cubicBezTo>
                  <a:cubicBezTo>
                    <a:pt x="290774" y="1232107"/>
                    <a:pt x="349985" y="1201871"/>
                    <a:pt x="375182" y="1131322"/>
                  </a:cubicBezTo>
                  <a:cubicBezTo>
                    <a:pt x="339907" y="1028016"/>
                    <a:pt x="303372" y="929750"/>
                    <a:pt x="342426" y="835263"/>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10097" name="任意多边形: 形状 10096"/>
            <p:cNvSpPr/>
            <p:nvPr/>
          </p:nvSpPr>
          <p:spPr>
            <a:xfrm>
              <a:off x="1116573" y="2930229"/>
              <a:ext cx="806287" cy="1751154"/>
            </a:xfrm>
            <a:custGeom>
              <a:avLst/>
              <a:gdLst>
                <a:gd name="connsiteX0" fmla="*/ 531991 w 806286"/>
                <a:gd name="connsiteY0" fmla="*/ 1748516 h 1751154"/>
                <a:gd name="connsiteX1" fmla="*/ 744901 w 806286"/>
                <a:gd name="connsiteY1" fmla="*/ 1436079 h 1751154"/>
                <a:gd name="connsiteX2" fmla="*/ 787735 w 806286"/>
                <a:gd name="connsiteY2" fmla="*/ 918292 h 1751154"/>
                <a:gd name="connsiteX3" fmla="*/ 519393 w 806286"/>
                <a:gd name="connsiteY3" fmla="*/ 496251 h 1751154"/>
                <a:gd name="connsiteX4" fmla="*/ 433725 w 806286"/>
                <a:gd name="connsiteY4" fmla="*/ 123343 h 1751154"/>
                <a:gd name="connsiteX5" fmla="*/ 16724 w 806286"/>
                <a:gd name="connsiteY5" fmla="*/ 319876 h 1751154"/>
                <a:gd name="connsiteX6" fmla="*/ 160343 w 806286"/>
                <a:gd name="connsiteY6" fmla="*/ 694043 h 1751154"/>
                <a:gd name="connsiteX7" fmla="*/ 155304 w 806286"/>
                <a:gd name="connsiteY7" fmla="*/ 1084589 h 1751154"/>
                <a:gd name="connsiteX8" fmla="*/ 310262 w 806286"/>
                <a:gd name="connsiteY8" fmla="*/ 1485212 h 1751154"/>
                <a:gd name="connsiteX9" fmla="*/ 531991 w 806286"/>
                <a:gd name="connsiteY9" fmla="*/ 1748516 h 1751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6286" h="1751154">
                  <a:moveTo>
                    <a:pt x="531991" y="1748516"/>
                  </a:moveTo>
                  <a:cubicBezTo>
                    <a:pt x="652934" y="1730878"/>
                    <a:pt x="766318" y="1672926"/>
                    <a:pt x="744901" y="1436079"/>
                  </a:cubicBezTo>
                  <a:cubicBezTo>
                    <a:pt x="723484" y="1199233"/>
                    <a:pt x="853246" y="1142541"/>
                    <a:pt x="787735" y="918292"/>
                  </a:cubicBezTo>
                  <a:cubicBezTo>
                    <a:pt x="722225" y="692783"/>
                    <a:pt x="513094" y="683965"/>
                    <a:pt x="519393" y="496251"/>
                  </a:cubicBezTo>
                  <a:cubicBezTo>
                    <a:pt x="521913" y="404284"/>
                    <a:pt x="503015" y="237987"/>
                    <a:pt x="433725" y="123343"/>
                  </a:cubicBezTo>
                  <a:cubicBezTo>
                    <a:pt x="317821" y="-69410"/>
                    <a:pt x="-86582" y="-59331"/>
                    <a:pt x="16724" y="319876"/>
                  </a:cubicBezTo>
                  <a:cubicBezTo>
                    <a:pt x="51999" y="449638"/>
                    <a:pt x="155304" y="521448"/>
                    <a:pt x="160343" y="694043"/>
                  </a:cubicBezTo>
                  <a:cubicBezTo>
                    <a:pt x="164123" y="814986"/>
                    <a:pt x="99872" y="867899"/>
                    <a:pt x="155304" y="1084589"/>
                  </a:cubicBezTo>
                  <a:cubicBezTo>
                    <a:pt x="205697" y="1281121"/>
                    <a:pt x="326640" y="1291200"/>
                    <a:pt x="310262" y="1485212"/>
                  </a:cubicBezTo>
                  <a:cubicBezTo>
                    <a:pt x="293885" y="1677965"/>
                    <a:pt x="388371" y="1768672"/>
                    <a:pt x="531991" y="1748516"/>
                  </a:cubicBezTo>
                  <a:close/>
                </a:path>
              </a:pathLst>
            </a:custGeom>
            <a:solidFill>
              <a:srgbClr val="10BE61"/>
            </a:solidFill>
            <a:ln w="12584" cap="flat">
              <a:noFill/>
              <a:prstDash val="solid"/>
              <a:miter/>
            </a:ln>
          </p:spPr>
          <p:txBody>
            <a:bodyPr rtlCol="0" anchor="ctr"/>
            <a:lstStyle/>
            <a:p>
              <a:endParaRPr lang="zh-CN" altLang="en-US"/>
            </a:p>
          </p:txBody>
        </p:sp>
        <p:sp>
          <p:nvSpPr>
            <p:cNvPr id="10098" name="任意多边形: 形状 10097"/>
            <p:cNvSpPr/>
            <p:nvPr/>
          </p:nvSpPr>
          <p:spPr>
            <a:xfrm>
              <a:off x="1434394" y="3955606"/>
              <a:ext cx="478733" cy="718099"/>
            </a:xfrm>
            <a:custGeom>
              <a:avLst/>
              <a:gdLst>
                <a:gd name="connsiteX0" fmla="*/ 488811 w 478732"/>
                <a:gd name="connsiteY0" fmla="*/ 0 h 718099"/>
                <a:gd name="connsiteX1" fmla="*/ 0 w 478732"/>
                <a:gd name="connsiteY1" fmla="*/ 580778 h 718099"/>
                <a:gd name="connsiteX2" fmla="*/ 215430 w 478732"/>
                <a:gd name="connsiteY2" fmla="*/ 723139 h 718099"/>
                <a:gd name="connsiteX3" fmla="*/ 428340 w 478732"/>
                <a:gd name="connsiteY3" fmla="*/ 410702 h 718099"/>
                <a:gd name="connsiteX4" fmla="*/ 488811 w 478732"/>
                <a:gd name="connsiteY4" fmla="*/ 0 h 718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32" h="718099">
                  <a:moveTo>
                    <a:pt x="488811" y="0"/>
                  </a:moveTo>
                  <a:cubicBezTo>
                    <a:pt x="282200" y="122203"/>
                    <a:pt x="115904" y="321255"/>
                    <a:pt x="0" y="580778"/>
                  </a:cubicBezTo>
                  <a:cubicBezTo>
                    <a:pt x="25196" y="690383"/>
                    <a:pt x="105825" y="739516"/>
                    <a:pt x="215430" y="723139"/>
                  </a:cubicBezTo>
                  <a:cubicBezTo>
                    <a:pt x="336373" y="705501"/>
                    <a:pt x="449757" y="647549"/>
                    <a:pt x="428340" y="410702"/>
                  </a:cubicBezTo>
                  <a:cubicBezTo>
                    <a:pt x="410702" y="216690"/>
                    <a:pt x="493851" y="143620"/>
                    <a:pt x="488811" y="0"/>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10099" name="任意多边形: 形状 10098"/>
            <p:cNvSpPr/>
            <p:nvPr/>
          </p:nvSpPr>
          <p:spPr>
            <a:xfrm>
              <a:off x="1290980" y="2946172"/>
              <a:ext cx="390545" cy="1675565"/>
            </a:xfrm>
            <a:custGeom>
              <a:avLst/>
              <a:gdLst>
                <a:gd name="connsiteX0" fmla="*/ 385300 w 390545"/>
                <a:gd name="connsiteY0" fmla="*/ 1685959 h 1675564"/>
                <a:gd name="connsiteX1" fmla="*/ 376482 w 390545"/>
                <a:gd name="connsiteY1" fmla="*/ 1680919 h 1675564"/>
                <a:gd name="connsiteX2" fmla="*/ 328608 w 390545"/>
                <a:gd name="connsiteY2" fmla="*/ 1461710 h 1675564"/>
                <a:gd name="connsiteX3" fmla="*/ 327349 w 390545"/>
                <a:gd name="connsiteY3" fmla="*/ 1354625 h 1675564"/>
                <a:gd name="connsiteX4" fmla="*/ 251759 w 390545"/>
                <a:gd name="connsiteY4" fmla="*/ 801563 h 1675564"/>
                <a:gd name="connsiteX5" fmla="*/ 153493 w 390545"/>
                <a:gd name="connsiteY5" fmla="*/ 618888 h 1675564"/>
                <a:gd name="connsiteX6" fmla="*/ 50187 w 390545"/>
                <a:gd name="connsiteY6" fmla="*/ 423616 h 1675564"/>
                <a:gd name="connsiteX7" fmla="*/ 17432 w 390545"/>
                <a:gd name="connsiteY7" fmla="*/ 7874 h 1675564"/>
                <a:gd name="connsiteX8" fmla="*/ 30030 w 390545"/>
                <a:gd name="connsiteY8" fmla="*/ 315 h 1675564"/>
                <a:gd name="connsiteX9" fmla="*/ 37589 w 390545"/>
                <a:gd name="connsiteY9" fmla="*/ 12913 h 1675564"/>
                <a:gd name="connsiteX10" fmla="*/ 69085 w 390545"/>
                <a:gd name="connsiteY10" fmla="*/ 416057 h 1675564"/>
                <a:gd name="connsiteX11" fmla="*/ 171130 w 390545"/>
                <a:gd name="connsiteY11" fmla="*/ 608810 h 1675564"/>
                <a:gd name="connsiteX12" fmla="*/ 270656 w 390545"/>
                <a:gd name="connsiteY12" fmla="*/ 794004 h 1675564"/>
                <a:gd name="connsiteX13" fmla="*/ 347506 w 390545"/>
                <a:gd name="connsiteY13" fmla="*/ 1354625 h 1675564"/>
                <a:gd name="connsiteX14" fmla="*/ 348766 w 390545"/>
                <a:gd name="connsiteY14" fmla="*/ 1460450 h 1675564"/>
                <a:gd name="connsiteX15" fmla="*/ 392859 w 390545"/>
                <a:gd name="connsiteY15" fmla="*/ 1668321 h 1675564"/>
                <a:gd name="connsiteX16" fmla="*/ 389080 w 390545"/>
                <a:gd name="connsiteY16" fmla="*/ 1683439 h 1675564"/>
                <a:gd name="connsiteX17" fmla="*/ 385300 w 390545"/>
                <a:gd name="connsiteY17" fmla="*/ 1685959 h 167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545" h="1675564">
                  <a:moveTo>
                    <a:pt x="385300" y="1685959"/>
                  </a:moveTo>
                  <a:cubicBezTo>
                    <a:pt x="381521" y="1685959"/>
                    <a:pt x="379001" y="1684699"/>
                    <a:pt x="376482" y="1680919"/>
                  </a:cubicBezTo>
                  <a:cubicBezTo>
                    <a:pt x="336167" y="1616668"/>
                    <a:pt x="331128" y="1537300"/>
                    <a:pt x="328608" y="1461710"/>
                  </a:cubicBezTo>
                  <a:cubicBezTo>
                    <a:pt x="327349" y="1426435"/>
                    <a:pt x="327349" y="1391160"/>
                    <a:pt x="327349" y="1354625"/>
                  </a:cubicBezTo>
                  <a:cubicBezTo>
                    <a:pt x="326089" y="1166911"/>
                    <a:pt x="323569" y="974158"/>
                    <a:pt x="251759" y="801563"/>
                  </a:cubicBezTo>
                  <a:cubicBezTo>
                    <a:pt x="225303" y="738571"/>
                    <a:pt x="188768" y="676840"/>
                    <a:pt x="153493" y="618888"/>
                  </a:cubicBezTo>
                  <a:cubicBezTo>
                    <a:pt x="115698" y="557157"/>
                    <a:pt x="77904" y="491646"/>
                    <a:pt x="50187" y="423616"/>
                  </a:cubicBezTo>
                  <a:cubicBezTo>
                    <a:pt x="-2725" y="292594"/>
                    <a:pt x="-14064" y="145195"/>
                    <a:pt x="17432" y="7874"/>
                  </a:cubicBezTo>
                  <a:cubicBezTo>
                    <a:pt x="18692" y="1575"/>
                    <a:pt x="24991" y="-945"/>
                    <a:pt x="30030" y="315"/>
                  </a:cubicBezTo>
                  <a:cubicBezTo>
                    <a:pt x="36329" y="1575"/>
                    <a:pt x="38849" y="7874"/>
                    <a:pt x="37589" y="12913"/>
                  </a:cubicBezTo>
                  <a:cubicBezTo>
                    <a:pt x="7353" y="146454"/>
                    <a:pt x="18692" y="290074"/>
                    <a:pt x="69085" y="416057"/>
                  </a:cubicBezTo>
                  <a:cubicBezTo>
                    <a:pt x="95541" y="482827"/>
                    <a:pt x="134596" y="547078"/>
                    <a:pt x="171130" y="608810"/>
                  </a:cubicBezTo>
                  <a:cubicBezTo>
                    <a:pt x="206406" y="668021"/>
                    <a:pt x="242940" y="729753"/>
                    <a:pt x="270656" y="794004"/>
                  </a:cubicBezTo>
                  <a:cubicBezTo>
                    <a:pt x="343726" y="970379"/>
                    <a:pt x="346246" y="1165652"/>
                    <a:pt x="347506" y="1354625"/>
                  </a:cubicBezTo>
                  <a:cubicBezTo>
                    <a:pt x="347506" y="1389900"/>
                    <a:pt x="348766" y="1425175"/>
                    <a:pt x="348766" y="1460450"/>
                  </a:cubicBezTo>
                  <a:cubicBezTo>
                    <a:pt x="350025" y="1532260"/>
                    <a:pt x="355065" y="1607849"/>
                    <a:pt x="392859" y="1668321"/>
                  </a:cubicBezTo>
                  <a:cubicBezTo>
                    <a:pt x="395379" y="1673360"/>
                    <a:pt x="394119" y="1679659"/>
                    <a:pt x="389080" y="1683439"/>
                  </a:cubicBezTo>
                  <a:cubicBezTo>
                    <a:pt x="389080" y="1685959"/>
                    <a:pt x="386560" y="1685959"/>
                    <a:pt x="385300" y="1685959"/>
                  </a:cubicBezTo>
                  <a:close/>
                </a:path>
              </a:pathLst>
            </a:custGeom>
            <a:solidFill>
              <a:srgbClr val="56E395"/>
            </a:solidFill>
            <a:ln w="12584" cap="flat">
              <a:noFill/>
              <a:prstDash val="solid"/>
              <a:miter/>
            </a:ln>
          </p:spPr>
          <p:txBody>
            <a:bodyPr rtlCol="0" anchor="ctr"/>
            <a:lstStyle/>
            <a:p>
              <a:endParaRPr lang="zh-CN" altLang="en-US"/>
            </a:p>
          </p:txBody>
        </p:sp>
        <p:sp>
          <p:nvSpPr>
            <p:cNvPr id="10100" name="任意多边形: 形状 10099"/>
            <p:cNvSpPr/>
            <p:nvPr/>
          </p:nvSpPr>
          <p:spPr>
            <a:xfrm>
              <a:off x="1616131" y="3810552"/>
              <a:ext cx="251965" cy="327554"/>
            </a:xfrm>
            <a:custGeom>
              <a:avLst/>
              <a:gdLst>
                <a:gd name="connsiteX0" fmla="*/ 11016 w 251964"/>
                <a:gd name="connsiteY0" fmla="*/ 332768 h 327554"/>
                <a:gd name="connsiteX1" fmla="*/ 4717 w 251964"/>
                <a:gd name="connsiteY1" fmla="*/ 330248 h 327554"/>
                <a:gd name="connsiteX2" fmla="*/ 2198 w 251964"/>
                <a:gd name="connsiteY2" fmla="*/ 315130 h 327554"/>
                <a:gd name="connsiteX3" fmla="*/ 235265 w 251964"/>
                <a:gd name="connsiteY3" fmla="*/ 3954 h 327554"/>
                <a:gd name="connsiteX4" fmla="*/ 250383 w 251964"/>
                <a:gd name="connsiteY4" fmla="*/ 2694 h 327554"/>
                <a:gd name="connsiteX5" fmla="*/ 251643 w 251964"/>
                <a:gd name="connsiteY5" fmla="*/ 17812 h 327554"/>
                <a:gd name="connsiteX6" fmla="*/ 19835 w 251964"/>
                <a:gd name="connsiteY6" fmla="*/ 327728 h 327554"/>
                <a:gd name="connsiteX7" fmla="*/ 11016 w 251964"/>
                <a:gd name="connsiteY7" fmla="*/ 332768 h 32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327554">
                  <a:moveTo>
                    <a:pt x="11016" y="332768"/>
                  </a:moveTo>
                  <a:cubicBezTo>
                    <a:pt x="8497" y="332768"/>
                    <a:pt x="7237" y="331508"/>
                    <a:pt x="4717" y="330248"/>
                  </a:cubicBezTo>
                  <a:cubicBezTo>
                    <a:pt x="-322" y="326469"/>
                    <a:pt x="-1582" y="320170"/>
                    <a:pt x="2198" y="315130"/>
                  </a:cubicBezTo>
                  <a:cubicBezTo>
                    <a:pt x="76527" y="209305"/>
                    <a:pt x="154636" y="104740"/>
                    <a:pt x="235265" y="3954"/>
                  </a:cubicBezTo>
                  <a:cubicBezTo>
                    <a:pt x="239044" y="-1085"/>
                    <a:pt x="245343" y="-1085"/>
                    <a:pt x="250383" y="2694"/>
                  </a:cubicBezTo>
                  <a:cubicBezTo>
                    <a:pt x="255422" y="6474"/>
                    <a:pt x="255422" y="12773"/>
                    <a:pt x="251643" y="17812"/>
                  </a:cubicBezTo>
                  <a:cubicBezTo>
                    <a:pt x="171014" y="118598"/>
                    <a:pt x="94165" y="223163"/>
                    <a:pt x="19835" y="327728"/>
                  </a:cubicBezTo>
                  <a:cubicBezTo>
                    <a:pt x="17315" y="330248"/>
                    <a:pt x="14796" y="332768"/>
                    <a:pt x="11016" y="332768"/>
                  </a:cubicBezTo>
                  <a:close/>
                </a:path>
              </a:pathLst>
            </a:custGeom>
            <a:solidFill>
              <a:srgbClr val="56E395"/>
            </a:solidFill>
            <a:ln w="12584" cap="flat">
              <a:noFill/>
              <a:prstDash val="solid"/>
              <a:miter/>
            </a:ln>
          </p:spPr>
          <p:txBody>
            <a:bodyPr rtlCol="0" anchor="ctr"/>
            <a:lstStyle/>
            <a:p>
              <a:endParaRPr lang="zh-CN" altLang="en-US"/>
            </a:p>
          </p:txBody>
        </p:sp>
        <p:sp>
          <p:nvSpPr>
            <p:cNvPr id="10101" name="任意多边形: 形状 10100"/>
            <p:cNvSpPr/>
            <p:nvPr/>
          </p:nvSpPr>
          <p:spPr>
            <a:xfrm>
              <a:off x="1617391" y="3956551"/>
              <a:ext cx="226768" cy="264563"/>
            </a:xfrm>
            <a:custGeom>
              <a:avLst/>
              <a:gdLst>
                <a:gd name="connsiteX0" fmla="*/ 11016 w 226768"/>
                <a:gd name="connsiteY0" fmla="*/ 269917 h 264562"/>
                <a:gd name="connsiteX1" fmla="*/ 4717 w 226768"/>
                <a:gd name="connsiteY1" fmla="*/ 267398 h 264562"/>
                <a:gd name="connsiteX2" fmla="*/ 2198 w 226768"/>
                <a:gd name="connsiteY2" fmla="*/ 252279 h 264562"/>
                <a:gd name="connsiteX3" fmla="*/ 210068 w 226768"/>
                <a:gd name="connsiteY3" fmla="*/ 2835 h 264562"/>
                <a:gd name="connsiteX4" fmla="*/ 225186 w 226768"/>
                <a:gd name="connsiteY4" fmla="*/ 2835 h 264562"/>
                <a:gd name="connsiteX5" fmla="*/ 225186 w 226768"/>
                <a:gd name="connsiteY5" fmla="*/ 17952 h 264562"/>
                <a:gd name="connsiteX6" fmla="*/ 18575 w 226768"/>
                <a:gd name="connsiteY6" fmla="*/ 264878 h 264562"/>
                <a:gd name="connsiteX7" fmla="*/ 11016 w 226768"/>
                <a:gd name="connsiteY7" fmla="*/ 269917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768" h="264562">
                  <a:moveTo>
                    <a:pt x="11016" y="269917"/>
                  </a:moveTo>
                  <a:cubicBezTo>
                    <a:pt x="8497" y="269917"/>
                    <a:pt x="7237" y="268657"/>
                    <a:pt x="4717" y="267398"/>
                  </a:cubicBezTo>
                  <a:cubicBezTo>
                    <a:pt x="-322" y="263618"/>
                    <a:pt x="-1582" y="257319"/>
                    <a:pt x="2198" y="252279"/>
                  </a:cubicBezTo>
                  <a:cubicBezTo>
                    <a:pt x="66449" y="165352"/>
                    <a:pt x="135739" y="80943"/>
                    <a:pt x="210068" y="2835"/>
                  </a:cubicBezTo>
                  <a:cubicBezTo>
                    <a:pt x="213848" y="-945"/>
                    <a:pt x="221407" y="-945"/>
                    <a:pt x="225186" y="2835"/>
                  </a:cubicBezTo>
                  <a:cubicBezTo>
                    <a:pt x="228966" y="6614"/>
                    <a:pt x="228966" y="14173"/>
                    <a:pt x="225186" y="17952"/>
                  </a:cubicBezTo>
                  <a:cubicBezTo>
                    <a:pt x="150857" y="94802"/>
                    <a:pt x="81566" y="177950"/>
                    <a:pt x="18575" y="264878"/>
                  </a:cubicBezTo>
                  <a:cubicBezTo>
                    <a:pt x="17315" y="268657"/>
                    <a:pt x="13536" y="269917"/>
                    <a:pt x="11016" y="269917"/>
                  </a:cubicBezTo>
                  <a:close/>
                </a:path>
              </a:pathLst>
            </a:custGeom>
            <a:solidFill>
              <a:srgbClr val="56E395"/>
            </a:solidFill>
            <a:ln w="12584" cap="flat">
              <a:noFill/>
              <a:prstDash val="solid"/>
              <a:miter/>
            </a:ln>
          </p:spPr>
          <p:txBody>
            <a:bodyPr rtlCol="0" anchor="ctr"/>
            <a:lstStyle/>
            <a:p>
              <a:endParaRPr lang="zh-CN" altLang="en-US"/>
            </a:p>
          </p:txBody>
        </p:sp>
        <p:sp>
          <p:nvSpPr>
            <p:cNvPr id="10102" name="任意多边形: 形状 10101"/>
            <p:cNvSpPr/>
            <p:nvPr/>
          </p:nvSpPr>
          <p:spPr>
            <a:xfrm>
              <a:off x="1619911" y="4197317"/>
              <a:ext cx="151179" cy="163777"/>
            </a:xfrm>
            <a:custGeom>
              <a:avLst/>
              <a:gdLst>
                <a:gd name="connsiteX0" fmla="*/ 11016 w 151178"/>
                <a:gd name="connsiteY0" fmla="*/ 168991 h 163777"/>
                <a:gd name="connsiteX1" fmla="*/ 4717 w 151178"/>
                <a:gd name="connsiteY1" fmla="*/ 166471 h 163777"/>
                <a:gd name="connsiteX2" fmla="*/ 2198 w 151178"/>
                <a:gd name="connsiteY2" fmla="*/ 151353 h 163777"/>
                <a:gd name="connsiteX3" fmla="*/ 138258 w 151178"/>
                <a:gd name="connsiteY3" fmla="*/ 2694 h 163777"/>
                <a:gd name="connsiteX4" fmla="*/ 153376 w 151178"/>
                <a:gd name="connsiteY4" fmla="*/ 3954 h 163777"/>
                <a:gd name="connsiteX5" fmla="*/ 152117 w 151178"/>
                <a:gd name="connsiteY5" fmla="*/ 19072 h 163777"/>
                <a:gd name="connsiteX6" fmla="*/ 19835 w 151178"/>
                <a:gd name="connsiteY6" fmla="*/ 163951 h 163777"/>
                <a:gd name="connsiteX7" fmla="*/ 11016 w 151178"/>
                <a:gd name="connsiteY7" fmla="*/ 168991 h 16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163777">
                  <a:moveTo>
                    <a:pt x="11016" y="168991"/>
                  </a:moveTo>
                  <a:cubicBezTo>
                    <a:pt x="8497" y="168991"/>
                    <a:pt x="7237" y="167731"/>
                    <a:pt x="4717" y="166471"/>
                  </a:cubicBezTo>
                  <a:cubicBezTo>
                    <a:pt x="-322" y="162692"/>
                    <a:pt x="-1582" y="156392"/>
                    <a:pt x="2198" y="151353"/>
                  </a:cubicBezTo>
                  <a:cubicBezTo>
                    <a:pt x="41252" y="95921"/>
                    <a:pt x="86606" y="45528"/>
                    <a:pt x="138258" y="2694"/>
                  </a:cubicBezTo>
                  <a:cubicBezTo>
                    <a:pt x="143298" y="-1085"/>
                    <a:pt x="149597" y="-1085"/>
                    <a:pt x="153376" y="3954"/>
                  </a:cubicBezTo>
                  <a:cubicBezTo>
                    <a:pt x="157156" y="8993"/>
                    <a:pt x="157156" y="15292"/>
                    <a:pt x="152117" y="19072"/>
                  </a:cubicBezTo>
                  <a:cubicBezTo>
                    <a:pt x="101724" y="61906"/>
                    <a:pt x="57630" y="109779"/>
                    <a:pt x="19835" y="163951"/>
                  </a:cubicBezTo>
                  <a:cubicBezTo>
                    <a:pt x="17315" y="167731"/>
                    <a:pt x="13536" y="168991"/>
                    <a:pt x="11016" y="168991"/>
                  </a:cubicBezTo>
                  <a:close/>
                </a:path>
              </a:pathLst>
            </a:custGeom>
            <a:solidFill>
              <a:srgbClr val="56E395"/>
            </a:solidFill>
            <a:ln w="12584" cap="flat">
              <a:noFill/>
              <a:prstDash val="solid"/>
              <a:miter/>
            </a:ln>
          </p:spPr>
          <p:txBody>
            <a:bodyPr rtlCol="0" anchor="ctr"/>
            <a:lstStyle/>
            <a:p>
              <a:endParaRPr lang="zh-CN" altLang="en-US"/>
            </a:p>
          </p:txBody>
        </p:sp>
        <p:sp>
          <p:nvSpPr>
            <p:cNvPr id="10103" name="任意多边形: 形状 10102"/>
            <p:cNvSpPr/>
            <p:nvPr/>
          </p:nvSpPr>
          <p:spPr>
            <a:xfrm>
              <a:off x="1293752" y="3832601"/>
              <a:ext cx="327554" cy="151179"/>
            </a:xfrm>
            <a:custGeom>
              <a:avLst/>
              <a:gdLst>
                <a:gd name="connsiteX0" fmla="*/ 322057 w 327554"/>
                <a:gd name="connsiteY0" fmla="*/ 162059 h 151178"/>
                <a:gd name="connsiteX1" fmla="*/ 317018 w 327554"/>
                <a:gd name="connsiteY1" fmla="*/ 160799 h 151178"/>
                <a:gd name="connsiteX2" fmla="*/ 7101 w 327554"/>
                <a:gd name="connsiteY2" fmla="*/ 20959 h 151178"/>
                <a:gd name="connsiteX3" fmla="*/ 802 w 327554"/>
                <a:gd name="connsiteY3" fmla="*/ 7101 h 151178"/>
                <a:gd name="connsiteX4" fmla="*/ 14660 w 327554"/>
                <a:gd name="connsiteY4" fmla="*/ 802 h 151178"/>
                <a:gd name="connsiteX5" fmla="*/ 328356 w 327554"/>
                <a:gd name="connsiteY5" fmla="*/ 141902 h 151178"/>
                <a:gd name="connsiteX6" fmla="*/ 332136 w 327554"/>
                <a:gd name="connsiteY6" fmla="*/ 155760 h 151178"/>
                <a:gd name="connsiteX7" fmla="*/ 322057 w 327554"/>
                <a:gd name="connsiteY7" fmla="*/ 16205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554" h="151178">
                  <a:moveTo>
                    <a:pt x="322057" y="162059"/>
                  </a:moveTo>
                  <a:cubicBezTo>
                    <a:pt x="320797" y="162059"/>
                    <a:pt x="318277" y="162059"/>
                    <a:pt x="317018" y="160799"/>
                  </a:cubicBezTo>
                  <a:cubicBezTo>
                    <a:pt x="217492" y="106627"/>
                    <a:pt x="112926" y="60014"/>
                    <a:pt x="7101" y="20959"/>
                  </a:cubicBezTo>
                  <a:cubicBezTo>
                    <a:pt x="2062" y="18440"/>
                    <a:pt x="-1718" y="13400"/>
                    <a:pt x="802" y="7101"/>
                  </a:cubicBezTo>
                  <a:cubicBezTo>
                    <a:pt x="3322" y="2062"/>
                    <a:pt x="8361" y="-1718"/>
                    <a:pt x="14660" y="802"/>
                  </a:cubicBezTo>
                  <a:cubicBezTo>
                    <a:pt x="121745" y="39856"/>
                    <a:pt x="227570" y="87730"/>
                    <a:pt x="328356" y="141902"/>
                  </a:cubicBezTo>
                  <a:cubicBezTo>
                    <a:pt x="333395" y="144422"/>
                    <a:pt x="335915" y="150721"/>
                    <a:pt x="332136" y="155760"/>
                  </a:cubicBezTo>
                  <a:cubicBezTo>
                    <a:pt x="329616" y="160799"/>
                    <a:pt x="325836" y="162059"/>
                    <a:pt x="322057" y="162059"/>
                  </a:cubicBezTo>
                  <a:close/>
                </a:path>
              </a:pathLst>
            </a:custGeom>
            <a:solidFill>
              <a:srgbClr val="56E395"/>
            </a:solidFill>
            <a:ln w="12584" cap="flat">
              <a:noFill/>
              <a:prstDash val="solid"/>
              <a:miter/>
            </a:ln>
          </p:spPr>
          <p:txBody>
            <a:bodyPr rtlCol="0" anchor="ctr"/>
            <a:lstStyle/>
            <a:p>
              <a:endParaRPr lang="zh-CN" altLang="en-US"/>
            </a:p>
          </p:txBody>
        </p:sp>
        <p:sp>
          <p:nvSpPr>
            <p:cNvPr id="10104" name="任意多边形: 形状 10103"/>
            <p:cNvSpPr/>
            <p:nvPr/>
          </p:nvSpPr>
          <p:spPr>
            <a:xfrm>
              <a:off x="1274855" y="3924568"/>
              <a:ext cx="340152" cy="113384"/>
            </a:xfrm>
            <a:custGeom>
              <a:avLst/>
              <a:gdLst>
                <a:gd name="connsiteX0" fmla="*/ 334655 w 340152"/>
                <a:gd name="connsiteY0" fmla="*/ 125524 h 113384"/>
                <a:gd name="connsiteX1" fmla="*/ 332136 w 340152"/>
                <a:gd name="connsiteY1" fmla="*/ 125524 h 113384"/>
                <a:gd name="connsiteX2" fmla="*/ 7101 w 340152"/>
                <a:gd name="connsiteY2" fmla="*/ 20959 h 113384"/>
                <a:gd name="connsiteX3" fmla="*/ 802 w 340152"/>
                <a:gd name="connsiteY3" fmla="*/ 7101 h 113384"/>
                <a:gd name="connsiteX4" fmla="*/ 14660 w 340152"/>
                <a:gd name="connsiteY4" fmla="*/ 802 h 113384"/>
                <a:gd name="connsiteX5" fmla="*/ 339694 w 340152"/>
                <a:gd name="connsiteY5" fmla="*/ 105368 h 113384"/>
                <a:gd name="connsiteX6" fmla="*/ 345994 w 340152"/>
                <a:gd name="connsiteY6" fmla="*/ 119225 h 113384"/>
                <a:gd name="connsiteX7" fmla="*/ 334655 w 340152"/>
                <a:gd name="connsiteY7" fmla="*/ 125524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0152" h="113384">
                  <a:moveTo>
                    <a:pt x="334655" y="125524"/>
                  </a:moveTo>
                  <a:cubicBezTo>
                    <a:pt x="333395" y="125524"/>
                    <a:pt x="332136" y="125524"/>
                    <a:pt x="332136" y="125524"/>
                  </a:cubicBezTo>
                  <a:lnTo>
                    <a:pt x="7101" y="20959"/>
                  </a:lnTo>
                  <a:cubicBezTo>
                    <a:pt x="2062" y="19699"/>
                    <a:pt x="-1718" y="13400"/>
                    <a:pt x="802" y="7101"/>
                  </a:cubicBezTo>
                  <a:cubicBezTo>
                    <a:pt x="2062" y="2062"/>
                    <a:pt x="8361" y="-1718"/>
                    <a:pt x="14660" y="802"/>
                  </a:cubicBezTo>
                  <a:lnTo>
                    <a:pt x="339694" y="105368"/>
                  </a:lnTo>
                  <a:cubicBezTo>
                    <a:pt x="344734" y="106627"/>
                    <a:pt x="348513" y="112926"/>
                    <a:pt x="345994" y="119225"/>
                  </a:cubicBezTo>
                  <a:cubicBezTo>
                    <a:pt x="343474" y="123005"/>
                    <a:pt x="338435" y="125524"/>
                    <a:pt x="334655" y="125524"/>
                  </a:cubicBezTo>
                  <a:close/>
                </a:path>
              </a:pathLst>
            </a:custGeom>
            <a:solidFill>
              <a:srgbClr val="56E395"/>
            </a:solidFill>
            <a:ln w="12584" cap="flat">
              <a:noFill/>
              <a:prstDash val="solid"/>
              <a:miter/>
            </a:ln>
          </p:spPr>
          <p:txBody>
            <a:bodyPr rtlCol="0" anchor="ctr"/>
            <a:lstStyle/>
            <a:p>
              <a:endParaRPr lang="zh-CN" altLang="en-US"/>
            </a:p>
          </p:txBody>
        </p:sp>
        <p:sp>
          <p:nvSpPr>
            <p:cNvPr id="10105" name="任意多边形: 形状 10104"/>
            <p:cNvSpPr/>
            <p:nvPr/>
          </p:nvSpPr>
          <p:spPr>
            <a:xfrm>
              <a:off x="1511566" y="3560343"/>
              <a:ext cx="100786" cy="125982"/>
            </a:xfrm>
            <a:custGeom>
              <a:avLst/>
              <a:gdLst>
                <a:gd name="connsiteX0" fmla="*/ 11016 w 100785"/>
                <a:gd name="connsiteY0" fmla="*/ 128180 h 125982"/>
                <a:gd name="connsiteX1" fmla="*/ 4717 w 100785"/>
                <a:gd name="connsiteY1" fmla="*/ 125660 h 125982"/>
                <a:gd name="connsiteX2" fmla="*/ 2198 w 100785"/>
                <a:gd name="connsiteY2" fmla="*/ 110542 h 125982"/>
                <a:gd name="connsiteX3" fmla="*/ 81566 w 100785"/>
                <a:gd name="connsiteY3" fmla="*/ 4717 h 125982"/>
                <a:gd name="connsiteX4" fmla="*/ 96684 w 100785"/>
                <a:gd name="connsiteY4" fmla="*/ 2198 h 125982"/>
                <a:gd name="connsiteX5" fmla="*/ 99204 w 100785"/>
                <a:gd name="connsiteY5" fmla="*/ 17315 h 125982"/>
                <a:gd name="connsiteX6" fmla="*/ 19835 w 100785"/>
                <a:gd name="connsiteY6" fmla="*/ 123141 h 125982"/>
                <a:gd name="connsiteX7" fmla="*/ 11016 w 100785"/>
                <a:gd name="connsiteY7" fmla="*/ 12818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785" h="125982">
                  <a:moveTo>
                    <a:pt x="11016" y="128180"/>
                  </a:moveTo>
                  <a:cubicBezTo>
                    <a:pt x="8497" y="128180"/>
                    <a:pt x="7237" y="126920"/>
                    <a:pt x="4717" y="125660"/>
                  </a:cubicBezTo>
                  <a:cubicBezTo>
                    <a:pt x="-322" y="121881"/>
                    <a:pt x="-1582" y="115582"/>
                    <a:pt x="2198" y="110542"/>
                  </a:cubicBezTo>
                  <a:lnTo>
                    <a:pt x="81566" y="4717"/>
                  </a:lnTo>
                  <a:cubicBezTo>
                    <a:pt x="85346" y="-322"/>
                    <a:pt x="91645" y="-1582"/>
                    <a:pt x="96684" y="2198"/>
                  </a:cubicBezTo>
                  <a:cubicBezTo>
                    <a:pt x="101724" y="5977"/>
                    <a:pt x="102983" y="12276"/>
                    <a:pt x="99204" y="17315"/>
                  </a:cubicBezTo>
                  <a:lnTo>
                    <a:pt x="19835" y="123141"/>
                  </a:lnTo>
                  <a:cubicBezTo>
                    <a:pt x="17315" y="126920"/>
                    <a:pt x="13536" y="128180"/>
                    <a:pt x="11016" y="128180"/>
                  </a:cubicBezTo>
                  <a:close/>
                </a:path>
              </a:pathLst>
            </a:custGeom>
            <a:solidFill>
              <a:srgbClr val="56E395"/>
            </a:solidFill>
            <a:ln w="12584" cap="flat">
              <a:noFill/>
              <a:prstDash val="solid"/>
              <a:miter/>
            </a:ln>
          </p:spPr>
          <p:txBody>
            <a:bodyPr rtlCol="0" anchor="ctr"/>
            <a:lstStyle/>
            <a:p>
              <a:endParaRPr lang="zh-CN" altLang="en-US"/>
            </a:p>
          </p:txBody>
        </p:sp>
        <p:sp>
          <p:nvSpPr>
            <p:cNvPr id="10106" name="任意多边形: 形状 10105"/>
            <p:cNvSpPr/>
            <p:nvPr/>
          </p:nvSpPr>
          <p:spPr>
            <a:xfrm>
              <a:off x="1484227" y="3447897"/>
              <a:ext cx="113384" cy="176375"/>
            </a:xfrm>
            <a:custGeom>
              <a:avLst/>
              <a:gdLst>
                <a:gd name="connsiteX0" fmla="*/ 10639 w 113384"/>
                <a:gd name="connsiteY0" fmla="*/ 180155 h 176375"/>
                <a:gd name="connsiteX1" fmla="*/ 5599 w 113384"/>
                <a:gd name="connsiteY1" fmla="*/ 178895 h 176375"/>
                <a:gd name="connsiteX2" fmla="*/ 1820 w 113384"/>
                <a:gd name="connsiteY2" fmla="*/ 165037 h 176375"/>
                <a:gd name="connsiteX3" fmla="*/ 96306 w 113384"/>
                <a:gd name="connsiteY3" fmla="*/ 5039 h 176375"/>
                <a:gd name="connsiteX4" fmla="*/ 111424 w 113384"/>
                <a:gd name="connsiteY4" fmla="*/ 1260 h 176375"/>
                <a:gd name="connsiteX5" fmla="*/ 115204 w 113384"/>
                <a:gd name="connsiteY5" fmla="*/ 16378 h 176375"/>
                <a:gd name="connsiteX6" fmla="*/ 21977 w 113384"/>
                <a:gd name="connsiteY6" fmla="*/ 175115 h 176375"/>
                <a:gd name="connsiteX7" fmla="*/ 10639 w 113384"/>
                <a:gd name="connsiteY7" fmla="*/ 180155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76375">
                  <a:moveTo>
                    <a:pt x="10639" y="180155"/>
                  </a:moveTo>
                  <a:cubicBezTo>
                    <a:pt x="9379" y="180155"/>
                    <a:pt x="6859" y="180155"/>
                    <a:pt x="5599" y="178895"/>
                  </a:cubicBezTo>
                  <a:cubicBezTo>
                    <a:pt x="560" y="176375"/>
                    <a:pt x="-1960" y="170076"/>
                    <a:pt x="1820" y="165037"/>
                  </a:cubicBezTo>
                  <a:cubicBezTo>
                    <a:pt x="30796" y="110865"/>
                    <a:pt x="62291" y="56692"/>
                    <a:pt x="96306" y="5039"/>
                  </a:cubicBezTo>
                  <a:cubicBezTo>
                    <a:pt x="100086" y="0"/>
                    <a:pt x="106385" y="-1260"/>
                    <a:pt x="111424" y="1260"/>
                  </a:cubicBezTo>
                  <a:cubicBezTo>
                    <a:pt x="116464" y="5039"/>
                    <a:pt x="117723" y="11338"/>
                    <a:pt x="115204" y="16378"/>
                  </a:cubicBezTo>
                  <a:cubicBezTo>
                    <a:pt x="82448" y="68030"/>
                    <a:pt x="50953" y="120943"/>
                    <a:pt x="21977" y="175115"/>
                  </a:cubicBezTo>
                  <a:cubicBezTo>
                    <a:pt x="18197" y="178895"/>
                    <a:pt x="14418" y="180155"/>
                    <a:pt x="10639" y="180155"/>
                  </a:cubicBezTo>
                  <a:close/>
                </a:path>
              </a:pathLst>
            </a:custGeom>
            <a:solidFill>
              <a:srgbClr val="56E395"/>
            </a:solidFill>
            <a:ln w="12584" cap="flat">
              <a:noFill/>
              <a:prstDash val="solid"/>
              <a:miter/>
            </a:ln>
          </p:spPr>
          <p:txBody>
            <a:bodyPr rtlCol="0" anchor="ctr"/>
            <a:lstStyle/>
            <a:p>
              <a:endParaRPr lang="zh-CN" altLang="en-US"/>
            </a:p>
          </p:txBody>
        </p:sp>
        <p:sp>
          <p:nvSpPr>
            <p:cNvPr id="10107" name="任意多边形: 形状 10106"/>
            <p:cNvSpPr/>
            <p:nvPr/>
          </p:nvSpPr>
          <p:spPr>
            <a:xfrm>
              <a:off x="1271075" y="3510086"/>
              <a:ext cx="188973" cy="62991"/>
            </a:xfrm>
            <a:custGeom>
              <a:avLst/>
              <a:gdLst>
                <a:gd name="connsiteX0" fmla="*/ 184736 w 188973"/>
                <a:gd name="connsiteY0" fmla="*/ 73872 h 62991"/>
                <a:gd name="connsiteX1" fmla="*/ 182217 w 188973"/>
                <a:gd name="connsiteY1" fmla="*/ 73872 h 62991"/>
                <a:gd name="connsiteX2" fmla="*/ 7101 w 188973"/>
                <a:gd name="connsiteY2" fmla="*/ 20959 h 62991"/>
                <a:gd name="connsiteX3" fmla="*/ 802 w 188973"/>
                <a:gd name="connsiteY3" fmla="*/ 7101 h 62991"/>
                <a:gd name="connsiteX4" fmla="*/ 14660 w 188973"/>
                <a:gd name="connsiteY4" fmla="*/ 802 h 62991"/>
                <a:gd name="connsiteX5" fmla="*/ 188516 w 188973"/>
                <a:gd name="connsiteY5" fmla="*/ 53715 h 62991"/>
                <a:gd name="connsiteX6" fmla="*/ 196075 w 188973"/>
                <a:gd name="connsiteY6" fmla="*/ 66313 h 62991"/>
                <a:gd name="connsiteX7" fmla="*/ 184736 w 188973"/>
                <a:gd name="connsiteY7" fmla="*/ 73872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973" h="62991">
                  <a:moveTo>
                    <a:pt x="184736" y="73872"/>
                  </a:moveTo>
                  <a:cubicBezTo>
                    <a:pt x="183476" y="73872"/>
                    <a:pt x="183476" y="73872"/>
                    <a:pt x="182217" y="73872"/>
                  </a:cubicBezTo>
                  <a:cubicBezTo>
                    <a:pt x="123005" y="60014"/>
                    <a:pt x="63793" y="41116"/>
                    <a:pt x="7101" y="20959"/>
                  </a:cubicBezTo>
                  <a:cubicBezTo>
                    <a:pt x="2062" y="18439"/>
                    <a:pt x="-1718" y="12140"/>
                    <a:pt x="802" y="7101"/>
                  </a:cubicBezTo>
                  <a:cubicBezTo>
                    <a:pt x="3322" y="2062"/>
                    <a:pt x="9621" y="-1718"/>
                    <a:pt x="14660" y="802"/>
                  </a:cubicBezTo>
                  <a:cubicBezTo>
                    <a:pt x="71352" y="22219"/>
                    <a:pt x="129304" y="39857"/>
                    <a:pt x="188516" y="53715"/>
                  </a:cubicBezTo>
                  <a:cubicBezTo>
                    <a:pt x="194815" y="54974"/>
                    <a:pt x="197334" y="61274"/>
                    <a:pt x="196075" y="66313"/>
                  </a:cubicBezTo>
                  <a:cubicBezTo>
                    <a:pt x="193555" y="71352"/>
                    <a:pt x="189775" y="75131"/>
                    <a:pt x="184736" y="73872"/>
                  </a:cubicBezTo>
                  <a:close/>
                </a:path>
              </a:pathLst>
            </a:custGeom>
            <a:solidFill>
              <a:srgbClr val="56E395"/>
            </a:solidFill>
            <a:ln w="12584" cap="flat">
              <a:noFill/>
              <a:prstDash val="solid"/>
              <a:miter/>
            </a:ln>
          </p:spPr>
          <p:txBody>
            <a:bodyPr rtlCol="0" anchor="ctr"/>
            <a:lstStyle/>
            <a:p>
              <a:endParaRPr lang="zh-CN" altLang="en-US"/>
            </a:p>
          </p:txBody>
        </p:sp>
        <p:sp>
          <p:nvSpPr>
            <p:cNvPr id="10108" name="任意多边形: 形状 10107"/>
            <p:cNvSpPr/>
            <p:nvPr/>
          </p:nvSpPr>
          <p:spPr>
            <a:xfrm>
              <a:off x="1453292" y="4353710"/>
              <a:ext cx="176375" cy="100786"/>
            </a:xfrm>
            <a:custGeom>
              <a:avLst/>
              <a:gdLst>
                <a:gd name="connsiteX0" fmla="*/ 170076 w 176375"/>
                <a:gd name="connsiteY0" fmla="*/ 109605 h 100785"/>
                <a:gd name="connsiteX1" fmla="*/ 166297 w 176375"/>
                <a:gd name="connsiteY1" fmla="*/ 108345 h 100785"/>
                <a:gd name="connsiteX2" fmla="*/ 5039 w 176375"/>
                <a:gd name="connsiteY2" fmla="*/ 20157 h 100785"/>
                <a:gd name="connsiteX3" fmla="*/ 1260 w 176375"/>
                <a:gd name="connsiteY3" fmla="*/ 5039 h 100785"/>
                <a:gd name="connsiteX4" fmla="*/ 16378 w 176375"/>
                <a:gd name="connsiteY4" fmla="*/ 1260 h 100785"/>
                <a:gd name="connsiteX5" fmla="*/ 175115 w 176375"/>
                <a:gd name="connsiteY5" fmla="*/ 88188 h 100785"/>
                <a:gd name="connsiteX6" fmla="*/ 180155 w 176375"/>
                <a:gd name="connsiteY6" fmla="*/ 102046 h 100785"/>
                <a:gd name="connsiteX7" fmla="*/ 170076 w 176375"/>
                <a:gd name="connsiteY7" fmla="*/ 10960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100785">
                  <a:moveTo>
                    <a:pt x="170076" y="109605"/>
                  </a:moveTo>
                  <a:cubicBezTo>
                    <a:pt x="168816" y="109605"/>
                    <a:pt x="167556" y="109605"/>
                    <a:pt x="166297" y="108345"/>
                  </a:cubicBezTo>
                  <a:cubicBezTo>
                    <a:pt x="110864" y="83148"/>
                    <a:pt x="56692" y="52913"/>
                    <a:pt x="5039" y="20157"/>
                  </a:cubicBezTo>
                  <a:cubicBezTo>
                    <a:pt x="0" y="16378"/>
                    <a:pt x="-1260" y="10079"/>
                    <a:pt x="1260" y="5039"/>
                  </a:cubicBezTo>
                  <a:cubicBezTo>
                    <a:pt x="5039" y="0"/>
                    <a:pt x="11338" y="-1260"/>
                    <a:pt x="16378" y="1260"/>
                  </a:cubicBezTo>
                  <a:cubicBezTo>
                    <a:pt x="66771" y="34015"/>
                    <a:pt x="120943" y="62991"/>
                    <a:pt x="175115" y="88188"/>
                  </a:cubicBezTo>
                  <a:cubicBezTo>
                    <a:pt x="180155" y="90707"/>
                    <a:pt x="182674" y="97007"/>
                    <a:pt x="180155" y="102046"/>
                  </a:cubicBezTo>
                  <a:cubicBezTo>
                    <a:pt x="177635" y="107085"/>
                    <a:pt x="173856" y="109605"/>
                    <a:pt x="170076" y="109605"/>
                  </a:cubicBezTo>
                  <a:close/>
                </a:path>
              </a:pathLst>
            </a:custGeom>
            <a:solidFill>
              <a:srgbClr val="56E395"/>
            </a:solidFill>
            <a:ln w="12584" cap="flat">
              <a:noFill/>
              <a:prstDash val="solid"/>
              <a:miter/>
            </a:ln>
          </p:spPr>
          <p:txBody>
            <a:bodyPr rtlCol="0" anchor="ctr"/>
            <a:lstStyle/>
            <a:p>
              <a:endParaRPr lang="zh-CN" altLang="en-US"/>
            </a:p>
          </p:txBody>
        </p:sp>
        <p:sp>
          <p:nvSpPr>
            <p:cNvPr id="10109" name="任意多边形: 形状 10108"/>
            <p:cNvSpPr/>
            <p:nvPr/>
          </p:nvSpPr>
          <p:spPr>
            <a:xfrm>
              <a:off x="1366043" y="3148297"/>
              <a:ext cx="163777" cy="251965"/>
            </a:xfrm>
            <a:custGeom>
              <a:avLst/>
              <a:gdLst>
                <a:gd name="connsiteX0" fmla="*/ 10400 w 163777"/>
                <a:gd name="connsiteY0" fmla="*/ 263066 h 251964"/>
                <a:gd name="connsiteX1" fmla="*/ 6620 w 163777"/>
                <a:gd name="connsiteY1" fmla="*/ 261806 h 251964"/>
                <a:gd name="connsiteX2" fmla="*/ 321 w 163777"/>
                <a:gd name="connsiteY2" fmla="*/ 247947 h 251964"/>
                <a:gd name="connsiteX3" fmla="*/ 154019 w 163777"/>
                <a:gd name="connsiteY3" fmla="*/ 3542 h 251964"/>
                <a:gd name="connsiteX4" fmla="*/ 169137 w 163777"/>
                <a:gd name="connsiteY4" fmla="*/ 2282 h 251964"/>
                <a:gd name="connsiteX5" fmla="*/ 170397 w 163777"/>
                <a:gd name="connsiteY5" fmla="*/ 17400 h 251964"/>
                <a:gd name="connsiteX6" fmla="*/ 20478 w 163777"/>
                <a:gd name="connsiteY6" fmla="*/ 255507 h 251964"/>
                <a:gd name="connsiteX7" fmla="*/ 10400 w 163777"/>
                <a:gd name="connsiteY7" fmla="*/ 263066 h 25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251964">
                  <a:moveTo>
                    <a:pt x="10400" y="263066"/>
                  </a:moveTo>
                  <a:cubicBezTo>
                    <a:pt x="9140" y="263066"/>
                    <a:pt x="7880" y="263066"/>
                    <a:pt x="6620" y="261806"/>
                  </a:cubicBezTo>
                  <a:cubicBezTo>
                    <a:pt x="1581" y="259286"/>
                    <a:pt x="-939" y="252987"/>
                    <a:pt x="321" y="247947"/>
                  </a:cubicBezTo>
                  <a:cubicBezTo>
                    <a:pt x="36856" y="157240"/>
                    <a:pt x="88509" y="75352"/>
                    <a:pt x="154019" y="3542"/>
                  </a:cubicBezTo>
                  <a:cubicBezTo>
                    <a:pt x="157799" y="-238"/>
                    <a:pt x="164098" y="-1497"/>
                    <a:pt x="169137" y="2282"/>
                  </a:cubicBezTo>
                  <a:cubicBezTo>
                    <a:pt x="172917" y="6061"/>
                    <a:pt x="174177" y="12361"/>
                    <a:pt x="170397" y="17400"/>
                  </a:cubicBezTo>
                  <a:cubicBezTo>
                    <a:pt x="106146" y="87950"/>
                    <a:pt x="55753" y="167319"/>
                    <a:pt x="20478" y="255507"/>
                  </a:cubicBezTo>
                  <a:cubicBezTo>
                    <a:pt x="19218" y="260546"/>
                    <a:pt x="15439" y="263066"/>
                    <a:pt x="10400" y="263066"/>
                  </a:cubicBezTo>
                  <a:close/>
                </a:path>
              </a:pathLst>
            </a:custGeom>
            <a:solidFill>
              <a:srgbClr val="56E395"/>
            </a:solidFill>
            <a:ln w="12584" cap="flat">
              <a:noFill/>
              <a:prstDash val="solid"/>
              <a:miter/>
            </a:ln>
          </p:spPr>
          <p:txBody>
            <a:bodyPr rtlCol="0" anchor="ctr"/>
            <a:lstStyle/>
            <a:p>
              <a:endParaRPr lang="zh-CN" altLang="en-US"/>
            </a:p>
          </p:txBody>
        </p:sp>
        <p:sp>
          <p:nvSpPr>
            <p:cNvPr id="10110" name="任意多边形: 形状 10109"/>
            <p:cNvSpPr/>
            <p:nvPr/>
          </p:nvSpPr>
          <p:spPr>
            <a:xfrm>
              <a:off x="1323209" y="3171675"/>
              <a:ext cx="75589" cy="151179"/>
            </a:xfrm>
            <a:custGeom>
              <a:avLst/>
              <a:gdLst>
                <a:gd name="connsiteX0" fmla="*/ 10400 w 75589"/>
                <a:gd name="connsiteY0" fmla="*/ 157799 h 151178"/>
                <a:gd name="connsiteX1" fmla="*/ 6620 w 75589"/>
                <a:gd name="connsiteY1" fmla="*/ 156539 h 151178"/>
                <a:gd name="connsiteX2" fmla="*/ 321 w 75589"/>
                <a:gd name="connsiteY2" fmla="*/ 142681 h 151178"/>
                <a:gd name="connsiteX3" fmla="*/ 57013 w 75589"/>
                <a:gd name="connsiteY3" fmla="*/ 6620 h 151178"/>
                <a:gd name="connsiteX4" fmla="*/ 70871 w 75589"/>
                <a:gd name="connsiteY4" fmla="*/ 321 h 151178"/>
                <a:gd name="connsiteX5" fmla="*/ 77170 w 75589"/>
                <a:gd name="connsiteY5" fmla="*/ 14179 h 151178"/>
                <a:gd name="connsiteX6" fmla="*/ 20478 w 75589"/>
                <a:gd name="connsiteY6" fmla="*/ 151500 h 151178"/>
                <a:gd name="connsiteX7" fmla="*/ 10400 w 75589"/>
                <a:gd name="connsiteY7" fmla="*/ 15779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51178">
                  <a:moveTo>
                    <a:pt x="10400" y="157799"/>
                  </a:moveTo>
                  <a:cubicBezTo>
                    <a:pt x="9140" y="157799"/>
                    <a:pt x="7880" y="157799"/>
                    <a:pt x="6620" y="156539"/>
                  </a:cubicBezTo>
                  <a:cubicBezTo>
                    <a:pt x="1581" y="154019"/>
                    <a:pt x="-939" y="147720"/>
                    <a:pt x="321" y="142681"/>
                  </a:cubicBezTo>
                  <a:lnTo>
                    <a:pt x="57013" y="6620"/>
                  </a:lnTo>
                  <a:cubicBezTo>
                    <a:pt x="59533" y="1581"/>
                    <a:pt x="65832" y="-939"/>
                    <a:pt x="70871" y="321"/>
                  </a:cubicBezTo>
                  <a:cubicBezTo>
                    <a:pt x="75910" y="2841"/>
                    <a:pt x="78430" y="9140"/>
                    <a:pt x="77170" y="14179"/>
                  </a:cubicBezTo>
                  <a:lnTo>
                    <a:pt x="20478" y="151500"/>
                  </a:lnTo>
                  <a:cubicBezTo>
                    <a:pt x="19218" y="156539"/>
                    <a:pt x="15439" y="157799"/>
                    <a:pt x="10400" y="157799"/>
                  </a:cubicBezTo>
                  <a:close/>
                </a:path>
              </a:pathLst>
            </a:custGeom>
            <a:solidFill>
              <a:srgbClr val="56E395"/>
            </a:solidFill>
            <a:ln w="12584" cap="flat">
              <a:noFill/>
              <a:prstDash val="solid"/>
              <a:miter/>
            </a:ln>
          </p:spPr>
          <p:txBody>
            <a:bodyPr rtlCol="0" anchor="ctr"/>
            <a:lstStyle/>
            <a:p>
              <a:endParaRPr lang="zh-CN" altLang="en-US"/>
            </a:p>
          </p:txBody>
        </p:sp>
        <p:sp>
          <p:nvSpPr>
            <p:cNvPr id="10111" name="任意多边形: 形状 10110"/>
            <p:cNvSpPr/>
            <p:nvPr/>
          </p:nvSpPr>
          <p:spPr>
            <a:xfrm>
              <a:off x="1137941" y="3054437"/>
              <a:ext cx="163777" cy="138581"/>
            </a:xfrm>
            <a:custGeom>
              <a:avLst/>
              <a:gdLst>
                <a:gd name="connsiteX0" fmla="*/ 161653 w 163777"/>
                <a:gd name="connsiteY0" fmla="*/ 147795 h 138580"/>
                <a:gd name="connsiteX1" fmla="*/ 154094 w 163777"/>
                <a:gd name="connsiteY1" fmla="*/ 145275 h 138580"/>
                <a:gd name="connsiteX2" fmla="*/ 4175 w 163777"/>
                <a:gd name="connsiteY2" fmla="*/ 19293 h 138580"/>
                <a:gd name="connsiteX3" fmla="*/ 1655 w 163777"/>
                <a:gd name="connsiteY3" fmla="*/ 4175 h 138580"/>
                <a:gd name="connsiteX4" fmla="*/ 16773 w 163777"/>
                <a:gd name="connsiteY4" fmla="*/ 1655 h 138580"/>
                <a:gd name="connsiteX5" fmla="*/ 167952 w 163777"/>
                <a:gd name="connsiteY5" fmla="*/ 128897 h 138580"/>
                <a:gd name="connsiteX6" fmla="*/ 167952 w 163777"/>
                <a:gd name="connsiteY6" fmla="*/ 144015 h 138580"/>
                <a:gd name="connsiteX7" fmla="*/ 161653 w 163777"/>
                <a:gd name="connsiteY7" fmla="*/ 147795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138580">
                  <a:moveTo>
                    <a:pt x="161653" y="147795"/>
                  </a:moveTo>
                  <a:cubicBezTo>
                    <a:pt x="159133" y="147795"/>
                    <a:pt x="156613" y="146535"/>
                    <a:pt x="154094" y="145275"/>
                  </a:cubicBezTo>
                  <a:cubicBezTo>
                    <a:pt x="106220" y="101181"/>
                    <a:pt x="55827" y="58347"/>
                    <a:pt x="4175" y="19293"/>
                  </a:cubicBezTo>
                  <a:cubicBezTo>
                    <a:pt x="-865" y="15513"/>
                    <a:pt x="-865" y="9214"/>
                    <a:pt x="1655" y="4175"/>
                  </a:cubicBezTo>
                  <a:cubicBezTo>
                    <a:pt x="5435" y="-865"/>
                    <a:pt x="11734" y="-865"/>
                    <a:pt x="16773" y="1655"/>
                  </a:cubicBezTo>
                  <a:cubicBezTo>
                    <a:pt x="68426" y="41970"/>
                    <a:pt x="120078" y="84803"/>
                    <a:pt x="167952" y="128897"/>
                  </a:cubicBezTo>
                  <a:cubicBezTo>
                    <a:pt x="171731" y="132677"/>
                    <a:pt x="172991" y="140236"/>
                    <a:pt x="167952" y="144015"/>
                  </a:cubicBezTo>
                  <a:cubicBezTo>
                    <a:pt x="166692" y="146535"/>
                    <a:pt x="164172" y="147795"/>
                    <a:pt x="161653" y="147795"/>
                  </a:cubicBezTo>
                  <a:close/>
                </a:path>
              </a:pathLst>
            </a:custGeom>
            <a:solidFill>
              <a:srgbClr val="56E395"/>
            </a:solidFill>
            <a:ln w="12584" cap="flat">
              <a:noFill/>
              <a:prstDash val="solid"/>
              <a:miter/>
            </a:ln>
          </p:spPr>
          <p:txBody>
            <a:bodyPr rtlCol="0" anchor="ctr"/>
            <a:lstStyle/>
            <a:p>
              <a:endParaRPr lang="zh-CN" altLang="en-US"/>
            </a:p>
          </p:txBody>
        </p:sp>
        <p:sp>
          <p:nvSpPr>
            <p:cNvPr id="10112" name="任意多边形: 形状 10111"/>
            <p:cNvSpPr/>
            <p:nvPr/>
          </p:nvSpPr>
          <p:spPr>
            <a:xfrm>
              <a:off x="1168894" y="3000982"/>
              <a:ext cx="138581" cy="100786"/>
            </a:xfrm>
            <a:custGeom>
              <a:avLst/>
              <a:gdLst>
                <a:gd name="connsiteX0" fmla="*/ 128180 w 138580"/>
                <a:gd name="connsiteY0" fmla="*/ 113062 h 100785"/>
                <a:gd name="connsiteX1" fmla="*/ 120621 w 138580"/>
                <a:gd name="connsiteY1" fmla="*/ 110542 h 100785"/>
                <a:gd name="connsiteX2" fmla="*/ 4717 w 138580"/>
                <a:gd name="connsiteY2" fmla="*/ 19835 h 100785"/>
                <a:gd name="connsiteX3" fmla="*/ 2198 w 138580"/>
                <a:gd name="connsiteY3" fmla="*/ 4717 h 100785"/>
                <a:gd name="connsiteX4" fmla="*/ 17315 w 138580"/>
                <a:gd name="connsiteY4" fmla="*/ 2198 h 100785"/>
                <a:gd name="connsiteX5" fmla="*/ 135739 w 138580"/>
                <a:gd name="connsiteY5" fmla="*/ 94165 h 100785"/>
                <a:gd name="connsiteX6" fmla="*/ 136999 w 138580"/>
                <a:gd name="connsiteY6" fmla="*/ 109283 h 100785"/>
                <a:gd name="connsiteX7" fmla="*/ 128180 w 138580"/>
                <a:gd name="connsiteY7" fmla="*/ 113062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00785">
                  <a:moveTo>
                    <a:pt x="128180" y="113062"/>
                  </a:moveTo>
                  <a:cubicBezTo>
                    <a:pt x="125660" y="113062"/>
                    <a:pt x="123141" y="111802"/>
                    <a:pt x="120621" y="110542"/>
                  </a:cubicBezTo>
                  <a:cubicBezTo>
                    <a:pt x="84086" y="77787"/>
                    <a:pt x="45032" y="47551"/>
                    <a:pt x="4717" y="19835"/>
                  </a:cubicBezTo>
                  <a:cubicBezTo>
                    <a:pt x="-322" y="16056"/>
                    <a:pt x="-1582" y="9757"/>
                    <a:pt x="2198" y="4717"/>
                  </a:cubicBezTo>
                  <a:cubicBezTo>
                    <a:pt x="5977" y="-322"/>
                    <a:pt x="12276" y="-1582"/>
                    <a:pt x="17315" y="2198"/>
                  </a:cubicBezTo>
                  <a:cubicBezTo>
                    <a:pt x="58890" y="29914"/>
                    <a:pt x="99204" y="61409"/>
                    <a:pt x="135739" y="94165"/>
                  </a:cubicBezTo>
                  <a:cubicBezTo>
                    <a:pt x="139518" y="97944"/>
                    <a:pt x="140778" y="105503"/>
                    <a:pt x="136999" y="109283"/>
                  </a:cubicBezTo>
                  <a:cubicBezTo>
                    <a:pt x="133219" y="111802"/>
                    <a:pt x="130700" y="113062"/>
                    <a:pt x="128180" y="113062"/>
                  </a:cubicBezTo>
                  <a:close/>
                </a:path>
              </a:pathLst>
            </a:custGeom>
            <a:solidFill>
              <a:srgbClr val="56E395"/>
            </a:solidFill>
            <a:ln w="12584" cap="flat">
              <a:noFill/>
              <a:prstDash val="solid"/>
              <a:miter/>
            </a:ln>
          </p:spPr>
          <p:txBody>
            <a:bodyPr rtlCol="0" anchor="ctr"/>
            <a:lstStyle/>
            <a:p>
              <a:endParaRPr lang="zh-CN" altLang="en-US"/>
            </a:p>
          </p:txBody>
        </p:sp>
        <p:sp>
          <p:nvSpPr>
            <p:cNvPr id="10113" name="任意多边形: 形状 10112"/>
            <p:cNvSpPr/>
            <p:nvPr/>
          </p:nvSpPr>
          <p:spPr>
            <a:xfrm>
              <a:off x="5735431" y="4536384"/>
              <a:ext cx="629912" cy="188973"/>
            </a:xfrm>
            <a:custGeom>
              <a:avLst/>
              <a:gdLst>
                <a:gd name="connsiteX0" fmla="*/ 621093 w 629911"/>
                <a:gd name="connsiteY0" fmla="*/ 0 h 188973"/>
                <a:gd name="connsiteX1" fmla="*/ 8819 w 629911"/>
                <a:gd name="connsiteY1" fmla="*/ 0 h 188973"/>
                <a:gd name="connsiteX2" fmla="*/ 0 w 629911"/>
                <a:gd name="connsiteY2" fmla="*/ 8819 h 188973"/>
                <a:gd name="connsiteX3" fmla="*/ 0 w 629911"/>
                <a:gd name="connsiteY3" fmla="*/ 105825 h 188973"/>
                <a:gd name="connsiteX4" fmla="*/ 85668 w 629911"/>
                <a:gd name="connsiteY4" fmla="*/ 191493 h 188973"/>
                <a:gd name="connsiteX5" fmla="*/ 544243 w 629911"/>
                <a:gd name="connsiteY5" fmla="*/ 191493 h 188973"/>
                <a:gd name="connsiteX6" fmla="*/ 629912 w 629911"/>
                <a:gd name="connsiteY6" fmla="*/ 105825 h 188973"/>
                <a:gd name="connsiteX7" fmla="*/ 629912 w 629911"/>
                <a:gd name="connsiteY7" fmla="*/ 8819 h 188973"/>
                <a:gd name="connsiteX8" fmla="*/ 621093 w 629911"/>
                <a:gd name="connsiteY8" fmla="*/ 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9911" h="188973">
                  <a:moveTo>
                    <a:pt x="621093" y="0"/>
                  </a:moveTo>
                  <a:lnTo>
                    <a:pt x="8819" y="0"/>
                  </a:lnTo>
                  <a:cubicBezTo>
                    <a:pt x="3779" y="0"/>
                    <a:pt x="0" y="3780"/>
                    <a:pt x="0" y="8819"/>
                  </a:cubicBezTo>
                  <a:lnTo>
                    <a:pt x="0" y="105825"/>
                  </a:lnTo>
                  <a:cubicBezTo>
                    <a:pt x="0" y="153699"/>
                    <a:pt x="39055" y="191493"/>
                    <a:pt x="85668" y="191493"/>
                  </a:cubicBezTo>
                  <a:lnTo>
                    <a:pt x="544243" y="191493"/>
                  </a:lnTo>
                  <a:cubicBezTo>
                    <a:pt x="592117" y="191493"/>
                    <a:pt x="629912" y="152439"/>
                    <a:pt x="629912" y="105825"/>
                  </a:cubicBezTo>
                  <a:lnTo>
                    <a:pt x="629912" y="8819"/>
                  </a:lnTo>
                  <a:cubicBezTo>
                    <a:pt x="631172" y="3780"/>
                    <a:pt x="626132" y="0"/>
                    <a:pt x="621093" y="0"/>
                  </a:cubicBezTo>
                  <a:close/>
                </a:path>
              </a:pathLst>
            </a:custGeom>
            <a:solidFill>
              <a:srgbClr val="001675"/>
            </a:solidFill>
            <a:ln w="12584" cap="flat">
              <a:noFill/>
              <a:prstDash val="solid"/>
              <a:miter/>
            </a:ln>
          </p:spPr>
          <p:txBody>
            <a:bodyPr rtlCol="0" anchor="ctr"/>
            <a:lstStyle/>
            <a:p>
              <a:endParaRPr lang="zh-CN" altLang="en-US"/>
            </a:p>
          </p:txBody>
        </p:sp>
        <p:sp>
          <p:nvSpPr>
            <p:cNvPr id="10114" name="任意多边形: 形状 10113"/>
            <p:cNvSpPr/>
            <p:nvPr/>
          </p:nvSpPr>
          <p:spPr>
            <a:xfrm>
              <a:off x="1407938" y="4536384"/>
              <a:ext cx="617313" cy="188973"/>
            </a:xfrm>
            <a:custGeom>
              <a:avLst/>
              <a:gdLst>
                <a:gd name="connsiteX0" fmla="*/ 621093 w 617313"/>
                <a:gd name="connsiteY0" fmla="*/ 0 h 188973"/>
                <a:gd name="connsiteX1" fmla="*/ 8819 w 617313"/>
                <a:gd name="connsiteY1" fmla="*/ 0 h 188973"/>
                <a:gd name="connsiteX2" fmla="*/ 0 w 617313"/>
                <a:gd name="connsiteY2" fmla="*/ 8819 h 188973"/>
                <a:gd name="connsiteX3" fmla="*/ 0 w 617313"/>
                <a:gd name="connsiteY3" fmla="*/ 105825 h 188973"/>
                <a:gd name="connsiteX4" fmla="*/ 85668 w 617313"/>
                <a:gd name="connsiteY4" fmla="*/ 191493 h 188973"/>
                <a:gd name="connsiteX5" fmla="*/ 544244 w 617313"/>
                <a:gd name="connsiteY5" fmla="*/ 191493 h 188973"/>
                <a:gd name="connsiteX6" fmla="*/ 629912 w 617313"/>
                <a:gd name="connsiteY6" fmla="*/ 105825 h 188973"/>
                <a:gd name="connsiteX7" fmla="*/ 629912 w 617313"/>
                <a:gd name="connsiteY7" fmla="*/ 8819 h 188973"/>
                <a:gd name="connsiteX8" fmla="*/ 621093 w 617313"/>
                <a:gd name="connsiteY8" fmla="*/ 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7313" h="188973">
                  <a:moveTo>
                    <a:pt x="621093" y="0"/>
                  </a:moveTo>
                  <a:lnTo>
                    <a:pt x="8819" y="0"/>
                  </a:lnTo>
                  <a:cubicBezTo>
                    <a:pt x="3779" y="0"/>
                    <a:pt x="0" y="3780"/>
                    <a:pt x="0" y="8819"/>
                  </a:cubicBezTo>
                  <a:lnTo>
                    <a:pt x="0" y="105825"/>
                  </a:lnTo>
                  <a:cubicBezTo>
                    <a:pt x="0" y="153699"/>
                    <a:pt x="39055" y="191493"/>
                    <a:pt x="85668" y="191493"/>
                  </a:cubicBezTo>
                  <a:lnTo>
                    <a:pt x="544244" y="191493"/>
                  </a:lnTo>
                  <a:cubicBezTo>
                    <a:pt x="592117" y="191493"/>
                    <a:pt x="629912" y="152439"/>
                    <a:pt x="629912" y="105825"/>
                  </a:cubicBezTo>
                  <a:lnTo>
                    <a:pt x="629912" y="8819"/>
                  </a:lnTo>
                  <a:cubicBezTo>
                    <a:pt x="629912" y="3780"/>
                    <a:pt x="626132" y="0"/>
                    <a:pt x="621093" y="0"/>
                  </a:cubicBezTo>
                  <a:close/>
                </a:path>
              </a:pathLst>
            </a:custGeom>
            <a:solidFill>
              <a:srgbClr val="001675"/>
            </a:solidFill>
            <a:ln w="12584" cap="flat">
              <a:noFill/>
              <a:prstDash val="solid"/>
              <a:miter/>
            </a:ln>
          </p:spPr>
          <p:txBody>
            <a:bodyPr rtlCol="0" anchor="ctr"/>
            <a:lstStyle/>
            <a:p>
              <a:endParaRPr lang="zh-CN" altLang="en-US"/>
            </a:p>
          </p:txBody>
        </p:sp>
        <p:sp>
          <p:nvSpPr>
            <p:cNvPr id="10115" name="任意多边形: 形状 10114"/>
            <p:cNvSpPr/>
            <p:nvPr/>
          </p:nvSpPr>
          <p:spPr>
            <a:xfrm>
              <a:off x="3467749" y="3523486"/>
              <a:ext cx="226768" cy="226768"/>
            </a:xfrm>
            <a:custGeom>
              <a:avLst/>
              <a:gdLst>
                <a:gd name="connsiteX0" fmla="*/ 0 w 226768"/>
                <a:gd name="connsiteY0" fmla="*/ 94487 h 226768"/>
                <a:gd name="connsiteX1" fmla="*/ 0 w 226768"/>
                <a:gd name="connsiteY1" fmla="*/ 137321 h 226768"/>
                <a:gd name="connsiteX2" fmla="*/ 21417 w 226768"/>
                <a:gd name="connsiteY2" fmla="*/ 177635 h 226768"/>
                <a:gd name="connsiteX3" fmla="*/ 49133 w 226768"/>
                <a:gd name="connsiteY3" fmla="*/ 186454 h 226768"/>
                <a:gd name="connsiteX4" fmla="*/ 61731 w 226768"/>
                <a:gd name="connsiteY4" fmla="*/ 186454 h 226768"/>
                <a:gd name="connsiteX5" fmla="*/ 61731 w 226768"/>
                <a:gd name="connsiteY5" fmla="*/ 229288 h 226768"/>
                <a:gd name="connsiteX6" fmla="*/ 238107 w 226768"/>
                <a:gd name="connsiteY6" fmla="*/ 229288 h 226768"/>
                <a:gd name="connsiteX7" fmla="*/ 238107 w 226768"/>
                <a:gd name="connsiteY7" fmla="*/ 45354 h 226768"/>
                <a:gd name="connsiteX8" fmla="*/ 192753 w 226768"/>
                <a:gd name="connsiteY8" fmla="*/ 0 h 226768"/>
                <a:gd name="connsiteX9" fmla="*/ 108345 w 226768"/>
                <a:gd name="connsiteY9" fmla="*/ 0 h 226768"/>
                <a:gd name="connsiteX10" fmla="*/ 62991 w 226768"/>
                <a:gd name="connsiteY10" fmla="*/ 45354 h 226768"/>
                <a:gd name="connsiteX11" fmla="*/ 62991 w 226768"/>
                <a:gd name="connsiteY11" fmla="*/ 46613 h 226768"/>
                <a:gd name="connsiteX12" fmla="*/ 50393 w 226768"/>
                <a:gd name="connsiteY12" fmla="*/ 46613 h 226768"/>
                <a:gd name="connsiteX13" fmla="*/ 18897 w 226768"/>
                <a:gd name="connsiteY13" fmla="*/ 57952 h 226768"/>
                <a:gd name="connsiteX14" fmla="*/ 0 w 226768"/>
                <a:gd name="connsiteY14" fmla="*/ 94487 h 226768"/>
                <a:gd name="connsiteX15" fmla="*/ 30236 w 226768"/>
                <a:gd name="connsiteY15" fmla="*/ 153698 h 226768"/>
                <a:gd name="connsiteX16" fmla="*/ 23937 w 226768"/>
                <a:gd name="connsiteY16" fmla="*/ 138581 h 226768"/>
                <a:gd name="connsiteX17" fmla="*/ 23937 w 226768"/>
                <a:gd name="connsiteY17" fmla="*/ 94487 h 226768"/>
                <a:gd name="connsiteX18" fmla="*/ 32755 w 226768"/>
                <a:gd name="connsiteY18" fmla="*/ 76849 h 226768"/>
                <a:gd name="connsiteX19" fmla="*/ 46613 w 226768"/>
                <a:gd name="connsiteY19" fmla="*/ 71810 h 226768"/>
                <a:gd name="connsiteX20" fmla="*/ 61731 w 226768"/>
                <a:gd name="connsiteY20" fmla="*/ 71810 h 226768"/>
                <a:gd name="connsiteX21" fmla="*/ 62991 w 226768"/>
                <a:gd name="connsiteY21" fmla="*/ 71810 h 226768"/>
                <a:gd name="connsiteX22" fmla="*/ 62991 w 226768"/>
                <a:gd name="connsiteY22" fmla="*/ 159998 h 226768"/>
                <a:gd name="connsiteX23" fmla="*/ 61731 w 226768"/>
                <a:gd name="connsiteY23" fmla="*/ 159998 h 226768"/>
                <a:gd name="connsiteX24" fmla="*/ 46613 w 226768"/>
                <a:gd name="connsiteY24" fmla="*/ 159998 h 226768"/>
                <a:gd name="connsiteX25" fmla="*/ 30236 w 226768"/>
                <a:gd name="connsiteY25" fmla="*/ 153698 h 22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6768" h="226768">
                  <a:moveTo>
                    <a:pt x="0" y="94487"/>
                  </a:moveTo>
                  <a:lnTo>
                    <a:pt x="0" y="137321"/>
                  </a:lnTo>
                  <a:cubicBezTo>
                    <a:pt x="0" y="153698"/>
                    <a:pt x="8819" y="168816"/>
                    <a:pt x="21417" y="177635"/>
                  </a:cubicBezTo>
                  <a:cubicBezTo>
                    <a:pt x="28976" y="182674"/>
                    <a:pt x="39054" y="186454"/>
                    <a:pt x="49133" y="186454"/>
                  </a:cubicBezTo>
                  <a:lnTo>
                    <a:pt x="61731" y="186454"/>
                  </a:lnTo>
                  <a:lnTo>
                    <a:pt x="61731" y="229288"/>
                  </a:lnTo>
                  <a:lnTo>
                    <a:pt x="238107" y="229288"/>
                  </a:lnTo>
                  <a:lnTo>
                    <a:pt x="238107" y="45354"/>
                  </a:lnTo>
                  <a:cubicBezTo>
                    <a:pt x="238107" y="20157"/>
                    <a:pt x="217949" y="0"/>
                    <a:pt x="192753" y="0"/>
                  </a:cubicBezTo>
                  <a:lnTo>
                    <a:pt x="108345" y="0"/>
                  </a:lnTo>
                  <a:cubicBezTo>
                    <a:pt x="83148" y="0"/>
                    <a:pt x="62991" y="20157"/>
                    <a:pt x="62991" y="45354"/>
                  </a:cubicBezTo>
                  <a:lnTo>
                    <a:pt x="62991" y="46613"/>
                  </a:lnTo>
                  <a:lnTo>
                    <a:pt x="50393" y="46613"/>
                  </a:lnTo>
                  <a:cubicBezTo>
                    <a:pt x="39054" y="46613"/>
                    <a:pt x="27716" y="50393"/>
                    <a:pt x="18897" y="57952"/>
                  </a:cubicBezTo>
                  <a:cubicBezTo>
                    <a:pt x="6299" y="65511"/>
                    <a:pt x="0" y="79369"/>
                    <a:pt x="0" y="94487"/>
                  </a:cubicBezTo>
                  <a:close/>
                  <a:moveTo>
                    <a:pt x="30236" y="153698"/>
                  </a:moveTo>
                  <a:cubicBezTo>
                    <a:pt x="26456" y="149919"/>
                    <a:pt x="23937" y="143620"/>
                    <a:pt x="23937" y="138581"/>
                  </a:cubicBezTo>
                  <a:lnTo>
                    <a:pt x="23937" y="94487"/>
                  </a:lnTo>
                  <a:cubicBezTo>
                    <a:pt x="23937" y="86928"/>
                    <a:pt x="27716" y="80629"/>
                    <a:pt x="32755" y="76849"/>
                  </a:cubicBezTo>
                  <a:cubicBezTo>
                    <a:pt x="36535" y="74330"/>
                    <a:pt x="41574" y="71810"/>
                    <a:pt x="46613" y="71810"/>
                  </a:cubicBezTo>
                  <a:lnTo>
                    <a:pt x="61731" y="71810"/>
                  </a:lnTo>
                  <a:cubicBezTo>
                    <a:pt x="61731" y="71810"/>
                    <a:pt x="61731" y="71810"/>
                    <a:pt x="62991" y="71810"/>
                  </a:cubicBezTo>
                  <a:lnTo>
                    <a:pt x="62991" y="159998"/>
                  </a:lnTo>
                  <a:cubicBezTo>
                    <a:pt x="62991" y="159998"/>
                    <a:pt x="62991" y="159998"/>
                    <a:pt x="61731" y="159998"/>
                  </a:cubicBezTo>
                  <a:lnTo>
                    <a:pt x="46613" y="159998"/>
                  </a:lnTo>
                  <a:cubicBezTo>
                    <a:pt x="39054" y="159998"/>
                    <a:pt x="34015" y="157478"/>
                    <a:pt x="30236" y="153698"/>
                  </a:cubicBezTo>
                  <a:close/>
                </a:path>
              </a:pathLst>
            </a:custGeom>
            <a:solidFill>
              <a:srgbClr val="F3B04B"/>
            </a:solidFill>
            <a:ln w="12584" cap="flat">
              <a:noFill/>
              <a:prstDash val="solid"/>
              <a:miter/>
            </a:ln>
          </p:spPr>
          <p:txBody>
            <a:bodyPr rtlCol="0" anchor="ctr"/>
            <a:lstStyle/>
            <a:p>
              <a:endParaRPr lang="zh-CN" altLang="en-US"/>
            </a:p>
          </p:txBody>
        </p:sp>
        <p:sp>
          <p:nvSpPr>
            <p:cNvPr id="10116" name="任意多边形: 形状 10115"/>
            <p:cNvSpPr/>
            <p:nvPr/>
          </p:nvSpPr>
          <p:spPr>
            <a:xfrm>
              <a:off x="3555937" y="3534825"/>
              <a:ext cx="125982" cy="12598"/>
            </a:xfrm>
            <a:custGeom>
              <a:avLst/>
              <a:gdLst>
                <a:gd name="connsiteX0" fmla="*/ 0 w 125982"/>
                <a:gd name="connsiteY0" fmla="*/ 11339 h 12598"/>
                <a:gd name="connsiteX1" fmla="*/ 11338 w 125982"/>
                <a:gd name="connsiteY1" fmla="*/ 22677 h 12598"/>
                <a:gd name="connsiteX2" fmla="*/ 118423 w 125982"/>
                <a:gd name="connsiteY2" fmla="*/ 22677 h 12598"/>
                <a:gd name="connsiteX3" fmla="*/ 129762 w 125982"/>
                <a:gd name="connsiteY3" fmla="*/ 11339 h 12598"/>
                <a:gd name="connsiteX4" fmla="*/ 129762 w 125982"/>
                <a:gd name="connsiteY4" fmla="*/ 11339 h 12598"/>
                <a:gd name="connsiteX5" fmla="*/ 118423 w 125982"/>
                <a:gd name="connsiteY5" fmla="*/ 0 h 12598"/>
                <a:gd name="connsiteX6" fmla="*/ 11338 w 125982"/>
                <a:gd name="connsiteY6" fmla="*/ 0 h 12598"/>
                <a:gd name="connsiteX7" fmla="*/ 0 w 125982"/>
                <a:gd name="connsiteY7" fmla="*/ 11339 h 12598"/>
                <a:gd name="connsiteX8" fmla="*/ 0 w 125982"/>
                <a:gd name="connsiteY8" fmla="*/ 11339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82" h="12598">
                  <a:moveTo>
                    <a:pt x="0" y="11339"/>
                  </a:moveTo>
                  <a:cubicBezTo>
                    <a:pt x="0" y="17638"/>
                    <a:pt x="5039" y="22677"/>
                    <a:pt x="11338" y="22677"/>
                  </a:cubicBezTo>
                  <a:lnTo>
                    <a:pt x="118423" y="22677"/>
                  </a:lnTo>
                  <a:cubicBezTo>
                    <a:pt x="124722" y="22677"/>
                    <a:pt x="129762" y="17638"/>
                    <a:pt x="129762" y="11339"/>
                  </a:cubicBezTo>
                  <a:lnTo>
                    <a:pt x="129762" y="11339"/>
                  </a:lnTo>
                  <a:cubicBezTo>
                    <a:pt x="129762" y="5039"/>
                    <a:pt x="124722" y="0"/>
                    <a:pt x="118423" y="0"/>
                  </a:cubicBezTo>
                  <a:lnTo>
                    <a:pt x="11338" y="0"/>
                  </a:lnTo>
                  <a:cubicBezTo>
                    <a:pt x="5039" y="1260"/>
                    <a:pt x="0" y="6299"/>
                    <a:pt x="0" y="11339"/>
                  </a:cubicBezTo>
                  <a:lnTo>
                    <a:pt x="0" y="11339"/>
                  </a:lnTo>
                  <a:close/>
                </a:path>
              </a:pathLst>
            </a:custGeom>
            <a:solidFill>
              <a:srgbClr val="001675"/>
            </a:solidFill>
            <a:ln w="12584" cap="flat">
              <a:noFill/>
              <a:prstDash val="solid"/>
              <a:miter/>
            </a:ln>
          </p:spPr>
          <p:txBody>
            <a:bodyPr rtlCol="0" anchor="ctr"/>
            <a:lstStyle/>
            <a:p>
              <a:endParaRPr lang="zh-CN" altLang="en-US"/>
            </a:p>
          </p:txBody>
        </p:sp>
        <p:sp>
          <p:nvSpPr>
            <p:cNvPr id="10117" name="任意多边形: 形状 10116"/>
            <p:cNvSpPr/>
            <p:nvPr/>
          </p:nvSpPr>
          <p:spPr>
            <a:xfrm>
              <a:off x="2490518" y="3366008"/>
              <a:ext cx="667706" cy="743296"/>
            </a:xfrm>
            <a:custGeom>
              <a:avLst/>
              <a:gdLst>
                <a:gd name="connsiteX0" fmla="*/ 528734 w 667706"/>
                <a:gd name="connsiteY0" fmla="*/ 51653 h 743295"/>
                <a:gd name="connsiteX1" fmla="*/ 465743 w 667706"/>
                <a:gd name="connsiteY1" fmla="*/ 0 h 743295"/>
                <a:gd name="connsiteX2" fmla="*/ 43702 w 667706"/>
                <a:gd name="connsiteY2" fmla="*/ 0 h 743295"/>
                <a:gd name="connsiteX3" fmla="*/ 43702 w 667706"/>
                <a:gd name="connsiteY3" fmla="*/ 0 h 743295"/>
                <a:gd name="connsiteX4" fmla="*/ 22285 w 667706"/>
                <a:gd name="connsiteY4" fmla="*/ 5039 h 743295"/>
                <a:gd name="connsiteX5" fmla="*/ 868 w 667706"/>
                <a:gd name="connsiteY5" fmla="*/ 51653 h 743295"/>
                <a:gd name="connsiteX6" fmla="*/ 130630 w 667706"/>
                <a:gd name="connsiteY6" fmla="*/ 720619 h 743295"/>
                <a:gd name="connsiteX7" fmla="*/ 130630 w 667706"/>
                <a:gd name="connsiteY7" fmla="*/ 720619 h 743295"/>
                <a:gd name="connsiteX8" fmla="*/ 172204 w 667706"/>
                <a:gd name="connsiteY8" fmla="*/ 754634 h 743295"/>
                <a:gd name="connsiteX9" fmla="*/ 173464 w 667706"/>
                <a:gd name="connsiteY9" fmla="*/ 754634 h 743295"/>
                <a:gd name="connsiteX10" fmla="*/ 673614 w 667706"/>
                <a:gd name="connsiteY10" fmla="*/ 754634 h 743295"/>
                <a:gd name="connsiteX11" fmla="*/ 528734 w 667706"/>
                <a:gd name="connsiteY11" fmla="*/ 51653 h 74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7706" h="743295">
                  <a:moveTo>
                    <a:pt x="528734" y="51653"/>
                  </a:moveTo>
                  <a:cubicBezTo>
                    <a:pt x="522435" y="21417"/>
                    <a:pt x="495979" y="0"/>
                    <a:pt x="465743" y="0"/>
                  </a:cubicBezTo>
                  <a:lnTo>
                    <a:pt x="43702" y="0"/>
                  </a:lnTo>
                  <a:lnTo>
                    <a:pt x="43702" y="0"/>
                  </a:lnTo>
                  <a:cubicBezTo>
                    <a:pt x="37403" y="0"/>
                    <a:pt x="29844" y="1260"/>
                    <a:pt x="22285" y="5039"/>
                  </a:cubicBezTo>
                  <a:cubicBezTo>
                    <a:pt x="5907" y="13858"/>
                    <a:pt x="-2911" y="32755"/>
                    <a:pt x="868" y="51653"/>
                  </a:cubicBezTo>
                  <a:lnTo>
                    <a:pt x="130630" y="720619"/>
                  </a:lnTo>
                  <a:lnTo>
                    <a:pt x="130630" y="720619"/>
                  </a:lnTo>
                  <a:cubicBezTo>
                    <a:pt x="134409" y="740776"/>
                    <a:pt x="152047" y="754634"/>
                    <a:pt x="172204" y="754634"/>
                  </a:cubicBezTo>
                  <a:lnTo>
                    <a:pt x="173464" y="754634"/>
                  </a:lnTo>
                  <a:lnTo>
                    <a:pt x="673614" y="754634"/>
                  </a:lnTo>
                  <a:lnTo>
                    <a:pt x="528734" y="51653"/>
                  </a:lnTo>
                  <a:close/>
                </a:path>
              </a:pathLst>
            </a:custGeom>
            <a:solidFill>
              <a:srgbClr val="F3B04B"/>
            </a:solidFill>
            <a:ln w="12584" cap="flat">
              <a:noFill/>
              <a:prstDash val="solid"/>
              <a:miter/>
            </a:ln>
          </p:spPr>
          <p:txBody>
            <a:bodyPr rtlCol="0" anchor="ctr"/>
            <a:lstStyle/>
            <a:p>
              <a:endParaRPr lang="zh-CN" altLang="en-US"/>
            </a:p>
          </p:txBody>
        </p:sp>
        <p:sp>
          <p:nvSpPr>
            <p:cNvPr id="10118" name="任意多边形: 形状 10117"/>
            <p:cNvSpPr/>
            <p:nvPr/>
          </p:nvSpPr>
          <p:spPr>
            <a:xfrm>
              <a:off x="2490807" y="3366300"/>
              <a:ext cx="995260" cy="743296"/>
            </a:xfrm>
            <a:custGeom>
              <a:avLst/>
              <a:gdLst>
                <a:gd name="connsiteX0" fmla="*/ 34594 w 995260"/>
                <a:gd name="connsiteY0" fmla="*/ 968 h 743295"/>
                <a:gd name="connsiteX1" fmla="*/ 83727 w 995260"/>
                <a:gd name="connsiteY1" fmla="*/ 34984 h 743295"/>
                <a:gd name="connsiteX2" fmla="*/ 207190 w 995260"/>
                <a:gd name="connsiteY2" fmla="*/ 669935 h 743295"/>
                <a:gd name="connsiteX3" fmla="*/ 363408 w 995260"/>
                <a:gd name="connsiteY3" fmla="*/ 669935 h 743295"/>
                <a:gd name="connsiteX4" fmla="*/ 517106 w 995260"/>
                <a:gd name="connsiteY4" fmla="*/ 669935 h 743295"/>
                <a:gd name="connsiteX5" fmla="*/ 953005 w 995260"/>
                <a:gd name="connsiteY5" fmla="*/ 669935 h 743295"/>
                <a:gd name="connsiteX6" fmla="*/ 995839 w 995260"/>
                <a:gd name="connsiteY6" fmla="*/ 712769 h 743295"/>
                <a:gd name="connsiteX7" fmla="*/ 953005 w 995260"/>
                <a:gd name="connsiteY7" fmla="*/ 755602 h 743295"/>
                <a:gd name="connsiteX8" fmla="*/ 517106 w 995260"/>
                <a:gd name="connsiteY8" fmla="*/ 755602 h 743295"/>
                <a:gd name="connsiteX9" fmla="*/ 417580 w 995260"/>
                <a:gd name="connsiteY9" fmla="*/ 755602 h 743295"/>
                <a:gd name="connsiteX10" fmla="*/ 173175 w 995260"/>
                <a:gd name="connsiteY10" fmla="*/ 755602 h 743295"/>
                <a:gd name="connsiteX11" fmla="*/ 171915 w 995260"/>
                <a:gd name="connsiteY11" fmla="*/ 755602 h 743295"/>
                <a:gd name="connsiteX12" fmla="*/ 130341 w 995260"/>
                <a:gd name="connsiteY12" fmla="*/ 721587 h 743295"/>
                <a:gd name="connsiteX13" fmla="*/ 579 w 995260"/>
                <a:gd name="connsiteY13" fmla="*/ 52621 h 743295"/>
                <a:gd name="connsiteX14" fmla="*/ 34594 w 995260"/>
                <a:gd name="connsiteY14" fmla="*/ 968 h 74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5260" h="743295">
                  <a:moveTo>
                    <a:pt x="34594" y="968"/>
                  </a:moveTo>
                  <a:cubicBezTo>
                    <a:pt x="57271" y="-4071"/>
                    <a:pt x="79948" y="11047"/>
                    <a:pt x="83727" y="34984"/>
                  </a:cubicBezTo>
                  <a:lnTo>
                    <a:pt x="207190" y="669935"/>
                  </a:lnTo>
                  <a:lnTo>
                    <a:pt x="363408" y="669935"/>
                  </a:lnTo>
                  <a:lnTo>
                    <a:pt x="517106" y="669935"/>
                  </a:lnTo>
                  <a:lnTo>
                    <a:pt x="953005" y="669935"/>
                  </a:lnTo>
                  <a:cubicBezTo>
                    <a:pt x="976942" y="669935"/>
                    <a:pt x="995839" y="688832"/>
                    <a:pt x="995839" y="712769"/>
                  </a:cubicBezTo>
                  <a:cubicBezTo>
                    <a:pt x="995839" y="736705"/>
                    <a:pt x="976942" y="755602"/>
                    <a:pt x="953005" y="755602"/>
                  </a:cubicBezTo>
                  <a:lnTo>
                    <a:pt x="517106" y="755602"/>
                  </a:lnTo>
                  <a:lnTo>
                    <a:pt x="417580" y="755602"/>
                  </a:lnTo>
                  <a:lnTo>
                    <a:pt x="173175" y="755602"/>
                  </a:lnTo>
                  <a:cubicBezTo>
                    <a:pt x="173175" y="755602"/>
                    <a:pt x="173175" y="755602"/>
                    <a:pt x="171915" y="755602"/>
                  </a:cubicBezTo>
                  <a:cubicBezTo>
                    <a:pt x="151758" y="755602"/>
                    <a:pt x="134120" y="741744"/>
                    <a:pt x="130341" y="721587"/>
                  </a:cubicBezTo>
                  <a:lnTo>
                    <a:pt x="579" y="52621"/>
                  </a:lnTo>
                  <a:cubicBezTo>
                    <a:pt x="-3201" y="27424"/>
                    <a:pt x="11917" y="4748"/>
                    <a:pt x="34594" y="968"/>
                  </a:cubicBezTo>
                  <a:close/>
                </a:path>
              </a:pathLst>
            </a:custGeom>
            <a:solidFill>
              <a:srgbClr val="FFD671"/>
            </a:solidFill>
            <a:ln w="12584" cap="flat">
              <a:noFill/>
              <a:prstDash val="solid"/>
              <a:miter/>
            </a:ln>
          </p:spPr>
          <p:txBody>
            <a:bodyPr rtlCol="0" anchor="ctr"/>
            <a:lstStyle/>
            <a:p>
              <a:endParaRPr lang="zh-CN" altLang="en-US"/>
            </a:p>
          </p:txBody>
        </p:sp>
        <p:sp>
          <p:nvSpPr>
            <p:cNvPr id="10119" name="任意多边形: 形状 10118"/>
            <p:cNvSpPr/>
            <p:nvPr/>
          </p:nvSpPr>
          <p:spPr>
            <a:xfrm>
              <a:off x="2764511" y="4120642"/>
              <a:ext cx="491331" cy="604715"/>
            </a:xfrm>
            <a:custGeom>
              <a:avLst/>
              <a:gdLst>
                <a:gd name="connsiteX0" fmla="*/ 33012 w 491331"/>
                <a:gd name="connsiteY0" fmla="*/ 544244 h 604715"/>
                <a:gd name="connsiteX1" fmla="*/ 36792 w 491331"/>
                <a:gd name="connsiteY1" fmla="*/ 544244 h 604715"/>
                <a:gd name="connsiteX2" fmla="*/ 33012 w 491331"/>
                <a:gd name="connsiteY2" fmla="*/ 531646 h 604715"/>
                <a:gd name="connsiteX3" fmla="*/ 33012 w 491331"/>
                <a:gd name="connsiteY3" fmla="*/ 524087 h 604715"/>
                <a:gd name="connsiteX4" fmla="*/ 54429 w 491331"/>
                <a:gd name="connsiteY4" fmla="*/ 502669 h 604715"/>
                <a:gd name="connsiteX5" fmla="*/ 194270 w 491331"/>
                <a:gd name="connsiteY5" fmla="*/ 502669 h 604715"/>
                <a:gd name="connsiteX6" fmla="*/ 194270 w 491331"/>
                <a:gd name="connsiteY6" fmla="*/ 306137 h 604715"/>
                <a:gd name="connsiteX7" fmla="*/ 214427 w 491331"/>
                <a:gd name="connsiteY7" fmla="*/ 273382 h 604715"/>
                <a:gd name="connsiteX8" fmla="*/ 214427 w 491331"/>
                <a:gd name="connsiteY8" fmla="*/ 134801 h 604715"/>
                <a:gd name="connsiteX9" fmla="*/ 214427 w 491331"/>
                <a:gd name="connsiteY9" fmla="*/ 73070 h 604715"/>
                <a:gd name="connsiteX10" fmla="*/ 64508 w 491331"/>
                <a:gd name="connsiteY10" fmla="*/ 73070 h 604715"/>
                <a:gd name="connsiteX11" fmla="*/ 6556 w 491331"/>
                <a:gd name="connsiteY11" fmla="*/ 15118 h 604715"/>
                <a:gd name="connsiteX12" fmla="*/ 6556 w 491331"/>
                <a:gd name="connsiteY12" fmla="*/ 0 h 604715"/>
                <a:gd name="connsiteX13" fmla="*/ 484029 w 491331"/>
                <a:gd name="connsiteY13" fmla="*/ 0 h 604715"/>
                <a:gd name="connsiteX14" fmla="*/ 484029 w 491331"/>
                <a:gd name="connsiteY14" fmla="*/ 15118 h 604715"/>
                <a:gd name="connsiteX15" fmla="*/ 426077 w 491331"/>
                <a:gd name="connsiteY15" fmla="*/ 73070 h 604715"/>
                <a:gd name="connsiteX16" fmla="*/ 276158 w 491331"/>
                <a:gd name="connsiteY16" fmla="*/ 73070 h 604715"/>
                <a:gd name="connsiteX17" fmla="*/ 276158 w 491331"/>
                <a:gd name="connsiteY17" fmla="*/ 273382 h 604715"/>
                <a:gd name="connsiteX18" fmla="*/ 296316 w 491331"/>
                <a:gd name="connsiteY18" fmla="*/ 306137 h 604715"/>
                <a:gd name="connsiteX19" fmla="*/ 296316 w 491331"/>
                <a:gd name="connsiteY19" fmla="*/ 502669 h 604715"/>
                <a:gd name="connsiteX20" fmla="*/ 436156 w 491331"/>
                <a:gd name="connsiteY20" fmla="*/ 502669 h 604715"/>
                <a:gd name="connsiteX21" fmla="*/ 457573 w 491331"/>
                <a:gd name="connsiteY21" fmla="*/ 524087 h 604715"/>
                <a:gd name="connsiteX22" fmla="*/ 457573 w 491331"/>
                <a:gd name="connsiteY22" fmla="*/ 531646 h 604715"/>
                <a:gd name="connsiteX23" fmla="*/ 453793 w 491331"/>
                <a:gd name="connsiteY23" fmla="*/ 544244 h 604715"/>
                <a:gd name="connsiteX24" fmla="*/ 457573 w 491331"/>
                <a:gd name="connsiteY24" fmla="*/ 544244 h 604715"/>
                <a:gd name="connsiteX25" fmla="*/ 492848 w 491331"/>
                <a:gd name="connsiteY25" fmla="*/ 579519 h 604715"/>
                <a:gd name="connsiteX26" fmla="*/ 457573 w 491331"/>
                <a:gd name="connsiteY26" fmla="*/ 614794 h 604715"/>
                <a:gd name="connsiteX27" fmla="*/ 422298 w 491331"/>
                <a:gd name="connsiteY27" fmla="*/ 579519 h 604715"/>
                <a:gd name="connsiteX28" fmla="*/ 433636 w 491331"/>
                <a:gd name="connsiteY28" fmla="*/ 553062 h 604715"/>
                <a:gd name="connsiteX29" fmla="*/ 342929 w 491331"/>
                <a:gd name="connsiteY29" fmla="*/ 553062 h 604715"/>
                <a:gd name="connsiteX30" fmla="*/ 354267 w 491331"/>
                <a:gd name="connsiteY30" fmla="*/ 579519 h 604715"/>
                <a:gd name="connsiteX31" fmla="*/ 318992 w 491331"/>
                <a:gd name="connsiteY31" fmla="*/ 614794 h 604715"/>
                <a:gd name="connsiteX32" fmla="*/ 283717 w 491331"/>
                <a:gd name="connsiteY32" fmla="*/ 579519 h 604715"/>
                <a:gd name="connsiteX33" fmla="*/ 295056 w 491331"/>
                <a:gd name="connsiteY33" fmla="*/ 553062 h 604715"/>
                <a:gd name="connsiteX34" fmla="*/ 198049 w 491331"/>
                <a:gd name="connsiteY34" fmla="*/ 553062 h 604715"/>
                <a:gd name="connsiteX35" fmla="*/ 209388 w 491331"/>
                <a:gd name="connsiteY35" fmla="*/ 579519 h 604715"/>
                <a:gd name="connsiteX36" fmla="*/ 174113 w 491331"/>
                <a:gd name="connsiteY36" fmla="*/ 614794 h 604715"/>
                <a:gd name="connsiteX37" fmla="*/ 138838 w 491331"/>
                <a:gd name="connsiteY37" fmla="*/ 579519 h 604715"/>
                <a:gd name="connsiteX38" fmla="*/ 150176 w 491331"/>
                <a:gd name="connsiteY38" fmla="*/ 553062 h 604715"/>
                <a:gd name="connsiteX39" fmla="*/ 59469 w 491331"/>
                <a:gd name="connsiteY39" fmla="*/ 553062 h 604715"/>
                <a:gd name="connsiteX40" fmla="*/ 70807 w 491331"/>
                <a:gd name="connsiteY40" fmla="*/ 579519 h 604715"/>
                <a:gd name="connsiteX41" fmla="*/ 35532 w 491331"/>
                <a:gd name="connsiteY41" fmla="*/ 614794 h 604715"/>
                <a:gd name="connsiteX42" fmla="*/ 257 w 491331"/>
                <a:gd name="connsiteY42" fmla="*/ 579519 h 604715"/>
                <a:gd name="connsiteX43" fmla="*/ 33012 w 491331"/>
                <a:gd name="connsiteY43" fmla="*/ 544244 h 604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91331" h="604715">
                  <a:moveTo>
                    <a:pt x="33012" y="544244"/>
                  </a:moveTo>
                  <a:cubicBezTo>
                    <a:pt x="34272" y="544244"/>
                    <a:pt x="35532" y="544244"/>
                    <a:pt x="36792" y="544244"/>
                  </a:cubicBezTo>
                  <a:cubicBezTo>
                    <a:pt x="34272" y="540464"/>
                    <a:pt x="33012" y="536685"/>
                    <a:pt x="33012" y="531646"/>
                  </a:cubicBezTo>
                  <a:lnTo>
                    <a:pt x="33012" y="524087"/>
                  </a:lnTo>
                  <a:cubicBezTo>
                    <a:pt x="33012" y="511488"/>
                    <a:pt x="43091" y="502669"/>
                    <a:pt x="54429" y="502669"/>
                  </a:cubicBezTo>
                  <a:lnTo>
                    <a:pt x="194270" y="502669"/>
                  </a:lnTo>
                  <a:lnTo>
                    <a:pt x="194270" y="306137"/>
                  </a:lnTo>
                  <a:cubicBezTo>
                    <a:pt x="194270" y="292279"/>
                    <a:pt x="203088" y="279681"/>
                    <a:pt x="214427" y="273382"/>
                  </a:cubicBezTo>
                  <a:lnTo>
                    <a:pt x="214427" y="134801"/>
                  </a:lnTo>
                  <a:lnTo>
                    <a:pt x="214427" y="73070"/>
                  </a:lnTo>
                  <a:lnTo>
                    <a:pt x="64508" y="73070"/>
                  </a:lnTo>
                  <a:cubicBezTo>
                    <a:pt x="31753" y="73070"/>
                    <a:pt x="6556" y="46614"/>
                    <a:pt x="6556" y="15118"/>
                  </a:cubicBezTo>
                  <a:lnTo>
                    <a:pt x="6556" y="0"/>
                  </a:lnTo>
                  <a:lnTo>
                    <a:pt x="484029" y="0"/>
                  </a:lnTo>
                  <a:lnTo>
                    <a:pt x="484029" y="15118"/>
                  </a:lnTo>
                  <a:cubicBezTo>
                    <a:pt x="484029" y="47874"/>
                    <a:pt x="457573" y="73070"/>
                    <a:pt x="426077" y="73070"/>
                  </a:cubicBezTo>
                  <a:lnTo>
                    <a:pt x="276158" y="73070"/>
                  </a:lnTo>
                  <a:lnTo>
                    <a:pt x="276158" y="273382"/>
                  </a:lnTo>
                  <a:cubicBezTo>
                    <a:pt x="287497" y="279681"/>
                    <a:pt x="296316" y="291019"/>
                    <a:pt x="296316" y="306137"/>
                  </a:cubicBezTo>
                  <a:lnTo>
                    <a:pt x="296316" y="502669"/>
                  </a:lnTo>
                  <a:lnTo>
                    <a:pt x="436156" y="502669"/>
                  </a:lnTo>
                  <a:cubicBezTo>
                    <a:pt x="448754" y="502669"/>
                    <a:pt x="457573" y="512748"/>
                    <a:pt x="457573" y="524087"/>
                  </a:cubicBezTo>
                  <a:lnTo>
                    <a:pt x="457573" y="531646"/>
                  </a:lnTo>
                  <a:cubicBezTo>
                    <a:pt x="457573" y="536685"/>
                    <a:pt x="456313" y="540464"/>
                    <a:pt x="453793" y="544244"/>
                  </a:cubicBezTo>
                  <a:cubicBezTo>
                    <a:pt x="455053" y="544244"/>
                    <a:pt x="456313" y="544244"/>
                    <a:pt x="457573" y="544244"/>
                  </a:cubicBezTo>
                  <a:cubicBezTo>
                    <a:pt x="477730" y="544244"/>
                    <a:pt x="492848" y="560621"/>
                    <a:pt x="492848" y="579519"/>
                  </a:cubicBezTo>
                  <a:cubicBezTo>
                    <a:pt x="492848" y="599676"/>
                    <a:pt x="476470" y="614794"/>
                    <a:pt x="457573" y="614794"/>
                  </a:cubicBezTo>
                  <a:cubicBezTo>
                    <a:pt x="437416" y="614794"/>
                    <a:pt x="422298" y="598416"/>
                    <a:pt x="422298" y="579519"/>
                  </a:cubicBezTo>
                  <a:cubicBezTo>
                    <a:pt x="422298" y="569440"/>
                    <a:pt x="427337" y="559361"/>
                    <a:pt x="433636" y="553062"/>
                  </a:cubicBezTo>
                  <a:lnTo>
                    <a:pt x="342929" y="553062"/>
                  </a:lnTo>
                  <a:cubicBezTo>
                    <a:pt x="350488" y="559361"/>
                    <a:pt x="354267" y="569440"/>
                    <a:pt x="354267" y="579519"/>
                  </a:cubicBezTo>
                  <a:cubicBezTo>
                    <a:pt x="354267" y="599676"/>
                    <a:pt x="337890" y="614794"/>
                    <a:pt x="318992" y="614794"/>
                  </a:cubicBezTo>
                  <a:cubicBezTo>
                    <a:pt x="298835" y="614794"/>
                    <a:pt x="283717" y="598416"/>
                    <a:pt x="283717" y="579519"/>
                  </a:cubicBezTo>
                  <a:cubicBezTo>
                    <a:pt x="283717" y="569440"/>
                    <a:pt x="288756" y="559361"/>
                    <a:pt x="295056" y="553062"/>
                  </a:cubicBezTo>
                  <a:lnTo>
                    <a:pt x="198049" y="553062"/>
                  </a:lnTo>
                  <a:cubicBezTo>
                    <a:pt x="205608" y="559361"/>
                    <a:pt x="209388" y="569440"/>
                    <a:pt x="209388" y="579519"/>
                  </a:cubicBezTo>
                  <a:cubicBezTo>
                    <a:pt x="209388" y="599676"/>
                    <a:pt x="193010" y="614794"/>
                    <a:pt x="174113" y="614794"/>
                  </a:cubicBezTo>
                  <a:cubicBezTo>
                    <a:pt x="153955" y="614794"/>
                    <a:pt x="138838" y="598416"/>
                    <a:pt x="138838" y="579519"/>
                  </a:cubicBezTo>
                  <a:cubicBezTo>
                    <a:pt x="138838" y="569440"/>
                    <a:pt x="143877" y="559361"/>
                    <a:pt x="150176" y="553062"/>
                  </a:cubicBezTo>
                  <a:lnTo>
                    <a:pt x="59469" y="553062"/>
                  </a:lnTo>
                  <a:cubicBezTo>
                    <a:pt x="67028" y="559361"/>
                    <a:pt x="70807" y="569440"/>
                    <a:pt x="70807" y="579519"/>
                  </a:cubicBezTo>
                  <a:cubicBezTo>
                    <a:pt x="70807" y="599676"/>
                    <a:pt x="54429" y="614794"/>
                    <a:pt x="35532" y="614794"/>
                  </a:cubicBezTo>
                  <a:cubicBezTo>
                    <a:pt x="15375" y="614794"/>
                    <a:pt x="257" y="598416"/>
                    <a:pt x="257" y="579519"/>
                  </a:cubicBezTo>
                  <a:cubicBezTo>
                    <a:pt x="-2263" y="560621"/>
                    <a:pt x="14115" y="544244"/>
                    <a:pt x="33012" y="544244"/>
                  </a:cubicBezTo>
                  <a:close/>
                </a:path>
              </a:pathLst>
            </a:custGeom>
            <a:solidFill>
              <a:srgbClr val="001675"/>
            </a:solidFill>
            <a:ln w="12584" cap="flat">
              <a:noFill/>
              <a:prstDash val="solid"/>
              <a:miter/>
            </a:ln>
          </p:spPr>
          <p:txBody>
            <a:bodyPr rtlCol="0" anchor="ctr"/>
            <a:lstStyle/>
            <a:p>
              <a:endParaRPr lang="zh-CN" altLang="en-US"/>
            </a:p>
          </p:txBody>
        </p:sp>
        <p:sp>
          <p:nvSpPr>
            <p:cNvPr id="10120" name="任意多边形: 形状 10119"/>
            <p:cNvSpPr/>
            <p:nvPr/>
          </p:nvSpPr>
          <p:spPr>
            <a:xfrm>
              <a:off x="3349461" y="3871395"/>
              <a:ext cx="163777" cy="768492"/>
            </a:xfrm>
            <a:custGeom>
              <a:avLst/>
              <a:gdLst>
                <a:gd name="connsiteX0" fmla="*/ 127107 w 163777"/>
                <a:gd name="connsiteY0" fmla="*/ 767035 h 768492"/>
                <a:gd name="connsiteX1" fmla="*/ 164902 w 163777"/>
                <a:gd name="connsiteY1" fmla="*/ 82951 h 768492"/>
                <a:gd name="connsiteX2" fmla="*/ 83013 w 163777"/>
                <a:gd name="connsiteY2" fmla="*/ 2322 h 768492"/>
                <a:gd name="connsiteX3" fmla="*/ 2384 w 163777"/>
                <a:gd name="connsiteY3" fmla="*/ 84211 h 768492"/>
                <a:gd name="connsiteX4" fmla="*/ 14982 w 163777"/>
                <a:gd name="connsiteY4" fmla="*/ 770814 h 768492"/>
                <a:gd name="connsiteX5" fmla="*/ 127107 w 163777"/>
                <a:gd name="connsiteY5" fmla="*/ 767035 h 76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777" h="768492">
                  <a:moveTo>
                    <a:pt x="127107" y="767035"/>
                  </a:moveTo>
                  <a:lnTo>
                    <a:pt x="164902" y="82951"/>
                  </a:lnTo>
                  <a:cubicBezTo>
                    <a:pt x="164902" y="37597"/>
                    <a:pt x="127107" y="2322"/>
                    <a:pt x="83013" y="2322"/>
                  </a:cubicBezTo>
                  <a:cubicBezTo>
                    <a:pt x="37659" y="2322"/>
                    <a:pt x="-11474" y="-21614"/>
                    <a:pt x="2384" y="84211"/>
                  </a:cubicBezTo>
                  <a:lnTo>
                    <a:pt x="14982" y="770814"/>
                  </a:lnTo>
                  <a:lnTo>
                    <a:pt x="127107" y="767035"/>
                  </a:lnTo>
                  <a:close/>
                </a:path>
              </a:pathLst>
            </a:custGeom>
            <a:solidFill>
              <a:srgbClr val="557FF6"/>
            </a:solidFill>
            <a:ln w="12584" cap="flat">
              <a:noFill/>
              <a:prstDash val="solid"/>
              <a:miter/>
            </a:ln>
          </p:spPr>
          <p:txBody>
            <a:bodyPr rtlCol="0" anchor="ctr"/>
            <a:lstStyle/>
            <a:p>
              <a:endParaRPr lang="zh-CN" altLang="en-US"/>
            </a:p>
          </p:txBody>
        </p:sp>
        <p:sp>
          <p:nvSpPr>
            <p:cNvPr id="10121" name="任意多边形: 形状 10120"/>
            <p:cNvSpPr/>
            <p:nvPr/>
          </p:nvSpPr>
          <p:spPr>
            <a:xfrm>
              <a:off x="2806342" y="3872457"/>
              <a:ext cx="604715" cy="151179"/>
            </a:xfrm>
            <a:custGeom>
              <a:avLst/>
              <a:gdLst>
                <a:gd name="connsiteX0" fmla="*/ 531645 w 604715"/>
                <a:gd name="connsiteY0" fmla="*/ 0 h 151178"/>
                <a:gd name="connsiteX1" fmla="*/ 0 w 604715"/>
                <a:gd name="connsiteY1" fmla="*/ 0 h 151178"/>
                <a:gd name="connsiteX2" fmla="*/ 0 w 604715"/>
                <a:gd name="connsiteY2" fmla="*/ 69290 h 151178"/>
                <a:gd name="connsiteX3" fmla="*/ 93227 w 604715"/>
                <a:gd name="connsiteY3" fmla="*/ 162517 h 151178"/>
                <a:gd name="connsiteX4" fmla="*/ 531645 w 604715"/>
                <a:gd name="connsiteY4" fmla="*/ 162517 h 151178"/>
                <a:gd name="connsiteX5" fmla="*/ 613534 w 604715"/>
                <a:gd name="connsiteY5" fmla="*/ 80629 h 151178"/>
                <a:gd name="connsiteX6" fmla="*/ 613534 w 604715"/>
                <a:gd name="connsiteY6" fmla="*/ 80629 h 151178"/>
                <a:gd name="connsiteX7" fmla="*/ 531645 w 604715"/>
                <a:gd name="connsiteY7" fmla="*/ 0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715" h="151178">
                  <a:moveTo>
                    <a:pt x="531645" y="0"/>
                  </a:moveTo>
                  <a:lnTo>
                    <a:pt x="0" y="0"/>
                  </a:lnTo>
                  <a:lnTo>
                    <a:pt x="0" y="69290"/>
                  </a:lnTo>
                  <a:cubicBezTo>
                    <a:pt x="0" y="120943"/>
                    <a:pt x="41574" y="162517"/>
                    <a:pt x="93227" y="162517"/>
                  </a:cubicBezTo>
                  <a:lnTo>
                    <a:pt x="531645" y="162517"/>
                  </a:lnTo>
                  <a:cubicBezTo>
                    <a:pt x="576999" y="162517"/>
                    <a:pt x="613534" y="125983"/>
                    <a:pt x="613534" y="80629"/>
                  </a:cubicBezTo>
                  <a:lnTo>
                    <a:pt x="613534" y="80629"/>
                  </a:lnTo>
                  <a:cubicBezTo>
                    <a:pt x="612274" y="36535"/>
                    <a:pt x="575739" y="0"/>
                    <a:pt x="531645" y="0"/>
                  </a:cubicBezTo>
                  <a:close/>
                </a:path>
              </a:pathLst>
            </a:custGeom>
            <a:solidFill>
              <a:srgbClr val="779AF8"/>
            </a:solidFill>
            <a:ln w="12584" cap="flat">
              <a:noFill/>
              <a:prstDash val="solid"/>
              <a:miter/>
            </a:ln>
          </p:spPr>
          <p:txBody>
            <a:bodyPr rtlCol="0" anchor="ctr"/>
            <a:lstStyle/>
            <a:p>
              <a:endParaRPr lang="zh-CN" altLang="en-US"/>
            </a:p>
          </p:txBody>
        </p:sp>
        <p:sp>
          <p:nvSpPr>
            <p:cNvPr id="10122" name="任意多边形: 形状 10121"/>
            <p:cNvSpPr/>
            <p:nvPr/>
          </p:nvSpPr>
          <p:spPr>
            <a:xfrm>
              <a:off x="3084763" y="3872353"/>
              <a:ext cx="327554" cy="718099"/>
            </a:xfrm>
            <a:custGeom>
              <a:avLst/>
              <a:gdLst>
                <a:gd name="connsiteX0" fmla="*/ 273382 w 327554"/>
                <a:gd name="connsiteY0" fmla="*/ 2624 h 718099"/>
                <a:gd name="connsiteX1" fmla="*/ 175116 w 327554"/>
                <a:gd name="connsiteY1" fmla="*/ 61835 h 718099"/>
                <a:gd name="connsiteX2" fmla="*/ 0 w 327554"/>
                <a:gd name="connsiteY2" fmla="*/ 700566 h 718099"/>
                <a:gd name="connsiteX3" fmla="*/ 44094 w 327554"/>
                <a:gd name="connsiteY3" fmla="*/ 700566 h 718099"/>
                <a:gd name="connsiteX4" fmla="*/ 88188 w 327554"/>
                <a:gd name="connsiteY4" fmla="*/ 719463 h 718099"/>
                <a:gd name="connsiteX5" fmla="*/ 120943 w 327554"/>
                <a:gd name="connsiteY5" fmla="*/ 729542 h 718099"/>
                <a:gd name="connsiteX6" fmla="*/ 113384 w 327554"/>
                <a:gd name="connsiteY6" fmla="*/ 721983 h 718099"/>
                <a:gd name="connsiteX7" fmla="*/ 332593 w 327554"/>
                <a:gd name="connsiteY7" fmla="*/ 102150 h 718099"/>
                <a:gd name="connsiteX8" fmla="*/ 273382 w 327554"/>
                <a:gd name="connsiteY8" fmla="*/ 2624 h 718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7554" h="718099">
                  <a:moveTo>
                    <a:pt x="273382" y="2624"/>
                  </a:moveTo>
                  <a:cubicBezTo>
                    <a:pt x="229288" y="-8715"/>
                    <a:pt x="185194" y="17742"/>
                    <a:pt x="175116" y="61835"/>
                  </a:cubicBezTo>
                  <a:lnTo>
                    <a:pt x="0" y="700566"/>
                  </a:lnTo>
                  <a:cubicBezTo>
                    <a:pt x="12598" y="696786"/>
                    <a:pt x="27716" y="696786"/>
                    <a:pt x="44094" y="700566"/>
                  </a:cubicBezTo>
                  <a:cubicBezTo>
                    <a:pt x="60472" y="704345"/>
                    <a:pt x="74330" y="713164"/>
                    <a:pt x="88188" y="719463"/>
                  </a:cubicBezTo>
                  <a:cubicBezTo>
                    <a:pt x="98266" y="723243"/>
                    <a:pt x="109605" y="725762"/>
                    <a:pt x="120943" y="729542"/>
                  </a:cubicBezTo>
                  <a:lnTo>
                    <a:pt x="113384" y="721983"/>
                  </a:lnTo>
                  <a:lnTo>
                    <a:pt x="332593" y="102150"/>
                  </a:lnTo>
                  <a:cubicBezTo>
                    <a:pt x="342672" y="58056"/>
                    <a:pt x="316216" y="13962"/>
                    <a:pt x="273382" y="2624"/>
                  </a:cubicBezTo>
                  <a:close/>
                </a:path>
              </a:pathLst>
            </a:custGeom>
            <a:solidFill>
              <a:srgbClr val="779AF8"/>
            </a:solidFill>
            <a:ln w="12584" cap="flat">
              <a:noFill/>
              <a:prstDash val="solid"/>
              <a:miter/>
            </a:ln>
          </p:spPr>
          <p:txBody>
            <a:bodyPr rtlCol="0" anchor="ctr"/>
            <a:lstStyle/>
            <a:p>
              <a:endParaRPr lang="zh-CN" altLang="en-US"/>
            </a:p>
          </p:txBody>
        </p:sp>
        <p:sp>
          <p:nvSpPr>
            <p:cNvPr id="10123" name="任意多边形: 形状 10122"/>
            <p:cNvSpPr/>
            <p:nvPr/>
          </p:nvSpPr>
          <p:spPr>
            <a:xfrm>
              <a:off x="2900829" y="3795608"/>
              <a:ext cx="12598" cy="12598"/>
            </a:xfrm>
            <a:custGeom>
              <a:avLst/>
              <a:gdLst>
                <a:gd name="connsiteX0" fmla="*/ 0 w 0"/>
                <a:gd name="connsiteY0" fmla="*/ 1260 h 0"/>
                <a:gd name="connsiteX1" fmla="*/ 0 w 0"/>
                <a:gd name="connsiteY1" fmla="*/ 1260 h 0"/>
                <a:gd name="connsiteX2" fmla="*/ 0 w 0"/>
                <a:gd name="connsiteY2" fmla="*/ 0 h 0"/>
                <a:gd name="connsiteX3" fmla="*/ 0 w 0"/>
                <a:gd name="connsiteY3" fmla="*/ 1260 h 0"/>
                <a:gd name="connsiteX4" fmla="*/ 0 w 0"/>
                <a:gd name="connsiteY4" fmla="*/ 7559 h 0"/>
                <a:gd name="connsiteX5" fmla="*/ 0 w 0"/>
                <a:gd name="connsiteY5" fmla="*/ 6299 h 0"/>
                <a:gd name="connsiteX6" fmla="*/ 0 w 0"/>
                <a:gd name="connsiteY6"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1260"/>
                  </a:moveTo>
                  <a:lnTo>
                    <a:pt x="0" y="1260"/>
                  </a:lnTo>
                  <a:lnTo>
                    <a:pt x="0" y="0"/>
                  </a:lnTo>
                  <a:lnTo>
                    <a:pt x="0" y="1260"/>
                  </a:lnTo>
                  <a:cubicBezTo>
                    <a:pt x="0" y="3779"/>
                    <a:pt x="0" y="5039"/>
                    <a:pt x="0" y="7559"/>
                  </a:cubicBezTo>
                  <a:cubicBezTo>
                    <a:pt x="0" y="7559"/>
                    <a:pt x="0" y="6299"/>
                    <a:pt x="0" y="6299"/>
                  </a:cubicBezTo>
                  <a:cubicBezTo>
                    <a:pt x="0" y="3779"/>
                    <a:pt x="0" y="2520"/>
                    <a:pt x="0" y="1260"/>
                  </a:cubicBezTo>
                  <a:close/>
                </a:path>
              </a:pathLst>
            </a:custGeom>
            <a:solidFill>
              <a:srgbClr val="54F3F5"/>
            </a:solidFill>
            <a:ln w="12584" cap="flat">
              <a:noFill/>
              <a:prstDash val="solid"/>
              <a:miter/>
            </a:ln>
          </p:spPr>
          <p:txBody>
            <a:bodyPr rtlCol="0" anchor="ctr"/>
            <a:lstStyle/>
            <a:p>
              <a:endParaRPr lang="zh-CN" altLang="en-US"/>
            </a:p>
          </p:txBody>
        </p:sp>
        <p:sp>
          <p:nvSpPr>
            <p:cNvPr id="10124" name="任意多边形: 形状 10123"/>
            <p:cNvSpPr/>
            <p:nvPr/>
          </p:nvSpPr>
          <p:spPr>
            <a:xfrm>
              <a:off x="2854215" y="3866158"/>
              <a:ext cx="12598" cy="12598"/>
            </a:xfrm>
            <a:custGeom>
              <a:avLst/>
              <a:gdLst>
                <a:gd name="connsiteX0" fmla="*/ 2520 w 0"/>
                <a:gd name="connsiteY0" fmla="*/ 0 h 0"/>
                <a:gd name="connsiteX1" fmla="*/ 2520 w 0"/>
                <a:gd name="connsiteY1" fmla="*/ 0 h 0"/>
                <a:gd name="connsiteX2" fmla="*/ 2520 w 0"/>
                <a:gd name="connsiteY2" fmla="*/ 0 h 0"/>
                <a:gd name="connsiteX3" fmla="*/ 2520 w 0"/>
                <a:gd name="connsiteY3" fmla="*/ 0 h 0"/>
                <a:gd name="connsiteX4" fmla="*/ 0 w 0"/>
                <a:gd name="connsiteY4" fmla="*/ 1260 h 0"/>
                <a:gd name="connsiteX5" fmla="*/ 1260 w 0"/>
                <a:gd name="connsiteY5" fmla="*/ 1260 h 0"/>
                <a:gd name="connsiteX6" fmla="*/ 2520 w 0"/>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2520" y="0"/>
                  </a:moveTo>
                  <a:lnTo>
                    <a:pt x="2520" y="0"/>
                  </a:lnTo>
                  <a:lnTo>
                    <a:pt x="2520" y="0"/>
                  </a:lnTo>
                  <a:lnTo>
                    <a:pt x="2520" y="0"/>
                  </a:lnTo>
                  <a:cubicBezTo>
                    <a:pt x="1260" y="0"/>
                    <a:pt x="0" y="1260"/>
                    <a:pt x="0" y="1260"/>
                  </a:cubicBezTo>
                  <a:cubicBezTo>
                    <a:pt x="0" y="1260"/>
                    <a:pt x="1260" y="1260"/>
                    <a:pt x="1260" y="1260"/>
                  </a:cubicBezTo>
                  <a:cubicBezTo>
                    <a:pt x="1260" y="1260"/>
                    <a:pt x="1260" y="1260"/>
                    <a:pt x="2520" y="0"/>
                  </a:cubicBezTo>
                  <a:close/>
                </a:path>
              </a:pathLst>
            </a:custGeom>
            <a:solidFill>
              <a:srgbClr val="54F3F5"/>
            </a:solidFill>
            <a:ln w="12584" cap="flat">
              <a:noFill/>
              <a:prstDash val="solid"/>
              <a:miter/>
            </a:ln>
          </p:spPr>
          <p:txBody>
            <a:bodyPr rtlCol="0" anchor="ctr"/>
            <a:lstStyle/>
            <a:p>
              <a:endParaRPr lang="zh-CN" altLang="en-US"/>
            </a:p>
          </p:txBody>
        </p:sp>
        <p:sp>
          <p:nvSpPr>
            <p:cNvPr id="10125" name="任意多边形: 形状 10124"/>
            <p:cNvSpPr/>
            <p:nvPr/>
          </p:nvSpPr>
          <p:spPr>
            <a:xfrm>
              <a:off x="2876892" y="3854820"/>
              <a:ext cx="12598" cy="12598"/>
            </a:xfrm>
            <a:custGeom>
              <a:avLst/>
              <a:gdLst>
                <a:gd name="connsiteX0" fmla="*/ 0 w 0"/>
                <a:gd name="connsiteY0" fmla="*/ 1260 h 0"/>
                <a:gd name="connsiteX1" fmla="*/ 0 w 0"/>
                <a:gd name="connsiteY1" fmla="*/ 1260 h 0"/>
                <a:gd name="connsiteX2" fmla="*/ 1260 w 0"/>
                <a:gd name="connsiteY2" fmla="*/ 0 h 0"/>
                <a:gd name="connsiteX3" fmla="*/ 0 w 0"/>
                <a:gd name="connsiteY3" fmla="*/ 1260 h 0"/>
                <a:gd name="connsiteX4" fmla="*/ 0 w 0"/>
                <a:gd name="connsiteY4" fmla="*/ 1260 h 0"/>
                <a:gd name="connsiteX5" fmla="*/ 0 w 0"/>
                <a:gd name="connsiteY5" fmla="*/ 1260 h 0"/>
                <a:gd name="connsiteX6" fmla="*/ 0 w 0"/>
                <a:gd name="connsiteY6"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1260"/>
                  </a:moveTo>
                  <a:cubicBezTo>
                    <a:pt x="0" y="1260"/>
                    <a:pt x="0" y="0"/>
                    <a:pt x="0" y="1260"/>
                  </a:cubicBezTo>
                  <a:cubicBezTo>
                    <a:pt x="1260" y="0"/>
                    <a:pt x="1260" y="0"/>
                    <a:pt x="1260" y="0"/>
                  </a:cubicBezTo>
                  <a:cubicBezTo>
                    <a:pt x="1260" y="0"/>
                    <a:pt x="0" y="0"/>
                    <a:pt x="0" y="1260"/>
                  </a:cubicBezTo>
                  <a:lnTo>
                    <a:pt x="0" y="1260"/>
                  </a:lnTo>
                  <a:lnTo>
                    <a:pt x="0" y="1260"/>
                  </a:lnTo>
                  <a:lnTo>
                    <a:pt x="0" y="1260"/>
                  </a:lnTo>
                  <a:close/>
                </a:path>
              </a:pathLst>
            </a:custGeom>
            <a:solidFill>
              <a:srgbClr val="54F3F5"/>
            </a:solidFill>
            <a:ln w="12584" cap="flat">
              <a:noFill/>
              <a:prstDash val="solid"/>
              <a:miter/>
            </a:ln>
          </p:spPr>
          <p:txBody>
            <a:bodyPr rtlCol="0" anchor="ctr"/>
            <a:lstStyle/>
            <a:p>
              <a:endParaRPr lang="zh-CN" altLang="en-US"/>
            </a:p>
          </p:txBody>
        </p:sp>
        <p:sp>
          <p:nvSpPr>
            <p:cNvPr id="10126" name="任意多边形: 形状 10125"/>
            <p:cNvSpPr/>
            <p:nvPr/>
          </p:nvSpPr>
          <p:spPr>
            <a:xfrm>
              <a:off x="2856735" y="3862379"/>
              <a:ext cx="12598" cy="12598"/>
            </a:xfrm>
            <a:custGeom>
              <a:avLst/>
              <a:gdLst>
                <a:gd name="connsiteX0" fmla="*/ 6299 w 0"/>
                <a:gd name="connsiteY0" fmla="*/ 1260 h 0"/>
                <a:gd name="connsiteX1" fmla="*/ 6299 w 0"/>
                <a:gd name="connsiteY1" fmla="*/ 1260 h 0"/>
                <a:gd name="connsiteX2" fmla="*/ 7559 w 0"/>
                <a:gd name="connsiteY2" fmla="*/ 0 h 0"/>
                <a:gd name="connsiteX3" fmla="*/ 6299 w 0"/>
                <a:gd name="connsiteY3" fmla="*/ 1260 h 0"/>
                <a:gd name="connsiteX4" fmla="*/ 0 w 0"/>
                <a:gd name="connsiteY4" fmla="*/ 3780 h 0"/>
                <a:gd name="connsiteX5" fmla="*/ 1260 w 0"/>
                <a:gd name="connsiteY5" fmla="*/ 3780 h 0"/>
                <a:gd name="connsiteX6" fmla="*/ 6299 w 0"/>
                <a:gd name="connsiteY6"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6299" y="1260"/>
                  </a:moveTo>
                  <a:cubicBezTo>
                    <a:pt x="7559" y="1260"/>
                    <a:pt x="7559" y="1260"/>
                    <a:pt x="6299" y="1260"/>
                  </a:cubicBezTo>
                  <a:cubicBezTo>
                    <a:pt x="7559" y="1260"/>
                    <a:pt x="7559" y="0"/>
                    <a:pt x="7559" y="0"/>
                  </a:cubicBezTo>
                  <a:cubicBezTo>
                    <a:pt x="7559" y="1260"/>
                    <a:pt x="7559" y="1260"/>
                    <a:pt x="6299" y="1260"/>
                  </a:cubicBezTo>
                  <a:cubicBezTo>
                    <a:pt x="5039" y="1260"/>
                    <a:pt x="2520" y="2520"/>
                    <a:pt x="0" y="3780"/>
                  </a:cubicBezTo>
                  <a:cubicBezTo>
                    <a:pt x="0" y="3780"/>
                    <a:pt x="1260" y="3780"/>
                    <a:pt x="1260" y="3780"/>
                  </a:cubicBezTo>
                  <a:cubicBezTo>
                    <a:pt x="3779" y="2520"/>
                    <a:pt x="5039" y="2520"/>
                    <a:pt x="6299" y="1260"/>
                  </a:cubicBezTo>
                  <a:close/>
                </a:path>
              </a:pathLst>
            </a:custGeom>
            <a:solidFill>
              <a:srgbClr val="54F3F5"/>
            </a:solidFill>
            <a:ln w="12584" cap="flat">
              <a:noFill/>
              <a:prstDash val="solid"/>
              <a:miter/>
            </a:ln>
          </p:spPr>
          <p:txBody>
            <a:bodyPr rtlCol="0" anchor="ctr"/>
            <a:lstStyle/>
            <a:p>
              <a:endParaRPr lang="zh-CN" altLang="en-US"/>
            </a:p>
          </p:txBody>
        </p:sp>
        <p:sp>
          <p:nvSpPr>
            <p:cNvPr id="10127" name="任意多边形: 形状 10126"/>
            <p:cNvSpPr/>
            <p:nvPr/>
          </p:nvSpPr>
          <p:spPr>
            <a:xfrm>
              <a:off x="2898309" y="3764113"/>
              <a:ext cx="12598" cy="12598"/>
            </a:xfrm>
            <a:custGeom>
              <a:avLst/>
              <a:gdLst>
                <a:gd name="connsiteX0" fmla="*/ 1260 w 0"/>
                <a:gd name="connsiteY0" fmla="*/ 6299 h 0"/>
                <a:gd name="connsiteX1" fmla="*/ 0 w 0"/>
                <a:gd name="connsiteY1" fmla="*/ 0 h 0"/>
                <a:gd name="connsiteX2" fmla="*/ 1260 w 0"/>
                <a:gd name="connsiteY2" fmla="*/ 6299 h 0"/>
                <a:gd name="connsiteX3" fmla="*/ 1260 w 0"/>
                <a:gd name="connsiteY3" fmla="*/ 8819 h 0"/>
                <a:gd name="connsiteX4" fmla="*/ 1260 w 0"/>
                <a:gd name="connsiteY4" fmla="*/ 6299 h 0"/>
                <a:gd name="connsiteX5" fmla="*/ 1260 w 0"/>
                <a:gd name="connsiteY5" fmla="*/ 629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260" y="6299"/>
                  </a:moveTo>
                  <a:cubicBezTo>
                    <a:pt x="1260" y="3779"/>
                    <a:pt x="0" y="2520"/>
                    <a:pt x="0" y="0"/>
                  </a:cubicBezTo>
                  <a:cubicBezTo>
                    <a:pt x="0" y="2520"/>
                    <a:pt x="1260" y="3779"/>
                    <a:pt x="1260" y="6299"/>
                  </a:cubicBezTo>
                  <a:cubicBezTo>
                    <a:pt x="1260" y="7559"/>
                    <a:pt x="1260" y="7559"/>
                    <a:pt x="1260" y="8819"/>
                  </a:cubicBezTo>
                  <a:cubicBezTo>
                    <a:pt x="1260" y="7559"/>
                    <a:pt x="1260" y="7559"/>
                    <a:pt x="1260" y="6299"/>
                  </a:cubicBezTo>
                  <a:cubicBezTo>
                    <a:pt x="1260" y="6299"/>
                    <a:pt x="1260" y="6299"/>
                    <a:pt x="1260" y="6299"/>
                  </a:cubicBezTo>
                  <a:close/>
                </a:path>
              </a:pathLst>
            </a:custGeom>
            <a:solidFill>
              <a:srgbClr val="54F3F5"/>
            </a:solidFill>
            <a:ln w="12584" cap="flat">
              <a:noFill/>
              <a:prstDash val="solid"/>
              <a:miter/>
            </a:ln>
          </p:spPr>
          <p:txBody>
            <a:bodyPr rtlCol="0" anchor="ctr"/>
            <a:lstStyle/>
            <a:p>
              <a:endParaRPr lang="zh-CN" altLang="en-US"/>
            </a:p>
          </p:txBody>
        </p:sp>
        <p:sp>
          <p:nvSpPr>
            <p:cNvPr id="10128" name="任意多边形: 形状 10127"/>
            <p:cNvSpPr/>
            <p:nvPr/>
          </p:nvSpPr>
          <p:spPr>
            <a:xfrm>
              <a:off x="2808862" y="3851040"/>
              <a:ext cx="25196" cy="12598"/>
            </a:xfrm>
            <a:custGeom>
              <a:avLst/>
              <a:gdLst>
                <a:gd name="connsiteX0" fmla="*/ 8819 w 25196"/>
                <a:gd name="connsiteY0" fmla="*/ 15118 h 12598"/>
                <a:gd name="connsiteX1" fmla="*/ 13858 w 25196"/>
                <a:gd name="connsiteY1" fmla="*/ 16378 h 12598"/>
                <a:gd name="connsiteX2" fmla="*/ 17637 w 25196"/>
                <a:gd name="connsiteY2" fmla="*/ 16378 h 12598"/>
                <a:gd name="connsiteX3" fmla="*/ 17637 w 25196"/>
                <a:gd name="connsiteY3" fmla="*/ 16378 h 12598"/>
                <a:gd name="connsiteX4" fmla="*/ 25196 w 25196"/>
                <a:gd name="connsiteY4" fmla="*/ 17637 h 12598"/>
                <a:gd name="connsiteX5" fmla="*/ 20157 w 25196"/>
                <a:gd name="connsiteY5" fmla="*/ 16378 h 12598"/>
                <a:gd name="connsiteX6" fmla="*/ 15118 w 25196"/>
                <a:gd name="connsiteY6" fmla="*/ 13858 h 12598"/>
                <a:gd name="connsiteX7" fmla="*/ 10079 w 25196"/>
                <a:gd name="connsiteY7" fmla="*/ 11338 h 12598"/>
                <a:gd name="connsiteX8" fmla="*/ 10079 w 25196"/>
                <a:gd name="connsiteY8" fmla="*/ 11338 h 12598"/>
                <a:gd name="connsiteX9" fmla="*/ 7559 w 25196"/>
                <a:gd name="connsiteY9" fmla="*/ 8819 h 12598"/>
                <a:gd name="connsiteX10" fmla="*/ 1260 w 25196"/>
                <a:gd name="connsiteY10" fmla="*/ 2520 h 12598"/>
                <a:gd name="connsiteX11" fmla="*/ 0 w 25196"/>
                <a:gd name="connsiteY11" fmla="*/ 0 h 12598"/>
                <a:gd name="connsiteX12" fmla="*/ 0 w 25196"/>
                <a:gd name="connsiteY12" fmla="*/ 1260 h 12598"/>
                <a:gd name="connsiteX13" fmla="*/ 2520 w 25196"/>
                <a:gd name="connsiteY13" fmla="*/ 8819 h 12598"/>
                <a:gd name="connsiteX14" fmla="*/ 3780 w 25196"/>
                <a:gd name="connsiteY14" fmla="*/ 10079 h 12598"/>
                <a:gd name="connsiteX15" fmla="*/ 5039 w 25196"/>
                <a:gd name="connsiteY15" fmla="*/ 11338 h 12598"/>
                <a:gd name="connsiteX16" fmla="*/ 8819 w 25196"/>
                <a:gd name="connsiteY16" fmla="*/ 15118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196" h="12598">
                  <a:moveTo>
                    <a:pt x="8819" y="15118"/>
                  </a:moveTo>
                  <a:cubicBezTo>
                    <a:pt x="10079" y="16378"/>
                    <a:pt x="12598" y="16378"/>
                    <a:pt x="13858" y="16378"/>
                  </a:cubicBezTo>
                  <a:cubicBezTo>
                    <a:pt x="15118" y="16378"/>
                    <a:pt x="16378" y="16378"/>
                    <a:pt x="17637" y="16378"/>
                  </a:cubicBezTo>
                  <a:lnTo>
                    <a:pt x="17637" y="16378"/>
                  </a:lnTo>
                  <a:cubicBezTo>
                    <a:pt x="20157" y="16378"/>
                    <a:pt x="22677" y="16378"/>
                    <a:pt x="25196" y="17637"/>
                  </a:cubicBezTo>
                  <a:cubicBezTo>
                    <a:pt x="23937" y="17637"/>
                    <a:pt x="21417" y="16378"/>
                    <a:pt x="20157" y="16378"/>
                  </a:cubicBezTo>
                  <a:cubicBezTo>
                    <a:pt x="17637" y="15118"/>
                    <a:pt x="16378" y="15118"/>
                    <a:pt x="15118" y="13858"/>
                  </a:cubicBezTo>
                  <a:cubicBezTo>
                    <a:pt x="13858" y="12598"/>
                    <a:pt x="12598" y="12598"/>
                    <a:pt x="10079" y="11338"/>
                  </a:cubicBezTo>
                  <a:lnTo>
                    <a:pt x="10079" y="11338"/>
                  </a:lnTo>
                  <a:cubicBezTo>
                    <a:pt x="8819" y="10079"/>
                    <a:pt x="7559" y="10079"/>
                    <a:pt x="7559" y="8819"/>
                  </a:cubicBezTo>
                  <a:cubicBezTo>
                    <a:pt x="6299" y="7559"/>
                    <a:pt x="3780" y="5039"/>
                    <a:pt x="1260" y="2520"/>
                  </a:cubicBezTo>
                  <a:cubicBezTo>
                    <a:pt x="0" y="1260"/>
                    <a:pt x="0" y="1260"/>
                    <a:pt x="0" y="0"/>
                  </a:cubicBezTo>
                  <a:cubicBezTo>
                    <a:pt x="0" y="0"/>
                    <a:pt x="0" y="1260"/>
                    <a:pt x="0" y="1260"/>
                  </a:cubicBezTo>
                  <a:cubicBezTo>
                    <a:pt x="1260" y="3780"/>
                    <a:pt x="2520" y="6299"/>
                    <a:pt x="2520" y="8819"/>
                  </a:cubicBezTo>
                  <a:cubicBezTo>
                    <a:pt x="2520" y="8819"/>
                    <a:pt x="2520" y="10079"/>
                    <a:pt x="3780" y="10079"/>
                  </a:cubicBezTo>
                  <a:cubicBezTo>
                    <a:pt x="3780" y="10079"/>
                    <a:pt x="3780" y="11338"/>
                    <a:pt x="5039" y="11338"/>
                  </a:cubicBezTo>
                  <a:cubicBezTo>
                    <a:pt x="6299" y="12598"/>
                    <a:pt x="7559" y="13858"/>
                    <a:pt x="8819" y="15118"/>
                  </a:cubicBezTo>
                  <a:close/>
                </a:path>
              </a:pathLst>
            </a:custGeom>
            <a:solidFill>
              <a:srgbClr val="54F3F5"/>
            </a:solidFill>
            <a:ln w="12584" cap="flat">
              <a:noFill/>
              <a:prstDash val="solid"/>
              <a:miter/>
            </a:ln>
          </p:spPr>
          <p:txBody>
            <a:bodyPr rtlCol="0" anchor="ctr"/>
            <a:lstStyle/>
            <a:p>
              <a:endParaRPr lang="zh-CN" altLang="en-US"/>
            </a:p>
          </p:txBody>
        </p:sp>
        <p:sp>
          <p:nvSpPr>
            <p:cNvPr id="10129" name="任意多边形: 形状 10128"/>
            <p:cNvSpPr/>
            <p:nvPr/>
          </p:nvSpPr>
          <p:spPr>
            <a:xfrm>
              <a:off x="2845711" y="3869938"/>
              <a:ext cx="12598" cy="12598"/>
            </a:xfrm>
            <a:custGeom>
              <a:avLst/>
              <a:gdLst>
                <a:gd name="connsiteX0" fmla="*/ 945 w 0"/>
                <a:gd name="connsiteY0" fmla="*/ 0 h 0"/>
                <a:gd name="connsiteX1" fmla="*/ 945 w 0"/>
                <a:gd name="connsiteY1" fmla="*/ 0 h 0"/>
                <a:gd name="connsiteX2" fmla="*/ 945 w 0"/>
                <a:gd name="connsiteY2" fmla="*/ 0 h 0"/>
                <a:gd name="connsiteX3" fmla="*/ 945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45" y="0"/>
                  </a:moveTo>
                  <a:cubicBezTo>
                    <a:pt x="-315" y="0"/>
                    <a:pt x="-315" y="0"/>
                    <a:pt x="945" y="0"/>
                  </a:cubicBezTo>
                  <a:cubicBezTo>
                    <a:pt x="-315" y="0"/>
                    <a:pt x="-315" y="0"/>
                    <a:pt x="945" y="0"/>
                  </a:cubicBezTo>
                  <a:cubicBezTo>
                    <a:pt x="-315" y="0"/>
                    <a:pt x="-315" y="0"/>
                    <a:pt x="945" y="0"/>
                  </a:cubicBezTo>
                  <a:close/>
                </a:path>
              </a:pathLst>
            </a:custGeom>
            <a:solidFill>
              <a:srgbClr val="54F3F5"/>
            </a:solidFill>
            <a:ln w="12584" cap="flat">
              <a:noFill/>
              <a:prstDash val="solid"/>
              <a:miter/>
            </a:ln>
          </p:spPr>
          <p:txBody>
            <a:bodyPr rtlCol="0" anchor="ctr"/>
            <a:lstStyle/>
            <a:p>
              <a:endParaRPr lang="zh-CN" altLang="en-US"/>
            </a:p>
          </p:txBody>
        </p:sp>
        <p:sp>
          <p:nvSpPr>
            <p:cNvPr id="10130" name="任意多边形: 形状 10129"/>
            <p:cNvSpPr/>
            <p:nvPr/>
          </p:nvSpPr>
          <p:spPr>
            <a:xfrm>
              <a:off x="2900829" y="3786789"/>
              <a:ext cx="12598" cy="12598"/>
            </a:xfrm>
            <a:custGeom>
              <a:avLst/>
              <a:gdLst>
                <a:gd name="connsiteX0" fmla="*/ 0 w 0"/>
                <a:gd name="connsiteY0" fmla="*/ 0 h 0"/>
                <a:gd name="connsiteX1" fmla="*/ 0 w 0"/>
                <a:gd name="connsiteY1" fmla="*/ 0 h 0"/>
                <a:gd name="connsiteX2" fmla="*/ 0 w 0"/>
                <a:gd name="connsiteY2" fmla="*/ 0 h 0"/>
                <a:gd name="connsiteX3" fmla="*/ 0 w 0"/>
                <a:gd name="connsiteY3" fmla="*/ 1260 h 0"/>
                <a:gd name="connsiteX4" fmla="*/ 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0"/>
                  </a:moveTo>
                  <a:lnTo>
                    <a:pt x="0" y="0"/>
                  </a:lnTo>
                  <a:lnTo>
                    <a:pt x="0" y="0"/>
                  </a:lnTo>
                  <a:lnTo>
                    <a:pt x="0" y="1260"/>
                  </a:lnTo>
                  <a:lnTo>
                    <a:pt x="0" y="0"/>
                  </a:lnTo>
                  <a:close/>
                </a:path>
              </a:pathLst>
            </a:custGeom>
            <a:solidFill>
              <a:srgbClr val="54F3F5"/>
            </a:solidFill>
            <a:ln w="12584" cap="flat">
              <a:noFill/>
              <a:prstDash val="solid"/>
              <a:miter/>
            </a:ln>
          </p:spPr>
          <p:txBody>
            <a:bodyPr rtlCol="0" anchor="ctr"/>
            <a:lstStyle/>
            <a:p>
              <a:endParaRPr lang="zh-CN" altLang="en-US"/>
            </a:p>
          </p:txBody>
        </p:sp>
        <p:sp>
          <p:nvSpPr>
            <p:cNvPr id="10131" name="任意多边形: 形状 10130"/>
            <p:cNvSpPr/>
            <p:nvPr/>
          </p:nvSpPr>
          <p:spPr>
            <a:xfrm>
              <a:off x="2885711" y="3732617"/>
              <a:ext cx="12598" cy="12598"/>
            </a:xfrm>
            <a:custGeom>
              <a:avLst/>
              <a:gdLst>
                <a:gd name="connsiteX0" fmla="*/ 0 w 0"/>
                <a:gd name="connsiteY0" fmla="*/ 0 h 0"/>
                <a:gd name="connsiteX1" fmla="*/ 1260 w 0"/>
                <a:gd name="connsiteY1" fmla="*/ 3779 h 0"/>
                <a:gd name="connsiteX2" fmla="*/ 1260 w 0"/>
                <a:gd name="connsiteY2" fmla="*/ 3779 h 0"/>
                <a:gd name="connsiteX3" fmla="*/ 1260 w 0"/>
                <a:gd name="connsiteY3" fmla="*/ 3779 h 0"/>
                <a:gd name="connsiteX4" fmla="*/ 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0"/>
                  </a:moveTo>
                  <a:cubicBezTo>
                    <a:pt x="0" y="1260"/>
                    <a:pt x="1260" y="2520"/>
                    <a:pt x="1260" y="3779"/>
                  </a:cubicBezTo>
                  <a:lnTo>
                    <a:pt x="1260" y="3779"/>
                  </a:lnTo>
                  <a:lnTo>
                    <a:pt x="1260" y="3779"/>
                  </a:lnTo>
                  <a:cubicBezTo>
                    <a:pt x="1260" y="2520"/>
                    <a:pt x="0" y="1260"/>
                    <a:pt x="0" y="0"/>
                  </a:cubicBezTo>
                  <a:close/>
                </a:path>
              </a:pathLst>
            </a:custGeom>
            <a:solidFill>
              <a:srgbClr val="54F3F5"/>
            </a:solidFill>
            <a:ln w="12584" cap="flat">
              <a:noFill/>
              <a:prstDash val="solid"/>
              <a:miter/>
            </a:ln>
          </p:spPr>
          <p:txBody>
            <a:bodyPr rtlCol="0" anchor="ctr"/>
            <a:lstStyle/>
            <a:p>
              <a:endParaRPr lang="zh-CN" altLang="en-US"/>
            </a:p>
          </p:txBody>
        </p:sp>
        <p:sp>
          <p:nvSpPr>
            <p:cNvPr id="10132" name="任意多边形: 形状 10131"/>
            <p:cNvSpPr/>
            <p:nvPr/>
          </p:nvSpPr>
          <p:spPr>
            <a:xfrm>
              <a:off x="2783665" y="3420181"/>
              <a:ext cx="12598" cy="62991"/>
            </a:xfrm>
            <a:custGeom>
              <a:avLst/>
              <a:gdLst>
                <a:gd name="connsiteX0" fmla="*/ 1260 w 0"/>
                <a:gd name="connsiteY0" fmla="*/ 68030 h 62991"/>
                <a:gd name="connsiteX1" fmla="*/ 1260 w 0"/>
                <a:gd name="connsiteY1" fmla="*/ 68030 h 62991"/>
                <a:gd name="connsiteX2" fmla="*/ 1260 w 0"/>
                <a:gd name="connsiteY2" fmla="*/ 66771 h 62991"/>
                <a:gd name="connsiteX3" fmla="*/ 1260 w 0"/>
                <a:gd name="connsiteY3" fmla="*/ 65511 h 62991"/>
                <a:gd name="connsiteX4" fmla="*/ 1260 w 0"/>
                <a:gd name="connsiteY4" fmla="*/ 64251 h 62991"/>
                <a:gd name="connsiteX5" fmla="*/ 1260 w 0"/>
                <a:gd name="connsiteY5" fmla="*/ 60472 h 62991"/>
                <a:gd name="connsiteX6" fmla="*/ 1260 w 0"/>
                <a:gd name="connsiteY6" fmla="*/ 57952 h 62991"/>
                <a:gd name="connsiteX7" fmla="*/ 1260 w 0"/>
                <a:gd name="connsiteY7" fmla="*/ 55432 h 62991"/>
                <a:gd name="connsiteX8" fmla="*/ 1260 w 0"/>
                <a:gd name="connsiteY8" fmla="*/ 45354 h 62991"/>
                <a:gd name="connsiteX9" fmla="*/ 1260 w 0"/>
                <a:gd name="connsiteY9" fmla="*/ 42834 h 62991"/>
                <a:gd name="connsiteX10" fmla="*/ 0 w 0"/>
                <a:gd name="connsiteY10" fmla="*/ 32755 h 62991"/>
                <a:gd name="connsiteX11" fmla="*/ 0 w 0"/>
                <a:gd name="connsiteY11" fmla="*/ 30236 h 62991"/>
                <a:gd name="connsiteX12" fmla="*/ 0 w 0"/>
                <a:gd name="connsiteY12" fmla="*/ 27716 h 62991"/>
                <a:gd name="connsiteX13" fmla="*/ 0 w 0"/>
                <a:gd name="connsiteY13" fmla="*/ 25196 h 62991"/>
                <a:gd name="connsiteX14" fmla="*/ 0 w 0"/>
                <a:gd name="connsiteY14" fmla="*/ 21417 h 62991"/>
                <a:gd name="connsiteX15" fmla="*/ 0 w 0"/>
                <a:gd name="connsiteY15" fmla="*/ 13858 h 62991"/>
                <a:gd name="connsiteX16" fmla="*/ 0 w 0"/>
                <a:gd name="connsiteY16" fmla="*/ 10079 h 62991"/>
                <a:gd name="connsiteX17" fmla="*/ 0 w 0"/>
                <a:gd name="connsiteY17" fmla="*/ 8819 h 62991"/>
                <a:gd name="connsiteX18" fmla="*/ 0 w 0"/>
                <a:gd name="connsiteY18" fmla="*/ 5039 h 62991"/>
                <a:gd name="connsiteX19" fmla="*/ 0 w 0"/>
                <a:gd name="connsiteY19" fmla="*/ 3780 h 62991"/>
                <a:gd name="connsiteX20" fmla="*/ 0 w 0"/>
                <a:gd name="connsiteY20" fmla="*/ 1260 h 62991"/>
                <a:gd name="connsiteX21" fmla="*/ 0 w 0"/>
                <a:gd name="connsiteY21" fmla="*/ 1260 h 62991"/>
                <a:gd name="connsiteX22" fmla="*/ 0 w 0"/>
                <a:gd name="connsiteY22" fmla="*/ 1260 h 62991"/>
                <a:gd name="connsiteX23" fmla="*/ 0 w 0"/>
                <a:gd name="connsiteY23" fmla="*/ 1260 h 62991"/>
                <a:gd name="connsiteX24" fmla="*/ 0 w 0"/>
                <a:gd name="connsiteY24" fmla="*/ 1260 h 62991"/>
                <a:gd name="connsiteX25" fmla="*/ 0 w 0"/>
                <a:gd name="connsiteY25" fmla="*/ 1260 h 62991"/>
                <a:gd name="connsiteX26" fmla="*/ 0 w 0"/>
                <a:gd name="connsiteY26" fmla="*/ 0 h 62991"/>
                <a:gd name="connsiteX27" fmla="*/ 0 w 0"/>
                <a:gd name="connsiteY27" fmla="*/ 6299 h 62991"/>
                <a:gd name="connsiteX28" fmla="*/ 1260 w 0"/>
                <a:gd name="connsiteY28" fmla="*/ 31496 h 62991"/>
                <a:gd name="connsiteX29" fmla="*/ 2520 w 0"/>
                <a:gd name="connsiteY29" fmla="*/ 70550 h 62991"/>
                <a:gd name="connsiteX30" fmla="*/ 2520 w 0"/>
                <a:gd name="connsiteY30" fmla="*/ 70550 h 62991"/>
                <a:gd name="connsiteX31" fmla="*/ 2520 w 0"/>
                <a:gd name="connsiteY31" fmla="*/ 70550 h 62991"/>
                <a:gd name="connsiteX32" fmla="*/ 1260 w 0"/>
                <a:gd name="connsiteY32" fmla="*/ 68030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h="62991">
                  <a:moveTo>
                    <a:pt x="1260" y="68030"/>
                  </a:moveTo>
                  <a:cubicBezTo>
                    <a:pt x="1260" y="68030"/>
                    <a:pt x="1260" y="68030"/>
                    <a:pt x="1260" y="68030"/>
                  </a:cubicBezTo>
                  <a:lnTo>
                    <a:pt x="1260" y="66771"/>
                  </a:lnTo>
                  <a:lnTo>
                    <a:pt x="1260" y="65511"/>
                  </a:lnTo>
                  <a:lnTo>
                    <a:pt x="1260" y="64251"/>
                  </a:lnTo>
                  <a:cubicBezTo>
                    <a:pt x="1260" y="62991"/>
                    <a:pt x="1260" y="61731"/>
                    <a:pt x="1260" y="60472"/>
                  </a:cubicBezTo>
                  <a:cubicBezTo>
                    <a:pt x="1260" y="59212"/>
                    <a:pt x="1260" y="59212"/>
                    <a:pt x="1260" y="57952"/>
                  </a:cubicBezTo>
                  <a:cubicBezTo>
                    <a:pt x="1260" y="56692"/>
                    <a:pt x="1260" y="56692"/>
                    <a:pt x="1260" y="55432"/>
                  </a:cubicBezTo>
                  <a:cubicBezTo>
                    <a:pt x="1260" y="51653"/>
                    <a:pt x="1260" y="49133"/>
                    <a:pt x="1260" y="45354"/>
                  </a:cubicBezTo>
                  <a:cubicBezTo>
                    <a:pt x="1260" y="44094"/>
                    <a:pt x="1260" y="44094"/>
                    <a:pt x="1260" y="42834"/>
                  </a:cubicBezTo>
                  <a:cubicBezTo>
                    <a:pt x="1260" y="40314"/>
                    <a:pt x="1260" y="36535"/>
                    <a:pt x="0" y="32755"/>
                  </a:cubicBezTo>
                  <a:cubicBezTo>
                    <a:pt x="0" y="31496"/>
                    <a:pt x="0" y="30236"/>
                    <a:pt x="0" y="30236"/>
                  </a:cubicBezTo>
                  <a:cubicBezTo>
                    <a:pt x="0" y="28976"/>
                    <a:pt x="0" y="28976"/>
                    <a:pt x="0" y="27716"/>
                  </a:cubicBezTo>
                  <a:lnTo>
                    <a:pt x="0" y="25196"/>
                  </a:lnTo>
                  <a:cubicBezTo>
                    <a:pt x="0" y="23937"/>
                    <a:pt x="0" y="22677"/>
                    <a:pt x="0" y="21417"/>
                  </a:cubicBezTo>
                  <a:cubicBezTo>
                    <a:pt x="0" y="18897"/>
                    <a:pt x="0" y="16378"/>
                    <a:pt x="0" y="13858"/>
                  </a:cubicBezTo>
                  <a:cubicBezTo>
                    <a:pt x="0" y="12598"/>
                    <a:pt x="0" y="11338"/>
                    <a:pt x="0" y="10079"/>
                  </a:cubicBezTo>
                  <a:lnTo>
                    <a:pt x="0" y="8819"/>
                  </a:lnTo>
                  <a:cubicBezTo>
                    <a:pt x="0" y="7559"/>
                    <a:pt x="0" y="6299"/>
                    <a:pt x="0" y="5039"/>
                  </a:cubicBezTo>
                  <a:cubicBezTo>
                    <a:pt x="0" y="5039"/>
                    <a:pt x="0" y="3780"/>
                    <a:pt x="0" y="3780"/>
                  </a:cubicBezTo>
                  <a:cubicBezTo>
                    <a:pt x="0" y="2520"/>
                    <a:pt x="0" y="2520"/>
                    <a:pt x="0" y="1260"/>
                  </a:cubicBezTo>
                  <a:lnTo>
                    <a:pt x="0" y="1260"/>
                  </a:lnTo>
                  <a:lnTo>
                    <a:pt x="0" y="1260"/>
                  </a:lnTo>
                  <a:cubicBezTo>
                    <a:pt x="0" y="1260"/>
                    <a:pt x="0" y="1260"/>
                    <a:pt x="0" y="1260"/>
                  </a:cubicBezTo>
                  <a:lnTo>
                    <a:pt x="0" y="1260"/>
                  </a:lnTo>
                  <a:cubicBezTo>
                    <a:pt x="0" y="1260"/>
                    <a:pt x="0" y="1260"/>
                    <a:pt x="0" y="1260"/>
                  </a:cubicBezTo>
                  <a:cubicBezTo>
                    <a:pt x="0" y="1260"/>
                    <a:pt x="0" y="0"/>
                    <a:pt x="0" y="0"/>
                  </a:cubicBezTo>
                  <a:cubicBezTo>
                    <a:pt x="0" y="2520"/>
                    <a:pt x="0" y="3780"/>
                    <a:pt x="0" y="6299"/>
                  </a:cubicBezTo>
                  <a:cubicBezTo>
                    <a:pt x="0" y="13858"/>
                    <a:pt x="1260" y="22677"/>
                    <a:pt x="1260" y="31496"/>
                  </a:cubicBezTo>
                  <a:cubicBezTo>
                    <a:pt x="1260" y="44094"/>
                    <a:pt x="2520" y="57952"/>
                    <a:pt x="2520" y="70550"/>
                  </a:cubicBezTo>
                  <a:cubicBezTo>
                    <a:pt x="2520" y="70550"/>
                    <a:pt x="2520" y="70550"/>
                    <a:pt x="2520" y="70550"/>
                  </a:cubicBezTo>
                  <a:cubicBezTo>
                    <a:pt x="2520" y="70550"/>
                    <a:pt x="2520" y="70550"/>
                    <a:pt x="2520" y="70550"/>
                  </a:cubicBezTo>
                  <a:cubicBezTo>
                    <a:pt x="1260" y="70550"/>
                    <a:pt x="1260" y="69290"/>
                    <a:pt x="1260" y="68030"/>
                  </a:cubicBezTo>
                  <a:close/>
                </a:path>
              </a:pathLst>
            </a:custGeom>
            <a:solidFill>
              <a:srgbClr val="54F3F5"/>
            </a:solidFill>
            <a:ln w="12584" cap="flat">
              <a:noFill/>
              <a:prstDash val="solid"/>
              <a:miter/>
            </a:ln>
          </p:spPr>
          <p:txBody>
            <a:bodyPr rtlCol="0" anchor="ctr"/>
            <a:lstStyle/>
            <a:p>
              <a:endParaRPr lang="zh-CN" altLang="en-US"/>
            </a:p>
          </p:txBody>
        </p:sp>
        <p:sp>
          <p:nvSpPr>
            <p:cNvPr id="10133" name="任意多边形: 形状 10132"/>
            <p:cNvSpPr/>
            <p:nvPr/>
          </p:nvSpPr>
          <p:spPr>
            <a:xfrm>
              <a:off x="2771067" y="3358449"/>
              <a:ext cx="37795" cy="176375"/>
            </a:xfrm>
            <a:custGeom>
              <a:avLst/>
              <a:gdLst>
                <a:gd name="connsiteX0" fmla="*/ 8819 w 37794"/>
                <a:gd name="connsiteY0" fmla="*/ 44094 h 176375"/>
                <a:gd name="connsiteX1" fmla="*/ 8819 w 37794"/>
                <a:gd name="connsiteY1" fmla="*/ 45354 h 176375"/>
                <a:gd name="connsiteX2" fmla="*/ 8819 w 37794"/>
                <a:gd name="connsiteY2" fmla="*/ 46614 h 176375"/>
                <a:gd name="connsiteX3" fmla="*/ 8819 w 37794"/>
                <a:gd name="connsiteY3" fmla="*/ 49133 h 176375"/>
                <a:gd name="connsiteX4" fmla="*/ 8819 w 37794"/>
                <a:gd name="connsiteY4" fmla="*/ 50393 h 176375"/>
                <a:gd name="connsiteX5" fmla="*/ 8819 w 37794"/>
                <a:gd name="connsiteY5" fmla="*/ 52913 h 176375"/>
                <a:gd name="connsiteX6" fmla="*/ 8819 w 37794"/>
                <a:gd name="connsiteY6" fmla="*/ 59212 h 176375"/>
                <a:gd name="connsiteX7" fmla="*/ 8819 w 37794"/>
                <a:gd name="connsiteY7" fmla="*/ 62991 h 176375"/>
                <a:gd name="connsiteX8" fmla="*/ 8819 w 37794"/>
                <a:gd name="connsiteY8" fmla="*/ 64251 h 176375"/>
                <a:gd name="connsiteX9" fmla="*/ 8819 w 37794"/>
                <a:gd name="connsiteY9" fmla="*/ 64251 h 176375"/>
                <a:gd name="connsiteX10" fmla="*/ 8819 w 37794"/>
                <a:gd name="connsiteY10" fmla="*/ 64251 h 176375"/>
                <a:gd name="connsiteX11" fmla="*/ 8819 w 37794"/>
                <a:gd name="connsiteY11" fmla="*/ 64251 h 176375"/>
                <a:gd name="connsiteX12" fmla="*/ 8819 w 37794"/>
                <a:gd name="connsiteY12" fmla="*/ 64251 h 176375"/>
                <a:gd name="connsiteX13" fmla="*/ 8819 w 37794"/>
                <a:gd name="connsiteY13" fmla="*/ 64251 h 176375"/>
                <a:gd name="connsiteX14" fmla="*/ 8819 w 37794"/>
                <a:gd name="connsiteY14" fmla="*/ 66771 h 176375"/>
                <a:gd name="connsiteX15" fmla="*/ 8819 w 37794"/>
                <a:gd name="connsiteY15" fmla="*/ 68031 h 176375"/>
                <a:gd name="connsiteX16" fmla="*/ 8819 w 37794"/>
                <a:gd name="connsiteY16" fmla="*/ 71810 h 176375"/>
                <a:gd name="connsiteX17" fmla="*/ 8819 w 37794"/>
                <a:gd name="connsiteY17" fmla="*/ 73070 h 176375"/>
                <a:gd name="connsiteX18" fmla="*/ 8819 w 37794"/>
                <a:gd name="connsiteY18" fmla="*/ 76849 h 176375"/>
                <a:gd name="connsiteX19" fmla="*/ 8819 w 37794"/>
                <a:gd name="connsiteY19" fmla="*/ 84408 h 176375"/>
                <a:gd name="connsiteX20" fmla="*/ 8819 w 37794"/>
                <a:gd name="connsiteY20" fmla="*/ 88188 h 176375"/>
                <a:gd name="connsiteX21" fmla="*/ 8819 w 37794"/>
                <a:gd name="connsiteY21" fmla="*/ 90707 h 176375"/>
                <a:gd name="connsiteX22" fmla="*/ 8819 w 37794"/>
                <a:gd name="connsiteY22" fmla="*/ 93227 h 176375"/>
                <a:gd name="connsiteX23" fmla="*/ 8819 w 37794"/>
                <a:gd name="connsiteY23" fmla="*/ 95747 h 176375"/>
                <a:gd name="connsiteX24" fmla="*/ 10079 w 37794"/>
                <a:gd name="connsiteY24" fmla="*/ 105825 h 176375"/>
                <a:gd name="connsiteX25" fmla="*/ 10079 w 37794"/>
                <a:gd name="connsiteY25" fmla="*/ 108345 h 176375"/>
                <a:gd name="connsiteX26" fmla="*/ 10079 w 37794"/>
                <a:gd name="connsiteY26" fmla="*/ 118424 h 176375"/>
                <a:gd name="connsiteX27" fmla="*/ 10079 w 37794"/>
                <a:gd name="connsiteY27" fmla="*/ 120943 h 176375"/>
                <a:gd name="connsiteX28" fmla="*/ 10079 w 37794"/>
                <a:gd name="connsiteY28" fmla="*/ 123463 h 176375"/>
                <a:gd name="connsiteX29" fmla="*/ 10079 w 37794"/>
                <a:gd name="connsiteY29" fmla="*/ 127242 h 176375"/>
                <a:gd name="connsiteX30" fmla="*/ 10079 w 37794"/>
                <a:gd name="connsiteY30" fmla="*/ 128502 h 176375"/>
                <a:gd name="connsiteX31" fmla="*/ 10079 w 37794"/>
                <a:gd name="connsiteY31" fmla="*/ 129762 h 176375"/>
                <a:gd name="connsiteX32" fmla="*/ 10079 w 37794"/>
                <a:gd name="connsiteY32" fmla="*/ 131022 h 176375"/>
                <a:gd name="connsiteX33" fmla="*/ 10079 w 37794"/>
                <a:gd name="connsiteY33" fmla="*/ 132281 h 176375"/>
                <a:gd name="connsiteX34" fmla="*/ 10079 w 37794"/>
                <a:gd name="connsiteY34" fmla="*/ 136061 h 176375"/>
                <a:gd name="connsiteX35" fmla="*/ 10079 w 37794"/>
                <a:gd name="connsiteY35" fmla="*/ 136061 h 176375"/>
                <a:gd name="connsiteX36" fmla="*/ 10079 w 37794"/>
                <a:gd name="connsiteY36" fmla="*/ 148659 h 176375"/>
                <a:gd name="connsiteX37" fmla="*/ 10079 w 37794"/>
                <a:gd name="connsiteY37" fmla="*/ 149919 h 176375"/>
                <a:gd name="connsiteX38" fmla="*/ 11338 w 37794"/>
                <a:gd name="connsiteY38" fmla="*/ 166297 h 176375"/>
                <a:gd name="connsiteX39" fmla="*/ 11338 w 37794"/>
                <a:gd name="connsiteY39" fmla="*/ 173856 h 176375"/>
                <a:gd name="connsiteX40" fmla="*/ 11338 w 37794"/>
                <a:gd name="connsiteY40" fmla="*/ 183934 h 176375"/>
                <a:gd name="connsiteX41" fmla="*/ 11338 w 37794"/>
                <a:gd name="connsiteY41" fmla="*/ 183934 h 176375"/>
                <a:gd name="connsiteX42" fmla="*/ 11338 w 37794"/>
                <a:gd name="connsiteY42" fmla="*/ 183934 h 176375"/>
                <a:gd name="connsiteX43" fmla="*/ 11338 w 37794"/>
                <a:gd name="connsiteY43" fmla="*/ 183934 h 176375"/>
                <a:gd name="connsiteX44" fmla="*/ 11338 w 37794"/>
                <a:gd name="connsiteY44" fmla="*/ 183934 h 176375"/>
                <a:gd name="connsiteX45" fmla="*/ 12598 w 37794"/>
                <a:gd name="connsiteY45" fmla="*/ 185194 h 176375"/>
                <a:gd name="connsiteX46" fmla="*/ 12598 w 37794"/>
                <a:gd name="connsiteY46" fmla="*/ 185194 h 176375"/>
                <a:gd name="connsiteX47" fmla="*/ 13858 w 37794"/>
                <a:gd name="connsiteY47" fmla="*/ 185194 h 176375"/>
                <a:gd name="connsiteX48" fmla="*/ 15118 w 37794"/>
                <a:gd name="connsiteY48" fmla="*/ 185194 h 176375"/>
                <a:gd name="connsiteX49" fmla="*/ 16378 w 37794"/>
                <a:gd name="connsiteY49" fmla="*/ 185194 h 176375"/>
                <a:gd name="connsiteX50" fmla="*/ 17637 w 37794"/>
                <a:gd name="connsiteY50" fmla="*/ 183934 h 176375"/>
                <a:gd name="connsiteX51" fmla="*/ 17637 w 37794"/>
                <a:gd name="connsiteY51" fmla="*/ 183934 h 176375"/>
                <a:gd name="connsiteX52" fmla="*/ 18897 w 37794"/>
                <a:gd name="connsiteY52" fmla="*/ 178895 h 176375"/>
                <a:gd name="connsiteX53" fmla="*/ 18897 w 37794"/>
                <a:gd name="connsiteY53" fmla="*/ 178895 h 176375"/>
                <a:gd name="connsiteX54" fmla="*/ 18897 w 37794"/>
                <a:gd name="connsiteY54" fmla="*/ 177635 h 176375"/>
                <a:gd name="connsiteX55" fmla="*/ 20157 w 37794"/>
                <a:gd name="connsiteY55" fmla="*/ 173856 h 176375"/>
                <a:gd name="connsiteX56" fmla="*/ 20157 w 37794"/>
                <a:gd name="connsiteY56" fmla="*/ 173856 h 176375"/>
                <a:gd name="connsiteX57" fmla="*/ 20157 w 37794"/>
                <a:gd name="connsiteY57" fmla="*/ 173856 h 176375"/>
                <a:gd name="connsiteX58" fmla="*/ 21417 w 37794"/>
                <a:gd name="connsiteY58" fmla="*/ 165037 h 176375"/>
                <a:gd name="connsiteX59" fmla="*/ 21417 w 37794"/>
                <a:gd name="connsiteY59" fmla="*/ 163777 h 176375"/>
                <a:gd name="connsiteX60" fmla="*/ 21417 w 37794"/>
                <a:gd name="connsiteY60" fmla="*/ 161257 h 176375"/>
                <a:gd name="connsiteX61" fmla="*/ 21417 w 37794"/>
                <a:gd name="connsiteY61" fmla="*/ 158738 h 176375"/>
                <a:gd name="connsiteX62" fmla="*/ 21417 w 37794"/>
                <a:gd name="connsiteY62" fmla="*/ 158738 h 176375"/>
                <a:gd name="connsiteX63" fmla="*/ 21417 w 37794"/>
                <a:gd name="connsiteY63" fmla="*/ 158738 h 176375"/>
                <a:gd name="connsiteX64" fmla="*/ 21417 w 37794"/>
                <a:gd name="connsiteY64" fmla="*/ 158738 h 176375"/>
                <a:gd name="connsiteX65" fmla="*/ 21417 w 37794"/>
                <a:gd name="connsiteY65" fmla="*/ 154958 h 176375"/>
                <a:gd name="connsiteX66" fmla="*/ 22677 w 37794"/>
                <a:gd name="connsiteY66" fmla="*/ 143620 h 176375"/>
                <a:gd name="connsiteX67" fmla="*/ 23937 w 37794"/>
                <a:gd name="connsiteY67" fmla="*/ 133541 h 176375"/>
                <a:gd name="connsiteX68" fmla="*/ 25196 w 37794"/>
                <a:gd name="connsiteY68" fmla="*/ 128502 h 176375"/>
                <a:gd name="connsiteX69" fmla="*/ 25196 w 37794"/>
                <a:gd name="connsiteY69" fmla="*/ 127242 h 176375"/>
                <a:gd name="connsiteX70" fmla="*/ 26456 w 37794"/>
                <a:gd name="connsiteY70" fmla="*/ 122203 h 176375"/>
                <a:gd name="connsiteX71" fmla="*/ 26456 w 37794"/>
                <a:gd name="connsiteY71" fmla="*/ 119683 h 176375"/>
                <a:gd name="connsiteX72" fmla="*/ 26456 w 37794"/>
                <a:gd name="connsiteY72" fmla="*/ 119683 h 176375"/>
                <a:gd name="connsiteX73" fmla="*/ 26456 w 37794"/>
                <a:gd name="connsiteY73" fmla="*/ 119683 h 176375"/>
                <a:gd name="connsiteX74" fmla="*/ 26456 w 37794"/>
                <a:gd name="connsiteY74" fmla="*/ 118424 h 176375"/>
                <a:gd name="connsiteX75" fmla="*/ 26456 w 37794"/>
                <a:gd name="connsiteY75" fmla="*/ 117164 h 176375"/>
                <a:gd name="connsiteX76" fmla="*/ 26456 w 37794"/>
                <a:gd name="connsiteY76" fmla="*/ 117164 h 176375"/>
                <a:gd name="connsiteX77" fmla="*/ 26456 w 37794"/>
                <a:gd name="connsiteY77" fmla="*/ 117164 h 176375"/>
                <a:gd name="connsiteX78" fmla="*/ 27716 w 37794"/>
                <a:gd name="connsiteY78" fmla="*/ 112124 h 176375"/>
                <a:gd name="connsiteX79" fmla="*/ 28976 w 37794"/>
                <a:gd name="connsiteY79" fmla="*/ 102046 h 176375"/>
                <a:gd name="connsiteX80" fmla="*/ 31496 w 37794"/>
                <a:gd name="connsiteY80" fmla="*/ 86928 h 176375"/>
                <a:gd name="connsiteX81" fmla="*/ 31496 w 37794"/>
                <a:gd name="connsiteY81" fmla="*/ 85668 h 176375"/>
                <a:gd name="connsiteX82" fmla="*/ 32755 w 37794"/>
                <a:gd name="connsiteY82" fmla="*/ 79369 h 176375"/>
                <a:gd name="connsiteX83" fmla="*/ 32755 w 37794"/>
                <a:gd name="connsiteY83" fmla="*/ 75589 h 176375"/>
                <a:gd name="connsiteX84" fmla="*/ 32755 w 37794"/>
                <a:gd name="connsiteY84" fmla="*/ 74330 h 176375"/>
                <a:gd name="connsiteX85" fmla="*/ 32755 w 37794"/>
                <a:gd name="connsiteY85" fmla="*/ 73070 h 176375"/>
                <a:gd name="connsiteX86" fmla="*/ 32755 w 37794"/>
                <a:gd name="connsiteY86" fmla="*/ 73070 h 176375"/>
                <a:gd name="connsiteX87" fmla="*/ 34015 w 37794"/>
                <a:gd name="connsiteY87" fmla="*/ 69290 h 176375"/>
                <a:gd name="connsiteX88" fmla="*/ 34015 w 37794"/>
                <a:gd name="connsiteY88" fmla="*/ 68031 h 176375"/>
                <a:gd name="connsiteX89" fmla="*/ 34015 w 37794"/>
                <a:gd name="connsiteY89" fmla="*/ 66771 h 176375"/>
                <a:gd name="connsiteX90" fmla="*/ 35275 w 37794"/>
                <a:gd name="connsiteY90" fmla="*/ 64251 h 176375"/>
                <a:gd name="connsiteX91" fmla="*/ 35275 w 37794"/>
                <a:gd name="connsiteY91" fmla="*/ 61731 h 176375"/>
                <a:gd name="connsiteX92" fmla="*/ 35275 w 37794"/>
                <a:gd name="connsiteY92" fmla="*/ 59212 h 176375"/>
                <a:gd name="connsiteX93" fmla="*/ 36535 w 37794"/>
                <a:gd name="connsiteY93" fmla="*/ 55432 h 176375"/>
                <a:gd name="connsiteX94" fmla="*/ 36535 w 37794"/>
                <a:gd name="connsiteY94" fmla="*/ 54172 h 176375"/>
                <a:gd name="connsiteX95" fmla="*/ 37795 w 37794"/>
                <a:gd name="connsiteY95" fmla="*/ 50393 h 176375"/>
                <a:gd name="connsiteX96" fmla="*/ 40314 w 37794"/>
                <a:gd name="connsiteY96" fmla="*/ 39055 h 176375"/>
                <a:gd name="connsiteX97" fmla="*/ 40314 w 37794"/>
                <a:gd name="connsiteY97" fmla="*/ 36535 h 176375"/>
                <a:gd name="connsiteX98" fmla="*/ 41574 w 37794"/>
                <a:gd name="connsiteY98" fmla="*/ 34015 h 176375"/>
                <a:gd name="connsiteX99" fmla="*/ 41574 w 37794"/>
                <a:gd name="connsiteY99" fmla="*/ 34015 h 176375"/>
                <a:gd name="connsiteX100" fmla="*/ 41574 w 37794"/>
                <a:gd name="connsiteY100" fmla="*/ 32755 h 176375"/>
                <a:gd name="connsiteX101" fmla="*/ 42834 w 37794"/>
                <a:gd name="connsiteY101" fmla="*/ 30236 h 176375"/>
                <a:gd name="connsiteX102" fmla="*/ 42834 w 37794"/>
                <a:gd name="connsiteY102" fmla="*/ 28976 h 176375"/>
                <a:gd name="connsiteX103" fmla="*/ 42834 w 37794"/>
                <a:gd name="connsiteY103" fmla="*/ 27716 h 176375"/>
                <a:gd name="connsiteX104" fmla="*/ 42834 w 37794"/>
                <a:gd name="connsiteY104" fmla="*/ 26456 h 176375"/>
                <a:gd name="connsiteX105" fmla="*/ 42834 w 37794"/>
                <a:gd name="connsiteY105" fmla="*/ 26456 h 176375"/>
                <a:gd name="connsiteX106" fmla="*/ 42834 w 37794"/>
                <a:gd name="connsiteY106" fmla="*/ 25196 h 176375"/>
                <a:gd name="connsiteX107" fmla="*/ 42834 w 37794"/>
                <a:gd name="connsiteY107" fmla="*/ 25196 h 176375"/>
                <a:gd name="connsiteX108" fmla="*/ 42834 w 37794"/>
                <a:gd name="connsiteY108" fmla="*/ 25196 h 176375"/>
                <a:gd name="connsiteX109" fmla="*/ 42834 w 37794"/>
                <a:gd name="connsiteY109" fmla="*/ 22677 h 176375"/>
                <a:gd name="connsiteX110" fmla="*/ 42834 w 37794"/>
                <a:gd name="connsiteY110" fmla="*/ 21417 h 176375"/>
                <a:gd name="connsiteX111" fmla="*/ 44094 w 37794"/>
                <a:gd name="connsiteY111" fmla="*/ 17638 h 176375"/>
                <a:gd name="connsiteX112" fmla="*/ 44094 w 37794"/>
                <a:gd name="connsiteY112" fmla="*/ 16378 h 176375"/>
                <a:gd name="connsiteX113" fmla="*/ 44094 w 37794"/>
                <a:gd name="connsiteY113" fmla="*/ 13858 h 176375"/>
                <a:gd name="connsiteX114" fmla="*/ 44094 w 37794"/>
                <a:gd name="connsiteY114" fmla="*/ 10079 h 176375"/>
                <a:gd name="connsiteX115" fmla="*/ 44094 w 37794"/>
                <a:gd name="connsiteY115" fmla="*/ 8819 h 176375"/>
                <a:gd name="connsiteX116" fmla="*/ 44094 w 37794"/>
                <a:gd name="connsiteY116" fmla="*/ 7559 h 176375"/>
                <a:gd name="connsiteX117" fmla="*/ 44094 w 37794"/>
                <a:gd name="connsiteY117" fmla="*/ 5039 h 176375"/>
                <a:gd name="connsiteX118" fmla="*/ 44094 w 37794"/>
                <a:gd name="connsiteY118" fmla="*/ 2520 h 176375"/>
                <a:gd name="connsiteX119" fmla="*/ 44094 w 37794"/>
                <a:gd name="connsiteY119" fmla="*/ 2520 h 176375"/>
                <a:gd name="connsiteX120" fmla="*/ 44094 w 37794"/>
                <a:gd name="connsiteY120" fmla="*/ 1260 h 176375"/>
                <a:gd name="connsiteX121" fmla="*/ 44094 w 37794"/>
                <a:gd name="connsiteY121" fmla="*/ 1260 h 176375"/>
                <a:gd name="connsiteX122" fmla="*/ 44094 w 37794"/>
                <a:gd name="connsiteY122" fmla="*/ 1260 h 176375"/>
                <a:gd name="connsiteX123" fmla="*/ 44094 w 37794"/>
                <a:gd name="connsiteY123" fmla="*/ 0 h 176375"/>
                <a:gd name="connsiteX124" fmla="*/ 44094 w 37794"/>
                <a:gd name="connsiteY124" fmla="*/ 0 h 176375"/>
                <a:gd name="connsiteX125" fmla="*/ 44094 w 37794"/>
                <a:gd name="connsiteY125" fmla="*/ 0 h 176375"/>
                <a:gd name="connsiteX126" fmla="*/ 44094 w 37794"/>
                <a:gd name="connsiteY126" fmla="*/ 0 h 176375"/>
                <a:gd name="connsiteX127" fmla="*/ 44094 w 37794"/>
                <a:gd name="connsiteY127" fmla="*/ 0 h 176375"/>
                <a:gd name="connsiteX128" fmla="*/ 42834 w 37794"/>
                <a:gd name="connsiteY128" fmla="*/ 0 h 176375"/>
                <a:gd name="connsiteX129" fmla="*/ 42834 w 37794"/>
                <a:gd name="connsiteY129" fmla="*/ 0 h 176375"/>
                <a:gd name="connsiteX130" fmla="*/ 42834 w 37794"/>
                <a:gd name="connsiteY130" fmla="*/ 0 h 176375"/>
                <a:gd name="connsiteX131" fmla="*/ 42834 w 37794"/>
                <a:gd name="connsiteY131" fmla="*/ 0 h 176375"/>
                <a:gd name="connsiteX132" fmla="*/ 41574 w 37794"/>
                <a:gd name="connsiteY132" fmla="*/ 1260 h 176375"/>
                <a:gd name="connsiteX133" fmla="*/ 41574 w 37794"/>
                <a:gd name="connsiteY133" fmla="*/ 1260 h 176375"/>
                <a:gd name="connsiteX134" fmla="*/ 41574 w 37794"/>
                <a:gd name="connsiteY134" fmla="*/ 1260 h 176375"/>
                <a:gd name="connsiteX135" fmla="*/ 39054 w 37794"/>
                <a:gd name="connsiteY135" fmla="*/ 2520 h 176375"/>
                <a:gd name="connsiteX136" fmla="*/ 39054 w 37794"/>
                <a:gd name="connsiteY136" fmla="*/ 2520 h 176375"/>
                <a:gd name="connsiteX137" fmla="*/ 36535 w 37794"/>
                <a:gd name="connsiteY137" fmla="*/ 5039 h 176375"/>
                <a:gd name="connsiteX138" fmla="*/ 36535 w 37794"/>
                <a:gd name="connsiteY138" fmla="*/ 5039 h 176375"/>
                <a:gd name="connsiteX139" fmla="*/ 35275 w 37794"/>
                <a:gd name="connsiteY139" fmla="*/ 6299 h 176375"/>
                <a:gd name="connsiteX140" fmla="*/ 34015 w 37794"/>
                <a:gd name="connsiteY140" fmla="*/ 7559 h 176375"/>
                <a:gd name="connsiteX141" fmla="*/ 34015 w 37794"/>
                <a:gd name="connsiteY141" fmla="*/ 7559 h 176375"/>
                <a:gd name="connsiteX142" fmla="*/ 34015 w 37794"/>
                <a:gd name="connsiteY142" fmla="*/ 7559 h 176375"/>
                <a:gd name="connsiteX143" fmla="*/ 34015 w 37794"/>
                <a:gd name="connsiteY143" fmla="*/ 7559 h 176375"/>
                <a:gd name="connsiteX144" fmla="*/ 34015 w 37794"/>
                <a:gd name="connsiteY144" fmla="*/ 7559 h 176375"/>
                <a:gd name="connsiteX145" fmla="*/ 34015 w 37794"/>
                <a:gd name="connsiteY145" fmla="*/ 7559 h 176375"/>
                <a:gd name="connsiteX146" fmla="*/ 34015 w 37794"/>
                <a:gd name="connsiteY146" fmla="*/ 7559 h 176375"/>
                <a:gd name="connsiteX147" fmla="*/ 34015 w 37794"/>
                <a:gd name="connsiteY147" fmla="*/ 7559 h 176375"/>
                <a:gd name="connsiteX148" fmla="*/ 34015 w 37794"/>
                <a:gd name="connsiteY148" fmla="*/ 7559 h 176375"/>
                <a:gd name="connsiteX149" fmla="*/ 31496 w 37794"/>
                <a:gd name="connsiteY149" fmla="*/ 10079 h 176375"/>
                <a:gd name="connsiteX150" fmla="*/ 28976 w 37794"/>
                <a:gd name="connsiteY150" fmla="*/ 12598 h 176375"/>
                <a:gd name="connsiteX151" fmla="*/ 27716 w 37794"/>
                <a:gd name="connsiteY151" fmla="*/ 13858 h 176375"/>
                <a:gd name="connsiteX152" fmla="*/ 27716 w 37794"/>
                <a:gd name="connsiteY152" fmla="*/ 13858 h 176375"/>
                <a:gd name="connsiteX153" fmla="*/ 25196 w 37794"/>
                <a:gd name="connsiteY153" fmla="*/ 16378 h 176375"/>
                <a:gd name="connsiteX154" fmla="*/ 22677 w 37794"/>
                <a:gd name="connsiteY154" fmla="*/ 17638 h 176375"/>
                <a:gd name="connsiteX155" fmla="*/ 21417 w 37794"/>
                <a:gd name="connsiteY155" fmla="*/ 18897 h 176375"/>
                <a:gd name="connsiteX156" fmla="*/ 21417 w 37794"/>
                <a:gd name="connsiteY156" fmla="*/ 18897 h 176375"/>
                <a:gd name="connsiteX157" fmla="*/ 20157 w 37794"/>
                <a:gd name="connsiteY157" fmla="*/ 20157 h 176375"/>
                <a:gd name="connsiteX158" fmla="*/ 18897 w 37794"/>
                <a:gd name="connsiteY158" fmla="*/ 21417 h 176375"/>
                <a:gd name="connsiteX159" fmla="*/ 16378 w 37794"/>
                <a:gd name="connsiteY159" fmla="*/ 25196 h 176375"/>
                <a:gd name="connsiteX160" fmla="*/ 15118 w 37794"/>
                <a:gd name="connsiteY160" fmla="*/ 26456 h 176375"/>
                <a:gd name="connsiteX161" fmla="*/ 13858 w 37794"/>
                <a:gd name="connsiteY161" fmla="*/ 27716 h 176375"/>
                <a:gd name="connsiteX162" fmla="*/ 13858 w 37794"/>
                <a:gd name="connsiteY162" fmla="*/ 28976 h 176375"/>
                <a:gd name="connsiteX163" fmla="*/ 12598 w 37794"/>
                <a:gd name="connsiteY163" fmla="*/ 31496 h 176375"/>
                <a:gd name="connsiteX164" fmla="*/ 11338 w 37794"/>
                <a:gd name="connsiteY164" fmla="*/ 32755 h 176375"/>
                <a:gd name="connsiteX165" fmla="*/ 10079 w 37794"/>
                <a:gd name="connsiteY165" fmla="*/ 34015 h 176375"/>
                <a:gd name="connsiteX166" fmla="*/ 8819 w 37794"/>
                <a:gd name="connsiteY166" fmla="*/ 35275 h 176375"/>
                <a:gd name="connsiteX167" fmla="*/ 7559 w 37794"/>
                <a:gd name="connsiteY167" fmla="*/ 36535 h 176375"/>
                <a:gd name="connsiteX168" fmla="*/ 7559 w 37794"/>
                <a:gd name="connsiteY168" fmla="*/ 37795 h 176375"/>
                <a:gd name="connsiteX169" fmla="*/ 7559 w 37794"/>
                <a:gd name="connsiteY169" fmla="*/ 37795 h 176375"/>
                <a:gd name="connsiteX170" fmla="*/ 7559 w 37794"/>
                <a:gd name="connsiteY170" fmla="*/ 37795 h 176375"/>
                <a:gd name="connsiteX171" fmla="*/ 5039 w 37794"/>
                <a:gd name="connsiteY171" fmla="*/ 40315 h 176375"/>
                <a:gd name="connsiteX172" fmla="*/ 5039 w 37794"/>
                <a:gd name="connsiteY172" fmla="*/ 40315 h 176375"/>
                <a:gd name="connsiteX173" fmla="*/ 3780 w 37794"/>
                <a:gd name="connsiteY173" fmla="*/ 41574 h 176375"/>
                <a:gd name="connsiteX174" fmla="*/ 3780 w 37794"/>
                <a:gd name="connsiteY174" fmla="*/ 41574 h 176375"/>
                <a:gd name="connsiteX175" fmla="*/ 1260 w 37794"/>
                <a:gd name="connsiteY175" fmla="*/ 44094 h 176375"/>
                <a:gd name="connsiteX176" fmla="*/ 0 w 37794"/>
                <a:gd name="connsiteY176" fmla="*/ 46614 h 176375"/>
                <a:gd name="connsiteX177" fmla="*/ 0 w 37794"/>
                <a:gd name="connsiteY177" fmla="*/ 46614 h 176375"/>
                <a:gd name="connsiteX178" fmla="*/ 0 w 37794"/>
                <a:gd name="connsiteY178" fmla="*/ 46614 h 176375"/>
                <a:gd name="connsiteX179" fmla="*/ 0 w 37794"/>
                <a:gd name="connsiteY179" fmla="*/ 46614 h 176375"/>
                <a:gd name="connsiteX180" fmla="*/ 0 w 37794"/>
                <a:gd name="connsiteY180" fmla="*/ 46614 h 176375"/>
                <a:gd name="connsiteX181" fmla="*/ 0 w 37794"/>
                <a:gd name="connsiteY181" fmla="*/ 47873 h 176375"/>
                <a:gd name="connsiteX182" fmla="*/ 8819 w 37794"/>
                <a:gd name="connsiteY182" fmla="*/ 44094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37794" h="176375">
                  <a:moveTo>
                    <a:pt x="8819" y="44094"/>
                  </a:moveTo>
                  <a:cubicBezTo>
                    <a:pt x="8819" y="44094"/>
                    <a:pt x="8819" y="45354"/>
                    <a:pt x="8819" y="45354"/>
                  </a:cubicBezTo>
                  <a:cubicBezTo>
                    <a:pt x="8819" y="45354"/>
                    <a:pt x="8819" y="46614"/>
                    <a:pt x="8819" y="46614"/>
                  </a:cubicBezTo>
                  <a:cubicBezTo>
                    <a:pt x="8819" y="47873"/>
                    <a:pt x="8819" y="47873"/>
                    <a:pt x="8819" y="49133"/>
                  </a:cubicBezTo>
                  <a:lnTo>
                    <a:pt x="8819" y="50393"/>
                  </a:lnTo>
                  <a:cubicBezTo>
                    <a:pt x="8819" y="51653"/>
                    <a:pt x="8819" y="52913"/>
                    <a:pt x="8819" y="52913"/>
                  </a:cubicBezTo>
                  <a:cubicBezTo>
                    <a:pt x="8819" y="55432"/>
                    <a:pt x="8819" y="57952"/>
                    <a:pt x="8819" y="59212"/>
                  </a:cubicBezTo>
                  <a:cubicBezTo>
                    <a:pt x="8819" y="60472"/>
                    <a:pt x="8819" y="61731"/>
                    <a:pt x="8819" y="62991"/>
                  </a:cubicBezTo>
                  <a:cubicBezTo>
                    <a:pt x="8819" y="62991"/>
                    <a:pt x="8819" y="64251"/>
                    <a:pt x="8819" y="64251"/>
                  </a:cubicBezTo>
                  <a:cubicBezTo>
                    <a:pt x="8819" y="64251"/>
                    <a:pt x="8819" y="64251"/>
                    <a:pt x="8819" y="64251"/>
                  </a:cubicBezTo>
                  <a:cubicBezTo>
                    <a:pt x="8819" y="64251"/>
                    <a:pt x="8819" y="64251"/>
                    <a:pt x="8819" y="64251"/>
                  </a:cubicBezTo>
                  <a:lnTo>
                    <a:pt x="8819" y="64251"/>
                  </a:lnTo>
                  <a:lnTo>
                    <a:pt x="8819" y="64251"/>
                  </a:lnTo>
                  <a:cubicBezTo>
                    <a:pt x="8819" y="64251"/>
                    <a:pt x="8819" y="64251"/>
                    <a:pt x="8819" y="64251"/>
                  </a:cubicBezTo>
                  <a:cubicBezTo>
                    <a:pt x="8819" y="65511"/>
                    <a:pt x="8819" y="65511"/>
                    <a:pt x="8819" y="66771"/>
                  </a:cubicBezTo>
                  <a:cubicBezTo>
                    <a:pt x="8819" y="66771"/>
                    <a:pt x="8819" y="68031"/>
                    <a:pt x="8819" y="68031"/>
                  </a:cubicBezTo>
                  <a:cubicBezTo>
                    <a:pt x="8819" y="69290"/>
                    <a:pt x="8819" y="70550"/>
                    <a:pt x="8819" y="71810"/>
                  </a:cubicBezTo>
                  <a:lnTo>
                    <a:pt x="8819" y="73070"/>
                  </a:lnTo>
                  <a:cubicBezTo>
                    <a:pt x="8819" y="74330"/>
                    <a:pt x="8819" y="75589"/>
                    <a:pt x="8819" y="76849"/>
                  </a:cubicBezTo>
                  <a:cubicBezTo>
                    <a:pt x="8819" y="79369"/>
                    <a:pt x="8819" y="81889"/>
                    <a:pt x="8819" y="84408"/>
                  </a:cubicBezTo>
                  <a:cubicBezTo>
                    <a:pt x="8819" y="85668"/>
                    <a:pt x="8819" y="86928"/>
                    <a:pt x="8819" y="88188"/>
                  </a:cubicBezTo>
                  <a:lnTo>
                    <a:pt x="8819" y="90707"/>
                  </a:lnTo>
                  <a:cubicBezTo>
                    <a:pt x="8819" y="91967"/>
                    <a:pt x="8819" y="91967"/>
                    <a:pt x="8819" y="93227"/>
                  </a:cubicBezTo>
                  <a:cubicBezTo>
                    <a:pt x="8819" y="94487"/>
                    <a:pt x="8819" y="95747"/>
                    <a:pt x="8819" y="95747"/>
                  </a:cubicBezTo>
                  <a:cubicBezTo>
                    <a:pt x="8819" y="99526"/>
                    <a:pt x="8819" y="103306"/>
                    <a:pt x="10079" y="105825"/>
                  </a:cubicBezTo>
                  <a:cubicBezTo>
                    <a:pt x="10079" y="107085"/>
                    <a:pt x="10079" y="107085"/>
                    <a:pt x="10079" y="108345"/>
                  </a:cubicBezTo>
                  <a:cubicBezTo>
                    <a:pt x="10079" y="110864"/>
                    <a:pt x="10079" y="114644"/>
                    <a:pt x="10079" y="118424"/>
                  </a:cubicBezTo>
                  <a:cubicBezTo>
                    <a:pt x="10079" y="119683"/>
                    <a:pt x="10079" y="119683"/>
                    <a:pt x="10079" y="120943"/>
                  </a:cubicBezTo>
                  <a:cubicBezTo>
                    <a:pt x="10079" y="122203"/>
                    <a:pt x="10079" y="122203"/>
                    <a:pt x="10079" y="123463"/>
                  </a:cubicBezTo>
                  <a:cubicBezTo>
                    <a:pt x="10079" y="124723"/>
                    <a:pt x="10079" y="125982"/>
                    <a:pt x="10079" y="127242"/>
                  </a:cubicBezTo>
                  <a:lnTo>
                    <a:pt x="10079" y="128502"/>
                  </a:lnTo>
                  <a:lnTo>
                    <a:pt x="10079" y="129762"/>
                  </a:lnTo>
                  <a:lnTo>
                    <a:pt x="10079" y="131022"/>
                  </a:lnTo>
                  <a:cubicBezTo>
                    <a:pt x="10079" y="131022"/>
                    <a:pt x="10079" y="132281"/>
                    <a:pt x="10079" y="132281"/>
                  </a:cubicBezTo>
                  <a:cubicBezTo>
                    <a:pt x="10079" y="133541"/>
                    <a:pt x="10079" y="134801"/>
                    <a:pt x="10079" y="136061"/>
                  </a:cubicBezTo>
                  <a:cubicBezTo>
                    <a:pt x="10079" y="136061"/>
                    <a:pt x="10079" y="136061"/>
                    <a:pt x="10079" y="136061"/>
                  </a:cubicBezTo>
                  <a:cubicBezTo>
                    <a:pt x="10079" y="139840"/>
                    <a:pt x="10079" y="143620"/>
                    <a:pt x="10079" y="148659"/>
                  </a:cubicBezTo>
                  <a:cubicBezTo>
                    <a:pt x="10079" y="148659"/>
                    <a:pt x="10079" y="149919"/>
                    <a:pt x="10079" y="149919"/>
                  </a:cubicBezTo>
                  <a:cubicBezTo>
                    <a:pt x="11338" y="154958"/>
                    <a:pt x="11338" y="161257"/>
                    <a:pt x="11338" y="166297"/>
                  </a:cubicBezTo>
                  <a:cubicBezTo>
                    <a:pt x="11338" y="168816"/>
                    <a:pt x="11338" y="171336"/>
                    <a:pt x="11338" y="173856"/>
                  </a:cubicBezTo>
                  <a:cubicBezTo>
                    <a:pt x="11338" y="177635"/>
                    <a:pt x="11338" y="180155"/>
                    <a:pt x="11338" y="183934"/>
                  </a:cubicBezTo>
                  <a:cubicBezTo>
                    <a:pt x="11338" y="183934"/>
                    <a:pt x="11338" y="183934"/>
                    <a:pt x="11338" y="183934"/>
                  </a:cubicBezTo>
                  <a:cubicBezTo>
                    <a:pt x="11338" y="183934"/>
                    <a:pt x="11338" y="183934"/>
                    <a:pt x="11338" y="183934"/>
                  </a:cubicBezTo>
                  <a:lnTo>
                    <a:pt x="11338" y="183934"/>
                  </a:lnTo>
                  <a:lnTo>
                    <a:pt x="11338" y="183934"/>
                  </a:lnTo>
                  <a:cubicBezTo>
                    <a:pt x="11338" y="183934"/>
                    <a:pt x="11338" y="183934"/>
                    <a:pt x="12598" y="185194"/>
                  </a:cubicBezTo>
                  <a:cubicBezTo>
                    <a:pt x="12598" y="185194"/>
                    <a:pt x="12598" y="185194"/>
                    <a:pt x="12598" y="185194"/>
                  </a:cubicBezTo>
                  <a:cubicBezTo>
                    <a:pt x="12598" y="185194"/>
                    <a:pt x="12598" y="185194"/>
                    <a:pt x="13858" y="185194"/>
                  </a:cubicBezTo>
                  <a:cubicBezTo>
                    <a:pt x="13858" y="185194"/>
                    <a:pt x="15118" y="185194"/>
                    <a:pt x="15118" y="185194"/>
                  </a:cubicBezTo>
                  <a:cubicBezTo>
                    <a:pt x="15118" y="185194"/>
                    <a:pt x="16378" y="185194"/>
                    <a:pt x="16378" y="185194"/>
                  </a:cubicBezTo>
                  <a:cubicBezTo>
                    <a:pt x="16378" y="185194"/>
                    <a:pt x="17637" y="185194"/>
                    <a:pt x="17637" y="183934"/>
                  </a:cubicBezTo>
                  <a:cubicBezTo>
                    <a:pt x="17637" y="183934"/>
                    <a:pt x="17637" y="183934"/>
                    <a:pt x="17637" y="183934"/>
                  </a:cubicBezTo>
                  <a:cubicBezTo>
                    <a:pt x="17637" y="182674"/>
                    <a:pt x="18897" y="181415"/>
                    <a:pt x="18897" y="178895"/>
                  </a:cubicBezTo>
                  <a:lnTo>
                    <a:pt x="18897" y="178895"/>
                  </a:lnTo>
                  <a:cubicBezTo>
                    <a:pt x="18897" y="178895"/>
                    <a:pt x="18897" y="177635"/>
                    <a:pt x="18897" y="177635"/>
                  </a:cubicBezTo>
                  <a:cubicBezTo>
                    <a:pt x="18897" y="176375"/>
                    <a:pt x="20157" y="175116"/>
                    <a:pt x="20157" y="173856"/>
                  </a:cubicBezTo>
                  <a:lnTo>
                    <a:pt x="20157" y="173856"/>
                  </a:lnTo>
                  <a:lnTo>
                    <a:pt x="20157" y="173856"/>
                  </a:lnTo>
                  <a:cubicBezTo>
                    <a:pt x="21417" y="171336"/>
                    <a:pt x="21417" y="167557"/>
                    <a:pt x="21417" y="165037"/>
                  </a:cubicBezTo>
                  <a:cubicBezTo>
                    <a:pt x="21417" y="165037"/>
                    <a:pt x="21417" y="163777"/>
                    <a:pt x="21417" y="163777"/>
                  </a:cubicBezTo>
                  <a:cubicBezTo>
                    <a:pt x="21417" y="162517"/>
                    <a:pt x="21417" y="162517"/>
                    <a:pt x="21417" y="161257"/>
                  </a:cubicBezTo>
                  <a:cubicBezTo>
                    <a:pt x="21417" y="159998"/>
                    <a:pt x="21417" y="159998"/>
                    <a:pt x="21417" y="158738"/>
                  </a:cubicBezTo>
                  <a:lnTo>
                    <a:pt x="21417" y="158738"/>
                  </a:lnTo>
                  <a:lnTo>
                    <a:pt x="21417" y="158738"/>
                  </a:lnTo>
                  <a:lnTo>
                    <a:pt x="21417" y="158738"/>
                  </a:lnTo>
                  <a:lnTo>
                    <a:pt x="21417" y="154958"/>
                  </a:lnTo>
                  <a:cubicBezTo>
                    <a:pt x="22677" y="151179"/>
                    <a:pt x="22677" y="147399"/>
                    <a:pt x="22677" y="143620"/>
                  </a:cubicBezTo>
                  <a:cubicBezTo>
                    <a:pt x="22677" y="139840"/>
                    <a:pt x="23937" y="137321"/>
                    <a:pt x="23937" y="133541"/>
                  </a:cubicBezTo>
                  <a:cubicBezTo>
                    <a:pt x="23937" y="132281"/>
                    <a:pt x="23937" y="129762"/>
                    <a:pt x="25196" y="128502"/>
                  </a:cubicBezTo>
                  <a:lnTo>
                    <a:pt x="25196" y="127242"/>
                  </a:lnTo>
                  <a:cubicBezTo>
                    <a:pt x="25196" y="125982"/>
                    <a:pt x="25196" y="123463"/>
                    <a:pt x="26456" y="122203"/>
                  </a:cubicBezTo>
                  <a:cubicBezTo>
                    <a:pt x="26456" y="120943"/>
                    <a:pt x="26456" y="120943"/>
                    <a:pt x="26456" y="119683"/>
                  </a:cubicBezTo>
                  <a:cubicBezTo>
                    <a:pt x="26456" y="119683"/>
                    <a:pt x="26456" y="119683"/>
                    <a:pt x="26456" y="119683"/>
                  </a:cubicBezTo>
                  <a:lnTo>
                    <a:pt x="26456" y="119683"/>
                  </a:lnTo>
                  <a:lnTo>
                    <a:pt x="26456" y="118424"/>
                  </a:lnTo>
                  <a:lnTo>
                    <a:pt x="26456" y="117164"/>
                  </a:lnTo>
                  <a:lnTo>
                    <a:pt x="26456" y="117164"/>
                  </a:lnTo>
                  <a:cubicBezTo>
                    <a:pt x="26456" y="117164"/>
                    <a:pt x="26456" y="117164"/>
                    <a:pt x="26456" y="117164"/>
                  </a:cubicBezTo>
                  <a:cubicBezTo>
                    <a:pt x="26456" y="115904"/>
                    <a:pt x="26456" y="113384"/>
                    <a:pt x="27716" y="112124"/>
                  </a:cubicBezTo>
                  <a:cubicBezTo>
                    <a:pt x="27716" y="108345"/>
                    <a:pt x="28976" y="105825"/>
                    <a:pt x="28976" y="102046"/>
                  </a:cubicBezTo>
                  <a:cubicBezTo>
                    <a:pt x="30236" y="97007"/>
                    <a:pt x="31496" y="91967"/>
                    <a:pt x="31496" y="86928"/>
                  </a:cubicBezTo>
                  <a:lnTo>
                    <a:pt x="31496" y="85668"/>
                  </a:lnTo>
                  <a:cubicBezTo>
                    <a:pt x="31496" y="84408"/>
                    <a:pt x="32755" y="81889"/>
                    <a:pt x="32755" y="79369"/>
                  </a:cubicBezTo>
                  <a:cubicBezTo>
                    <a:pt x="32755" y="78109"/>
                    <a:pt x="32755" y="76849"/>
                    <a:pt x="32755" y="75589"/>
                  </a:cubicBezTo>
                  <a:cubicBezTo>
                    <a:pt x="32755" y="75589"/>
                    <a:pt x="32755" y="74330"/>
                    <a:pt x="32755" y="74330"/>
                  </a:cubicBezTo>
                  <a:cubicBezTo>
                    <a:pt x="32755" y="74330"/>
                    <a:pt x="32755" y="73070"/>
                    <a:pt x="32755" y="73070"/>
                  </a:cubicBezTo>
                  <a:cubicBezTo>
                    <a:pt x="32755" y="73070"/>
                    <a:pt x="32755" y="73070"/>
                    <a:pt x="32755" y="73070"/>
                  </a:cubicBezTo>
                  <a:lnTo>
                    <a:pt x="34015" y="69290"/>
                  </a:lnTo>
                  <a:lnTo>
                    <a:pt x="34015" y="68031"/>
                  </a:lnTo>
                  <a:lnTo>
                    <a:pt x="34015" y="66771"/>
                  </a:lnTo>
                  <a:cubicBezTo>
                    <a:pt x="34015" y="65511"/>
                    <a:pt x="34015" y="65511"/>
                    <a:pt x="35275" y="64251"/>
                  </a:cubicBezTo>
                  <a:cubicBezTo>
                    <a:pt x="35275" y="62991"/>
                    <a:pt x="35275" y="62991"/>
                    <a:pt x="35275" y="61731"/>
                  </a:cubicBezTo>
                  <a:cubicBezTo>
                    <a:pt x="35275" y="60472"/>
                    <a:pt x="35275" y="60472"/>
                    <a:pt x="35275" y="59212"/>
                  </a:cubicBezTo>
                  <a:cubicBezTo>
                    <a:pt x="35275" y="57952"/>
                    <a:pt x="36535" y="56692"/>
                    <a:pt x="36535" y="55432"/>
                  </a:cubicBezTo>
                  <a:lnTo>
                    <a:pt x="36535" y="54172"/>
                  </a:lnTo>
                  <a:cubicBezTo>
                    <a:pt x="36535" y="52913"/>
                    <a:pt x="37795" y="51653"/>
                    <a:pt x="37795" y="50393"/>
                  </a:cubicBezTo>
                  <a:cubicBezTo>
                    <a:pt x="39054" y="46614"/>
                    <a:pt x="40314" y="42834"/>
                    <a:pt x="40314" y="39055"/>
                  </a:cubicBezTo>
                  <a:lnTo>
                    <a:pt x="40314" y="36535"/>
                  </a:lnTo>
                  <a:cubicBezTo>
                    <a:pt x="40314" y="35275"/>
                    <a:pt x="40314" y="34015"/>
                    <a:pt x="41574" y="34015"/>
                  </a:cubicBezTo>
                  <a:cubicBezTo>
                    <a:pt x="41574" y="34015"/>
                    <a:pt x="41574" y="34015"/>
                    <a:pt x="41574" y="34015"/>
                  </a:cubicBezTo>
                  <a:lnTo>
                    <a:pt x="41574" y="32755"/>
                  </a:lnTo>
                  <a:cubicBezTo>
                    <a:pt x="41574" y="31496"/>
                    <a:pt x="41574" y="30236"/>
                    <a:pt x="42834" y="30236"/>
                  </a:cubicBezTo>
                  <a:cubicBezTo>
                    <a:pt x="42834" y="30236"/>
                    <a:pt x="42834" y="28976"/>
                    <a:pt x="42834" y="28976"/>
                  </a:cubicBezTo>
                  <a:lnTo>
                    <a:pt x="42834" y="27716"/>
                  </a:lnTo>
                  <a:lnTo>
                    <a:pt x="42834" y="26456"/>
                  </a:lnTo>
                  <a:lnTo>
                    <a:pt x="42834" y="26456"/>
                  </a:lnTo>
                  <a:lnTo>
                    <a:pt x="42834" y="25196"/>
                  </a:lnTo>
                  <a:lnTo>
                    <a:pt x="42834" y="25196"/>
                  </a:lnTo>
                  <a:cubicBezTo>
                    <a:pt x="42834" y="25196"/>
                    <a:pt x="42834" y="25196"/>
                    <a:pt x="42834" y="25196"/>
                  </a:cubicBezTo>
                  <a:cubicBezTo>
                    <a:pt x="42834" y="23937"/>
                    <a:pt x="42834" y="23937"/>
                    <a:pt x="42834" y="22677"/>
                  </a:cubicBezTo>
                  <a:lnTo>
                    <a:pt x="42834" y="21417"/>
                  </a:lnTo>
                  <a:cubicBezTo>
                    <a:pt x="42834" y="20157"/>
                    <a:pt x="42834" y="18897"/>
                    <a:pt x="44094" y="17638"/>
                  </a:cubicBezTo>
                  <a:lnTo>
                    <a:pt x="44094" y="16378"/>
                  </a:lnTo>
                  <a:lnTo>
                    <a:pt x="44094" y="13858"/>
                  </a:lnTo>
                  <a:cubicBezTo>
                    <a:pt x="44094" y="12598"/>
                    <a:pt x="44094" y="11339"/>
                    <a:pt x="44094" y="10079"/>
                  </a:cubicBezTo>
                  <a:lnTo>
                    <a:pt x="44094" y="8819"/>
                  </a:lnTo>
                  <a:lnTo>
                    <a:pt x="44094" y="7559"/>
                  </a:lnTo>
                  <a:cubicBezTo>
                    <a:pt x="44094" y="6299"/>
                    <a:pt x="44094" y="6299"/>
                    <a:pt x="44094" y="5039"/>
                  </a:cubicBezTo>
                  <a:cubicBezTo>
                    <a:pt x="44094" y="3780"/>
                    <a:pt x="44094" y="3780"/>
                    <a:pt x="44094" y="2520"/>
                  </a:cubicBezTo>
                  <a:lnTo>
                    <a:pt x="44094" y="2520"/>
                  </a:lnTo>
                  <a:cubicBezTo>
                    <a:pt x="44094" y="2520"/>
                    <a:pt x="44094" y="1260"/>
                    <a:pt x="44094" y="1260"/>
                  </a:cubicBezTo>
                  <a:cubicBezTo>
                    <a:pt x="44094" y="1260"/>
                    <a:pt x="44094" y="1260"/>
                    <a:pt x="44094" y="1260"/>
                  </a:cubicBezTo>
                  <a:lnTo>
                    <a:pt x="44094" y="1260"/>
                  </a:lnTo>
                  <a:cubicBezTo>
                    <a:pt x="44094" y="1260"/>
                    <a:pt x="44094" y="0"/>
                    <a:pt x="44094" y="0"/>
                  </a:cubicBezTo>
                  <a:cubicBezTo>
                    <a:pt x="44094" y="0"/>
                    <a:pt x="44094" y="0"/>
                    <a:pt x="44094" y="0"/>
                  </a:cubicBezTo>
                  <a:lnTo>
                    <a:pt x="44094" y="0"/>
                  </a:lnTo>
                  <a:lnTo>
                    <a:pt x="44094" y="0"/>
                  </a:lnTo>
                  <a:lnTo>
                    <a:pt x="44094" y="0"/>
                  </a:lnTo>
                  <a:cubicBezTo>
                    <a:pt x="44094" y="0"/>
                    <a:pt x="42834" y="0"/>
                    <a:pt x="42834" y="0"/>
                  </a:cubicBezTo>
                  <a:cubicBezTo>
                    <a:pt x="42834" y="0"/>
                    <a:pt x="42834" y="0"/>
                    <a:pt x="42834" y="0"/>
                  </a:cubicBezTo>
                  <a:cubicBezTo>
                    <a:pt x="42834" y="0"/>
                    <a:pt x="42834" y="0"/>
                    <a:pt x="42834" y="0"/>
                  </a:cubicBezTo>
                  <a:cubicBezTo>
                    <a:pt x="42834" y="0"/>
                    <a:pt x="42834" y="0"/>
                    <a:pt x="42834" y="0"/>
                  </a:cubicBezTo>
                  <a:cubicBezTo>
                    <a:pt x="42834" y="0"/>
                    <a:pt x="41574" y="0"/>
                    <a:pt x="41574" y="1260"/>
                  </a:cubicBezTo>
                  <a:cubicBezTo>
                    <a:pt x="41574" y="1260"/>
                    <a:pt x="41574" y="1260"/>
                    <a:pt x="41574" y="1260"/>
                  </a:cubicBezTo>
                  <a:lnTo>
                    <a:pt x="41574" y="1260"/>
                  </a:lnTo>
                  <a:cubicBezTo>
                    <a:pt x="40314" y="1260"/>
                    <a:pt x="40314" y="2520"/>
                    <a:pt x="39054" y="2520"/>
                  </a:cubicBezTo>
                  <a:lnTo>
                    <a:pt x="39054" y="2520"/>
                  </a:lnTo>
                  <a:cubicBezTo>
                    <a:pt x="37795" y="2520"/>
                    <a:pt x="36535" y="3780"/>
                    <a:pt x="36535" y="5039"/>
                  </a:cubicBezTo>
                  <a:cubicBezTo>
                    <a:pt x="36535" y="5039"/>
                    <a:pt x="36535" y="5039"/>
                    <a:pt x="36535" y="5039"/>
                  </a:cubicBezTo>
                  <a:cubicBezTo>
                    <a:pt x="36535" y="5039"/>
                    <a:pt x="35275" y="6299"/>
                    <a:pt x="35275" y="6299"/>
                  </a:cubicBezTo>
                  <a:cubicBezTo>
                    <a:pt x="35275" y="6299"/>
                    <a:pt x="34015" y="7559"/>
                    <a:pt x="34015" y="7559"/>
                  </a:cubicBezTo>
                  <a:lnTo>
                    <a:pt x="34015" y="7559"/>
                  </a:lnTo>
                  <a:lnTo>
                    <a:pt x="34015" y="7559"/>
                  </a:lnTo>
                  <a:lnTo>
                    <a:pt x="34015" y="7559"/>
                  </a:lnTo>
                  <a:lnTo>
                    <a:pt x="34015" y="7559"/>
                  </a:lnTo>
                  <a:lnTo>
                    <a:pt x="34015" y="7559"/>
                  </a:lnTo>
                  <a:lnTo>
                    <a:pt x="34015" y="7559"/>
                  </a:lnTo>
                  <a:lnTo>
                    <a:pt x="34015" y="7559"/>
                  </a:lnTo>
                  <a:lnTo>
                    <a:pt x="34015" y="7559"/>
                  </a:lnTo>
                  <a:cubicBezTo>
                    <a:pt x="32755" y="8819"/>
                    <a:pt x="32755" y="8819"/>
                    <a:pt x="31496" y="10079"/>
                  </a:cubicBezTo>
                  <a:cubicBezTo>
                    <a:pt x="30236" y="11339"/>
                    <a:pt x="30236" y="11339"/>
                    <a:pt x="28976" y="12598"/>
                  </a:cubicBezTo>
                  <a:lnTo>
                    <a:pt x="27716" y="13858"/>
                  </a:lnTo>
                  <a:cubicBezTo>
                    <a:pt x="27716" y="13858"/>
                    <a:pt x="27716" y="13858"/>
                    <a:pt x="27716" y="13858"/>
                  </a:cubicBezTo>
                  <a:cubicBezTo>
                    <a:pt x="26456" y="15118"/>
                    <a:pt x="26456" y="15118"/>
                    <a:pt x="25196" y="16378"/>
                  </a:cubicBezTo>
                  <a:cubicBezTo>
                    <a:pt x="23937" y="16378"/>
                    <a:pt x="23937" y="17638"/>
                    <a:pt x="22677" y="17638"/>
                  </a:cubicBezTo>
                  <a:cubicBezTo>
                    <a:pt x="22677" y="17638"/>
                    <a:pt x="22677" y="17638"/>
                    <a:pt x="21417" y="18897"/>
                  </a:cubicBezTo>
                  <a:lnTo>
                    <a:pt x="21417" y="18897"/>
                  </a:lnTo>
                  <a:lnTo>
                    <a:pt x="20157" y="20157"/>
                  </a:lnTo>
                  <a:cubicBezTo>
                    <a:pt x="20157" y="20157"/>
                    <a:pt x="18897" y="21417"/>
                    <a:pt x="18897" y="21417"/>
                  </a:cubicBezTo>
                  <a:cubicBezTo>
                    <a:pt x="17637" y="22677"/>
                    <a:pt x="16378" y="23937"/>
                    <a:pt x="16378" y="25196"/>
                  </a:cubicBezTo>
                  <a:lnTo>
                    <a:pt x="15118" y="26456"/>
                  </a:lnTo>
                  <a:lnTo>
                    <a:pt x="13858" y="27716"/>
                  </a:lnTo>
                  <a:lnTo>
                    <a:pt x="13858" y="28976"/>
                  </a:lnTo>
                  <a:cubicBezTo>
                    <a:pt x="13858" y="30236"/>
                    <a:pt x="12598" y="30236"/>
                    <a:pt x="12598" y="31496"/>
                  </a:cubicBezTo>
                  <a:cubicBezTo>
                    <a:pt x="12598" y="31496"/>
                    <a:pt x="11338" y="32755"/>
                    <a:pt x="11338" y="32755"/>
                  </a:cubicBezTo>
                  <a:cubicBezTo>
                    <a:pt x="11338" y="32755"/>
                    <a:pt x="10079" y="34015"/>
                    <a:pt x="10079" y="34015"/>
                  </a:cubicBezTo>
                  <a:cubicBezTo>
                    <a:pt x="10079" y="34015"/>
                    <a:pt x="8819" y="35275"/>
                    <a:pt x="8819" y="35275"/>
                  </a:cubicBezTo>
                  <a:lnTo>
                    <a:pt x="7559" y="36535"/>
                  </a:lnTo>
                  <a:lnTo>
                    <a:pt x="7559" y="37795"/>
                  </a:lnTo>
                  <a:lnTo>
                    <a:pt x="7559" y="37795"/>
                  </a:lnTo>
                  <a:lnTo>
                    <a:pt x="7559" y="37795"/>
                  </a:lnTo>
                  <a:cubicBezTo>
                    <a:pt x="6299" y="39055"/>
                    <a:pt x="6299" y="39055"/>
                    <a:pt x="5039" y="40315"/>
                  </a:cubicBezTo>
                  <a:cubicBezTo>
                    <a:pt x="5039" y="40315"/>
                    <a:pt x="5039" y="40315"/>
                    <a:pt x="5039" y="40315"/>
                  </a:cubicBezTo>
                  <a:cubicBezTo>
                    <a:pt x="5039" y="40315"/>
                    <a:pt x="3780" y="41574"/>
                    <a:pt x="3780" y="41574"/>
                  </a:cubicBezTo>
                  <a:cubicBezTo>
                    <a:pt x="3780" y="41574"/>
                    <a:pt x="3780" y="41574"/>
                    <a:pt x="3780" y="41574"/>
                  </a:cubicBezTo>
                  <a:cubicBezTo>
                    <a:pt x="2520" y="42834"/>
                    <a:pt x="2520" y="42834"/>
                    <a:pt x="1260" y="44094"/>
                  </a:cubicBezTo>
                  <a:cubicBezTo>
                    <a:pt x="1260" y="44094"/>
                    <a:pt x="0" y="45354"/>
                    <a:pt x="0" y="46614"/>
                  </a:cubicBezTo>
                  <a:cubicBezTo>
                    <a:pt x="0" y="46614"/>
                    <a:pt x="0" y="46614"/>
                    <a:pt x="0" y="46614"/>
                  </a:cubicBezTo>
                  <a:cubicBezTo>
                    <a:pt x="0" y="46614"/>
                    <a:pt x="0" y="46614"/>
                    <a:pt x="0" y="46614"/>
                  </a:cubicBezTo>
                  <a:cubicBezTo>
                    <a:pt x="0" y="46614"/>
                    <a:pt x="0" y="46614"/>
                    <a:pt x="0" y="46614"/>
                  </a:cubicBezTo>
                  <a:cubicBezTo>
                    <a:pt x="0" y="46614"/>
                    <a:pt x="0" y="46614"/>
                    <a:pt x="0" y="46614"/>
                  </a:cubicBezTo>
                  <a:cubicBezTo>
                    <a:pt x="0" y="46614"/>
                    <a:pt x="0" y="47873"/>
                    <a:pt x="0" y="47873"/>
                  </a:cubicBezTo>
                  <a:cubicBezTo>
                    <a:pt x="8819" y="42834"/>
                    <a:pt x="8819" y="44094"/>
                    <a:pt x="8819" y="44094"/>
                  </a:cubicBezTo>
                  <a:close/>
                </a:path>
              </a:pathLst>
            </a:custGeom>
            <a:solidFill>
              <a:srgbClr val="00CFF0"/>
            </a:solidFill>
            <a:ln w="12584" cap="flat">
              <a:noFill/>
              <a:prstDash val="solid"/>
              <a:miter/>
            </a:ln>
          </p:spPr>
          <p:txBody>
            <a:bodyPr rtlCol="0" anchor="ctr"/>
            <a:lstStyle/>
            <a:p>
              <a:endParaRPr lang="zh-CN" altLang="en-US"/>
            </a:p>
          </p:txBody>
        </p:sp>
        <p:sp>
          <p:nvSpPr>
            <p:cNvPr id="10134" name="任意多边形: 形状 10133"/>
            <p:cNvSpPr/>
            <p:nvPr/>
          </p:nvSpPr>
          <p:spPr>
            <a:xfrm>
              <a:off x="2529181" y="3486951"/>
              <a:ext cx="365349" cy="377947"/>
            </a:xfrm>
            <a:custGeom>
              <a:avLst/>
              <a:gdLst>
                <a:gd name="connsiteX0" fmla="*/ 287240 w 365348"/>
                <a:gd name="connsiteY0" fmla="*/ 371648 h 377946"/>
                <a:gd name="connsiteX1" fmla="*/ 289759 w 365348"/>
                <a:gd name="connsiteY1" fmla="*/ 374167 h 377946"/>
                <a:gd name="connsiteX2" fmla="*/ 289759 w 365348"/>
                <a:gd name="connsiteY2" fmla="*/ 374167 h 377946"/>
                <a:gd name="connsiteX3" fmla="*/ 294799 w 365348"/>
                <a:gd name="connsiteY3" fmla="*/ 376687 h 377946"/>
                <a:gd name="connsiteX4" fmla="*/ 299838 w 365348"/>
                <a:gd name="connsiteY4" fmla="*/ 379207 h 377946"/>
                <a:gd name="connsiteX5" fmla="*/ 304877 w 365348"/>
                <a:gd name="connsiteY5" fmla="*/ 380467 h 377946"/>
                <a:gd name="connsiteX6" fmla="*/ 306137 w 365348"/>
                <a:gd name="connsiteY6" fmla="*/ 380467 h 377946"/>
                <a:gd name="connsiteX7" fmla="*/ 311176 w 365348"/>
                <a:gd name="connsiteY7" fmla="*/ 381726 h 377946"/>
                <a:gd name="connsiteX8" fmla="*/ 312436 w 365348"/>
                <a:gd name="connsiteY8" fmla="*/ 381726 h 377946"/>
                <a:gd name="connsiteX9" fmla="*/ 314956 w 365348"/>
                <a:gd name="connsiteY9" fmla="*/ 381726 h 377946"/>
                <a:gd name="connsiteX10" fmla="*/ 314956 w 365348"/>
                <a:gd name="connsiteY10" fmla="*/ 381726 h 377946"/>
                <a:gd name="connsiteX11" fmla="*/ 314956 w 365348"/>
                <a:gd name="connsiteY11" fmla="*/ 381726 h 377946"/>
                <a:gd name="connsiteX12" fmla="*/ 314956 w 365348"/>
                <a:gd name="connsiteY12" fmla="*/ 381726 h 377946"/>
                <a:gd name="connsiteX13" fmla="*/ 314956 w 365348"/>
                <a:gd name="connsiteY13" fmla="*/ 381726 h 377946"/>
                <a:gd name="connsiteX14" fmla="*/ 314956 w 365348"/>
                <a:gd name="connsiteY14" fmla="*/ 381726 h 377946"/>
                <a:gd name="connsiteX15" fmla="*/ 314956 w 365348"/>
                <a:gd name="connsiteY15" fmla="*/ 381726 h 377946"/>
                <a:gd name="connsiteX16" fmla="*/ 314956 w 365348"/>
                <a:gd name="connsiteY16" fmla="*/ 381726 h 377946"/>
                <a:gd name="connsiteX17" fmla="*/ 314956 w 365348"/>
                <a:gd name="connsiteY17" fmla="*/ 381726 h 377946"/>
                <a:gd name="connsiteX18" fmla="*/ 314956 w 365348"/>
                <a:gd name="connsiteY18" fmla="*/ 381726 h 377946"/>
                <a:gd name="connsiteX19" fmla="*/ 322515 w 365348"/>
                <a:gd name="connsiteY19" fmla="*/ 379207 h 377946"/>
                <a:gd name="connsiteX20" fmla="*/ 325034 w 365348"/>
                <a:gd name="connsiteY20" fmla="*/ 377947 h 377946"/>
                <a:gd name="connsiteX21" fmla="*/ 325034 w 365348"/>
                <a:gd name="connsiteY21" fmla="*/ 377947 h 377946"/>
                <a:gd name="connsiteX22" fmla="*/ 325034 w 365348"/>
                <a:gd name="connsiteY22" fmla="*/ 377947 h 377946"/>
                <a:gd name="connsiteX23" fmla="*/ 326294 w 365348"/>
                <a:gd name="connsiteY23" fmla="*/ 377947 h 377946"/>
                <a:gd name="connsiteX24" fmla="*/ 333853 w 365348"/>
                <a:gd name="connsiteY24" fmla="*/ 375427 h 377946"/>
                <a:gd name="connsiteX25" fmla="*/ 335113 w 365348"/>
                <a:gd name="connsiteY25" fmla="*/ 375427 h 377946"/>
                <a:gd name="connsiteX26" fmla="*/ 337633 w 365348"/>
                <a:gd name="connsiteY26" fmla="*/ 374167 h 377946"/>
                <a:gd name="connsiteX27" fmla="*/ 337633 w 365348"/>
                <a:gd name="connsiteY27" fmla="*/ 374167 h 377946"/>
                <a:gd name="connsiteX28" fmla="*/ 338892 w 365348"/>
                <a:gd name="connsiteY28" fmla="*/ 374167 h 377946"/>
                <a:gd name="connsiteX29" fmla="*/ 343932 w 365348"/>
                <a:gd name="connsiteY29" fmla="*/ 371648 h 377946"/>
                <a:gd name="connsiteX30" fmla="*/ 346452 w 365348"/>
                <a:gd name="connsiteY30" fmla="*/ 370388 h 377946"/>
                <a:gd name="connsiteX31" fmla="*/ 347711 w 365348"/>
                <a:gd name="connsiteY31" fmla="*/ 369128 h 377946"/>
                <a:gd name="connsiteX32" fmla="*/ 347711 w 365348"/>
                <a:gd name="connsiteY32" fmla="*/ 369128 h 377946"/>
                <a:gd name="connsiteX33" fmla="*/ 347711 w 365348"/>
                <a:gd name="connsiteY33" fmla="*/ 369128 h 377946"/>
                <a:gd name="connsiteX34" fmla="*/ 348971 w 365348"/>
                <a:gd name="connsiteY34" fmla="*/ 367868 h 377946"/>
                <a:gd name="connsiteX35" fmla="*/ 354010 w 365348"/>
                <a:gd name="connsiteY35" fmla="*/ 362829 h 377946"/>
                <a:gd name="connsiteX36" fmla="*/ 354010 w 365348"/>
                <a:gd name="connsiteY36" fmla="*/ 362829 h 377946"/>
                <a:gd name="connsiteX37" fmla="*/ 354010 w 365348"/>
                <a:gd name="connsiteY37" fmla="*/ 362829 h 377946"/>
                <a:gd name="connsiteX38" fmla="*/ 354010 w 365348"/>
                <a:gd name="connsiteY38" fmla="*/ 362829 h 377946"/>
                <a:gd name="connsiteX39" fmla="*/ 354010 w 365348"/>
                <a:gd name="connsiteY39" fmla="*/ 362829 h 377946"/>
                <a:gd name="connsiteX40" fmla="*/ 355270 w 365348"/>
                <a:gd name="connsiteY40" fmla="*/ 361569 h 377946"/>
                <a:gd name="connsiteX41" fmla="*/ 355270 w 365348"/>
                <a:gd name="connsiteY41" fmla="*/ 361569 h 377946"/>
                <a:gd name="connsiteX42" fmla="*/ 355270 w 365348"/>
                <a:gd name="connsiteY42" fmla="*/ 361569 h 377946"/>
                <a:gd name="connsiteX43" fmla="*/ 355270 w 365348"/>
                <a:gd name="connsiteY43" fmla="*/ 361569 h 377946"/>
                <a:gd name="connsiteX44" fmla="*/ 356530 w 365348"/>
                <a:gd name="connsiteY44" fmla="*/ 359050 h 377946"/>
                <a:gd name="connsiteX45" fmla="*/ 357790 w 365348"/>
                <a:gd name="connsiteY45" fmla="*/ 356530 h 377946"/>
                <a:gd name="connsiteX46" fmla="*/ 360309 w 365348"/>
                <a:gd name="connsiteY46" fmla="*/ 351491 h 377946"/>
                <a:gd name="connsiteX47" fmla="*/ 361569 w 365348"/>
                <a:gd name="connsiteY47" fmla="*/ 348971 h 377946"/>
                <a:gd name="connsiteX48" fmla="*/ 364089 w 365348"/>
                <a:gd name="connsiteY48" fmla="*/ 342672 h 377946"/>
                <a:gd name="connsiteX49" fmla="*/ 365349 w 365348"/>
                <a:gd name="connsiteY49" fmla="*/ 338892 h 377946"/>
                <a:gd name="connsiteX50" fmla="*/ 365349 w 365348"/>
                <a:gd name="connsiteY50" fmla="*/ 338892 h 377946"/>
                <a:gd name="connsiteX51" fmla="*/ 365349 w 365348"/>
                <a:gd name="connsiteY51" fmla="*/ 337633 h 377946"/>
                <a:gd name="connsiteX52" fmla="*/ 365349 w 365348"/>
                <a:gd name="connsiteY52" fmla="*/ 337633 h 377946"/>
                <a:gd name="connsiteX53" fmla="*/ 369128 w 365348"/>
                <a:gd name="connsiteY53" fmla="*/ 322515 h 377946"/>
                <a:gd name="connsiteX54" fmla="*/ 369128 w 365348"/>
                <a:gd name="connsiteY54" fmla="*/ 319995 h 377946"/>
                <a:gd name="connsiteX55" fmla="*/ 369128 w 365348"/>
                <a:gd name="connsiteY55" fmla="*/ 317475 h 377946"/>
                <a:gd name="connsiteX56" fmla="*/ 369128 w 365348"/>
                <a:gd name="connsiteY56" fmla="*/ 311176 h 377946"/>
                <a:gd name="connsiteX57" fmla="*/ 369128 w 365348"/>
                <a:gd name="connsiteY57" fmla="*/ 309916 h 377946"/>
                <a:gd name="connsiteX58" fmla="*/ 369128 w 365348"/>
                <a:gd name="connsiteY58" fmla="*/ 309916 h 377946"/>
                <a:gd name="connsiteX59" fmla="*/ 369128 w 365348"/>
                <a:gd name="connsiteY59" fmla="*/ 309916 h 377946"/>
                <a:gd name="connsiteX60" fmla="*/ 369128 w 365348"/>
                <a:gd name="connsiteY60" fmla="*/ 303617 h 377946"/>
                <a:gd name="connsiteX61" fmla="*/ 369128 w 365348"/>
                <a:gd name="connsiteY61" fmla="*/ 302358 h 377946"/>
                <a:gd name="connsiteX62" fmla="*/ 369128 w 365348"/>
                <a:gd name="connsiteY62" fmla="*/ 302358 h 377946"/>
                <a:gd name="connsiteX63" fmla="*/ 369128 w 365348"/>
                <a:gd name="connsiteY63" fmla="*/ 301098 h 377946"/>
                <a:gd name="connsiteX64" fmla="*/ 369128 w 365348"/>
                <a:gd name="connsiteY64" fmla="*/ 301098 h 377946"/>
                <a:gd name="connsiteX65" fmla="*/ 369128 w 365348"/>
                <a:gd name="connsiteY65" fmla="*/ 301098 h 377946"/>
                <a:gd name="connsiteX66" fmla="*/ 369128 w 365348"/>
                <a:gd name="connsiteY66" fmla="*/ 301098 h 377946"/>
                <a:gd name="connsiteX67" fmla="*/ 369128 w 365348"/>
                <a:gd name="connsiteY67" fmla="*/ 301098 h 377946"/>
                <a:gd name="connsiteX68" fmla="*/ 369128 w 365348"/>
                <a:gd name="connsiteY68" fmla="*/ 296058 h 377946"/>
                <a:gd name="connsiteX69" fmla="*/ 369128 w 365348"/>
                <a:gd name="connsiteY69" fmla="*/ 293539 h 377946"/>
                <a:gd name="connsiteX70" fmla="*/ 369128 w 365348"/>
                <a:gd name="connsiteY70" fmla="*/ 291019 h 377946"/>
                <a:gd name="connsiteX71" fmla="*/ 369128 w 365348"/>
                <a:gd name="connsiteY71" fmla="*/ 288499 h 377946"/>
                <a:gd name="connsiteX72" fmla="*/ 369128 w 365348"/>
                <a:gd name="connsiteY72" fmla="*/ 288499 h 377946"/>
                <a:gd name="connsiteX73" fmla="*/ 369128 w 365348"/>
                <a:gd name="connsiteY73" fmla="*/ 287240 h 377946"/>
                <a:gd name="connsiteX74" fmla="*/ 367868 w 365348"/>
                <a:gd name="connsiteY74" fmla="*/ 280940 h 377946"/>
                <a:gd name="connsiteX75" fmla="*/ 367868 w 365348"/>
                <a:gd name="connsiteY75" fmla="*/ 280940 h 377946"/>
                <a:gd name="connsiteX76" fmla="*/ 367868 w 365348"/>
                <a:gd name="connsiteY76" fmla="*/ 279681 h 377946"/>
                <a:gd name="connsiteX77" fmla="*/ 365349 w 365348"/>
                <a:gd name="connsiteY77" fmla="*/ 274641 h 377946"/>
                <a:gd name="connsiteX78" fmla="*/ 364089 w 365348"/>
                <a:gd name="connsiteY78" fmla="*/ 270862 h 377946"/>
                <a:gd name="connsiteX79" fmla="*/ 364089 w 365348"/>
                <a:gd name="connsiteY79" fmla="*/ 270862 h 377946"/>
                <a:gd name="connsiteX80" fmla="*/ 364089 w 365348"/>
                <a:gd name="connsiteY80" fmla="*/ 270862 h 377946"/>
                <a:gd name="connsiteX81" fmla="*/ 364089 w 365348"/>
                <a:gd name="connsiteY81" fmla="*/ 269602 h 377946"/>
                <a:gd name="connsiteX82" fmla="*/ 357790 w 365348"/>
                <a:gd name="connsiteY82" fmla="*/ 255744 h 377946"/>
                <a:gd name="connsiteX83" fmla="*/ 356530 w 365348"/>
                <a:gd name="connsiteY83" fmla="*/ 253224 h 377946"/>
                <a:gd name="connsiteX84" fmla="*/ 356530 w 365348"/>
                <a:gd name="connsiteY84" fmla="*/ 253224 h 377946"/>
                <a:gd name="connsiteX85" fmla="*/ 356530 w 365348"/>
                <a:gd name="connsiteY85" fmla="*/ 253224 h 377946"/>
                <a:gd name="connsiteX86" fmla="*/ 356530 w 365348"/>
                <a:gd name="connsiteY86" fmla="*/ 253224 h 377946"/>
                <a:gd name="connsiteX87" fmla="*/ 356530 w 365348"/>
                <a:gd name="connsiteY87" fmla="*/ 253224 h 377946"/>
                <a:gd name="connsiteX88" fmla="*/ 355270 w 365348"/>
                <a:gd name="connsiteY88" fmla="*/ 249445 h 377946"/>
                <a:gd name="connsiteX89" fmla="*/ 355270 w 365348"/>
                <a:gd name="connsiteY89" fmla="*/ 248185 h 377946"/>
                <a:gd name="connsiteX90" fmla="*/ 354010 w 365348"/>
                <a:gd name="connsiteY90" fmla="*/ 246925 h 377946"/>
                <a:gd name="connsiteX91" fmla="*/ 354010 w 365348"/>
                <a:gd name="connsiteY91" fmla="*/ 246925 h 377946"/>
                <a:gd name="connsiteX92" fmla="*/ 348971 w 365348"/>
                <a:gd name="connsiteY92" fmla="*/ 238107 h 377946"/>
                <a:gd name="connsiteX93" fmla="*/ 347711 w 365348"/>
                <a:gd name="connsiteY93" fmla="*/ 236847 h 377946"/>
                <a:gd name="connsiteX94" fmla="*/ 345192 w 365348"/>
                <a:gd name="connsiteY94" fmla="*/ 233067 h 377946"/>
                <a:gd name="connsiteX95" fmla="*/ 345192 w 365348"/>
                <a:gd name="connsiteY95" fmla="*/ 233067 h 377946"/>
                <a:gd name="connsiteX96" fmla="*/ 343932 w 365348"/>
                <a:gd name="connsiteY96" fmla="*/ 231807 h 377946"/>
                <a:gd name="connsiteX97" fmla="*/ 340152 w 365348"/>
                <a:gd name="connsiteY97" fmla="*/ 225508 h 377946"/>
                <a:gd name="connsiteX98" fmla="*/ 340152 w 365348"/>
                <a:gd name="connsiteY98" fmla="*/ 225508 h 377946"/>
                <a:gd name="connsiteX99" fmla="*/ 337633 w 365348"/>
                <a:gd name="connsiteY99" fmla="*/ 221729 h 377946"/>
                <a:gd name="connsiteX100" fmla="*/ 330074 w 365348"/>
                <a:gd name="connsiteY100" fmla="*/ 210390 h 377946"/>
                <a:gd name="connsiteX101" fmla="*/ 330074 w 365348"/>
                <a:gd name="connsiteY101" fmla="*/ 210390 h 377946"/>
                <a:gd name="connsiteX102" fmla="*/ 326294 w 365348"/>
                <a:gd name="connsiteY102" fmla="*/ 205351 h 377946"/>
                <a:gd name="connsiteX103" fmla="*/ 323775 w 365348"/>
                <a:gd name="connsiteY103" fmla="*/ 201572 h 377946"/>
                <a:gd name="connsiteX104" fmla="*/ 318735 w 365348"/>
                <a:gd name="connsiteY104" fmla="*/ 195273 h 377946"/>
                <a:gd name="connsiteX105" fmla="*/ 303617 w 365348"/>
                <a:gd name="connsiteY105" fmla="*/ 177635 h 377946"/>
                <a:gd name="connsiteX106" fmla="*/ 301098 w 365348"/>
                <a:gd name="connsiteY106" fmla="*/ 175115 h 377946"/>
                <a:gd name="connsiteX107" fmla="*/ 301098 w 365348"/>
                <a:gd name="connsiteY107" fmla="*/ 175115 h 377946"/>
                <a:gd name="connsiteX108" fmla="*/ 301098 w 365348"/>
                <a:gd name="connsiteY108" fmla="*/ 175115 h 377946"/>
                <a:gd name="connsiteX109" fmla="*/ 299838 w 365348"/>
                <a:gd name="connsiteY109" fmla="*/ 172596 h 377946"/>
                <a:gd name="connsiteX110" fmla="*/ 298578 w 365348"/>
                <a:gd name="connsiteY110" fmla="*/ 171336 h 377946"/>
                <a:gd name="connsiteX111" fmla="*/ 296059 w 365348"/>
                <a:gd name="connsiteY111" fmla="*/ 168816 h 377946"/>
                <a:gd name="connsiteX112" fmla="*/ 277161 w 365348"/>
                <a:gd name="connsiteY112" fmla="*/ 149919 h 377946"/>
                <a:gd name="connsiteX113" fmla="*/ 269602 w 365348"/>
                <a:gd name="connsiteY113" fmla="*/ 143620 h 377946"/>
                <a:gd name="connsiteX114" fmla="*/ 260783 w 365348"/>
                <a:gd name="connsiteY114" fmla="*/ 136061 h 377946"/>
                <a:gd name="connsiteX115" fmla="*/ 260783 w 365348"/>
                <a:gd name="connsiteY115" fmla="*/ 136061 h 377946"/>
                <a:gd name="connsiteX116" fmla="*/ 260783 w 365348"/>
                <a:gd name="connsiteY116" fmla="*/ 136061 h 377946"/>
                <a:gd name="connsiteX117" fmla="*/ 260783 w 365348"/>
                <a:gd name="connsiteY117" fmla="*/ 136061 h 377946"/>
                <a:gd name="connsiteX118" fmla="*/ 260783 w 365348"/>
                <a:gd name="connsiteY118" fmla="*/ 136061 h 377946"/>
                <a:gd name="connsiteX119" fmla="*/ 243146 w 365348"/>
                <a:gd name="connsiteY119" fmla="*/ 119683 h 377946"/>
                <a:gd name="connsiteX120" fmla="*/ 216690 w 365348"/>
                <a:gd name="connsiteY120" fmla="*/ 95746 h 377946"/>
                <a:gd name="connsiteX121" fmla="*/ 201572 w 365348"/>
                <a:gd name="connsiteY121" fmla="*/ 83148 h 377946"/>
                <a:gd name="connsiteX122" fmla="*/ 192753 w 365348"/>
                <a:gd name="connsiteY122" fmla="*/ 76849 h 377946"/>
                <a:gd name="connsiteX123" fmla="*/ 186454 w 365348"/>
                <a:gd name="connsiteY123" fmla="*/ 71810 h 377946"/>
                <a:gd name="connsiteX124" fmla="*/ 182674 w 365348"/>
                <a:gd name="connsiteY124" fmla="*/ 69290 h 377946"/>
                <a:gd name="connsiteX125" fmla="*/ 170076 w 365348"/>
                <a:gd name="connsiteY125" fmla="*/ 59212 h 377946"/>
                <a:gd name="connsiteX126" fmla="*/ 168816 w 365348"/>
                <a:gd name="connsiteY126" fmla="*/ 57952 h 377946"/>
                <a:gd name="connsiteX127" fmla="*/ 166297 w 365348"/>
                <a:gd name="connsiteY127" fmla="*/ 55432 h 377946"/>
                <a:gd name="connsiteX128" fmla="*/ 162517 w 365348"/>
                <a:gd name="connsiteY128" fmla="*/ 51653 h 377946"/>
                <a:gd name="connsiteX129" fmla="*/ 156218 w 365348"/>
                <a:gd name="connsiteY129" fmla="*/ 45354 h 377946"/>
                <a:gd name="connsiteX130" fmla="*/ 156218 w 365348"/>
                <a:gd name="connsiteY130" fmla="*/ 45354 h 377946"/>
                <a:gd name="connsiteX131" fmla="*/ 156218 w 365348"/>
                <a:gd name="connsiteY131" fmla="*/ 45354 h 377946"/>
                <a:gd name="connsiteX132" fmla="*/ 156218 w 365348"/>
                <a:gd name="connsiteY132" fmla="*/ 45354 h 377946"/>
                <a:gd name="connsiteX133" fmla="*/ 156218 w 365348"/>
                <a:gd name="connsiteY133" fmla="*/ 45354 h 377946"/>
                <a:gd name="connsiteX134" fmla="*/ 156218 w 365348"/>
                <a:gd name="connsiteY134" fmla="*/ 45354 h 377946"/>
                <a:gd name="connsiteX135" fmla="*/ 156218 w 365348"/>
                <a:gd name="connsiteY135" fmla="*/ 45354 h 377946"/>
                <a:gd name="connsiteX136" fmla="*/ 156218 w 365348"/>
                <a:gd name="connsiteY136" fmla="*/ 45354 h 377946"/>
                <a:gd name="connsiteX137" fmla="*/ 156218 w 365348"/>
                <a:gd name="connsiteY137" fmla="*/ 45354 h 377946"/>
                <a:gd name="connsiteX138" fmla="*/ 152439 w 365348"/>
                <a:gd name="connsiteY138" fmla="*/ 42834 h 377946"/>
                <a:gd name="connsiteX139" fmla="*/ 151179 w 365348"/>
                <a:gd name="connsiteY139" fmla="*/ 42834 h 377946"/>
                <a:gd name="connsiteX140" fmla="*/ 151179 w 365348"/>
                <a:gd name="connsiteY140" fmla="*/ 42834 h 377946"/>
                <a:gd name="connsiteX141" fmla="*/ 151179 w 365348"/>
                <a:gd name="connsiteY141" fmla="*/ 42834 h 377946"/>
                <a:gd name="connsiteX142" fmla="*/ 151179 w 365348"/>
                <a:gd name="connsiteY142" fmla="*/ 42834 h 377946"/>
                <a:gd name="connsiteX143" fmla="*/ 151179 w 365348"/>
                <a:gd name="connsiteY143" fmla="*/ 42834 h 377946"/>
                <a:gd name="connsiteX144" fmla="*/ 151179 w 365348"/>
                <a:gd name="connsiteY144" fmla="*/ 42834 h 377946"/>
                <a:gd name="connsiteX145" fmla="*/ 151179 w 365348"/>
                <a:gd name="connsiteY145" fmla="*/ 42834 h 377946"/>
                <a:gd name="connsiteX146" fmla="*/ 151179 w 365348"/>
                <a:gd name="connsiteY146" fmla="*/ 42834 h 377946"/>
                <a:gd name="connsiteX147" fmla="*/ 151179 w 365348"/>
                <a:gd name="connsiteY147" fmla="*/ 42834 h 377946"/>
                <a:gd name="connsiteX148" fmla="*/ 151179 w 365348"/>
                <a:gd name="connsiteY148" fmla="*/ 42834 h 377946"/>
                <a:gd name="connsiteX149" fmla="*/ 151179 w 365348"/>
                <a:gd name="connsiteY149" fmla="*/ 42834 h 377946"/>
                <a:gd name="connsiteX150" fmla="*/ 138581 w 365348"/>
                <a:gd name="connsiteY150" fmla="*/ 34015 h 377946"/>
                <a:gd name="connsiteX151" fmla="*/ 133541 w 365348"/>
                <a:gd name="connsiteY151" fmla="*/ 30236 h 377946"/>
                <a:gd name="connsiteX152" fmla="*/ 128502 w 365348"/>
                <a:gd name="connsiteY152" fmla="*/ 26456 h 377946"/>
                <a:gd name="connsiteX153" fmla="*/ 119683 w 365348"/>
                <a:gd name="connsiteY153" fmla="*/ 21417 h 377946"/>
                <a:gd name="connsiteX154" fmla="*/ 119683 w 365348"/>
                <a:gd name="connsiteY154" fmla="*/ 21417 h 377946"/>
                <a:gd name="connsiteX155" fmla="*/ 119683 w 365348"/>
                <a:gd name="connsiteY155" fmla="*/ 21417 h 377946"/>
                <a:gd name="connsiteX156" fmla="*/ 115904 w 365348"/>
                <a:gd name="connsiteY156" fmla="*/ 20157 h 377946"/>
                <a:gd name="connsiteX157" fmla="*/ 109605 w 365348"/>
                <a:gd name="connsiteY157" fmla="*/ 16378 h 377946"/>
                <a:gd name="connsiteX158" fmla="*/ 109605 w 365348"/>
                <a:gd name="connsiteY158" fmla="*/ 16378 h 377946"/>
                <a:gd name="connsiteX159" fmla="*/ 105825 w 365348"/>
                <a:gd name="connsiteY159" fmla="*/ 13858 h 377946"/>
                <a:gd name="connsiteX160" fmla="*/ 91967 w 365348"/>
                <a:gd name="connsiteY160" fmla="*/ 7559 h 377946"/>
                <a:gd name="connsiteX161" fmla="*/ 69290 w 365348"/>
                <a:gd name="connsiteY161" fmla="*/ 1260 h 377946"/>
                <a:gd name="connsiteX162" fmla="*/ 55432 w 365348"/>
                <a:gd name="connsiteY162" fmla="*/ 0 h 377946"/>
                <a:gd name="connsiteX163" fmla="*/ 42834 w 365348"/>
                <a:gd name="connsiteY163" fmla="*/ 0 h 377946"/>
                <a:gd name="connsiteX164" fmla="*/ 41574 w 365348"/>
                <a:gd name="connsiteY164" fmla="*/ 0 h 377946"/>
                <a:gd name="connsiteX165" fmla="*/ 35275 w 365348"/>
                <a:gd name="connsiteY165" fmla="*/ 1260 h 377946"/>
                <a:gd name="connsiteX166" fmla="*/ 26456 w 365348"/>
                <a:gd name="connsiteY166" fmla="*/ 5039 h 377946"/>
                <a:gd name="connsiteX167" fmla="*/ 25196 w 365348"/>
                <a:gd name="connsiteY167" fmla="*/ 6299 h 377946"/>
                <a:gd name="connsiteX168" fmla="*/ 21417 w 365348"/>
                <a:gd name="connsiteY168" fmla="*/ 7559 h 377946"/>
                <a:gd name="connsiteX169" fmla="*/ 20157 w 365348"/>
                <a:gd name="connsiteY169" fmla="*/ 8819 h 377946"/>
                <a:gd name="connsiteX170" fmla="*/ 17638 w 365348"/>
                <a:gd name="connsiteY170" fmla="*/ 10078 h 377946"/>
                <a:gd name="connsiteX171" fmla="*/ 13858 w 365348"/>
                <a:gd name="connsiteY171" fmla="*/ 13858 h 377946"/>
                <a:gd name="connsiteX172" fmla="*/ 7559 w 365348"/>
                <a:gd name="connsiteY172" fmla="*/ 25196 h 377946"/>
                <a:gd name="connsiteX173" fmla="*/ 3780 w 365348"/>
                <a:gd name="connsiteY173" fmla="*/ 35275 h 377946"/>
                <a:gd name="connsiteX174" fmla="*/ 3780 w 365348"/>
                <a:gd name="connsiteY174" fmla="*/ 35275 h 377946"/>
                <a:gd name="connsiteX175" fmla="*/ 1260 w 365348"/>
                <a:gd name="connsiteY175" fmla="*/ 42834 h 377946"/>
                <a:gd name="connsiteX176" fmla="*/ 0 w 365348"/>
                <a:gd name="connsiteY176" fmla="*/ 61731 h 377946"/>
                <a:gd name="connsiteX177" fmla="*/ 1260 w 365348"/>
                <a:gd name="connsiteY177" fmla="*/ 80629 h 377946"/>
                <a:gd name="connsiteX178" fmla="*/ 1260 w 365348"/>
                <a:gd name="connsiteY178" fmla="*/ 80629 h 377946"/>
                <a:gd name="connsiteX179" fmla="*/ 1260 w 365348"/>
                <a:gd name="connsiteY179" fmla="*/ 80629 h 377946"/>
                <a:gd name="connsiteX180" fmla="*/ 1260 w 365348"/>
                <a:gd name="connsiteY180" fmla="*/ 80629 h 377946"/>
                <a:gd name="connsiteX181" fmla="*/ 1260 w 365348"/>
                <a:gd name="connsiteY181" fmla="*/ 80629 h 377946"/>
                <a:gd name="connsiteX182" fmla="*/ 1260 w 365348"/>
                <a:gd name="connsiteY182" fmla="*/ 80629 h 377946"/>
                <a:gd name="connsiteX183" fmla="*/ 2520 w 365348"/>
                <a:gd name="connsiteY183" fmla="*/ 86928 h 377946"/>
                <a:gd name="connsiteX184" fmla="*/ 7559 w 365348"/>
                <a:gd name="connsiteY184" fmla="*/ 102046 h 377946"/>
                <a:gd name="connsiteX185" fmla="*/ 10079 w 365348"/>
                <a:gd name="connsiteY185" fmla="*/ 105825 h 377946"/>
                <a:gd name="connsiteX186" fmla="*/ 21417 w 365348"/>
                <a:gd name="connsiteY186" fmla="*/ 119683 h 377946"/>
                <a:gd name="connsiteX187" fmla="*/ 34015 w 365348"/>
                <a:gd name="connsiteY187" fmla="*/ 132281 h 377946"/>
                <a:gd name="connsiteX188" fmla="*/ 34015 w 365348"/>
                <a:gd name="connsiteY188" fmla="*/ 132281 h 377946"/>
                <a:gd name="connsiteX189" fmla="*/ 46614 w 365348"/>
                <a:gd name="connsiteY189" fmla="*/ 143620 h 377946"/>
                <a:gd name="connsiteX190" fmla="*/ 60472 w 365348"/>
                <a:gd name="connsiteY190" fmla="*/ 156218 h 377946"/>
                <a:gd name="connsiteX191" fmla="*/ 71810 w 365348"/>
                <a:gd name="connsiteY191" fmla="*/ 167556 h 377946"/>
                <a:gd name="connsiteX192" fmla="*/ 73070 w 365348"/>
                <a:gd name="connsiteY192" fmla="*/ 168816 h 377946"/>
                <a:gd name="connsiteX193" fmla="*/ 75589 w 365348"/>
                <a:gd name="connsiteY193" fmla="*/ 171336 h 377946"/>
                <a:gd name="connsiteX194" fmla="*/ 99526 w 365348"/>
                <a:gd name="connsiteY194" fmla="*/ 192753 h 377946"/>
                <a:gd name="connsiteX195" fmla="*/ 113384 w 365348"/>
                <a:gd name="connsiteY195" fmla="*/ 204091 h 377946"/>
                <a:gd name="connsiteX196" fmla="*/ 125982 w 365348"/>
                <a:gd name="connsiteY196" fmla="*/ 214170 h 377946"/>
                <a:gd name="connsiteX197" fmla="*/ 128502 w 365348"/>
                <a:gd name="connsiteY197" fmla="*/ 215430 h 377946"/>
                <a:gd name="connsiteX198" fmla="*/ 133541 w 365348"/>
                <a:gd name="connsiteY198" fmla="*/ 220469 h 377946"/>
                <a:gd name="connsiteX199" fmla="*/ 141100 w 365348"/>
                <a:gd name="connsiteY199" fmla="*/ 226768 h 377946"/>
                <a:gd name="connsiteX200" fmla="*/ 157478 w 365348"/>
                <a:gd name="connsiteY200" fmla="*/ 239366 h 377946"/>
                <a:gd name="connsiteX201" fmla="*/ 171336 w 365348"/>
                <a:gd name="connsiteY201" fmla="*/ 248185 h 377946"/>
                <a:gd name="connsiteX202" fmla="*/ 186454 w 365348"/>
                <a:gd name="connsiteY202" fmla="*/ 258264 h 377946"/>
                <a:gd name="connsiteX203" fmla="*/ 196532 w 365348"/>
                <a:gd name="connsiteY203" fmla="*/ 265823 h 377946"/>
                <a:gd name="connsiteX204" fmla="*/ 199052 w 365348"/>
                <a:gd name="connsiteY204" fmla="*/ 268342 h 377946"/>
                <a:gd name="connsiteX205" fmla="*/ 205351 w 365348"/>
                <a:gd name="connsiteY205" fmla="*/ 273382 h 377946"/>
                <a:gd name="connsiteX206" fmla="*/ 212910 w 365348"/>
                <a:gd name="connsiteY206" fmla="*/ 279681 h 377946"/>
                <a:gd name="connsiteX207" fmla="*/ 214170 w 365348"/>
                <a:gd name="connsiteY207" fmla="*/ 279681 h 377946"/>
                <a:gd name="connsiteX208" fmla="*/ 228028 w 365348"/>
                <a:gd name="connsiteY208" fmla="*/ 291019 h 377946"/>
                <a:gd name="connsiteX209" fmla="*/ 241886 w 365348"/>
                <a:gd name="connsiteY209" fmla="*/ 303617 h 377946"/>
                <a:gd name="connsiteX210" fmla="*/ 246925 w 365348"/>
                <a:gd name="connsiteY210" fmla="*/ 309916 h 377946"/>
                <a:gd name="connsiteX211" fmla="*/ 250705 w 365348"/>
                <a:gd name="connsiteY211" fmla="*/ 316216 h 377946"/>
                <a:gd name="connsiteX212" fmla="*/ 253224 w 365348"/>
                <a:gd name="connsiteY212" fmla="*/ 322515 h 377946"/>
                <a:gd name="connsiteX213" fmla="*/ 253224 w 365348"/>
                <a:gd name="connsiteY213" fmla="*/ 323775 h 377946"/>
                <a:gd name="connsiteX214" fmla="*/ 260783 w 365348"/>
                <a:gd name="connsiteY214" fmla="*/ 338892 h 377946"/>
                <a:gd name="connsiteX215" fmla="*/ 260783 w 365348"/>
                <a:gd name="connsiteY215" fmla="*/ 338892 h 377946"/>
                <a:gd name="connsiteX216" fmla="*/ 264563 w 365348"/>
                <a:gd name="connsiteY216" fmla="*/ 346451 h 377946"/>
                <a:gd name="connsiteX217" fmla="*/ 267083 w 365348"/>
                <a:gd name="connsiteY217" fmla="*/ 351491 h 377946"/>
                <a:gd name="connsiteX218" fmla="*/ 268342 w 365348"/>
                <a:gd name="connsiteY218" fmla="*/ 354010 h 377946"/>
                <a:gd name="connsiteX219" fmla="*/ 270862 w 365348"/>
                <a:gd name="connsiteY219" fmla="*/ 357790 h 377946"/>
                <a:gd name="connsiteX220" fmla="*/ 272122 w 365348"/>
                <a:gd name="connsiteY220" fmla="*/ 360309 h 377946"/>
                <a:gd name="connsiteX221" fmla="*/ 278421 w 365348"/>
                <a:gd name="connsiteY221" fmla="*/ 367868 h 377946"/>
                <a:gd name="connsiteX222" fmla="*/ 279681 w 365348"/>
                <a:gd name="connsiteY222" fmla="*/ 370388 h 377946"/>
                <a:gd name="connsiteX223" fmla="*/ 287240 w 365348"/>
                <a:gd name="connsiteY223" fmla="*/ 371648 h 37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365348" h="377946">
                  <a:moveTo>
                    <a:pt x="287240" y="371648"/>
                  </a:moveTo>
                  <a:cubicBezTo>
                    <a:pt x="288500" y="372908"/>
                    <a:pt x="289759" y="372908"/>
                    <a:pt x="289759" y="374167"/>
                  </a:cubicBezTo>
                  <a:lnTo>
                    <a:pt x="289759" y="374167"/>
                  </a:lnTo>
                  <a:cubicBezTo>
                    <a:pt x="291019" y="375427"/>
                    <a:pt x="292279" y="376687"/>
                    <a:pt x="294799" y="376687"/>
                  </a:cubicBezTo>
                  <a:cubicBezTo>
                    <a:pt x="296059" y="377947"/>
                    <a:pt x="298578" y="377947"/>
                    <a:pt x="299838" y="379207"/>
                  </a:cubicBezTo>
                  <a:cubicBezTo>
                    <a:pt x="301098" y="380467"/>
                    <a:pt x="303617" y="380467"/>
                    <a:pt x="304877" y="380467"/>
                  </a:cubicBezTo>
                  <a:cubicBezTo>
                    <a:pt x="304877" y="380467"/>
                    <a:pt x="306137" y="380467"/>
                    <a:pt x="306137" y="380467"/>
                  </a:cubicBezTo>
                  <a:cubicBezTo>
                    <a:pt x="308657" y="380467"/>
                    <a:pt x="309917" y="381726"/>
                    <a:pt x="311176" y="381726"/>
                  </a:cubicBezTo>
                  <a:cubicBezTo>
                    <a:pt x="311176" y="381726"/>
                    <a:pt x="312436" y="381726"/>
                    <a:pt x="312436" y="381726"/>
                  </a:cubicBezTo>
                  <a:cubicBezTo>
                    <a:pt x="313696" y="381726"/>
                    <a:pt x="313696" y="381726"/>
                    <a:pt x="314956" y="381726"/>
                  </a:cubicBezTo>
                  <a:cubicBezTo>
                    <a:pt x="314956" y="381726"/>
                    <a:pt x="314956" y="381726"/>
                    <a:pt x="314956" y="381726"/>
                  </a:cubicBezTo>
                  <a:lnTo>
                    <a:pt x="314956" y="381726"/>
                  </a:lnTo>
                  <a:cubicBezTo>
                    <a:pt x="314956" y="381726"/>
                    <a:pt x="314956" y="381726"/>
                    <a:pt x="314956" y="381726"/>
                  </a:cubicBezTo>
                  <a:lnTo>
                    <a:pt x="314956" y="381726"/>
                  </a:lnTo>
                  <a:cubicBezTo>
                    <a:pt x="314956" y="381726"/>
                    <a:pt x="314956" y="381726"/>
                    <a:pt x="314956" y="381726"/>
                  </a:cubicBezTo>
                  <a:lnTo>
                    <a:pt x="314956" y="381726"/>
                  </a:lnTo>
                  <a:lnTo>
                    <a:pt x="314956" y="381726"/>
                  </a:lnTo>
                  <a:cubicBezTo>
                    <a:pt x="314956" y="381726"/>
                    <a:pt x="314956" y="381726"/>
                    <a:pt x="314956" y="381726"/>
                  </a:cubicBezTo>
                  <a:cubicBezTo>
                    <a:pt x="314956" y="381726"/>
                    <a:pt x="314956" y="381726"/>
                    <a:pt x="314956" y="381726"/>
                  </a:cubicBezTo>
                  <a:cubicBezTo>
                    <a:pt x="317476" y="381726"/>
                    <a:pt x="319995" y="380467"/>
                    <a:pt x="322515" y="379207"/>
                  </a:cubicBezTo>
                  <a:cubicBezTo>
                    <a:pt x="323775" y="379207"/>
                    <a:pt x="325034" y="377947"/>
                    <a:pt x="325034" y="377947"/>
                  </a:cubicBezTo>
                  <a:lnTo>
                    <a:pt x="325034" y="377947"/>
                  </a:lnTo>
                  <a:lnTo>
                    <a:pt x="325034" y="377947"/>
                  </a:lnTo>
                  <a:cubicBezTo>
                    <a:pt x="325034" y="377947"/>
                    <a:pt x="325034" y="377947"/>
                    <a:pt x="326294" y="377947"/>
                  </a:cubicBezTo>
                  <a:cubicBezTo>
                    <a:pt x="328814" y="376687"/>
                    <a:pt x="331333" y="375427"/>
                    <a:pt x="333853" y="375427"/>
                  </a:cubicBezTo>
                  <a:cubicBezTo>
                    <a:pt x="333853" y="375427"/>
                    <a:pt x="333853" y="375427"/>
                    <a:pt x="335113" y="375427"/>
                  </a:cubicBezTo>
                  <a:cubicBezTo>
                    <a:pt x="336373" y="375427"/>
                    <a:pt x="336373" y="374167"/>
                    <a:pt x="337633" y="374167"/>
                  </a:cubicBezTo>
                  <a:lnTo>
                    <a:pt x="337633" y="374167"/>
                  </a:lnTo>
                  <a:lnTo>
                    <a:pt x="338892" y="374167"/>
                  </a:lnTo>
                  <a:cubicBezTo>
                    <a:pt x="340152" y="372908"/>
                    <a:pt x="341412" y="372908"/>
                    <a:pt x="343932" y="371648"/>
                  </a:cubicBezTo>
                  <a:cubicBezTo>
                    <a:pt x="345192" y="371648"/>
                    <a:pt x="345192" y="370388"/>
                    <a:pt x="346452" y="370388"/>
                  </a:cubicBezTo>
                  <a:cubicBezTo>
                    <a:pt x="346452" y="370388"/>
                    <a:pt x="346452" y="370388"/>
                    <a:pt x="347711" y="369128"/>
                  </a:cubicBezTo>
                  <a:lnTo>
                    <a:pt x="347711" y="369128"/>
                  </a:lnTo>
                  <a:lnTo>
                    <a:pt x="347711" y="369128"/>
                  </a:lnTo>
                  <a:cubicBezTo>
                    <a:pt x="347711" y="369128"/>
                    <a:pt x="348971" y="367868"/>
                    <a:pt x="348971" y="367868"/>
                  </a:cubicBezTo>
                  <a:cubicBezTo>
                    <a:pt x="350231" y="366608"/>
                    <a:pt x="352751" y="364089"/>
                    <a:pt x="354010" y="362829"/>
                  </a:cubicBezTo>
                  <a:cubicBezTo>
                    <a:pt x="354010" y="362829"/>
                    <a:pt x="354010" y="362829"/>
                    <a:pt x="354010" y="362829"/>
                  </a:cubicBezTo>
                  <a:lnTo>
                    <a:pt x="354010" y="362829"/>
                  </a:lnTo>
                  <a:lnTo>
                    <a:pt x="354010" y="362829"/>
                  </a:lnTo>
                  <a:cubicBezTo>
                    <a:pt x="354010" y="362829"/>
                    <a:pt x="354010" y="362829"/>
                    <a:pt x="354010" y="362829"/>
                  </a:cubicBezTo>
                  <a:cubicBezTo>
                    <a:pt x="354010" y="362829"/>
                    <a:pt x="355270" y="361569"/>
                    <a:pt x="355270" y="361569"/>
                  </a:cubicBezTo>
                  <a:cubicBezTo>
                    <a:pt x="355270" y="361569"/>
                    <a:pt x="355270" y="361569"/>
                    <a:pt x="355270" y="361569"/>
                  </a:cubicBezTo>
                  <a:cubicBezTo>
                    <a:pt x="355270" y="361569"/>
                    <a:pt x="355270" y="361569"/>
                    <a:pt x="355270" y="361569"/>
                  </a:cubicBezTo>
                  <a:cubicBezTo>
                    <a:pt x="355270" y="361569"/>
                    <a:pt x="355270" y="361569"/>
                    <a:pt x="355270" y="361569"/>
                  </a:cubicBezTo>
                  <a:cubicBezTo>
                    <a:pt x="355270" y="360309"/>
                    <a:pt x="356530" y="360309"/>
                    <a:pt x="356530" y="359050"/>
                  </a:cubicBezTo>
                  <a:cubicBezTo>
                    <a:pt x="356530" y="357790"/>
                    <a:pt x="357790" y="357790"/>
                    <a:pt x="357790" y="356530"/>
                  </a:cubicBezTo>
                  <a:cubicBezTo>
                    <a:pt x="359050" y="355270"/>
                    <a:pt x="359050" y="354010"/>
                    <a:pt x="360309" y="351491"/>
                  </a:cubicBezTo>
                  <a:cubicBezTo>
                    <a:pt x="360309" y="350231"/>
                    <a:pt x="361569" y="350231"/>
                    <a:pt x="361569" y="348971"/>
                  </a:cubicBezTo>
                  <a:cubicBezTo>
                    <a:pt x="362829" y="346451"/>
                    <a:pt x="362829" y="345192"/>
                    <a:pt x="364089" y="342672"/>
                  </a:cubicBezTo>
                  <a:cubicBezTo>
                    <a:pt x="364089" y="341412"/>
                    <a:pt x="365349" y="340152"/>
                    <a:pt x="365349" y="338892"/>
                  </a:cubicBezTo>
                  <a:cubicBezTo>
                    <a:pt x="365349" y="338892"/>
                    <a:pt x="365349" y="338892"/>
                    <a:pt x="365349" y="338892"/>
                  </a:cubicBezTo>
                  <a:lnTo>
                    <a:pt x="365349" y="337633"/>
                  </a:lnTo>
                  <a:cubicBezTo>
                    <a:pt x="365349" y="337633"/>
                    <a:pt x="365349" y="337633"/>
                    <a:pt x="365349" y="337633"/>
                  </a:cubicBezTo>
                  <a:cubicBezTo>
                    <a:pt x="366609" y="332593"/>
                    <a:pt x="367868" y="328814"/>
                    <a:pt x="369128" y="322515"/>
                  </a:cubicBezTo>
                  <a:cubicBezTo>
                    <a:pt x="369128" y="321255"/>
                    <a:pt x="369128" y="321255"/>
                    <a:pt x="369128" y="319995"/>
                  </a:cubicBezTo>
                  <a:cubicBezTo>
                    <a:pt x="369128" y="318735"/>
                    <a:pt x="369128" y="318735"/>
                    <a:pt x="369128" y="317475"/>
                  </a:cubicBezTo>
                  <a:cubicBezTo>
                    <a:pt x="369128" y="316216"/>
                    <a:pt x="369128" y="313696"/>
                    <a:pt x="369128" y="311176"/>
                  </a:cubicBezTo>
                  <a:lnTo>
                    <a:pt x="369128" y="309916"/>
                  </a:lnTo>
                  <a:lnTo>
                    <a:pt x="369128" y="309916"/>
                  </a:lnTo>
                  <a:cubicBezTo>
                    <a:pt x="369128" y="309916"/>
                    <a:pt x="369128" y="309916"/>
                    <a:pt x="369128" y="309916"/>
                  </a:cubicBezTo>
                  <a:cubicBezTo>
                    <a:pt x="369128" y="307397"/>
                    <a:pt x="369128" y="306137"/>
                    <a:pt x="369128" y="303617"/>
                  </a:cubicBezTo>
                  <a:lnTo>
                    <a:pt x="369128" y="302358"/>
                  </a:lnTo>
                  <a:lnTo>
                    <a:pt x="369128" y="302358"/>
                  </a:lnTo>
                  <a:lnTo>
                    <a:pt x="369128" y="301098"/>
                  </a:lnTo>
                  <a:lnTo>
                    <a:pt x="369128" y="301098"/>
                  </a:lnTo>
                  <a:lnTo>
                    <a:pt x="369128" y="301098"/>
                  </a:lnTo>
                  <a:lnTo>
                    <a:pt x="369128" y="301098"/>
                  </a:lnTo>
                  <a:cubicBezTo>
                    <a:pt x="369128" y="301098"/>
                    <a:pt x="369128" y="301098"/>
                    <a:pt x="369128" y="301098"/>
                  </a:cubicBezTo>
                  <a:cubicBezTo>
                    <a:pt x="369128" y="299838"/>
                    <a:pt x="369128" y="297318"/>
                    <a:pt x="369128" y="296058"/>
                  </a:cubicBezTo>
                  <a:lnTo>
                    <a:pt x="369128" y="293539"/>
                  </a:lnTo>
                  <a:lnTo>
                    <a:pt x="369128" y="291019"/>
                  </a:lnTo>
                  <a:cubicBezTo>
                    <a:pt x="369128" y="289759"/>
                    <a:pt x="369128" y="289759"/>
                    <a:pt x="369128" y="288499"/>
                  </a:cubicBezTo>
                  <a:cubicBezTo>
                    <a:pt x="369128" y="288499"/>
                    <a:pt x="369128" y="288499"/>
                    <a:pt x="369128" y="288499"/>
                  </a:cubicBezTo>
                  <a:cubicBezTo>
                    <a:pt x="369128" y="288499"/>
                    <a:pt x="369128" y="287240"/>
                    <a:pt x="369128" y="287240"/>
                  </a:cubicBezTo>
                  <a:cubicBezTo>
                    <a:pt x="369128" y="284720"/>
                    <a:pt x="367868" y="282200"/>
                    <a:pt x="367868" y="280940"/>
                  </a:cubicBezTo>
                  <a:cubicBezTo>
                    <a:pt x="367868" y="280940"/>
                    <a:pt x="367868" y="280940"/>
                    <a:pt x="367868" y="280940"/>
                  </a:cubicBezTo>
                  <a:lnTo>
                    <a:pt x="367868" y="279681"/>
                  </a:lnTo>
                  <a:cubicBezTo>
                    <a:pt x="367868" y="278421"/>
                    <a:pt x="366609" y="275901"/>
                    <a:pt x="365349" y="274641"/>
                  </a:cubicBezTo>
                  <a:cubicBezTo>
                    <a:pt x="365349" y="273382"/>
                    <a:pt x="364089" y="272122"/>
                    <a:pt x="364089" y="270862"/>
                  </a:cubicBezTo>
                  <a:lnTo>
                    <a:pt x="364089" y="270862"/>
                  </a:lnTo>
                  <a:lnTo>
                    <a:pt x="364089" y="270862"/>
                  </a:lnTo>
                  <a:cubicBezTo>
                    <a:pt x="364089" y="270862"/>
                    <a:pt x="364089" y="269602"/>
                    <a:pt x="364089" y="269602"/>
                  </a:cubicBezTo>
                  <a:cubicBezTo>
                    <a:pt x="362829" y="265823"/>
                    <a:pt x="360309" y="260783"/>
                    <a:pt x="357790" y="255744"/>
                  </a:cubicBezTo>
                  <a:cubicBezTo>
                    <a:pt x="357790" y="254484"/>
                    <a:pt x="356530" y="254484"/>
                    <a:pt x="356530" y="253224"/>
                  </a:cubicBezTo>
                  <a:lnTo>
                    <a:pt x="356530" y="253224"/>
                  </a:lnTo>
                  <a:lnTo>
                    <a:pt x="356530" y="253224"/>
                  </a:lnTo>
                  <a:lnTo>
                    <a:pt x="356530" y="253224"/>
                  </a:lnTo>
                  <a:lnTo>
                    <a:pt x="356530" y="253224"/>
                  </a:lnTo>
                  <a:cubicBezTo>
                    <a:pt x="356530" y="251965"/>
                    <a:pt x="355270" y="250705"/>
                    <a:pt x="355270" y="249445"/>
                  </a:cubicBezTo>
                  <a:cubicBezTo>
                    <a:pt x="355270" y="249445"/>
                    <a:pt x="355270" y="249445"/>
                    <a:pt x="355270" y="248185"/>
                  </a:cubicBezTo>
                  <a:cubicBezTo>
                    <a:pt x="355270" y="248185"/>
                    <a:pt x="355270" y="246925"/>
                    <a:pt x="354010" y="246925"/>
                  </a:cubicBezTo>
                  <a:cubicBezTo>
                    <a:pt x="354010" y="246925"/>
                    <a:pt x="354010" y="246925"/>
                    <a:pt x="354010" y="246925"/>
                  </a:cubicBezTo>
                  <a:cubicBezTo>
                    <a:pt x="352751" y="244406"/>
                    <a:pt x="350231" y="240626"/>
                    <a:pt x="348971" y="238107"/>
                  </a:cubicBezTo>
                  <a:cubicBezTo>
                    <a:pt x="348971" y="238107"/>
                    <a:pt x="347711" y="236847"/>
                    <a:pt x="347711" y="236847"/>
                  </a:cubicBezTo>
                  <a:cubicBezTo>
                    <a:pt x="346452" y="235587"/>
                    <a:pt x="346452" y="234327"/>
                    <a:pt x="345192" y="233067"/>
                  </a:cubicBezTo>
                  <a:cubicBezTo>
                    <a:pt x="345192" y="233067"/>
                    <a:pt x="345192" y="233067"/>
                    <a:pt x="345192" y="233067"/>
                  </a:cubicBezTo>
                  <a:cubicBezTo>
                    <a:pt x="345192" y="233067"/>
                    <a:pt x="345192" y="231807"/>
                    <a:pt x="343932" y="231807"/>
                  </a:cubicBezTo>
                  <a:cubicBezTo>
                    <a:pt x="342672" y="229288"/>
                    <a:pt x="341412" y="228028"/>
                    <a:pt x="340152" y="225508"/>
                  </a:cubicBezTo>
                  <a:cubicBezTo>
                    <a:pt x="340152" y="225508"/>
                    <a:pt x="340152" y="225508"/>
                    <a:pt x="340152" y="225508"/>
                  </a:cubicBezTo>
                  <a:cubicBezTo>
                    <a:pt x="338892" y="224248"/>
                    <a:pt x="338892" y="222989"/>
                    <a:pt x="337633" y="221729"/>
                  </a:cubicBezTo>
                  <a:cubicBezTo>
                    <a:pt x="335113" y="217949"/>
                    <a:pt x="332593" y="214170"/>
                    <a:pt x="330074" y="210390"/>
                  </a:cubicBezTo>
                  <a:cubicBezTo>
                    <a:pt x="330074" y="210390"/>
                    <a:pt x="330074" y="210390"/>
                    <a:pt x="330074" y="210390"/>
                  </a:cubicBezTo>
                  <a:cubicBezTo>
                    <a:pt x="328814" y="209131"/>
                    <a:pt x="327554" y="206611"/>
                    <a:pt x="326294" y="205351"/>
                  </a:cubicBezTo>
                  <a:cubicBezTo>
                    <a:pt x="325034" y="204091"/>
                    <a:pt x="323775" y="202831"/>
                    <a:pt x="323775" y="201572"/>
                  </a:cubicBezTo>
                  <a:cubicBezTo>
                    <a:pt x="322515" y="199052"/>
                    <a:pt x="319995" y="197792"/>
                    <a:pt x="318735" y="195273"/>
                  </a:cubicBezTo>
                  <a:cubicBezTo>
                    <a:pt x="313696" y="188974"/>
                    <a:pt x="308657" y="183934"/>
                    <a:pt x="303617" y="177635"/>
                  </a:cubicBezTo>
                  <a:cubicBezTo>
                    <a:pt x="302358" y="176375"/>
                    <a:pt x="302358" y="175115"/>
                    <a:pt x="301098" y="175115"/>
                  </a:cubicBezTo>
                  <a:cubicBezTo>
                    <a:pt x="301098" y="175115"/>
                    <a:pt x="301098" y="175115"/>
                    <a:pt x="301098" y="175115"/>
                  </a:cubicBezTo>
                  <a:cubicBezTo>
                    <a:pt x="301098" y="175115"/>
                    <a:pt x="301098" y="175115"/>
                    <a:pt x="301098" y="175115"/>
                  </a:cubicBezTo>
                  <a:cubicBezTo>
                    <a:pt x="301098" y="173855"/>
                    <a:pt x="299838" y="173855"/>
                    <a:pt x="299838" y="172596"/>
                  </a:cubicBezTo>
                  <a:cubicBezTo>
                    <a:pt x="299838" y="172596"/>
                    <a:pt x="299838" y="171336"/>
                    <a:pt x="298578" y="171336"/>
                  </a:cubicBezTo>
                  <a:lnTo>
                    <a:pt x="296059" y="168816"/>
                  </a:lnTo>
                  <a:cubicBezTo>
                    <a:pt x="291019" y="162517"/>
                    <a:pt x="284720" y="157478"/>
                    <a:pt x="277161" y="149919"/>
                  </a:cubicBezTo>
                  <a:cubicBezTo>
                    <a:pt x="274641" y="147399"/>
                    <a:pt x="272122" y="144880"/>
                    <a:pt x="269602" y="143620"/>
                  </a:cubicBezTo>
                  <a:cubicBezTo>
                    <a:pt x="267083" y="141100"/>
                    <a:pt x="263303" y="138581"/>
                    <a:pt x="260783" y="136061"/>
                  </a:cubicBezTo>
                  <a:lnTo>
                    <a:pt x="260783" y="136061"/>
                  </a:lnTo>
                  <a:lnTo>
                    <a:pt x="260783" y="136061"/>
                  </a:lnTo>
                  <a:lnTo>
                    <a:pt x="260783" y="136061"/>
                  </a:lnTo>
                  <a:lnTo>
                    <a:pt x="260783" y="136061"/>
                  </a:lnTo>
                  <a:cubicBezTo>
                    <a:pt x="254484" y="131022"/>
                    <a:pt x="249445" y="125982"/>
                    <a:pt x="243146" y="119683"/>
                  </a:cubicBezTo>
                  <a:cubicBezTo>
                    <a:pt x="234327" y="110864"/>
                    <a:pt x="225508" y="103305"/>
                    <a:pt x="216690" y="95746"/>
                  </a:cubicBezTo>
                  <a:cubicBezTo>
                    <a:pt x="211650" y="91967"/>
                    <a:pt x="207871" y="88188"/>
                    <a:pt x="201572" y="83148"/>
                  </a:cubicBezTo>
                  <a:cubicBezTo>
                    <a:pt x="199052" y="80629"/>
                    <a:pt x="196532" y="78109"/>
                    <a:pt x="192753" y="76849"/>
                  </a:cubicBezTo>
                  <a:cubicBezTo>
                    <a:pt x="190233" y="75589"/>
                    <a:pt x="188973" y="74330"/>
                    <a:pt x="186454" y="71810"/>
                  </a:cubicBezTo>
                  <a:lnTo>
                    <a:pt x="182674" y="69290"/>
                  </a:lnTo>
                  <a:cubicBezTo>
                    <a:pt x="178895" y="65511"/>
                    <a:pt x="173856" y="62991"/>
                    <a:pt x="170076" y="59212"/>
                  </a:cubicBezTo>
                  <a:cubicBezTo>
                    <a:pt x="170076" y="59212"/>
                    <a:pt x="168816" y="57952"/>
                    <a:pt x="168816" y="57952"/>
                  </a:cubicBezTo>
                  <a:lnTo>
                    <a:pt x="166297" y="55432"/>
                  </a:lnTo>
                  <a:cubicBezTo>
                    <a:pt x="165037" y="54172"/>
                    <a:pt x="163777" y="52913"/>
                    <a:pt x="162517" y="51653"/>
                  </a:cubicBezTo>
                  <a:cubicBezTo>
                    <a:pt x="159998" y="49133"/>
                    <a:pt x="158738" y="47873"/>
                    <a:pt x="156218" y="45354"/>
                  </a:cubicBezTo>
                  <a:lnTo>
                    <a:pt x="156218" y="45354"/>
                  </a:lnTo>
                  <a:lnTo>
                    <a:pt x="156218" y="45354"/>
                  </a:lnTo>
                  <a:lnTo>
                    <a:pt x="156218" y="45354"/>
                  </a:lnTo>
                  <a:lnTo>
                    <a:pt x="156218" y="45354"/>
                  </a:lnTo>
                  <a:lnTo>
                    <a:pt x="156218" y="45354"/>
                  </a:lnTo>
                  <a:lnTo>
                    <a:pt x="156218" y="45354"/>
                  </a:lnTo>
                  <a:lnTo>
                    <a:pt x="156218" y="45354"/>
                  </a:lnTo>
                  <a:lnTo>
                    <a:pt x="156218" y="45354"/>
                  </a:lnTo>
                  <a:cubicBezTo>
                    <a:pt x="154958" y="44094"/>
                    <a:pt x="153699" y="44094"/>
                    <a:pt x="152439" y="42834"/>
                  </a:cubicBezTo>
                  <a:lnTo>
                    <a:pt x="151179" y="42834"/>
                  </a:lnTo>
                  <a:lnTo>
                    <a:pt x="151179" y="42834"/>
                  </a:lnTo>
                  <a:lnTo>
                    <a:pt x="151179" y="42834"/>
                  </a:lnTo>
                  <a:lnTo>
                    <a:pt x="151179" y="42834"/>
                  </a:lnTo>
                  <a:lnTo>
                    <a:pt x="151179" y="42834"/>
                  </a:lnTo>
                  <a:lnTo>
                    <a:pt x="151179" y="42834"/>
                  </a:lnTo>
                  <a:lnTo>
                    <a:pt x="151179" y="42834"/>
                  </a:lnTo>
                  <a:lnTo>
                    <a:pt x="151179" y="42834"/>
                  </a:lnTo>
                  <a:lnTo>
                    <a:pt x="151179" y="42834"/>
                  </a:lnTo>
                  <a:lnTo>
                    <a:pt x="151179" y="42834"/>
                  </a:lnTo>
                  <a:lnTo>
                    <a:pt x="151179" y="42834"/>
                  </a:lnTo>
                  <a:cubicBezTo>
                    <a:pt x="147399" y="40314"/>
                    <a:pt x="143620" y="37795"/>
                    <a:pt x="138581" y="34015"/>
                  </a:cubicBezTo>
                  <a:cubicBezTo>
                    <a:pt x="137321" y="32755"/>
                    <a:pt x="134801" y="31496"/>
                    <a:pt x="133541" y="30236"/>
                  </a:cubicBezTo>
                  <a:cubicBezTo>
                    <a:pt x="132281" y="28976"/>
                    <a:pt x="129762" y="27716"/>
                    <a:pt x="128502" y="26456"/>
                  </a:cubicBezTo>
                  <a:cubicBezTo>
                    <a:pt x="125982" y="25196"/>
                    <a:pt x="122203" y="22677"/>
                    <a:pt x="119683" y="21417"/>
                  </a:cubicBezTo>
                  <a:cubicBezTo>
                    <a:pt x="119683" y="21417"/>
                    <a:pt x="119683" y="21417"/>
                    <a:pt x="119683" y="21417"/>
                  </a:cubicBezTo>
                  <a:cubicBezTo>
                    <a:pt x="119683" y="21417"/>
                    <a:pt x="119683" y="21417"/>
                    <a:pt x="119683" y="21417"/>
                  </a:cubicBezTo>
                  <a:cubicBezTo>
                    <a:pt x="118423" y="21417"/>
                    <a:pt x="117164" y="20157"/>
                    <a:pt x="115904" y="20157"/>
                  </a:cubicBezTo>
                  <a:cubicBezTo>
                    <a:pt x="113384" y="18897"/>
                    <a:pt x="112124" y="17637"/>
                    <a:pt x="109605" y="16378"/>
                  </a:cubicBezTo>
                  <a:cubicBezTo>
                    <a:pt x="109605" y="16378"/>
                    <a:pt x="109605" y="16378"/>
                    <a:pt x="109605" y="16378"/>
                  </a:cubicBezTo>
                  <a:cubicBezTo>
                    <a:pt x="108345" y="15118"/>
                    <a:pt x="107085" y="15118"/>
                    <a:pt x="105825" y="13858"/>
                  </a:cubicBezTo>
                  <a:cubicBezTo>
                    <a:pt x="102046" y="11338"/>
                    <a:pt x="97006" y="8819"/>
                    <a:pt x="91967" y="7559"/>
                  </a:cubicBezTo>
                  <a:cubicBezTo>
                    <a:pt x="84408" y="5039"/>
                    <a:pt x="76849" y="2520"/>
                    <a:pt x="69290" y="1260"/>
                  </a:cubicBezTo>
                  <a:cubicBezTo>
                    <a:pt x="64251" y="1260"/>
                    <a:pt x="59212" y="0"/>
                    <a:pt x="55432" y="0"/>
                  </a:cubicBezTo>
                  <a:cubicBezTo>
                    <a:pt x="51653" y="0"/>
                    <a:pt x="46614" y="0"/>
                    <a:pt x="42834" y="0"/>
                  </a:cubicBezTo>
                  <a:cubicBezTo>
                    <a:pt x="42834" y="0"/>
                    <a:pt x="42834" y="0"/>
                    <a:pt x="41574" y="0"/>
                  </a:cubicBezTo>
                  <a:cubicBezTo>
                    <a:pt x="39055" y="0"/>
                    <a:pt x="37795" y="1260"/>
                    <a:pt x="35275" y="1260"/>
                  </a:cubicBezTo>
                  <a:cubicBezTo>
                    <a:pt x="32755" y="2520"/>
                    <a:pt x="28976" y="3779"/>
                    <a:pt x="26456" y="5039"/>
                  </a:cubicBezTo>
                  <a:lnTo>
                    <a:pt x="25196" y="6299"/>
                  </a:lnTo>
                  <a:cubicBezTo>
                    <a:pt x="23937" y="6299"/>
                    <a:pt x="22677" y="7559"/>
                    <a:pt x="21417" y="7559"/>
                  </a:cubicBezTo>
                  <a:cubicBezTo>
                    <a:pt x="21417" y="7559"/>
                    <a:pt x="20157" y="7559"/>
                    <a:pt x="20157" y="8819"/>
                  </a:cubicBezTo>
                  <a:cubicBezTo>
                    <a:pt x="18897" y="8819"/>
                    <a:pt x="17638" y="10078"/>
                    <a:pt x="17638" y="10078"/>
                  </a:cubicBezTo>
                  <a:cubicBezTo>
                    <a:pt x="16378" y="11338"/>
                    <a:pt x="15118" y="12598"/>
                    <a:pt x="13858" y="13858"/>
                  </a:cubicBezTo>
                  <a:cubicBezTo>
                    <a:pt x="11338" y="17637"/>
                    <a:pt x="8819" y="21417"/>
                    <a:pt x="7559" y="25196"/>
                  </a:cubicBezTo>
                  <a:cubicBezTo>
                    <a:pt x="6299" y="28976"/>
                    <a:pt x="5039" y="31496"/>
                    <a:pt x="3780" y="35275"/>
                  </a:cubicBezTo>
                  <a:lnTo>
                    <a:pt x="3780" y="35275"/>
                  </a:lnTo>
                  <a:cubicBezTo>
                    <a:pt x="2520" y="37795"/>
                    <a:pt x="2520" y="40314"/>
                    <a:pt x="1260" y="42834"/>
                  </a:cubicBezTo>
                  <a:cubicBezTo>
                    <a:pt x="0" y="49133"/>
                    <a:pt x="0" y="56692"/>
                    <a:pt x="0" y="61731"/>
                  </a:cubicBezTo>
                  <a:cubicBezTo>
                    <a:pt x="0" y="68030"/>
                    <a:pt x="0" y="74330"/>
                    <a:pt x="1260" y="80629"/>
                  </a:cubicBezTo>
                  <a:cubicBezTo>
                    <a:pt x="1260" y="80629"/>
                    <a:pt x="1260" y="80629"/>
                    <a:pt x="1260" y="80629"/>
                  </a:cubicBezTo>
                  <a:lnTo>
                    <a:pt x="1260" y="80629"/>
                  </a:lnTo>
                  <a:lnTo>
                    <a:pt x="1260" y="80629"/>
                  </a:lnTo>
                  <a:lnTo>
                    <a:pt x="1260" y="80629"/>
                  </a:lnTo>
                  <a:cubicBezTo>
                    <a:pt x="1260" y="80629"/>
                    <a:pt x="1260" y="80629"/>
                    <a:pt x="1260" y="80629"/>
                  </a:cubicBezTo>
                  <a:cubicBezTo>
                    <a:pt x="1260" y="83148"/>
                    <a:pt x="2520" y="84408"/>
                    <a:pt x="2520" y="86928"/>
                  </a:cubicBezTo>
                  <a:cubicBezTo>
                    <a:pt x="3780" y="91967"/>
                    <a:pt x="6299" y="97006"/>
                    <a:pt x="7559" y="102046"/>
                  </a:cubicBezTo>
                  <a:cubicBezTo>
                    <a:pt x="8819" y="103305"/>
                    <a:pt x="8819" y="104565"/>
                    <a:pt x="10079" y="105825"/>
                  </a:cubicBezTo>
                  <a:cubicBezTo>
                    <a:pt x="13858" y="110864"/>
                    <a:pt x="17638" y="115904"/>
                    <a:pt x="21417" y="119683"/>
                  </a:cubicBezTo>
                  <a:cubicBezTo>
                    <a:pt x="25196" y="123463"/>
                    <a:pt x="30236" y="128502"/>
                    <a:pt x="34015" y="132281"/>
                  </a:cubicBezTo>
                  <a:lnTo>
                    <a:pt x="34015" y="132281"/>
                  </a:lnTo>
                  <a:cubicBezTo>
                    <a:pt x="37795" y="136061"/>
                    <a:pt x="42834" y="139840"/>
                    <a:pt x="46614" y="143620"/>
                  </a:cubicBezTo>
                  <a:cubicBezTo>
                    <a:pt x="51653" y="147399"/>
                    <a:pt x="55432" y="152439"/>
                    <a:pt x="60472" y="156218"/>
                  </a:cubicBezTo>
                  <a:cubicBezTo>
                    <a:pt x="64251" y="159998"/>
                    <a:pt x="68030" y="163777"/>
                    <a:pt x="71810" y="167556"/>
                  </a:cubicBezTo>
                  <a:lnTo>
                    <a:pt x="73070" y="168816"/>
                  </a:lnTo>
                  <a:lnTo>
                    <a:pt x="75589" y="171336"/>
                  </a:lnTo>
                  <a:cubicBezTo>
                    <a:pt x="83148" y="178895"/>
                    <a:pt x="91967" y="186454"/>
                    <a:pt x="99526" y="192753"/>
                  </a:cubicBezTo>
                  <a:cubicBezTo>
                    <a:pt x="103306" y="196532"/>
                    <a:pt x="108345" y="200312"/>
                    <a:pt x="113384" y="204091"/>
                  </a:cubicBezTo>
                  <a:cubicBezTo>
                    <a:pt x="117164" y="207871"/>
                    <a:pt x="122203" y="210390"/>
                    <a:pt x="125982" y="214170"/>
                  </a:cubicBezTo>
                  <a:lnTo>
                    <a:pt x="128502" y="215430"/>
                  </a:lnTo>
                  <a:cubicBezTo>
                    <a:pt x="129762" y="216690"/>
                    <a:pt x="132281" y="217949"/>
                    <a:pt x="133541" y="220469"/>
                  </a:cubicBezTo>
                  <a:cubicBezTo>
                    <a:pt x="136061" y="222989"/>
                    <a:pt x="138581" y="224248"/>
                    <a:pt x="141100" y="226768"/>
                  </a:cubicBezTo>
                  <a:cubicBezTo>
                    <a:pt x="146139" y="230548"/>
                    <a:pt x="151179" y="234327"/>
                    <a:pt x="157478" y="239366"/>
                  </a:cubicBezTo>
                  <a:cubicBezTo>
                    <a:pt x="162517" y="243146"/>
                    <a:pt x="166297" y="245666"/>
                    <a:pt x="171336" y="248185"/>
                  </a:cubicBezTo>
                  <a:cubicBezTo>
                    <a:pt x="176375" y="251965"/>
                    <a:pt x="181415" y="255744"/>
                    <a:pt x="186454" y="258264"/>
                  </a:cubicBezTo>
                  <a:cubicBezTo>
                    <a:pt x="190233" y="260783"/>
                    <a:pt x="192753" y="263303"/>
                    <a:pt x="196532" y="265823"/>
                  </a:cubicBezTo>
                  <a:lnTo>
                    <a:pt x="199052" y="268342"/>
                  </a:lnTo>
                  <a:cubicBezTo>
                    <a:pt x="201572" y="269602"/>
                    <a:pt x="202832" y="272122"/>
                    <a:pt x="205351" y="273382"/>
                  </a:cubicBezTo>
                  <a:cubicBezTo>
                    <a:pt x="207871" y="275901"/>
                    <a:pt x="210391" y="277161"/>
                    <a:pt x="212910" y="279681"/>
                  </a:cubicBezTo>
                  <a:lnTo>
                    <a:pt x="214170" y="279681"/>
                  </a:lnTo>
                  <a:cubicBezTo>
                    <a:pt x="219209" y="283460"/>
                    <a:pt x="222989" y="287240"/>
                    <a:pt x="228028" y="291019"/>
                  </a:cubicBezTo>
                  <a:cubicBezTo>
                    <a:pt x="231808" y="294799"/>
                    <a:pt x="236847" y="298578"/>
                    <a:pt x="241886" y="303617"/>
                  </a:cubicBezTo>
                  <a:cubicBezTo>
                    <a:pt x="244406" y="304877"/>
                    <a:pt x="245666" y="307397"/>
                    <a:pt x="246925" y="309916"/>
                  </a:cubicBezTo>
                  <a:cubicBezTo>
                    <a:pt x="248185" y="311176"/>
                    <a:pt x="249445" y="313696"/>
                    <a:pt x="250705" y="316216"/>
                  </a:cubicBezTo>
                  <a:cubicBezTo>
                    <a:pt x="251965" y="318735"/>
                    <a:pt x="253224" y="319995"/>
                    <a:pt x="253224" y="322515"/>
                  </a:cubicBezTo>
                  <a:lnTo>
                    <a:pt x="253224" y="323775"/>
                  </a:lnTo>
                  <a:cubicBezTo>
                    <a:pt x="255744" y="328814"/>
                    <a:pt x="258264" y="333853"/>
                    <a:pt x="260783" y="338892"/>
                  </a:cubicBezTo>
                  <a:lnTo>
                    <a:pt x="260783" y="338892"/>
                  </a:lnTo>
                  <a:cubicBezTo>
                    <a:pt x="262043" y="341412"/>
                    <a:pt x="263303" y="343932"/>
                    <a:pt x="264563" y="346451"/>
                  </a:cubicBezTo>
                  <a:cubicBezTo>
                    <a:pt x="265823" y="347711"/>
                    <a:pt x="267083" y="350231"/>
                    <a:pt x="267083" y="351491"/>
                  </a:cubicBezTo>
                  <a:cubicBezTo>
                    <a:pt x="267083" y="352751"/>
                    <a:pt x="268342" y="352751"/>
                    <a:pt x="268342" y="354010"/>
                  </a:cubicBezTo>
                  <a:cubicBezTo>
                    <a:pt x="269602" y="355270"/>
                    <a:pt x="269602" y="356530"/>
                    <a:pt x="270862" y="357790"/>
                  </a:cubicBezTo>
                  <a:lnTo>
                    <a:pt x="272122" y="360309"/>
                  </a:lnTo>
                  <a:cubicBezTo>
                    <a:pt x="273382" y="362829"/>
                    <a:pt x="275901" y="365349"/>
                    <a:pt x="278421" y="367868"/>
                  </a:cubicBezTo>
                  <a:cubicBezTo>
                    <a:pt x="278421" y="369128"/>
                    <a:pt x="279681" y="369128"/>
                    <a:pt x="279681" y="370388"/>
                  </a:cubicBezTo>
                  <a:cubicBezTo>
                    <a:pt x="283460" y="367868"/>
                    <a:pt x="285980" y="370388"/>
                    <a:pt x="287240" y="371648"/>
                  </a:cubicBezTo>
                  <a:close/>
                </a:path>
              </a:pathLst>
            </a:custGeom>
            <a:solidFill>
              <a:srgbClr val="F2A988"/>
            </a:solidFill>
            <a:ln w="12584" cap="flat">
              <a:noFill/>
              <a:prstDash val="solid"/>
              <a:miter/>
            </a:ln>
          </p:spPr>
          <p:txBody>
            <a:bodyPr rtlCol="0" anchor="ctr"/>
            <a:lstStyle/>
            <a:p>
              <a:endParaRPr lang="zh-CN" altLang="en-US"/>
            </a:p>
          </p:txBody>
        </p:sp>
        <p:sp>
          <p:nvSpPr>
            <p:cNvPr id="10135" name="任意多边形: 形状 10134"/>
            <p:cNvSpPr/>
            <p:nvPr/>
          </p:nvSpPr>
          <p:spPr>
            <a:xfrm>
              <a:off x="2904608" y="2768852"/>
              <a:ext cx="289759" cy="428340"/>
            </a:xfrm>
            <a:custGeom>
              <a:avLst/>
              <a:gdLst>
                <a:gd name="connsiteX0" fmla="*/ 277161 w 289759"/>
                <a:gd name="connsiteY0" fmla="*/ 47873 h 428339"/>
                <a:gd name="connsiteX1" fmla="*/ 277161 w 289759"/>
                <a:gd name="connsiteY1" fmla="*/ 47873 h 428339"/>
                <a:gd name="connsiteX2" fmla="*/ 277161 w 289759"/>
                <a:gd name="connsiteY2" fmla="*/ 47873 h 428339"/>
                <a:gd name="connsiteX3" fmla="*/ 277161 w 289759"/>
                <a:gd name="connsiteY3" fmla="*/ 47873 h 428339"/>
                <a:gd name="connsiteX4" fmla="*/ 260784 w 289759"/>
                <a:gd name="connsiteY4" fmla="*/ 50393 h 428339"/>
                <a:gd name="connsiteX5" fmla="*/ 259524 w 289759"/>
                <a:gd name="connsiteY5" fmla="*/ 50393 h 428339"/>
                <a:gd name="connsiteX6" fmla="*/ 246925 w 289759"/>
                <a:gd name="connsiteY6" fmla="*/ 50393 h 428339"/>
                <a:gd name="connsiteX7" fmla="*/ 245666 w 289759"/>
                <a:gd name="connsiteY7" fmla="*/ 50393 h 428339"/>
                <a:gd name="connsiteX8" fmla="*/ 243146 w 289759"/>
                <a:gd name="connsiteY8" fmla="*/ 50393 h 428339"/>
                <a:gd name="connsiteX9" fmla="*/ 243146 w 289759"/>
                <a:gd name="connsiteY9" fmla="*/ 50393 h 428339"/>
                <a:gd name="connsiteX10" fmla="*/ 241886 w 289759"/>
                <a:gd name="connsiteY10" fmla="*/ 50393 h 428339"/>
                <a:gd name="connsiteX11" fmla="*/ 233067 w 289759"/>
                <a:gd name="connsiteY11" fmla="*/ 50393 h 428339"/>
                <a:gd name="connsiteX12" fmla="*/ 220469 w 289759"/>
                <a:gd name="connsiteY12" fmla="*/ 49133 h 428339"/>
                <a:gd name="connsiteX13" fmla="*/ 219209 w 289759"/>
                <a:gd name="connsiteY13" fmla="*/ 49133 h 428339"/>
                <a:gd name="connsiteX14" fmla="*/ 215430 w 289759"/>
                <a:gd name="connsiteY14" fmla="*/ 49133 h 428339"/>
                <a:gd name="connsiteX15" fmla="*/ 215430 w 289759"/>
                <a:gd name="connsiteY15" fmla="*/ 49133 h 428339"/>
                <a:gd name="connsiteX16" fmla="*/ 212910 w 289759"/>
                <a:gd name="connsiteY16" fmla="*/ 49133 h 428339"/>
                <a:gd name="connsiteX17" fmla="*/ 209131 w 289759"/>
                <a:gd name="connsiteY17" fmla="*/ 49133 h 428339"/>
                <a:gd name="connsiteX18" fmla="*/ 209131 w 289759"/>
                <a:gd name="connsiteY18" fmla="*/ 49133 h 428339"/>
                <a:gd name="connsiteX19" fmla="*/ 207871 w 289759"/>
                <a:gd name="connsiteY19" fmla="*/ 49133 h 428339"/>
                <a:gd name="connsiteX20" fmla="*/ 199052 w 289759"/>
                <a:gd name="connsiteY20" fmla="*/ 47873 h 428339"/>
                <a:gd name="connsiteX21" fmla="*/ 197792 w 289759"/>
                <a:gd name="connsiteY21" fmla="*/ 47873 h 428339"/>
                <a:gd name="connsiteX22" fmla="*/ 195273 w 289759"/>
                <a:gd name="connsiteY22" fmla="*/ 47873 h 428339"/>
                <a:gd name="connsiteX23" fmla="*/ 173856 w 289759"/>
                <a:gd name="connsiteY23" fmla="*/ 41574 h 428339"/>
                <a:gd name="connsiteX24" fmla="*/ 149919 w 289759"/>
                <a:gd name="connsiteY24" fmla="*/ 32755 h 428339"/>
                <a:gd name="connsiteX25" fmla="*/ 138581 w 289759"/>
                <a:gd name="connsiteY25" fmla="*/ 27716 h 428339"/>
                <a:gd name="connsiteX26" fmla="*/ 138581 w 289759"/>
                <a:gd name="connsiteY26" fmla="*/ 27716 h 428339"/>
                <a:gd name="connsiteX27" fmla="*/ 138581 w 289759"/>
                <a:gd name="connsiteY27" fmla="*/ 27716 h 428339"/>
                <a:gd name="connsiteX28" fmla="*/ 138581 w 289759"/>
                <a:gd name="connsiteY28" fmla="*/ 27716 h 428339"/>
                <a:gd name="connsiteX29" fmla="*/ 131022 w 289759"/>
                <a:gd name="connsiteY29" fmla="*/ 22677 h 428339"/>
                <a:gd name="connsiteX30" fmla="*/ 128502 w 289759"/>
                <a:gd name="connsiteY30" fmla="*/ 21417 h 428339"/>
                <a:gd name="connsiteX31" fmla="*/ 127242 w 289759"/>
                <a:gd name="connsiteY31" fmla="*/ 20157 h 428339"/>
                <a:gd name="connsiteX32" fmla="*/ 123463 w 289759"/>
                <a:gd name="connsiteY32" fmla="*/ 16378 h 428339"/>
                <a:gd name="connsiteX33" fmla="*/ 120943 w 289759"/>
                <a:gd name="connsiteY33" fmla="*/ 13858 h 428339"/>
                <a:gd name="connsiteX34" fmla="*/ 115904 w 289759"/>
                <a:gd name="connsiteY34" fmla="*/ 8819 h 428339"/>
                <a:gd name="connsiteX35" fmla="*/ 115904 w 289759"/>
                <a:gd name="connsiteY35" fmla="*/ 8819 h 428339"/>
                <a:gd name="connsiteX36" fmla="*/ 115904 w 289759"/>
                <a:gd name="connsiteY36" fmla="*/ 8819 h 428339"/>
                <a:gd name="connsiteX37" fmla="*/ 115904 w 289759"/>
                <a:gd name="connsiteY37" fmla="*/ 8819 h 428339"/>
                <a:gd name="connsiteX38" fmla="*/ 115904 w 289759"/>
                <a:gd name="connsiteY38" fmla="*/ 8819 h 428339"/>
                <a:gd name="connsiteX39" fmla="*/ 114644 w 289759"/>
                <a:gd name="connsiteY39" fmla="*/ 7559 h 428339"/>
                <a:gd name="connsiteX40" fmla="*/ 112124 w 289759"/>
                <a:gd name="connsiteY40" fmla="*/ 5039 h 428339"/>
                <a:gd name="connsiteX41" fmla="*/ 107085 w 289759"/>
                <a:gd name="connsiteY41" fmla="*/ 0 h 428339"/>
                <a:gd name="connsiteX42" fmla="*/ 107085 w 289759"/>
                <a:gd name="connsiteY42" fmla="*/ 0 h 428339"/>
                <a:gd name="connsiteX43" fmla="*/ 104565 w 289759"/>
                <a:gd name="connsiteY43" fmla="*/ 5039 h 428339"/>
                <a:gd name="connsiteX44" fmla="*/ 103306 w 289759"/>
                <a:gd name="connsiteY44" fmla="*/ 6299 h 428339"/>
                <a:gd name="connsiteX45" fmla="*/ 102046 w 289759"/>
                <a:gd name="connsiteY45" fmla="*/ 8819 h 428339"/>
                <a:gd name="connsiteX46" fmla="*/ 97007 w 289759"/>
                <a:gd name="connsiteY46" fmla="*/ 20157 h 428339"/>
                <a:gd name="connsiteX47" fmla="*/ 94487 w 289759"/>
                <a:gd name="connsiteY47" fmla="*/ 25196 h 428339"/>
                <a:gd name="connsiteX48" fmla="*/ 91967 w 289759"/>
                <a:gd name="connsiteY48" fmla="*/ 28976 h 428339"/>
                <a:gd name="connsiteX49" fmla="*/ 79369 w 289759"/>
                <a:gd name="connsiteY49" fmla="*/ 39054 h 428339"/>
                <a:gd name="connsiteX50" fmla="*/ 60472 w 289759"/>
                <a:gd name="connsiteY50" fmla="*/ 51653 h 428339"/>
                <a:gd name="connsiteX51" fmla="*/ 35275 w 289759"/>
                <a:gd name="connsiteY51" fmla="*/ 60471 h 428339"/>
                <a:gd name="connsiteX52" fmla="*/ 18897 w 289759"/>
                <a:gd name="connsiteY52" fmla="*/ 66770 h 428339"/>
                <a:gd name="connsiteX53" fmla="*/ 11339 w 289759"/>
                <a:gd name="connsiteY53" fmla="*/ 69290 h 428339"/>
                <a:gd name="connsiteX54" fmla="*/ 3780 w 289759"/>
                <a:gd name="connsiteY54" fmla="*/ 71810 h 428339"/>
                <a:gd name="connsiteX55" fmla="*/ 0 w 289759"/>
                <a:gd name="connsiteY55" fmla="*/ 73070 h 428339"/>
                <a:gd name="connsiteX56" fmla="*/ 0 w 289759"/>
                <a:gd name="connsiteY56" fmla="*/ 76849 h 428339"/>
                <a:gd name="connsiteX57" fmla="*/ 0 w 289759"/>
                <a:gd name="connsiteY57" fmla="*/ 84408 h 428339"/>
                <a:gd name="connsiteX58" fmla="*/ 1260 w 289759"/>
                <a:gd name="connsiteY58" fmla="*/ 94487 h 428339"/>
                <a:gd name="connsiteX59" fmla="*/ 1260 w 289759"/>
                <a:gd name="connsiteY59" fmla="*/ 94487 h 428339"/>
                <a:gd name="connsiteX60" fmla="*/ 1260 w 289759"/>
                <a:gd name="connsiteY60" fmla="*/ 94487 h 428339"/>
                <a:gd name="connsiteX61" fmla="*/ 1260 w 289759"/>
                <a:gd name="connsiteY61" fmla="*/ 95746 h 428339"/>
                <a:gd name="connsiteX62" fmla="*/ 1260 w 289759"/>
                <a:gd name="connsiteY62" fmla="*/ 99526 h 428339"/>
                <a:gd name="connsiteX63" fmla="*/ 1260 w 289759"/>
                <a:gd name="connsiteY63" fmla="*/ 115904 h 428339"/>
                <a:gd name="connsiteX64" fmla="*/ 2520 w 289759"/>
                <a:gd name="connsiteY64" fmla="*/ 133541 h 428339"/>
                <a:gd name="connsiteX65" fmla="*/ 6299 w 289759"/>
                <a:gd name="connsiteY65" fmla="*/ 170076 h 428339"/>
                <a:gd name="connsiteX66" fmla="*/ 8819 w 289759"/>
                <a:gd name="connsiteY66" fmla="*/ 187714 h 428339"/>
                <a:gd name="connsiteX67" fmla="*/ 12598 w 289759"/>
                <a:gd name="connsiteY67" fmla="*/ 207871 h 428339"/>
                <a:gd name="connsiteX68" fmla="*/ 13858 w 289759"/>
                <a:gd name="connsiteY68" fmla="*/ 211650 h 428339"/>
                <a:gd name="connsiteX69" fmla="*/ 15118 w 289759"/>
                <a:gd name="connsiteY69" fmla="*/ 216690 h 428339"/>
                <a:gd name="connsiteX70" fmla="*/ 17638 w 289759"/>
                <a:gd name="connsiteY70" fmla="*/ 225508 h 428339"/>
                <a:gd name="connsiteX71" fmla="*/ 23937 w 289759"/>
                <a:gd name="connsiteY71" fmla="*/ 243146 h 428339"/>
                <a:gd name="connsiteX72" fmla="*/ 25196 w 289759"/>
                <a:gd name="connsiteY72" fmla="*/ 245666 h 428339"/>
                <a:gd name="connsiteX73" fmla="*/ 25196 w 289759"/>
                <a:gd name="connsiteY73" fmla="*/ 246925 h 428339"/>
                <a:gd name="connsiteX74" fmla="*/ 27716 w 289759"/>
                <a:gd name="connsiteY74" fmla="*/ 254484 h 428339"/>
                <a:gd name="connsiteX75" fmla="*/ 31496 w 289759"/>
                <a:gd name="connsiteY75" fmla="*/ 262043 h 428339"/>
                <a:gd name="connsiteX76" fmla="*/ 36535 w 289759"/>
                <a:gd name="connsiteY76" fmla="*/ 269602 h 428339"/>
                <a:gd name="connsiteX77" fmla="*/ 41574 w 289759"/>
                <a:gd name="connsiteY77" fmla="*/ 277161 h 428339"/>
                <a:gd name="connsiteX78" fmla="*/ 47873 w 289759"/>
                <a:gd name="connsiteY78" fmla="*/ 284720 h 428339"/>
                <a:gd name="connsiteX79" fmla="*/ 52913 w 289759"/>
                <a:gd name="connsiteY79" fmla="*/ 289759 h 428339"/>
                <a:gd name="connsiteX80" fmla="*/ 52913 w 289759"/>
                <a:gd name="connsiteY80" fmla="*/ 289759 h 428339"/>
                <a:gd name="connsiteX81" fmla="*/ 51653 w 289759"/>
                <a:gd name="connsiteY81" fmla="*/ 294799 h 428339"/>
                <a:gd name="connsiteX82" fmla="*/ 51653 w 289759"/>
                <a:gd name="connsiteY82" fmla="*/ 294799 h 428339"/>
                <a:gd name="connsiteX83" fmla="*/ 51653 w 289759"/>
                <a:gd name="connsiteY83" fmla="*/ 294799 h 428339"/>
                <a:gd name="connsiteX84" fmla="*/ 49133 w 289759"/>
                <a:gd name="connsiteY84" fmla="*/ 301098 h 428339"/>
                <a:gd name="connsiteX85" fmla="*/ 46614 w 289759"/>
                <a:gd name="connsiteY85" fmla="*/ 307397 h 428339"/>
                <a:gd name="connsiteX86" fmla="*/ 42834 w 289759"/>
                <a:gd name="connsiteY86" fmla="*/ 319995 h 428339"/>
                <a:gd name="connsiteX87" fmla="*/ 39055 w 289759"/>
                <a:gd name="connsiteY87" fmla="*/ 332593 h 428339"/>
                <a:gd name="connsiteX88" fmla="*/ 34015 w 289759"/>
                <a:gd name="connsiteY88" fmla="*/ 345192 h 428339"/>
                <a:gd name="connsiteX89" fmla="*/ 31496 w 289759"/>
                <a:gd name="connsiteY89" fmla="*/ 351491 h 428339"/>
                <a:gd name="connsiteX90" fmla="*/ 28976 w 289759"/>
                <a:gd name="connsiteY90" fmla="*/ 359050 h 428339"/>
                <a:gd name="connsiteX91" fmla="*/ 28976 w 289759"/>
                <a:gd name="connsiteY91" fmla="*/ 360309 h 428339"/>
                <a:gd name="connsiteX92" fmla="*/ 28976 w 289759"/>
                <a:gd name="connsiteY92" fmla="*/ 360309 h 428339"/>
                <a:gd name="connsiteX93" fmla="*/ 26456 w 289759"/>
                <a:gd name="connsiteY93" fmla="*/ 365349 h 428339"/>
                <a:gd name="connsiteX94" fmla="*/ 25196 w 289759"/>
                <a:gd name="connsiteY94" fmla="*/ 370388 h 428339"/>
                <a:gd name="connsiteX95" fmla="*/ 25196 w 289759"/>
                <a:gd name="connsiteY95" fmla="*/ 371648 h 428339"/>
                <a:gd name="connsiteX96" fmla="*/ 25196 w 289759"/>
                <a:gd name="connsiteY96" fmla="*/ 371648 h 428339"/>
                <a:gd name="connsiteX97" fmla="*/ 25196 w 289759"/>
                <a:gd name="connsiteY97" fmla="*/ 371648 h 428339"/>
                <a:gd name="connsiteX98" fmla="*/ 25196 w 289759"/>
                <a:gd name="connsiteY98" fmla="*/ 375427 h 428339"/>
                <a:gd name="connsiteX99" fmla="*/ 25196 w 289759"/>
                <a:gd name="connsiteY99" fmla="*/ 379207 h 428339"/>
                <a:gd name="connsiteX100" fmla="*/ 25196 w 289759"/>
                <a:gd name="connsiteY100" fmla="*/ 380467 h 428339"/>
                <a:gd name="connsiteX101" fmla="*/ 26456 w 289759"/>
                <a:gd name="connsiteY101" fmla="*/ 384246 h 428339"/>
                <a:gd name="connsiteX102" fmla="*/ 30236 w 289759"/>
                <a:gd name="connsiteY102" fmla="*/ 393065 h 428339"/>
                <a:gd name="connsiteX103" fmla="*/ 35275 w 289759"/>
                <a:gd name="connsiteY103" fmla="*/ 399364 h 428339"/>
                <a:gd name="connsiteX104" fmla="*/ 49133 w 289759"/>
                <a:gd name="connsiteY104" fmla="*/ 411962 h 428339"/>
                <a:gd name="connsiteX105" fmla="*/ 57952 w 289759"/>
                <a:gd name="connsiteY105" fmla="*/ 417001 h 428339"/>
                <a:gd name="connsiteX106" fmla="*/ 59212 w 289759"/>
                <a:gd name="connsiteY106" fmla="*/ 418261 h 428339"/>
                <a:gd name="connsiteX107" fmla="*/ 65511 w 289759"/>
                <a:gd name="connsiteY107" fmla="*/ 422041 h 428339"/>
                <a:gd name="connsiteX108" fmla="*/ 84408 w 289759"/>
                <a:gd name="connsiteY108" fmla="*/ 427080 h 428339"/>
                <a:gd name="connsiteX109" fmla="*/ 94487 w 289759"/>
                <a:gd name="connsiteY109" fmla="*/ 428340 h 428339"/>
                <a:gd name="connsiteX110" fmla="*/ 104565 w 289759"/>
                <a:gd name="connsiteY110" fmla="*/ 428340 h 428339"/>
                <a:gd name="connsiteX111" fmla="*/ 105825 w 289759"/>
                <a:gd name="connsiteY111" fmla="*/ 428340 h 428339"/>
                <a:gd name="connsiteX112" fmla="*/ 114644 w 289759"/>
                <a:gd name="connsiteY112" fmla="*/ 427080 h 428339"/>
                <a:gd name="connsiteX113" fmla="*/ 123463 w 289759"/>
                <a:gd name="connsiteY113" fmla="*/ 424560 h 428339"/>
                <a:gd name="connsiteX114" fmla="*/ 137321 w 289759"/>
                <a:gd name="connsiteY114" fmla="*/ 418261 h 428339"/>
                <a:gd name="connsiteX115" fmla="*/ 144880 w 289759"/>
                <a:gd name="connsiteY115" fmla="*/ 413222 h 428339"/>
                <a:gd name="connsiteX116" fmla="*/ 149919 w 289759"/>
                <a:gd name="connsiteY116" fmla="*/ 406923 h 428339"/>
                <a:gd name="connsiteX117" fmla="*/ 153699 w 289759"/>
                <a:gd name="connsiteY117" fmla="*/ 400624 h 428339"/>
                <a:gd name="connsiteX118" fmla="*/ 154958 w 289759"/>
                <a:gd name="connsiteY118" fmla="*/ 395584 h 428339"/>
                <a:gd name="connsiteX119" fmla="*/ 154958 w 289759"/>
                <a:gd name="connsiteY119" fmla="*/ 393065 h 428339"/>
                <a:gd name="connsiteX120" fmla="*/ 154958 w 289759"/>
                <a:gd name="connsiteY120" fmla="*/ 391805 h 428339"/>
                <a:gd name="connsiteX121" fmla="*/ 156218 w 289759"/>
                <a:gd name="connsiteY121" fmla="*/ 385506 h 428339"/>
                <a:gd name="connsiteX122" fmla="*/ 156218 w 289759"/>
                <a:gd name="connsiteY122" fmla="*/ 385506 h 428339"/>
                <a:gd name="connsiteX123" fmla="*/ 156218 w 289759"/>
                <a:gd name="connsiteY123" fmla="*/ 385506 h 428339"/>
                <a:gd name="connsiteX124" fmla="*/ 156218 w 289759"/>
                <a:gd name="connsiteY124" fmla="*/ 382986 h 428339"/>
                <a:gd name="connsiteX125" fmla="*/ 156218 w 289759"/>
                <a:gd name="connsiteY125" fmla="*/ 382986 h 428339"/>
                <a:gd name="connsiteX126" fmla="*/ 156218 w 289759"/>
                <a:gd name="connsiteY126" fmla="*/ 381726 h 428339"/>
                <a:gd name="connsiteX127" fmla="*/ 153699 w 289759"/>
                <a:gd name="connsiteY127" fmla="*/ 376687 h 428339"/>
                <a:gd name="connsiteX128" fmla="*/ 153699 w 289759"/>
                <a:gd name="connsiteY128" fmla="*/ 376687 h 428339"/>
                <a:gd name="connsiteX129" fmla="*/ 151179 w 289759"/>
                <a:gd name="connsiteY129" fmla="*/ 370388 h 428339"/>
                <a:gd name="connsiteX130" fmla="*/ 151179 w 289759"/>
                <a:gd name="connsiteY130" fmla="*/ 369128 h 428339"/>
                <a:gd name="connsiteX131" fmla="*/ 148659 w 289759"/>
                <a:gd name="connsiteY131" fmla="*/ 362829 h 428339"/>
                <a:gd name="connsiteX132" fmla="*/ 144880 w 289759"/>
                <a:gd name="connsiteY132" fmla="*/ 346451 h 428339"/>
                <a:gd name="connsiteX133" fmla="*/ 144880 w 289759"/>
                <a:gd name="connsiteY133" fmla="*/ 346451 h 428339"/>
                <a:gd name="connsiteX134" fmla="*/ 144880 w 289759"/>
                <a:gd name="connsiteY134" fmla="*/ 346451 h 428339"/>
                <a:gd name="connsiteX135" fmla="*/ 144880 w 289759"/>
                <a:gd name="connsiteY135" fmla="*/ 346451 h 428339"/>
                <a:gd name="connsiteX136" fmla="*/ 143620 w 289759"/>
                <a:gd name="connsiteY136" fmla="*/ 327554 h 428339"/>
                <a:gd name="connsiteX137" fmla="*/ 143620 w 289759"/>
                <a:gd name="connsiteY137" fmla="*/ 322515 h 428339"/>
                <a:gd name="connsiteX138" fmla="*/ 143620 w 289759"/>
                <a:gd name="connsiteY138" fmla="*/ 322515 h 428339"/>
                <a:gd name="connsiteX139" fmla="*/ 147399 w 289759"/>
                <a:gd name="connsiteY139" fmla="*/ 322515 h 428339"/>
                <a:gd name="connsiteX140" fmla="*/ 152439 w 289759"/>
                <a:gd name="connsiteY140" fmla="*/ 322515 h 428339"/>
                <a:gd name="connsiteX141" fmla="*/ 168816 w 289759"/>
                <a:gd name="connsiteY141" fmla="*/ 319995 h 428339"/>
                <a:gd name="connsiteX142" fmla="*/ 173856 w 289759"/>
                <a:gd name="connsiteY142" fmla="*/ 318735 h 428339"/>
                <a:gd name="connsiteX143" fmla="*/ 173856 w 289759"/>
                <a:gd name="connsiteY143" fmla="*/ 318735 h 428339"/>
                <a:gd name="connsiteX144" fmla="*/ 188973 w 289759"/>
                <a:gd name="connsiteY144" fmla="*/ 316216 h 428339"/>
                <a:gd name="connsiteX145" fmla="*/ 209131 w 289759"/>
                <a:gd name="connsiteY145" fmla="*/ 309916 h 428339"/>
                <a:gd name="connsiteX146" fmla="*/ 228028 w 289759"/>
                <a:gd name="connsiteY146" fmla="*/ 301098 h 428339"/>
                <a:gd name="connsiteX147" fmla="*/ 235587 w 289759"/>
                <a:gd name="connsiteY147" fmla="*/ 296058 h 428339"/>
                <a:gd name="connsiteX148" fmla="*/ 244406 w 289759"/>
                <a:gd name="connsiteY148" fmla="*/ 289759 h 428339"/>
                <a:gd name="connsiteX149" fmla="*/ 257004 w 289759"/>
                <a:gd name="connsiteY149" fmla="*/ 274641 h 428339"/>
                <a:gd name="connsiteX150" fmla="*/ 267083 w 289759"/>
                <a:gd name="connsiteY150" fmla="*/ 258264 h 428339"/>
                <a:gd name="connsiteX151" fmla="*/ 274642 w 289759"/>
                <a:gd name="connsiteY151" fmla="*/ 239366 h 428339"/>
                <a:gd name="connsiteX152" fmla="*/ 278421 w 289759"/>
                <a:gd name="connsiteY152" fmla="*/ 228028 h 428339"/>
                <a:gd name="connsiteX153" fmla="*/ 278421 w 289759"/>
                <a:gd name="connsiteY153" fmla="*/ 228028 h 428339"/>
                <a:gd name="connsiteX154" fmla="*/ 278421 w 289759"/>
                <a:gd name="connsiteY154" fmla="*/ 228028 h 428339"/>
                <a:gd name="connsiteX155" fmla="*/ 279681 w 289759"/>
                <a:gd name="connsiteY155" fmla="*/ 221729 h 428339"/>
                <a:gd name="connsiteX156" fmla="*/ 283460 w 289759"/>
                <a:gd name="connsiteY156" fmla="*/ 204091 h 428339"/>
                <a:gd name="connsiteX157" fmla="*/ 283460 w 289759"/>
                <a:gd name="connsiteY157" fmla="*/ 202831 h 428339"/>
                <a:gd name="connsiteX158" fmla="*/ 287240 w 289759"/>
                <a:gd name="connsiteY158" fmla="*/ 183934 h 428339"/>
                <a:gd name="connsiteX159" fmla="*/ 291019 w 289759"/>
                <a:gd name="connsiteY159" fmla="*/ 144880 h 428339"/>
                <a:gd name="connsiteX160" fmla="*/ 291019 w 289759"/>
                <a:gd name="connsiteY160" fmla="*/ 109605 h 428339"/>
                <a:gd name="connsiteX161" fmla="*/ 291019 w 289759"/>
                <a:gd name="connsiteY161" fmla="*/ 105825 h 428339"/>
                <a:gd name="connsiteX162" fmla="*/ 289759 w 289759"/>
                <a:gd name="connsiteY162" fmla="*/ 88188 h 428339"/>
                <a:gd name="connsiteX163" fmla="*/ 288500 w 289759"/>
                <a:gd name="connsiteY163" fmla="*/ 69290 h 428339"/>
                <a:gd name="connsiteX164" fmla="*/ 288500 w 289759"/>
                <a:gd name="connsiteY164" fmla="*/ 65511 h 428339"/>
                <a:gd name="connsiteX165" fmla="*/ 287240 w 289759"/>
                <a:gd name="connsiteY165" fmla="*/ 51653 h 428339"/>
                <a:gd name="connsiteX166" fmla="*/ 287240 w 289759"/>
                <a:gd name="connsiteY166" fmla="*/ 51653 h 428339"/>
                <a:gd name="connsiteX167" fmla="*/ 287240 w 289759"/>
                <a:gd name="connsiteY167" fmla="*/ 51653 h 428339"/>
                <a:gd name="connsiteX168" fmla="*/ 277161 w 289759"/>
                <a:gd name="connsiteY168" fmla="*/ 47873 h 428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289759" h="428339">
                  <a:moveTo>
                    <a:pt x="277161" y="47873"/>
                  </a:moveTo>
                  <a:lnTo>
                    <a:pt x="277161" y="47873"/>
                  </a:lnTo>
                  <a:lnTo>
                    <a:pt x="277161" y="47873"/>
                  </a:lnTo>
                  <a:cubicBezTo>
                    <a:pt x="277161" y="47873"/>
                    <a:pt x="277161" y="47873"/>
                    <a:pt x="277161" y="47873"/>
                  </a:cubicBezTo>
                  <a:cubicBezTo>
                    <a:pt x="270862" y="49133"/>
                    <a:pt x="265823" y="50393"/>
                    <a:pt x="260784" y="50393"/>
                  </a:cubicBezTo>
                  <a:lnTo>
                    <a:pt x="259524" y="50393"/>
                  </a:lnTo>
                  <a:cubicBezTo>
                    <a:pt x="255744" y="50393"/>
                    <a:pt x="250705" y="50393"/>
                    <a:pt x="246925" y="50393"/>
                  </a:cubicBezTo>
                  <a:cubicBezTo>
                    <a:pt x="246925" y="50393"/>
                    <a:pt x="245666" y="50393"/>
                    <a:pt x="245666" y="50393"/>
                  </a:cubicBezTo>
                  <a:cubicBezTo>
                    <a:pt x="244406" y="50393"/>
                    <a:pt x="244406" y="50393"/>
                    <a:pt x="243146" y="50393"/>
                  </a:cubicBezTo>
                  <a:cubicBezTo>
                    <a:pt x="243146" y="50393"/>
                    <a:pt x="243146" y="50393"/>
                    <a:pt x="243146" y="50393"/>
                  </a:cubicBezTo>
                  <a:lnTo>
                    <a:pt x="241886" y="50393"/>
                  </a:lnTo>
                  <a:cubicBezTo>
                    <a:pt x="239366" y="50393"/>
                    <a:pt x="235587" y="50393"/>
                    <a:pt x="233067" y="50393"/>
                  </a:cubicBezTo>
                  <a:cubicBezTo>
                    <a:pt x="228028" y="50393"/>
                    <a:pt x="224249" y="49133"/>
                    <a:pt x="220469" y="49133"/>
                  </a:cubicBezTo>
                  <a:cubicBezTo>
                    <a:pt x="220469" y="49133"/>
                    <a:pt x="219209" y="49133"/>
                    <a:pt x="219209" y="49133"/>
                  </a:cubicBezTo>
                  <a:lnTo>
                    <a:pt x="215430" y="49133"/>
                  </a:lnTo>
                  <a:lnTo>
                    <a:pt x="215430" y="49133"/>
                  </a:lnTo>
                  <a:lnTo>
                    <a:pt x="212910" y="49133"/>
                  </a:lnTo>
                  <a:cubicBezTo>
                    <a:pt x="211650" y="49133"/>
                    <a:pt x="210391" y="49133"/>
                    <a:pt x="209131" y="49133"/>
                  </a:cubicBezTo>
                  <a:lnTo>
                    <a:pt x="209131" y="49133"/>
                  </a:lnTo>
                  <a:cubicBezTo>
                    <a:pt x="209131" y="49133"/>
                    <a:pt x="207871" y="49133"/>
                    <a:pt x="207871" y="49133"/>
                  </a:cubicBezTo>
                  <a:cubicBezTo>
                    <a:pt x="205351" y="49133"/>
                    <a:pt x="201572" y="47873"/>
                    <a:pt x="199052" y="47873"/>
                  </a:cubicBezTo>
                  <a:lnTo>
                    <a:pt x="197792" y="47873"/>
                  </a:lnTo>
                  <a:lnTo>
                    <a:pt x="195273" y="47873"/>
                  </a:lnTo>
                  <a:cubicBezTo>
                    <a:pt x="187714" y="46613"/>
                    <a:pt x="181415" y="44094"/>
                    <a:pt x="173856" y="41574"/>
                  </a:cubicBezTo>
                  <a:cubicBezTo>
                    <a:pt x="165037" y="39054"/>
                    <a:pt x="157478" y="35275"/>
                    <a:pt x="149919" y="32755"/>
                  </a:cubicBezTo>
                  <a:cubicBezTo>
                    <a:pt x="146140" y="31496"/>
                    <a:pt x="142360" y="28976"/>
                    <a:pt x="138581" y="27716"/>
                  </a:cubicBezTo>
                  <a:cubicBezTo>
                    <a:pt x="138581" y="27716"/>
                    <a:pt x="138581" y="27716"/>
                    <a:pt x="138581" y="27716"/>
                  </a:cubicBezTo>
                  <a:lnTo>
                    <a:pt x="138581" y="27716"/>
                  </a:lnTo>
                  <a:cubicBezTo>
                    <a:pt x="138581" y="27716"/>
                    <a:pt x="138581" y="27716"/>
                    <a:pt x="138581" y="27716"/>
                  </a:cubicBezTo>
                  <a:cubicBezTo>
                    <a:pt x="136061" y="26456"/>
                    <a:pt x="133541" y="25196"/>
                    <a:pt x="131022" y="22677"/>
                  </a:cubicBezTo>
                  <a:cubicBezTo>
                    <a:pt x="129762" y="22677"/>
                    <a:pt x="129762" y="21417"/>
                    <a:pt x="128502" y="21417"/>
                  </a:cubicBezTo>
                  <a:cubicBezTo>
                    <a:pt x="128502" y="21417"/>
                    <a:pt x="127242" y="20157"/>
                    <a:pt x="127242" y="20157"/>
                  </a:cubicBezTo>
                  <a:cubicBezTo>
                    <a:pt x="125982" y="18897"/>
                    <a:pt x="124723" y="17637"/>
                    <a:pt x="123463" y="16378"/>
                  </a:cubicBezTo>
                  <a:cubicBezTo>
                    <a:pt x="122203" y="15118"/>
                    <a:pt x="120943" y="15118"/>
                    <a:pt x="120943" y="13858"/>
                  </a:cubicBezTo>
                  <a:cubicBezTo>
                    <a:pt x="119683" y="12598"/>
                    <a:pt x="117164" y="10078"/>
                    <a:pt x="115904" y="8819"/>
                  </a:cubicBezTo>
                  <a:lnTo>
                    <a:pt x="115904" y="8819"/>
                  </a:lnTo>
                  <a:lnTo>
                    <a:pt x="115904" y="8819"/>
                  </a:lnTo>
                  <a:lnTo>
                    <a:pt x="115904" y="8819"/>
                  </a:lnTo>
                  <a:cubicBezTo>
                    <a:pt x="115904" y="8819"/>
                    <a:pt x="115904" y="8819"/>
                    <a:pt x="115904" y="8819"/>
                  </a:cubicBezTo>
                  <a:cubicBezTo>
                    <a:pt x="115904" y="8819"/>
                    <a:pt x="114644" y="7559"/>
                    <a:pt x="114644" y="7559"/>
                  </a:cubicBezTo>
                  <a:cubicBezTo>
                    <a:pt x="113384" y="6299"/>
                    <a:pt x="112124" y="5039"/>
                    <a:pt x="112124" y="5039"/>
                  </a:cubicBezTo>
                  <a:cubicBezTo>
                    <a:pt x="110864" y="3779"/>
                    <a:pt x="108345" y="1260"/>
                    <a:pt x="107085" y="0"/>
                  </a:cubicBezTo>
                  <a:cubicBezTo>
                    <a:pt x="107085" y="0"/>
                    <a:pt x="107085" y="0"/>
                    <a:pt x="107085" y="0"/>
                  </a:cubicBezTo>
                  <a:cubicBezTo>
                    <a:pt x="105825" y="1260"/>
                    <a:pt x="104565" y="3779"/>
                    <a:pt x="104565" y="5039"/>
                  </a:cubicBezTo>
                  <a:cubicBezTo>
                    <a:pt x="104565" y="5039"/>
                    <a:pt x="103306" y="6299"/>
                    <a:pt x="103306" y="6299"/>
                  </a:cubicBezTo>
                  <a:cubicBezTo>
                    <a:pt x="103306" y="7559"/>
                    <a:pt x="103306" y="7559"/>
                    <a:pt x="102046" y="8819"/>
                  </a:cubicBezTo>
                  <a:cubicBezTo>
                    <a:pt x="100786" y="12598"/>
                    <a:pt x="98266" y="16378"/>
                    <a:pt x="97007" y="20157"/>
                  </a:cubicBezTo>
                  <a:cubicBezTo>
                    <a:pt x="95747" y="21417"/>
                    <a:pt x="95747" y="23937"/>
                    <a:pt x="94487" y="25196"/>
                  </a:cubicBezTo>
                  <a:cubicBezTo>
                    <a:pt x="93227" y="26456"/>
                    <a:pt x="91967" y="27716"/>
                    <a:pt x="91967" y="28976"/>
                  </a:cubicBezTo>
                  <a:cubicBezTo>
                    <a:pt x="88188" y="32755"/>
                    <a:pt x="84408" y="36535"/>
                    <a:pt x="79369" y="39054"/>
                  </a:cubicBezTo>
                  <a:cubicBezTo>
                    <a:pt x="73070" y="42834"/>
                    <a:pt x="66771" y="47873"/>
                    <a:pt x="60472" y="51653"/>
                  </a:cubicBezTo>
                  <a:cubicBezTo>
                    <a:pt x="52913" y="55432"/>
                    <a:pt x="44094" y="57952"/>
                    <a:pt x="35275" y="60471"/>
                  </a:cubicBezTo>
                  <a:cubicBezTo>
                    <a:pt x="30236" y="62991"/>
                    <a:pt x="25196" y="65511"/>
                    <a:pt x="18897" y="66770"/>
                  </a:cubicBezTo>
                  <a:cubicBezTo>
                    <a:pt x="16378" y="68030"/>
                    <a:pt x="13858" y="68030"/>
                    <a:pt x="11339" y="69290"/>
                  </a:cubicBezTo>
                  <a:cubicBezTo>
                    <a:pt x="8819" y="70550"/>
                    <a:pt x="6299" y="70550"/>
                    <a:pt x="3780" y="71810"/>
                  </a:cubicBezTo>
                  <a:cubicBezTo>
                    <a:pt x="2520" y="71810"/>
                    <a:pt x="1260" y="71810"/>
                    <a:pt x="0" y="73070"/>
                  </a:cubicBezTo>
                  <a:cubicBezTo>
                    <a:pt x="0" y="74330"/>
                    <a:pt x="0" y="75589"/>
                    <a:pt x="0" y="76849"/>
                  </a:cubicBezTo>
                  <a:cubicBezTo>
                    <a:pt x="0" y="79369"/>
                    <a:pt x="0" y="81889"/>
                    <a:pt x="0" y="84408"/>
                  </a:cubicBezTo>
                  <a:cubicBezTo>
                    <a:pt x="0" y="88188"/>
                    <a:pt x="0" y="90707"/>
                    <a:pt x="1260" y="94487"/>
                  </a:cubicBezTo>
                  <a:cubicBezTo>
                    <a:pt x="1260" y="94487"/>
                    <a:pt x="1260" y="94487"/>
                    <a:pt x="1260" y="94487"/>
                  </a:cubicBezTo>
                  <a:cubicBezTo>
                    <a:pt x="1260" y="94487"/>
                    <a:pt x="1260" y="94487"/>
                    <a:pt x="1260" y="94487"/>
                  </a:cubicBezTo>
                  <a:cubicBezTo>
                    <a:pt x="1260" y="94487"/>
                    <a:pt x="1260" y="95746"/>
                    <a:pt x="1260" y="95746"/>
                  </a:cubicBezTo>
                  <a:cubicBezTo>
                    <a:pt x="1260" y="97006"/>
                    <a:pt x="1260" y="98266"/>
                    <a:pt x="1260" y="99526"/>
                  </a:cubicBezTo>
                  <a:cubicBezTo>
                    <a:pt x="1260" y="104565"/>
                    <a:pt x="1260" y="110864"/>
                    <a:pt x="1260" y="115904"/>
                  </a:cubicBezTo>
                  <a:cubicBezTo>
                    <a:pt x="1260" y="122203"/>
                    <a:pt x="2520" y="127242"/>
                    <a:pt x="2520" y="133541"/>
                  </a:cubicBezTo>
                  <a:cubicBezTo>
                    <a:pt x="3780" y="146139"/>
                    <a:pt x="5039" y="157478"/>
                    <a:pt x="6299" y="170076"/>
                  </a:cubicBezTo>
                  <a:cubicBezTo>
                    <a:pt x="6299" y="176375"/>
                    <a:pt x="7559" y="181414"/>
                    <a:pt x="8819" y="187714"/>
                  </a:cubicBezTo>
                  <a:cubicBezTo>
                    <a:pt x="10079" y="194013"/>
                    <a:pt x="10079" y="201572"/>
                    <a:pt x="12598" y="207871"/>
                  </a:cubicBezTo>
                  <a:cubicBezTo>
                    <a:pt x="12598" y="209131"/>
                    <a:pt x="12598" y="210390"/>
                    <a:pt x="13858" y="211650"/>
                  </a:cubicBezTo>
                  <a:cubicBezTo>
                    <a:pt x="13858" y="212910"/>
                    <a:pt x="15118" y="215430"/>
                    <a:pt x="15118" y="216690"/>
                  </a:cubicBezTo>
                  <a:cubicBezTo>
                    <a:pt x="16378" y="219209"/>
                    <a:pt x="16378" y="222989"/>
                    <a:pt x="17638" y="225508"/>
                  </a:cubicBezTo>
                  <a:cubicBezTo>
                    <a:pt x="18897" y="231807"/>
                    <a:pt x="21417" y="236847"/>
                    <a:pt x="23937" y="243146"/>
                  </a:cubicBezTo>
                  <a:cubicBezTo>
                    <a:pt x="23937" y="244406"/>
                    <a:pt x="25196" y="244406"/>
                    <a:pt x="25196" y="245666"/>
                  </a:cubicBezTo>
                  <a:cubicBezTo>
                    <a:pt x="25196" y="245666"/>
                    <a:pt x="25196" y="246925"/>
                    <a:pt x="25196" y="246925"/>
                  </a:cubicBezTo>
                  <a:cubicBezTo>
                    <a:pt x="26456" y="249445"/>
                    <a:pt x="26456" y="251965"/>
                    <a:pt x="27716" y="254484"/>
                  </a:cubicBezTo>
                  <a:cubicBezTo>
                    <a:pt x="28976" y="257004"/>
                    <a:pt x="30236" y="259523"/>
                    <a:pt x="31496" y="262043"/>
                  </a:cubicBezTo>
                  <a:cubicBezTo>
                    <a:pt x="32755" y="264563"/>
                    <a:pt x="34015" y="267083"/>
                    <a:pt x="36535" y="269602"/>
                  </a:cubicBezTo>
                  <a:cubicBezTo>
                    <a:pt x="37795" y="272122"/>
                    <a:pt x="39055" y="274641"/>
                    <a:pt x="41574" y="277161"/>
                  </a:cubicBezTo>
                  <a:cubicBezTo>
                    <a:pt x="42834" y="279681"/>
                    <a:pt x="45354" y="282200"/>
                    <a:pt x="47873" y="284720"/>
                  </a:cubicBezTo>
                  <a:cubicBezTo>
                    <a:pt x="49133" y="285980"/>
                    <a:pt x="50393" y="288499"/>
                    <a:pt x="52913" y="289759"/>
                  </a:cubicBezTo>
                  <a:cubicBezTo>
                    <a:pt x="52913" y="289759"/>
                    <a:pt x="52913" y="289759"/>
                    <a:pt x="52913" y="289759"/>
                  </a:cubicBezTo>
                  <a:cubicBezTo>
                    <a:pt x="52913" y="291019"/>
                    <a:pt x="51653" y="293539"/>
                    <a:pt x="51653" y="294799"/>
                  </a:cubicBezTo>
                  <a:cubicBezTo>
                    <a:pt x="51653" y="294799"/>
                    <a:pt x="51653" y="294799"/>
                    <a:pt x="51653" y="294799"/>
                  </a:cubicBezTo>
                  <a:cubicBezTo>
                    <a:pt x="51653" y="294799"/>
                    <a:pt x="51653" y="294799"/>
                    <a:pt x="51653" y="294799"/>
                  </a:cubicBezTo>
                  <a:cubicBezTo>
                    <a:pt x="50393" y="297318"/>
                    <a:pt x="49133" y="298578"/>
                    <a:pt x="49133" y="301098"/>
                  </a:cubicBezTo>
                  <a:cubicBezTo>
                    <a:pt x="47873" y="303617"/>
                    <a:pt x="47873" y="304877"/>
                    <a:pt x="46614" y="307397"/>
                  </a:cubicBezTo>
                  <a:cubicBezTo>
                    <a:pt x="45354" y="311176"/>
                    <a:pt x="44094" y="316216"/>
                    <a:pt x="42834" y="319995"/>
                  </a:cubicBezTo>
                  <a:cubicBezTo>
                    <a:pt x="41574" y="323775"/>
                    <a:pt x="40314" y="328814"/>
                    <a:pt x="39055" y="332593"/>
                  </a:cubicBezTo>
                  <a:cubicBezTo>
                    <a:pt x="37795" y="336373"/>
                    <a:pt x="36535" y="341412"/>
                    <a:pt x="34015" y="345192"/>
                  </a:cubicBezTo>
                  <a:cubicBezTo>
                    <a:pt x="32755" y="347711"/>
                    <a:pt x="31496" y="350231"/>
                    <a:pt x="31496" y="351491"/>
                  </a:cubicBezTo>
                  <a:cubicBezTo>
                    <a:pt x="30236" y="354010"/>
                    <a:pt x="30236" y="356530"/>
                    <a:pt x="28976" y="359050"/>
                  </a:cubicBezTo>
                  <a:cubicBezTo>
                    <a:pt x="28976" y="359050"/>
                    <a:pt x="28976" y="360309"/>
                    <a:pt x="28976" y="360309"/>
                  </a:cubicBezTo>
                  <a:lnTo>
                    <a:pt x="28976" y="360309"/>
                  </a:lnTo>
                  <a:cubicBezTo>
                    <a:pt x="27716" y="361569"/>
                    <a:pt x="27716" y="364089"/>
                    <a:pt x="26456" y="365349"/>
                  </a:cubicBezTo>
                  <a:cubicBezTo>
                    <a:pt x="25196" y="366608"/>
                    <a:pt x="25196" y="367868"/>
                    <a:pt x="25196" y="370388"/>
                  </a:cubicBezTo>
                  <a:cubicBezTo>
                    <a:pt x="25196" y="370388"/>
                    <a:pt x="25196" y="370388"/>
                    <a:pt x="25196" y="371648"/>
                  </a:cubicBezTo>
                  <a:lnTo>
                    <a:pt x="25196" y="371648"/>
                  </a:lnTo>
                  <a:lnTo>
                    <a:pt x="25196" y="371648"/>
                  </a:lnTo>
                  <a:cubicBezTo>
                    <a:pt x="25196" y="372908"/>
                    <a:pt x="25196" y="374167"/>
                    <a:pt x="25196" y="375427"/>
                  </a:cubicBezTo>
                  <a:cubicBezTo>
                    <a:pt x="25196" y="376687"/>
                    <a:pt x="25196" y="377947"/>
                    <a:pt x="25196" y="379207"/>
                  </a:cubicBezTo>
                  <a:lnTo>
                    <a:pt x="25196" y="380467"/>
                  </a:lnTo>
                  <a:cubicBezTo>
                    <a:pt x="25196" y="381726"/>
                    <a:pt x="25196" y="382986"/>
                    <a:pt x="26456" y="384246"/>
                  </a:cubicBezTo>
                  <a:cubicBezTo>
                    <a:pt x="27716" y="386766"/>
                    <a:pt x="28976" y="390545"/>
                    <a:pt x="30236" y="393065"/>
                  </a:cubicBezTo>
                  <a:cubicBezTo>
                    <a:pt x="31496" y="395584"/>
                    <a:pt x="32755" y="396844"/>
                    <a:pt x="35275" y="399364"/>
                  </a:cubicBezTo>
                  <a:cubicBezTo>
                    <a:pt x="39055" y="403143"/>
                    <a:pt x="42834" y="408183"/>
                    <a:pt x="49133" y="411962"/>
                  </a:cubicBezTo>
                  <a:cubicBezTo>
                    <a:pt x="51653" y="413222"/>
                    <a:pt x="54172" y="415742"/>
                    <a:pt x="57952" y="417001"/>
                  </a:cubicBezTo>
                  <a:lnTo>
                    <a:pt x="59212" y="418261"/>
                  </a:lnTo>
                  <a:cubicBezTo>
                    <a:pt x="61731" y="419521"/>
                    <a:pt x="64251" y="420781"/>
                    <a:pt x="65511" y="422041"/>
                  </a:cubicBezTo>
                  <a:cubicBezTo>
                    <a:pt x="70550" y="424560"/>
                    <a:pt x="76849" y="425820"/>
                    <a:pt x="84408" y="427080"/>
                  </a:cubicBezTo>
                  <a:cubicBezTo>
                    <a:pt x="88188" y="427080"/>
                    <a:pt x="91967" y="427080"/>
                    <a:pt x="94487" y="428340"/>
                  </a:cubicBezTo>
                  <a:cubicBezTo>
                    <a:pt x="97007" y="428340"/>
                    <a:pt x="100786" y="428340"/>
                    <a:pt x="104565" y="428340"/>
                  </a:cubicBezTo>
                  <a:cubicBezTo>
                    <a:pt x="104565" y="428340"/>
                    <a:pt x="105825" y="428340"/>
                    <a:pt x="105825" y="428340"/>
                  </a:cubicBezTo>
                  <a:cubicBezTo>
                    <a:pt x="108345" y="428340"/>
                    <a:pt x="110864" y="428340"/>
                    <a:pt x="114644" y="427080"/>
                  </a:cubicBezTo>
                  <a:cubicBezTo>
                    <a:pt x="117164" y="427080"/>
                    <a:pt x="119683" y="425820"/>
                    <a:pt x="123463" y="424560"/>
                  </a:cubicBezTo>
                  <a:cubicBezTo>
                    <a:pt x="127242" y="423301"/>
                    <a:pt x="132281" y="420781"/>
                    <a:pt x="137321" y="418261"/>
                  </a:cubicBezTo>
                  <a:cubicBezTo>
                    <a:pt x="139840" y="417001"/>
                    <a:pt x="142360" y="415742"/>
                    <a:pt x="144880" y="413222"/>
                  </a:cubicBezTo>
                  <a:cubicBezTo>
                    <a:pt x="147399" y="411962"/>
                    <a:pt x="148659" y="409443"/>
                    <a:pt x="149919" y="406923"/>
                  </a:cubicBezTo>
                  <a:cubicBezTo>
                    <a:pt x="151179" y="404403"/>
                    <a:pt x="152439" y="401884"/>
                    <a:pt x="153699" y="400624"/>
                  </a:cubicBezTo>
                  <a:cubicBezTo>
                    <a:pt x="154958" y="399364"/>
                    <a:pt x="154958" y="396844"/>
                    <a:pt x="154958" y="395584"/>
                  </a:cubicBezTo>
                  <a:cubicBezTo>
                    <a:pt x="154958" y="394325"/>
                    <a:pt x="154958" y="394325"/>
                    <a:pt x="154958" y="393065"/>
                  </a:cubicBezTo>
                  <a:cubicBezTo>
                    <a:pt x="154958" y="393065"/>
                    <a:pt x="154958" y="391805"/>
                    <a:pt x="154958" y="391805"/>
                  </a:cubicBezTo>
                  <a:cubicBezTo>
                    <a:pt x="154958" y="389285"/>
                    <a:pt x="156218" y="388025"/>
                    <a:pt x="156218" y="385506"/>
                  </a:cubicBezTo>
                  <a:lnTo>
                    <a:pt x="156218" y="385506"/>
                  </a:lnTo>
                  <a:cubicBezTo>
                    <a:pt x="156218" y="385506"/>
                    <a:pt x="156218" y="385506"/>
                    <a:pt x="156218" y="385506"/>
                  </a:cubicBezTo>
                  <a:cubicBezTo>
                    <a:pt x="156218" y="384246"/>
                    <a:pt x="156218" y="384246"/>
                    <a:pt x="156218" y="382986"/>
                  </a:cubicBezTo>
                  <a:cubicBezTo>
                    <a:pt x="156218" y="382986"/>
                    <a:pt x="156218" y="382986"/>
                    <a:pt x="156218" y="382986"/>
                  </a:cubicBezTo>
                  <a:cubicBezTo>
                    <a:pt x="156218" y="382986"/>
                    <a:pt x="156218" y="381726"/>
                    <a:pt x="156218" y="381726"/>
                  </a:cubicBezTo>
                  <a:cubicBezTo>
                    <a:pt x="156218" y="380467"/>
                    <a:pt x="154958" y="379207"/>
                    <a:pt x="153699" y="376687"/>
                  </a:cubicBezTo>
                  <a:lnTo>
                    <a:pt x="153699" y="376687"/>
                  </a:lnTo>
                  <a:cubicBezTo>
                    <a:pt x="152439" y="374167"/>
                    <a:pt x="152439" y="372908"/>
                    <a:pt x="151179" y="370388"/>
                  </a:cubicBezTo>
                  <a:lnTo>
                    <a:pt x="151179" y="369128"/>
                  </a:lnTo>
                  <a:cubicBezTo>
                    <a:pt x="149919" y="366608"/>
                    <a:pt x="148659" y="364089"/>
                    <a:pt x="148659" y="362829"/>
                  </a:cubicBezTo>
                  <a:cubicBezTo>
                    <a:pt x="147399" y="357790"/>
                    <a:pt x="146140" y="352751"/>
                    <a:pt x="144880" y="346451"/>
                  </a:cubicBezTo>
                  <a:cubicBezTo>
                    <a:pt x="144880" y="346451"/>
                    <a:pt x="144880" y="346451"/>
                    <a:pt x="144880" y="346451"/>
                  </a:cubicBezTo>
                  <a:cubicBezTo>
                    <a:pt x="144880" y="346451"/>
                    <a:pt x="144880" y="346451"/>
                    <a:pt x="144880" y="346451"/>
                  </a:cubicBezTo>
                  <a:lnTo>
                    <a:pt x="144880" y="346451"/>
                  </a:lnTo>
                  <a:cubicBezTo>
                    <a:pt x="143620" y="341412"/>
                    <a:pt x="143620" y="335113"/>
                    <a:pt x="143620" y="327554"/>
                  </a:cubicBezTo>
                  <a:cubicBezTo>
                    <a:pt x="143620" y="326294"/>
                    <a:pt x="143620" y="325034"/>
                    <a:pt x="143620" y="322515"/>
                  </a:cubicBezTo>
                  <a:lnTo>
                    <a:pt x="143620" y="322515"/>
                  </a:lnTo>
                  <a:cubicBezTo>
                    <a:pt x="144880" y="322515"/>
                    <a:pt x="146140" y="322515"/>
                    <a:pt x="147399" y="322515"/>
                  </a:cubicBezTo>
                  <a:cubicBezTo>
                    <a:pt x="148659" y="322515"/>
                    <a:pt x="151179" y="322515"/>
                    <a:pt x="152439" y="322515"/>
                  </a:cubicBezTo>
                  <a:cubicBezTo>
                    <a:pt x="158738" y="322515"/>
                    <a:pt x="165037" y="321255"/>
                    <a:pt x="168816" y="319995"/>
                  </a:cubicBezTo>
                  <a:cubicBezTo>
                    <a:pt x="170076" y="319995"/>
                    <a:pt x="172596" y="319995"/>
                    <a:pt x="173856" y="318735"/>
                  </a:cubicBezTo>
                  <a:lnTo>
                    <a:pt x="173856" y="318735"/>
                  </a:lnTo>
                  <a:cubicBezTo>
                    <a:pt x="178895" y="317475"/>
                    <a:pt x="183934" y="317475"/>
                    <a:pt x="188973" y="316216"/>
                  </a:cubicBezTo>
                  <a:cubicBezTo>
                    <a:pt x="196533" y="314956"/>
                    <a:pt x="202832" y="312436"/>
                    <a:pt x="209131" y="309916"/>
                  </a:cubicBezTo>
                  <a:cubicBezTo>
                    <a:pt x="216690" y="307397"/>
                    <a:pt x="222989" y="303617"/>
                    <a:pt x="228028" y="301098"/>
                  </a:cubicBezTo>
                  <a:cubicBezTo>
                    <a:pt x="230548" y="299838"/>
                    <a:pt x="233067" y="297318"/>
                    <a:pt x="235587" y="296058"/>
                  </a:cubicBezTo>
                  <a:cubicBezTo>
                    <a:pt x="238107" y="293539"/>
                    <a:pt x="241886" y="292279"/>
                    <a:pt x="244406" y="289759"/>
                  </a:cubicBezTo>
                  <a:cubicBezTo>
                    <a:pt x="249445" y="285980"/>
                    <a:pt x="253225" y="280940"/>
                    <a:pt x="257004" y="274641"/>
                  </a:cubicBezTo>
                  <a:cubicBezTo>
                    <a:pt x="260784" y="269602"/>
                    <a:pt x="264563" y="263303"/>
                    <a:pt x="267083" y="258264"/>
                  </a:cubicBezTo>
                  <a:cubicBezTo>
                    <a:pt x="270862" y="251965"/>
                    <a:pt x="273382" y="244406"/>
                    <a:pt x="274642" y="239366"/>
                  </a:cubicBezTo>
                  <a:cubicBezTo>
                    <a:pt x="275901" y="235587"/>
                    <a:pt x="277161" y="233067"/>
                    <a:pt x="278421" y="228028"/>
                  </a:cubicBezTo>
                  <a:cubicBezTo>
                    <a:pt x="278421" y="228028"/>
                    <a:pt x="278421" y="228028"/>
                    <a:pt x="278421" y="228028"/>
                  </a:cubicBezTo>
                  <a:lnTo>
                    <a:pt x="278421" y="228028"/>
                  </a:lnTo>
                  <a:cubicBezTo>
                    <a:pt x="279681" y="225508"/>
                    <a:pt x="279681" y="224248"/>
                    <a:pt x="279681" y="221729"/>
                  </a:cubicBezTo>
                  <a:cubicBezTo>
                    <a:pt x="280941" y="215430"/>
                    <a:pt x="282201" y="210390"/>
                    <a:pt x="283460" y="204091"/>
                  </a:cubicBezTo>
                  <a:lnTo>
                    <a:pt x="283460" y="202831"/>
                  </a:lnTo>
                  <a:cubicBezTo>
                    <a:pt x="284720" y="196532"/>
                    <a:pt x="285980" y="190233"/>
                    <a:pt x="287240" y="183934"/>
                  </a:cubicBezTo>
                  <a:cubicBezTo>
                    <a:pt x="288500" y="172596"/>
                    <a:pt x="289759" y="158738"/>
                    <a:pt x="291019" y="144880"/>
                  </a:cubicBezTo>
                  <a:cubicBezTo>
                    <a:pt x="292279" y="133541"/>
                    <a:pt x="291019" y="120943"/>
                    <a:pt x="291019" y="109605"/>
                  </a:cubicBezTo>
                  <a:lnTo>
                    <a:pt x="291019" y="105825"/>
                  </a:lnTo>
                  <a:cubicBezTo>
                    <a:pt x="291019" y="99526"/>
                    <a:pt x="291019" y="94487"/>
                    <a:pt x="289759" y="88188"/>
                  </a:cubicBezTo>
                  <a:cubicBezTo>
                    <a:pt x="289759" y="81889"/>
                    <a:pt x="288500" y="75589"/>
                    <a:pt x="288500" y="69290"/>
                  </a:cubicBezTo>
                  <a:lnTo>
                    <a:pt x="288500" y="65511"/>
                  </a:lnTo>
                  <a:cubicBezTo>
                    <a:pt x="288500" y="61731"/>
                    <a:pt x="287240" y="56692"/>
                    <a:pt x="287240" y="51653"/>
                  </a:cubicBezTo>
                  <a:cubicBezTo>
                    <a:pt x="287240" y="51653"/>
                    <a:pt x="287240" y="51653"/>
                    <a:pt x="287240" y="51653"/>
                  </a:cubicBezTo>
                  <a:cubicBezTo>
                    <a:pt x="287240" y="51653"/>
                    <a:pt x="287240" y="51653"/>
                    <a:pt x="287240" y="51653"/>
                  </a:cubicBezTo>
                  <a:cubicBezTo>
                    <a:pt x="279681" y="47873"/>
                    <a:pt x="278421" y="47873"/>
                    <a:pt x="277161" y="47873"/>
                  </a:cubicBezTo>
                  <a:close/>
                </a:path>
              </a:pathLst>
            </a:custGeom>
            <a:solidFill>
              <a:srgbClr val="F2A988"/>
            </a:solidFill>
            <a:ln w="12584" cap="flat">
              <a:noFill/>
              <a:prstDash val="solid"/>
              <a:miter/>
            </a:ln>
          </p:spPr>
          <p:txBody>
            <a:bodyPr rtlCol="0" anchor="ctr"/>
            <a:lstStyle/>
            <a:p>
              <a:endParaRPr lang="zh-CN" altLang="en-US"/>
            </a:p>
          </p:txBody>
        </p:sp>
        <p:sp>
          <p:nvSpPr>
            <p:cNvPr id="10136" name="任意多边形: 形状 10135"/>
            <p:cNvSpPr/>
            <p:nvPr/>
          </p:nvSpPr>
          <p:spPr>
            <a:xfrm>
              <a:off x="3282555" y="3466794"/>
              <a:ext cx="12598" cy="12598"/>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54F3F5"/>
            </a:solidFill>
            <a:ln w="12584" cap="flat">
              <a:noFill/>
              <a:prstDash val="solid"/>
              <a:miter/>
            </a:ln>
          </p:spPr>
          <p:txBody>
            <a:bodyPr rtlCol="0" anchor="ctr"/>
            <a:lstStyle/>
            <a:p>
              <a:endParaRPr lang="zh-CN" altLang="en-US"/>
            </a:p>
          </p:txBody>
        </p:sp>
        <p:sp>
          <p:nvSpPr>
            <p:cNvPr id="10137" name="任意多边形: 形状 10136"/>
            <p:cNvSpPr/>
            <p:nvPr/>
          </p:nvSpPr>
          <p:spPr>
            <a:xfrm>
              <a:off x="2517842" y="3134201"/>
              <a:ext cx="768492" cy="718099"/>
            </a:xfrm>
            <a:custGeom>
              <a:avLst/>
              <a:gdLst>
                <a:gd name="connsiteX0" fmla="*/ 537945 w 768492"/>
                <a:gd name="connsiteY0" fmla="*/ 16378 h 718099"/>
                <a:gd name="connsiteX1" fmla="*/ 537945 w 768492"/>
                <a:gd name="connsiteY1" fmla="*/ 16378 h 718099"/>
                <a:gd name="connsiteX2" fmla="*/ 537945 w 768492"/>
                <a:gd name="connsiteY2" fmla="*/ 16378 h 718099"/>
                <a:gd name="connsiteX3" fmla="*/ 536685 w 768492"/>
                <a:gd name="connsiteY3" fmla="*/ 22677 h 718099"/>
                <a:gd name="connsiteX4" fmla="*/ 537945 w 768492"/>
                <a:gd name="connsiteY4" fmla="*/ 16378 h 718099"/>
                <a:gd name="connsiteX5" fmla="*/ 537945 w 768492"/>
                <a:gd name="connsiteY5" fmla="*/ 16378 h 718099"/>
                <a:gd name="connsiteX6" fmla="*/ 537945 w 768492"/>
                <a:gd name="connsiteY6" fmla="*/ 16378 h 718099"/>
                <a:gd name="connsiteX7" fmla="*/ 536685 w 768492"/>
                <a:gd name="connsiteY7" fmla="*/ 23937 h 718099"/>
                <a:gd name="connsiteX8" fmla="*/ 536685 w 768492"/>
                <a:gd name="connsiteY8" fmla="*/ 26456 h 718099"/>
                <a:gd name="connsiteX9" fmla="*/ 535425 w 768492"/>
                <a:gd name="connsiteY9" fmla="*/ 31496 h 718099"/>
                <a:gd name="connsiteX10" fmla="*/ 531645 w 768492"/>
                <a:gd name="connsiteY10" fmla="*/ 37795 h 718099"/>
                <a:gd name="connsiteX11" fmla="*/ 526606 w 768492"/>
                <a:gd name="connsiteY11" fmla="*/ 44094 h 718099"/>
                <a:gd name="connsiteX12" fmla="*/ 519047 w 768492"/>
                <a:gd name="connsiteY12" fmla="*/ 49133 h 718099"/>
                <a:gd name="connsiteX13" fmla="*/ 505189 w 768492"/>
                <a:gd name="connsiteY13" fmla="*/ 55432 h 718099"/>
                <a:gd name="connsiteX14" fmla="*/ 496370 w 768492"/>
                <a:gd name="connsiteY14" fmla="*/ 57952 h 718099"/>
                <a:gd name="connsiteX15" fmla="*/ 487552 w 768492"/>
                <a:gd name="connsiteY15" fmla="*/ 59212 h 718099"/>
                <a:gd name="connsiteX16" fmla="*/ 486292 w 768492"/>
                <a:gd name="connsiteY16" fmla="*/ 59212 h 718099"/>
                <a:gd name="connsiteX17" fmla="*/ 476213 w 768492"/>
                <a:gd name="connsiteY17" fmla="*/ 59212 h 718099"/>
                <a:gd name="connsiteX18" fmla="*/ 466135 w 768492"/>
                <a:gd name="connsiteY18" fmla="*/ 57952 h 718099"/>
                <a:gd name="connsiteX19" fmla="*/ 447237 w 768492"/>
                <a:gd name="connsiteY19" fmla="*/ 52913 h 718099"/>
                <a:gd name="connsiteX20" fmla="*/ 440938 w 768492"/>
                <a:gd name="connsiteY20" fmla="*/ 49133 h 718099"/>
                <a:gd name="connsiteX21" fmla="*/ 439678 w 768492"/>
                <a:gd name="connsiteY21" fmla="*/ 47873 h 718099"/>
                <a:gd name="connsiteX22" fmla="*/ 430860 w 768492"/>
                <a:gd name="connsiteY22" fmla="*/ 42834 h 718099"/>
                <a:gd name="connsiteX23" fmla="*/ 417002 w 768492"/>
                <a:gd name="connsiteY23" fmla="*/ 30236 h 718099"/>
                <a:gd name="connsiteX24" fmla="*/ 411962 w 768492"/>
                <a:gd name="connsiteY24" fmla="*/ 23937 h 718099"/>
                <a:gd name="connsiteX25" fmla="*/ 408183 w 768492"/>
                <a:gd name="connsiteY25" fmla="*/ 15118 h 718099"/>
                <a:gd name="connsiteX26" fmla="*/ 406923 w 768492"/>
                <a:gd name="connsiteY26" fmla="*/ 11338 h 718099"/>
                <a:gd name="connsiteX27" fmla="*/ 406923 w 768492"/>
                <a:gd name="connsiteY27" fmla="*/ 10078 h 718099"/>
                <a:gd name="connsiteX28" fmla="*/ 406923 w 768492"/>
                <a:gd name="connsiteY28" fmla="*/ 6299 h 718099"/>
                <a:gd name="connsiteX29" fmla="*/ 406923 w 768492"/>
                <a:gd name="connsiteY29" fmla="*/ 2520 h 718099"/>
                <a:gd name="connsiteX30" fmla="*/ 406923 w 768492"/>
                <a:gd name="connsiteY30" fmla="*/ 2520 h 718099"/>
                <a:gd name="connsiteX31" fmla="*/ 406923 w 768492"/>
                <a:gd name="connsiteY31" fmla="*/ 2520 h 718099"/>
                <a:gd name="connsiteX32" fmla="*/ 406923 w 768492"/>
                <a:gd name="connsiteY32" fmla="*/ 2520 h 718099"/>
                <a:gd name="connsiteX33" fmla="*/ 406923 w 768492"/>
                <a:gd name="connsiteY33" fmla="*/ 2520 h 718099"/>
                <a:gd name="connsiteX34" fmla="*/ 406923 w 768492"/>
                <a:gd name="connsiteY34" fmla="*/ 2520 h 718099"/>
                <a:gd name="connsiteX35" fmla="*/ 406923 w 768492"/>
                <a:gd name="connsiteY35" fmla="*/ 2520 h 718099"/>
                <a:gd name="connsiteX36" fmla="*/ 406923 w 768492"/>
                <a:gd name="connsiteY36" fmla="*/ 2520 h 718099"/>
                <a:gd name="connsiteX37" fmla="*/ 403143 w 768492"/>
                <a:gd name="connsiteY37" fmla="*/ 3779 h 718099"/>
                <a:gd name="connsiteX38" fmla="*/ 403143 w 768492"/>
                <a:gd name="connsiteY38" fmla="*/ 3779 h 718099"/>
                <a:gd name="connsiteX39" fmla="*/ 401884 w 768492"/>
                <a:gd name="connsiteY39" fmla="*/ 3779 h 718099"/>
                <a:gd name="connsiteX40" fmla="*/ 399364 w 768492"/>
                <a:gd name="connsiteY40" fmla="*/ 3779 h 718099"/>
                <a:gd name="connsiteX41" fmla="*/ 388026 w 768492"/>
                <a:gd name="connsiteY41" fmla="*/ 6299 h 718099"/>
                <a:gd name="connsiteX42" fmla="*/ 382986 w 768492"/>
                <a:gd name="connsiteY42" fmla="*/ 7559 h 718099"/>
                <a:gd name="connsiteX43" fmla="*/ 381726 w 768492"/>
                <a:gd name="connsiteY43" fmla="*/ 7559 h 718099"/>
                <a:gd name="connsiteX44" fmla="*/ 380467 w 768492"/>
                <a:gd name="connsiteY44" fmla="*/ 7559 h 718099"/>
                <a:gd name="connsiteX45" fmla="*/ 379207 w 768492"/>
                <a:gd name="connsiteY45" fmla="*/ 7559 h 718099"/>
                <a:gd name="connsiteX46" fmla="*/ 371648 w 768492"/>
                <a:gd name="connsiteY46" fmla="*/ 8819 h 718099"/>
                <a:gd name="connsiteX47" fmla="*/ 367868 w 768492"/>
                <a:gd name="connsiteY47" fmla="*/ 8819 h 718099"/>
                <a:gd name="connsiteX48" fmla="*/ 354010 w 768492"/>
                <a:gd name="connsiteY48" fmla="*/ 11338 h 718099"/>
                <a:gd name="connsiteX49" fmla="*/ 340152 w 768492"/>
                <a:gd name="connsiteY49" fmla="*/ 15118 h 718099"/>
                <a:gd name="connsiteX50" fmla="*/ 337633 w 768492"/>
                <a:gd name="connsiteY50" fmla="*/ 15118 h 718099"/>
                <a:gd name="connsiteX51" fmla="*/ 326294 w 768492"/>
                <a:gd name="connsiteY51" fmla="*/ 17637 h 718099"/>
                <a:gd name="connsiteX52" fmla="*/ 302358 w 768492"/>
                <a:gd name="connsiteY52" fmla="*/ 26456 h 718099"/>
                <a:gd name="connsiteX53" fmla="*/ 289759 w 768492"/>
                <a:gd name="connsiteY53" fmla="*/ 32755 h 718099"/>
                <a:gd name="connsiteX54" fmla="*/ 289759 w 768492"/>
                <a:gd name="connsiteY54" fmla="*/ 32755 h 718099"/>
                <a:gd name="connsiteX55" fmla="*/ 282201 w 768492"/>
                <a:gd name="connsiteY55" fmla="*/ 36535 h 718099"/>
                <a:gd name="connsiteX56" fmla="*/ 262043 w 768492"/>
                <a:gd name="connsiteY56" fmla="*/ 46613 h 718099"/>
                <a:gd name="connsiteX57" fmla="*/ 250705 w 768492"/>
                <a:gd name="connsiteY57" fmla="*/ 54172 h 718099"/>
                <a:gd name="connsiteX58" fmla="*/ 241886 w 768492"/>
                <a:gd name="connsiteY58" fmla="*/ 61731 h 718099"/>
                <a:gd name="connsiteX59" fmla="*/ 225508 w 768492"/>
                <a:gd name="connsiteY59" fmla="*/ 76849 h 718099"/>
                <a:gd name="connsiteX60" fmla="*/ 220469 w 768492"/>
                <a:gd name="connsiteY60" fmla="*/ 83148 h 718099"/>
                <a:gd name="connsiteX61" fmla="*/ 212910 w 768492"/>
                <a:gd name="connsiteY61" fmla="*/ 88188 h 718099"/>
                <a:gd name="connsiteX62" fmla="*/ 204091 w 768492"/>
                <a:gd name="connsiteY62" fmla="*/ 95746 h 718099"/>
                <a:gd name="connsiteX63" fmla="*/ 197792 w 768492"/>
                <a:gd name="connsiteY63" fmla="*/ 103305 h 718099"/>
                <a:gd name="connsiteX64" fmla="*/ 183934 w 768492"/>
                <a:gd name="connsiteY64" fmla="*/ 117163 h 718099"/>
                <a:gd name="connsiteX65" fmla="*/ 178895 w 768492"/>
                <a:gd name="connsiteY65" fmla="*/ 122203 h 718099"/>
                <a:gd name="connsiteX66" fmla="*/ 177635 w 768492"/>
                <a:gd name="connsiteY66" fmla="*/ 123463 h 718099"/>
                <a:gd name="connsiteX67" fmla="*/ 176375 w 768492"/>
                <a:gd name="connsiteY67" fmla="*/ 124722 h 718099"/>
                <a:gd name="connsiteX68" fmla="*/ 167557 w 768492"/>
                <a:gd name="connsiteY68" fmla="*/ 133541 h 718099"/>
                <a:gd name="connsiteX69" fmla="*/ 154958 w 768492"/>
                <a:gd name="connsiteY69" fmla="*/ 146139 h 718099"/>
                <a:gd name="connsiteX70" fmla="*/ 151179 w 768492"/>
                <a:gd name="connsiteY70" fmla="*/ 149919 h 718099"/>
                <a:gd name="connsiteX71" fmla="*/ 141100 w 768492"/>
                <a:gd name="connsiteY71" fmla="*/ 159998 h 718099"/>
                <a:gd name="connsiteX72" fmla="*/ 136061 w 768492"/>
                <a:gd name="connsiteY72" fmla="*/ 165037 h 718099"/>
                <a:gd name="connsiteX73" fmla="*/ 124723 w 768492"/>
                <a:gd name="connsiteY73" fmla="*/ 177635 h 718099"/>
                <a:gd name="connsiteX74" fmla="*/ 120943 w 768492"/>
                <a:gd name="connsiteY74" fmla="*/ 181414 h 718099"/>
                <a:gd name="connsiteX75" fmla="*/ 115904 w 768492"/>
                <a:gd name="connsiteY75" fmla="*/ 186454 h 718099"/>
                <a:gd name="connsiteX76" fmla="*/ 115904 w 768492"/>
                <a:gd name="connsiteY76" fmla="*/ 186454 h 718099"/>
                <a:gd name="connsiteX77" fmla="*/ 105825 w 768492"/>
                <a:gd name="connsiteY77" fmla="*/ 197792 h 718099"/>
                <a:gd name="connsiteX78" fmla="*/ 94487 w 768492"/>
                <a:gd name="connsiteY78" fmla="*/ 212910 h 718099"/>
                <a:gd name="connsiteX79" fmla="*/ 93227 w 768492"/>
                <a:gd name="connsiteY79" fmla="*/ 214170 h 718099"/>
                <a:gd name="connsiteX80" fmla="*/ 90707 w 768492"/>
                <a:gd name="connsiteY80" fmla="*/ 216690 h 718099"/>
                <a:gd name="connsiteX81" fmla="*/ 78109 w 768492"/>
                <a:gd name="connsiteY81" fmla="*/ 234327 h 718099"/>
                <a:gd name="connsiteX82" fmla="*/ 76849 w 768492"/>
                <a:gd name="connsiteY82" fmla="*/ 235587 h 718099"/>
                <a:gd name="connsiteX83" fmla="*/ 70550 w 768492"/>
                <a:gd name="connsiteY83" fmla="*/ 244406 h 718099"/>
                <a:gd name="connsiteX84" fmla="*/ 66771 w 768492"/>
                <a:gd name="connsiteY84" fmla="*/ 249445 h 718099"/>
                <a:gd name="connsiteX85" fmla="*/ 66771 w 768492"/>
                <a:gd name="connsiteY85" fmla="*/ 249445 h 718099"/>
                <a:gd name="connsiteX86" fmla="*/ 64251 w 768492"/>
                <a:gd name="connsiteY86" fmla="*/ 253224 h 718099"/>
                <a:gd name="connsiteX87" fmla="*/ 51653 w 768492"/>
                <a:gd name="connsiteY87" fmla="*/ 270862 h 718099"/>
                <a:gd name="connsiteX88" fmla="*/ 31496 w 768492"/>
                <a:gd name="connsiteY88" fmla="*/ 301098 h 718099"/>
                <a:gd name="connsiteX89" fmla="*/ 27716 w 768492"/>
                <a:gd name="connsiteY89" fmla="*/ 307397 h 718099"/>
                <a:gd name="connsiteX90" fmla="*/ 25196 w 768492"/>
                <a:gd name="connsiteY90" fmla="*/ 311176 h 718099"/>
                <a:gd name="connsiteX91" fmla="*/ 17638 w 768492"/>
                <a:gd name="connsiteY91" fmla="*/ 325034 h 718099"/>
                <a:gd name="connsiteX92" fmla="*/ 16378 w 768492"/>
                <a:gd name="connsiteY92" fmla="*/ 327554 h 718099"/>
                <a:gd name="connsiteX93" fmla="*/ 16378 w 768492"/>
                <a:gd name="connsiteY93" fmla="*/ 327554 h 718099"/>
                <a:gd name="connsiteX94" fmla="*/ 13858 w 768492"/>
                <a:gd name="connsiteY94" fmla="*/ 332593 h 718099"/>
                <a:gd name="connsiteX95" fmla="*/ 10079 w 768492"/>
                <a:gd name="connsiteY95" fmla="*/ 342672 h 718099"/>
                <a:gd name="connsiteX96" fmla="*/ 10079 w 768492"/>
                <a:gd name="connsiteY96" fmla="*/ 342672 h 718099"/>
                <a:gd name="connsiteX97" fmla="*/ 6299 w 768492"/>
                <a:gd name="connsiteY97" fmla="*/ 351491 h 718099"/>
                <a:gd name="connsiteX98" fmla="*/ 3780 w 768492"/>
                <a:gd name="connsiteY98" fmla="*/ 360309 h 718099"/>
                <a:gd name="connsiteX99" fmla="*/ 0 w 768492"/>
                <a:gd name="connsiteY99" fmla="*/ 381726 h 718099"/>
                <a:gd name="connsiteX100" fmla="*/ 1260 w 768492"/>
                <a:gd name="connsiteY100" fmla="*/ 401884 h 718099"/>
                <a:gd name="connsiteX101" fmla="*/ 3780 w 768492"/>
                <a:gd name="connsiteY101" fmla="*/ 413222 h 718099"/>
                <a:gd name="connsiteX102" fmla="*/ 8819 w 768492"/>
                <a:gd name="connsiteY102" fmla="*/ 423301 h 718099"/>
                <a:gd name="connsiteX103" fmla="*/ 11338 w 768492"/>
                <a:gd name="connsiteY103" fmla="*/ 425820 h 718099"/>
                <a:gd name="connsiteX104" fmla="*/ 11338 w 768492"/>
                <a:gd name="connsiteY104" fmla="*/ 425820 h 718099"/>
                <a:gd name="connsiteX105" fmla="*/ 11338 w 768492"/>
                <a:gd name="connsiteY105" fmla="*/ 425820 h 718099"/>
                <a:gd name="connsiteX106" fmla="*/ 11338 w 768492"/>
                <a:gd name="connsiteY106" fmla="*/ 425820 h 718099"/>
                <a:gd name="connsiteX107" fmla="*/ 11338 w 768492"/>
                <a:gd name="connsiteY107" fmla="*/ 425820 h 718099"/>
                <a:gd name="connsiteX108" fmla="*/ 11338 w 768492"/>
                <a:gd name="connsiteY108" fmla="*/ 425820 h 718099"/>
                <a:gd name="connsiteX109" fmla="*/ 11338 w 768492"/>
                <a:gd name="connsiteY109" fmla="*/ 425820 h 718099"/>
                <a:gd name="connsiteX110" fmla="*/ 10079 w 768492"/>
                <a:gd name="connsiteY110" fmla="*/ 406923 h 718099"/>
                <a:gd name="connsiteX111" fmla="*/ 11338 w 768492"/>
                <a:gd name="connsiteY111" fmla="*/ 388025 h 718099"/>
                <a:gd name="connsiteX112" fmla="*/ 13858 w 768492"/>
                <a:gd name="connsiteY112" fmla="*/ 380467 h 718099"/>
                <a:gd name="connsiteX113" fmla="*/ 13858 w 768492"/>
                <a:gd name="connsiteY113" fmla="*/ 380467 h 718099"/>
                <a:gd name="connsiteX114" fmla="*/ 17638 w 768492"/>
                <a:gd name="connsiteY114" fmla="*/ 370388 h 718099"/>
                <a:gd name="connsiteX115" fmla="*/ 23937 w 768492"/>
                <a:gd name="connsiteY115" fmla="*/ 359050 h 718099"/>
                <a:gd name="connsiteX116" fmla="*/ 27716 w 768492"/>
                <a:gd name="connsiteY116" fmla="*/ 355270 h 718099"/>
                <a:gd name="connsiteX117" fmla="*/ 30236 w 768492"/>
                <a:gd name="connsiteY117" fmla="*/ 354010 h 718099"/>
                <a:gd name="connsiteX118" fmla="*/ 31496 w 768492"/>
                <a:gd name="connsiteY118" fmla="*/ 352751 h 718099"/>
                <a:gd name="connsiteX119" fmla="*/ 35275 w 768492"/>
                <a:gd name="connsiteY119" fmla="*/ 351491 h 718099"/>
                <a:gd name="connsiteX120" fmla="*/ 36535 w 768492"/>
                <a:gd name="connsiteY120" fmla="*/ 350231 h 718099"/>
                <a:gd name="connsiteX121" fmla="*/ 45354 w 768492"/>
                <a:gd name="connsiteY121" fmla="*/ 346451 h 718099"/>
                <a:gd name="connsiteX122" fmla="*/ 51653 w 768492"/>
                <a:gd name="connsiteY122" fmla="*/ 345192 h 718099"/>
                <a:gd name="connsiteX123" fmla="*/ 52913 w 768492"/>
                <a:gd name="connsiteY123" fmla="*/ 345192 h 718099"/>
                <a:gd name="connsiteX124" fmla="*/ 65511 w 768492"/>
                <a:gd name="connsiteY124" fmla="*/ 345192 h 718099"/>
                <a:gd name="connsiteX125" fmla="*/ 79369 w 768492"/>
                <a:gd name="connsiteY125" fmla="*/ 346451 h 718099"/>
                <a:gd name="connsiteX126" fmla="*/ 102046 w 768492"/>
                <a:gd name="connsiteY126" fmla="*/ 352751 h 718099"/>
                <a:gd name="connsiteX127" fmla="*/ 115904 w 768492"/>
                <a:gd name="connsiteY127" fmla="*/ 359050 h 718099"/>
                <a:gd name="connsiteX128" fmla="*/ 119683 w 768492"/>
                <a:gd name="connsiteY128" fmla="*/ 361569 h 718099"/>
                <a:gd name="connsiteX129" fmla="*/ 119683 w 768492"/>
                <a:gd name="connsiteY129" fmla="*/ 361569 h 718099"/>
                <a:gd name="connsiteX130" fmla="*/ 125982 w 768492"/>
                <a:gd name="connsiteY130" fmla="*/ 365349 h 718099"/>
                <a:gd name="connsiteX131" fmla="*/ 129762 w 768492"/>
                <a:gd name="connsiteY131" fmla="*/ 366608 h 718099"/>
                <a:gd name="connsiteX132" fmla="*/ 129762 w 768492"/>
                <a:gd name="connsiteY132" fmla="*/ 366608 h 718099"/>
                <a:gd name="connsiteX133" fmla="*/ 129762 w 768492"/>
                <a:gd name="connsiteY133" fmla="*/ 366608 h 718099"/>
                <a:gd name="connsiteX134" fmla="*/ 138581 w 768492"/>
                <a:gd name="connsiteY134" fmla="*/ 371648 h 718099"/>
                <a:gd name="connsiteX135" fmla="*/ 143620 w 768492"/>
                <a:gd name="connsiteY135" fmla="*/ 375427 h 718099"/>
                <a:gd name="connsiteX136" fmla="*/ 148659 w 768492"/>
                <a:gd name="connsiteY136" fmla="*/ 379207 h 718099"/>
                <a:gd name="connsiteX137" fmla="*/ 161257 w 768492"/>
                <a:gd name="connsiteY137" fmla="*/ 388025 h 718099"/>
                <a:gd name="connsiteX138" fmla="*/ 161257 w 768492"/>
                <a:gd name="connsiteY138" fmla="*/ 388025 h 718099"/>
                <a:gd name="connsiteX139" fmla="*/ 161257 w 768492"/>
                <a:gd name="connsiteY139" fmla="*/ 388025 h 718099"/>
                <a:gd name="connsiteX140" fmla="*/ 161257 w 768492"/>
                <a:gd name="connsiteY140" fmla="*/ 388025 h 718099"/>
                <a:gd name="connsiteX141" fmla="*/ 161257 w 768492"/>
                <a:gd name="connsiteY141" fmla="*/ 388025 h 718099"/>
                <a:gd name="connsiteX142" fmla="*/ 161257 w 768492"/>
                <a:gd name="connsiteY142" fmla="*/ 388025 h 718099"/>
                <a:gd name="connsiteX143" fmla="*/ 161257 w 768492"/>
                <a:gd name="connsiteY143" fmla="*/ 388025 h 718099"/>
                <a:gd name="connsiteX144" fmla="*/ 161257 w 768492"/>
                <a:gd name="connsiteY144" fmla="*/ 388025 h 718099"/>
                <a:gd name="connsiteX145" fmla="*/ 161257 w 768492"/>
                <a:gd name="connsiteY145" fmla="*/ 388025 h 718099"/>
                <a:gd name="connsiteX146" fmla="*/ 161257 w 768492"/>
                <a:gd name="connsiteY146" fmla="*/ 388025 h 718099"/>
                <a:gd name="connsiteX147" fmla="*/ 161257 w 768492"/>
                <a:gd name="connsiteY147" fmla="*/ 388025 h 718099"/>
                <a:gd name="connsiteX148" fmla="*/ 162517 w 768492"/>
                <a:gd name="connsiteY148" fmla="*/ 388025 h 718099"/>
                <a:gd name="connsiteX149" fmla="*/ 166297 w 768492"/>
                <a:gd name="connsiteY149" fmla="*/ 390545 h 718099"/>
                <a:gd name="connsiteX150" fmla="*/ 162517 w 768492"/>
                <a:gd name="connsiteY150" fmla="*/ 388025 h 718099"/>
                <a:gd name="connsiteX151" fmla="*/ 166297 w 768492"/>
                <a:gd name="connsiteY151" fmla="*/ 390545 h 718099"/>
                <a:gd name="connsiteX152" fmla="*/ 166297 w 768492"/>
                <a:gd name="connsiteY152" fmla="*/ 390545 h 718099"/>
                <a:gd name="connsiteX153" fmla="*/ 166297 w 768492"/>
                <a:gd name="connsiteY153" fmla="*/ 390545 h 718099"/>
                <a:gd name="connsiteX154" fmla="*/ 166297 w 768492"/>
                <a:gd name="connsiteY154" fmla="*/ 390545 h 718099"/>
                <a:gd name="connsiteX155" fmla="*/ 166297 w 768492"/>
                <a:gd name="connsiteY155" fmla="*/ 390545 h 718099"/>
                <a:gd name="connsiteX156" fmla="*/ 166297 w 768492"/>
                <a:gd name="connsiteY156" fmla="*/ 390545 h 718099"/>
                <a:gd name="connsiteX157" fmla="*/ 166297 w 768492"/>
                <a:gd name="connsiteY157" fmla="*/ 390545 h 718099"/>
                <a:gd name="connsiteX158" fmla="*/ 166297 w 768492"/>
                <a:gd name="connsiteY158" fmla="*/ 390545 h 718099"/>
                <a:gd name="connsiteX159" fmla="*/ 166297 w 768492"/>
                <a:gd name="connsiteY159" fmla="*/ 390545 h 718099"/>
                <a:gd name="connsiteX160" fmla="*/ 166297 w 768492"/>
                <a:gd name="connsiteY160" fmla="*/ 390545 h 718099"/>
                <a:gd name="connsiteX161" fmla="*/ 167557 w 768492"/>
                <a:gd name="connsiteY161" fmla="*/ 388025 h 718099"/>
                <a:gd name="connsiteX162" fmla="*/ 168816 w 768492"/>
                <a:gd name="connsiteY162" fmla="*/ 386766 h 718099"/>
                <a:gd name="connsiteX163" fmla="*/ 173856 w 768492"/>
                <a:gd name="connsiteY163" fmla="*/ 380467 h 718099"/>
                <a:gd name="connsiteX164" fmla="*/ 186454 w 768492"/>
                <a:gd name="connsiteY164" fmla="*/ 362829 h 718099"/>
                <a:gd name="connsiteX165" fmla="*/ 196533 w 768492"/>
                <a:gd name="connsiteY165" fmla="*/ 347711 h 718099"/>
                <a:gd name="connsiteX166" fmla="*/ 196533 w 768492"/>
                <a:gd name="connsiteY166" fmla="*/ 346451 h 718099"/>
                <a:gd name="connsiteX167" fmla="*/ 210391 w 768492"/>
                <a:gd name="connsiteY167" fmla="*/ 326294 h 718099"/>
                <a:gd name="connsiteX168" fmla="*/ 219209 w 768492"/>
                <a:gd name="connsiteY168" fmla="*/ 313696 h 718099"/>
                <a:gd name="connsiteX169" fmla="*/ 219209 w 768492"/>
                <a:gd name="connsiteY169" fmla="*/ 313696 h 718099"/>
                <a:gd name="connsiteX170" fmla="*/ 220469 w 768492"/>
                <a:gd name="connsiteY170" fmla="*/ 312436 h 718099"/>
                <a:gd name="connsiteX171" fmla="*/ 222989 w 768492"/>
                <a:gd name="connsiteY171" fmla="*/ 308657 h 718099"/>
                <a:gd name="connsiteX172" fmla="*/ 222989 w 768492"/>
                <a:gd name="connsiteY172" fmla="*/ 307397 h 718099"/>
                <a:gd name="connsiteX173" fmla="*/ 228028 w 768492"/>
                <a:gd name="connsiteY173" fmla="*/ 299838 h 718099"/>
                <a:gd name="connsiteX174" fmla="*/ 235587 w 768492"/>
                <a:gd name="connsiteY174" fmla="*/ 291019 h 718099"/>
                <a:gd name="connsiteX175" fmla="*/ 240626 w 768492"/>
                <a:gd name="connsiteY175" fmla="*/ 284720 h 718099"/>
                <a:gd name="connsiteX176" fmla="*/ 248185 w 768492"/>
                <a:gd name="connsiteY176" fmla="*/ 275901 h 718099"/>
                <a:gd name="connsiteX177" fmla="*/ 255744 w 768492"/>
                <a:gd name="connsiteY177" fmla="*/ 265823 h 718099"/>
                <a:gd name="connsiteX178" fmla="*/ 257004 w 768492"/>
                <a:gd name="connsiteY178" fmla="*/ 264563 h 718099"/>
                <a:gd name="connsiteX179" fmla="*/ 257004 w 768492"/>
                <a:gd name="connsiteY179" fmla="*/ 264563 h 718099"/>
                <a:gd name="connsiteX180" fmla="*/ 257004 w 768492"/>
                <a:gd name="connsiteY180" fmla="*/ 264563 h 718099"/>
                <a:gd name="connsiteX181" fmla="*/ 257004 w 768492"/>
                <a:gd name="connsiteY181" fmla="*/ 264563 h 718099"/>
                <a:gd name="connsiteX182" fmla="*/ 257004 w 768492"/>
                <a:gd name="connsiteY182" fmla="*/ 264563 h 718099"/>
                <a:gd name="connsiteX183" fmla="*/ 258264 w 768492"/>
                <a:gd name="connsiteY183" fmla="*/ 262043 h 718099"/>
                <a:gd name="connsiteX184" fmla="*/ 260783 w 768492"/>
                <a:gd name="connsiteY184" fmla="*/ 259523 h 718099"/>
                <a:gd name="connsiteX185" fmla="*/ 260783 w 768492"/>
                <a:gd name="connsiteY185" fmla="*/ 259523 h 718099"/>
                <a:gd name="connsiteX186" fmla="*/ 262043 w 768492"/>
                <a:gd name="connsiteY186" fmla="*/ 258264 h 718099"/>
                <a:gd name="connsiteX187" fmla="*/ 262043 w 768492"/>
                <a:gd name="connsiteY187" fmla="*/ 258264 h 718099"/>
                <a:gd name="connsiteX188" fmla="*/ 264563 w 768492"/>
                <a:gd name="connsiteY188" fmla="*/ 255744 h 718099"/>
                <a:gd name="connsiteX189" fmla="*/ 264563 w 768492"/>
                <a:gd name="connsiteY189" fmla="*/ 255744 h 718099"/>
                <a:gd name="connsiteX190" fmla="*/ 264563 w 768492"/>
                <a:gd name="connsiteY190" fmla="*/ 255744 h 718099"/>
                <a:gd name="connsiteX191" fmla="*/ 264563 w 768492"/>
                <a:gd name="connsiteY191" fmla="*/ 254484 h 718099"/>
                <a:gd name="connsiteX192" fmla="*/ 265823 w 768492"/>
                <a:gd name="connsiteY192" fmla="*/ 253224 h 718099"/>
                <a:gd name="connsiteX193" fmla="*/ 267083 w 768492"/>
                <a:gd name="connsiteY193" fmla="*/ 251965 h 718099"/>
                <a:gd name="connsiteX194" fmla="*/ 268342 w 768492"/>
                <a:gd name="connsiteY194" fmla="*/ 250705 h 718099"/>
                <a:gd name="connsiteX195" fmla="*/ 269602 w 768492"/>
                <a:gd name="connsiteY195" fmla="*/ 249445 h 718099"/>
                <a:gd name="connsiteX196" fmla="*/ 270862 w 768492"/>
                <a:gd name="connsiteY196" fmla="*/ 246925 h 718099"/>
                <a:gd name="connsiteX197" fmla="*/ 270862 w 768492"/>
                <a:gd name="connsiteY197" fmla="*/ 245666 h 718099"/>
                <a:gd name="connsiteX198" fmla="*/ 272122 w 768492"/>
                <a:gd name="connsiteY198" fmla="*/ 244406 h 718099"/>
                <a:gd name="connsiteX199" fmla="*/ 273382 w 768492"/>
                <a:gd name="connsiteY199" fmla="*/ 243146 h 718099"/>
                <a:gd name="connsiteX200" fmla="*/ 275901 w 768492"/>
                <a:gd name="connsiteY200" fmla="*/ 239366 h 718099"/>
                <a:gd name="connsiteX201" fmla="*/ 277161 w 768492"/>
                <a:gd name="connsiteY201" fmla="*/ 238107 h 718099"/>
                <a:gd name="connsiteX202" fmla="*/ 278421 w 768492"/>
                <a:gd name="connsiteY202" fmla="*/ 236847 h 718099"/>
                <a:gd name="connsiteX203" fmla="*/ 278421 w 768492"/>
                <a:gd name="connsiteY203" fmla="*/ 236847 h 718099"/>
                <a:gd name="connsiteX204" fmla="*/ 279681 w 768492"/>
                <a:gd name="connsiteY204" fmla="*/ 235587 h 718099"/>
                <a:gd name="connsiteX205" fmla="*/ 282201 w 768492"/>
                <a:gd name="connsiteY205" fmla="*/ 234327 h 718099"/>
                <a:gd name="connsiteX206" fmla="*/ 284720 w 768492"/>
                <a:gd name="connsiteY206" fmla="*/ 231807 h 718099"/>
                <a:gd name="connsiteX207" fmla="*/ 284720 w 768492"/>
                <a:gd name="connsiteY207" fmla="*/ 231807 h 718099"/>
                <a:gd name="connsiteX208" fmla="*/ 285980 w 768492"/>
                <a:gd name="connsiteY208" fmla="*/ 230548 h 718099"/>
                <a:gd name="connsiteX209" fmla="*/ 288500 w 768492"/>
                <a:gd name="connsiteY209" fmla="*/ 228028 h 718099"/>
                <a:gd name="connsiteX210" fmla="*/ 291019 w 768492"/>
                <a:gd name="connsiteY210" fmla="*/ 225508 h 718099"/>
                <a:gd name="connsiteX211" fmla="*/ 291019 w 768492"/>
                <a:gd name="connsiteY211" fmla="*/ 225508 h 718099"/>
                <a:gd name="connsiteX212" fmla="*/ 291019 w 768492"/>
                <a:gd name="connsiteY212" fmla="*/ 225508 h 718099"/>
                <a:gd name="connsiteX213" fmla="*/ 291019 w 768492"/>
                <a:gd name="connsiteY213" fmla="*/ 225508 h 718099"/>
                <a:gd name="connsiteX214" fmla="*/ 291019 w 768492"/>
                <a:gd name="connsiteY214" fmla="*/ 225508 h 718099"/>
                <a:gd name="connsiteX215" fmla="*/ 291019 w 768492"/>
                <a:gd name="connsiteY215" fmla="*/ 225508 h 718099"/>
                <a:gd name="connsiteX216" fmla="*/ 292279 w 768492"/>
                <a:gd name="connsiteY216" fmla="*/ 224248 h 718099"/>
                <a:gd name="connsiteX217" fmla="*/ 293539 w 768492"/>
                <a:gd name="connsiteY217" fmla="*/ 222989 h 718099"/>
                <a:gd name="connsiteX218" fmla="*/ 293539 w 768492"/>
                <a:gd name="connsiteY218" fmla="*/ 222989 h 718099"/>
                <a:gd name="connsiteX219" fmla="*/ 296058 w 768492"/>
                <a:gd name="connsiteY219" fmla="*/ 220469 h 718099"/>
                <a:gd name="connsiteX220" fmla="*/ 296058 w 768492"/>
                <a:gd name="connsiteY220" fmla="*/ 220469 h 718099"/>
                <a:gd name="connsiteX221" fmla="*/ 298578 w 768492"/>
                <a:gd name="connsiteY221" fmla="*/ 219209 h 718099"/>
                <a:gd name="connsiteX222" fmla="*/ 298578 w 768492"/>
                <a:gd name="connsiteY222" fmla="*/ 219209 h 718099"/>
                <a:gd name="connsiteX223" fmla="*/ 298578 w 768492"/>
                <a:gd name="connsiteY223" fmla="*/ 219209 h 718099"/>
                <a:gd name="connsiteX224" fmla="*/ 299838 w 768492"/>
                <a:gd name="connsiteY224" fmla="*/ 217949 h 718099"/>
                <a:gd name="connsiteX225" fmla="*/ 299838 w 768492"/>
                <a:gd name="connsiteY225" fmla="*/ 217949 h 718099"/>
                <a:gd name="connsiteX226" fmla="*/ 299838 w 768492"/>
                <a:gd name="connsiteY226" fmla="*/ 217949 h 718099"/>
                <a:gd name="connsiteX227" fmla="*/ 299838 w 768492"/>
                <a:gd name="connsiteY227" fmla="*/ 217949 h 718099"/>
                <a:gd name="connsiteX228" fmla="*/ 299838 w 768492"/>
                <a:gd name="connsiteY228" fmla="*/ 217949 h 718099"/>
                <a:gd name="connsiteX229" fmla="*/ 301098 w 768492"/>
                <a:gd name="connsiteY229" fmla="*/ 217949 h 718099"/>
                <a:gd name="connsiteX230" fmla="*/ 301098 w 768492"/>
                <a:gd name="connsiteY230" fmla="*/ 217949 h 718099"/>
                <a:gd name="connsiteX231" fmla="*/ 301098 w 768492"/>
                <a:gd name="connsiteY231" fmla="*/ 217949 h 718099"/>
                <a:gd name="connsiteX232" fmla="*/ 301098 w 768492"/>
                <a:gd name="connsiteY232" fmla="*/ 217949 h 718099"/>
                <a:gd name="connsiteX233" fmla="*/ 301098 w 768492"/>
                <a:gd name="connsiteY233" fmla="*/ 217949 h 718099"/>
                <a:gd name="connsiteX234" fmla="*/ 301098 w 768492"/>
                <a:gd name="connsiteY234" fmla="*/ 219209 h 718099"/>
                <a:gd name="connsiteX235" fmla="*/ 301098 w 768492"/>
                <a:gd name="connsiteY235" fmla="*/ 219209 h 718099"/>
                <a:gd name="connsiteX236" fmla="*/ 301098 w 768492"/>
                <a:gd name="connsiteY236" fmla="*/ 219209 h 718099"/>
                <a:gd name="connsiteX237" fmla="*/ 301098 w 768492"/>
                <a:gd name="connsiteY237" fmla="*/ 220469 h 718099"/>
                <a:gd name="connsiteX238" fmla="*/ 301098 w 768492"/>
                <a:gd name="connsiteY238" fmla="*/ 220469 h 718099"/>
                <a:gd name="connsiteX239" fmla="*/ 301098 w 768492"/>
                <a:gd name="connsiteY239" fmla="*/ 222989 h 718099"/>
                <a:gd name="connsiteX240" fmla="*/ 301098 w 768492"/>
                <a:gd name="connsiteY240" fmla="*/ 225508 h 718099"/>
                <a:gd name="connsiteX241" fmla="*/ 301098 w 768492"/>
                <a:gd name="connsiteY241" fmla="*/ 226768 h 718099"/>
                <a:gd name="connsiteX242" fmla="*/ 301098 w 768492"/>
                <a:gd name="connsiteY242" fmla="*/ 228028 h 718099"/>
                <a:gd name="connsiteX243" fmla="*/ 301098 w 768492"/>
                <a:gd name="connsiteY243" fmla="*/ 231807 h 718099"/>
                <a:gd name="connsiteX244" fmla="*/ 301098 w 768492"/>
                <a:gd name="connsiteY244" fmla="*/ 234327 h 718099"/>
                <a:gd name="connsiteX245" fmla="*/ 301098 w 768492"/>
                <a:gd name="connsiteY245" fmla="*/ 235587 h 718099"/>
                <a:gd name="connsiteX246" fmla="*/ 299838 w 768492"/>
                <a:gd name="connsiteY246" fmla="*/ 239366 h 718099"/>
                <a:gd name="connsiteX247" fmla="*/ 299838 w 768492"/>
                <a:gd name="connsiteY247" fmla="*/ 240626 h 718099"/>
                <a:gd name="connsiteX248" fmla="*/ 299838 w 768492"/>
                <a:gd name="connsiteY248" fmla="*/ 243146 h 718099"/>
                <a:gd name="connsiteX249" fmla="*/ 299838 w 768492"/>
                <a:gd name="connsiteY249" fmla="*/ 243146 h 718099"/>
                <a:gd name="connsiteX250" fmla="*/ 299838 w 768492"/>
                <a:gd name="connsiteY250" fmla="*/ 243146 h 718099"/>
                <a:gd name="connsiteX251" fmla="*/ 299838 w 768492"/>
                <a:gd name="connsiteY251" fmla="*/ 244406 h 718099"/>
                <a:gd name="connsiteX252" fmla="*/ 299838 w 768492"/>
                <a:gd name="connsiteY252" fmla="*/ 244406 h 718099"/>
                <a:gd name="connsiteX253" fmla="*/ 299838 w 768492"/>
                <a:gd name="connsiteY253" fmla="*/ 245666 h 718099"/>
                <a:gd name="connsiteX254" fmla="*/ 299838 w 768492"/>
                <a:gd name="connsiteY254" fmla="*/ 246925 h 718099"/>
                <a:gd name="connsiteX255" fmla="*/ 299838 w 768492"/>
                <a:gd name="connsiteY255" fmla="*/ 248185 h 718099"/>
                <a:gd name="connsiteX256" fmla="*/ 298578 w 768492"/>
                <a:gd name="connsiteY256" fmla="*/ 250705 h 718099"/>
                <a:gd name="connsiteX257" fmla="*/ 298578 w 768492"/>
                <a:gd name="connsiteY257" fmla="*/ 251965 h 718099"/>
                <a:gd name="connsiteX258" fmla="*/ 298578 w 768492"/>
                <a:gd name="connsiteY258" fmla="*/ 251965 h 718099"/>
                <a:gd name="connsiteX259" fmla="*/ 297318 w 768492"/>
                <a:gd name="connsiteY259" fmla="*/ 254484 h 718099"/>
                <a:gd name="connsiteX260" fmla="*/ 297318 w 768492"/>
                <a:gd name="connsiteY260" fmla="*/ 257004 h 718099"/>
                <a:gd name="connsiteX261" fmla="*/ 294799 w 768492"/>
                <a:gd name="connsiteY261" fmla="*/ 268342 h 718099"/>
                <a:gd name="connsiteX262" fmla="*/ 293539 w 768492"/>
                <a:gd name="connsiteY262" fmla="*/ 272122 h 718099"/>
                <a:gd name="connsiteX263" fmla="*/ 293539 w 768492"/>
                <a:gd name="connsiteY263" fmla="*/ 273382 h 718099"/>
                <a:gd name="connsiteX264" fmla="*/ 292279 w 768492"/>
                <a:gd name="connsiteY264" fmla="*/ 277161 h 718099"/>
                <a:gd name="connsiteX265" fmla="*/ 292279 w 768492"/>
                <a:gd name="connsiteY265" fmla="*/ 279681 h 718099"/>
                <a:gd name="connsiteX266" fmla="*/ 292279 w 768492"/>
                <a:gd name="connsiteY266" fmla="*/ 282200 h 718099"/>
                <a:gd name="connsiteX267" fmla="*/ 291019 w 768492"/>
                <a:gd name="connsiteY267" fmla="*/ 284720 h 718099"/>
                <a:gd name="connsiteX268" fmla="*/ 291019 w 768492"/>
                <a:gd name="connsiteY268" fmla="*/ 285980 h 718099"/>
                <a:gd name="connsiteX269" fmla="*/ 291019 w 768492"/>
                <a:gd name="connsiteY269" fmla="*/ 287240 h 718099"/>
                <a:gd name="connsiteX270" fmla="*/ 289759 w 768492"/>
                <a:gd name="connsiteY270" fmla="*/ 291019 h 718099"/>
                <a:gd name="connsiteX271" fmla="*/ 289759 w 768492"/>
                <a:gd name="connsiteY271" fmla="*/ 291019 h 718099"/>
                <a:gd name="connsiteX272" fmla="*/ 289759 w 768492"/>
                <a:gd name="connsiteY272" fmla="*/ 292279 h 718099"/>
                <a:gd name="connsiteX273" fmla="*/ 289759 w 768492"/>
                <a:gd name="connsiteY273" fmla="*/ 293539 h 718099"/>
                <a:gd name="connsiteX274" fmla="*/ 289759 w 768492"/>
                <a:gd name="connsiteY274" fmla="*/ 297318 h 718099"/>
                <a:gd name="connsiteX275" fmla="*/ 288500 w 768492"/>
                <a:gd name="connsiteY275" fmla="*/ 303617 h 718099"/>
                <a:gd name="connsiteX276" fmla="*/ 288500 w 768492"/>
                <a:gd name="connsiteY276" fmla="*/ 304877 h 718099"/>
                <a:gd name="connsiteX277" fmla="*/ 285980 w 768492"/>
                <a:gd name="connsiteY277" fmla="*/ 319995 h 718099"/>
                <a:gd name="connsiteX278" fmla="*/ 284720 w 768492"/>
                <a:gd name="connsiteY278" fmla="*/ 330074 h 718099"/>
                <a:gd name="connsiteX279" fmla="*/ 283460 w 768492"/>
                <a:gd name="connsiteY279" fmla="*/ 335113 h 718099"/>
                <a:gd name="connsiteX280" fmla="*/ 283460 w 768492"/>
                <a:gd name="connsiteY280" fmla="*/ 335113 h 718099"/>
                <a:gd name="connsiteX281" fmla="*/ 283460 w 768492"/>
                <a:gd name="connsiteY281" fmla="*/ 335113 h 718099"/>
                <a:gd name="connsiteX282" fmla="*/ 283460 w 768492"/>
                <a:gd name="connsiteY282" fmla="*/ 336373 h 718099"/>
                <a:gd name="connsiteX283" fmla="*/ 283460 w 768492"/>
                <a:gd name="connsiteY283" fmla="*/ 337633 h 718099"/>
                <a:gd name="connsiteX284" fmla="*/ 283460 w 768492"/>
                <a:gd name="connsiteY284" fmla="*/ 337633 h 718099"/>
                <a:gd name="connsiteX285" fmla="*/ 283460 w 768492"/>
                <a:gd name="connsiteY285" fmla="*/ 337633 h 718099"/>
                <a:gd name="connsiteX286" fmla="*/ 283460 w 768492"/>
                <a:gd name="connsiteY286" fmla="*/ 340152 h 718099"/>
                <a:gd name="connsiteX287" fmla="*/ 282201 w 768492"/>
                <a:gd name="connsiteY287" fmla="*/ 345192 h 718099"/>
                <a:gd name="connsiteX288" fmla="*/ 282201 w 768492"/>
                <a:gd name="connsiteY288" fmla="*/ 346451 h 718099"/>
                <a:gd name="connsiteX289" fmla="*/ 280941 w 768492"/>
                <a:gd name="connsiteY289" fmla="*/ 351491 h 718099"/>
                <a:gd name="connsiteX290" fmla="*/ 279681 w 768492"/>
                <a:gd name="connsiteY290" fmla="*/ 361569 h 718099"/>
                <a:gd name="connsiteX291" fmla="*/ 278421 w 768492"/>
                <a:gd name="connsiteY291" fmla="*/ 372908 h 718099"/>
                <a:gd name="connsiteX292" fmla="*/ 277161 w 768492"/>
                <a:gd name="connsiteY292" fmla="*/ 376687 h 718099"/>
                <a:gd name="connsiteX293" fmla="*/ 277161 w 768492"/>
                <a:gd name="connsiteY293" fmla="*/ 376687 h 718099"/>
                <a:gd name="connsiteX294" fmla="*/ 277161 w 768492"/>
                <a:gd name="connsiteY294" fmla="*/ 376687 h 718099"/>
                <a:gd name="connsiteX295" fmla="*/ 277161 w 768492"/>
                <a:gd name="connsiteY295" fmla="*/ 376687 h 718099"/>
                <a:gd name="connsiteX296" fmla="*/ 277161 w 768492"/>
                <a:gd name="connsiteY296" fmla="*/ 379207 h 718099"/>
                <a:gd name="connsiteX297" fmla="*/ 277161 w 768492"/>
                <a:gd name="connsiteY297" fmla="*/ 381726 h 718099"/>
                <a:gd name="connsiteX298" fmla="*/ 277161 w 768492"/>
                <a:gd name="connsiteY298" fmla="*/ 382986 h 718099"/>
                <a:gd name="connsiteX299" fmla="*/ 275901 w 768492"/>
                <a:gd name="connsiteY299" fmla="*/ 391805 h 718099"/>
                <a:gd name="connsiteX300" fmla="*/ 275901 w 768492"/>
                <a:gd name="connsiteY300" fmla="*/ 391805 h 718099"/>
                <a:gd name="connsiteX301" fmla="*/ 275901 w 768492"/>
                <a:gd name="connsiteY301" fmla="*/ 391805 h 718099"/>
                <a:gd name="connsiteX302" fmla="*/ 274642 w 768492"/>
                <a:gd name="connsiteY302" fmla="*/ 395584 h 718099"/>
                <a:gd name="connsiteX303" fmla="*/ 274642 w 768492"/>
                <a:gd name="connsiteY303" fmla="*/ 396844 h 718099"/>
                <a:gd name="connsiteX304" fmla="*/ 274642 w 768492"/>
                <a:gd name="connsiteY304" fmla="*/ 396844 h 718099"/>
                <a:gd name="connsiteX305" fmla="*/ 273382 w 768492"/>
                <a:gd name="connsiteY305" fmla="*/ 401884 h 718099"/>
                <a:gd name="connsiteX306" fmla="*/ 273382 w 768492"/>
                <a:gd name="connsiteY306" fmla="*/ 401884 h 718099"/>
                <a:gd name="connsiteX307" fmla="*/ 272122 w 768492"/>
                <a:gd name="connsiteY307" fmla="*/ 403143 h 718099"/>
                <a:gd name="connsiteX308" fmla="*/ 270862 w 768492"/>
                <a:gd name="connsiteY308" fmla="*/ 403143 h 718099"/>
                <a:gd name="connsiteX309" fmla="*/ 269602 w 768492"/>
                <a:gd name="connsiteY309" fmla="*/ 403143 h 718099"/>
                <a:gd name="connsiteX310" fmla="*/ 268342 w 768492"/>
                <a:gd name="connsiteY310" fmla="*/ 403143 h 718099"/>
                <a:gd name="connsiteX311" fmla="*/ 268342 w 768492"/>
                <a:gd name="connsiteY311" fmla="*/ 403143 h 718099"/>
                <a:gd name="connsiteX312" fmla="*/ 267083 w 768492"/>
                <a:gd name="connsiteY312" fmla="*/ 401884 h 718099"/>
                <a:gd name="connsiteX313" fmla="*/ 267083 w 768492"/>
                <a:gd name="connsiteY313" fmla="*/ 401884 h 718099"/>
                <a:gd name="connsiteX314" fmla="*/ 267083 w 768492"/>
                <a:gd name="connsiteY314" fmla="*/ 410702 h 718099"/>
                <a:gd name="connsiteX315" fmla="*/ 267083 w 768492"/>
                <a:gd name="connsiteY315" fmla="*/ 415742 h 718099"/>
                <a:gd name="connsiteX316" fmla="*/ 267083 w 768492"/>
                <a:gd name="connsiteY316" fmla="*/ 417001 h 718099"/>
                <a:gd name="connsiteX317" fmla="*/ 267083 w 768492"/>
                <a:gd name="connsiteY317" fmla="*/ 418261 h 718099"/>
                <a:gd name="connsiteX318" fmla="*/ 267083 w 768492"/>
                <a:gd name="connsiteY318" fmla="*/ 419521 h 718099"/>
                <a:gd name="connsiteX319" fmla="*/ 267083 w 768492"/>
                <a:gd name="connsiteY319" fmla="*/ 420781 h 718099"/>
                <a:gd name="connsiteX320" fmla="*/ 267083 w 768492"/>
                <a:gd name="connsiteY320" fmla="*/ 427080 h 718099"/>
                <a:gd name="connsiteX321" fmla="*/ 267083 w 768492"/>
                <a:gd name="connsiteY321" fmla="*/ 429600 h 718099"/>
                <a:gd name="connsiteX322" fmla="*/ 267083 w 768492"/>
                <a:gd name="connsiteY322" fmla="*/ 432119 h 718099"/>
                <a:gd name="connsiteX323" fmla="*/ 267083 w 768492"/>
                <a:gd name="connsiteY323" fmla="*/ 434639 h 718099"/>
                <a:gd name="connsiteX324" fmla="*/ 268342 w 768492"/>
                <a:gd name="connsiteY324" fmla="*/ 452277 h 718099"/>
                <a:gd name="connsiteX325" fmla="*/ 269602 w 768492"/>
                <a:gd name="connsiteY325" fmla="*/ 476213 h 718099"/>
                <a:gd name="connsiteX326" fmla="*/ 269602 w 768492"/>
                <a:gd name="connsiteY326" fmla="*/ 476213 h 718099"/>
                <a:gd name="connsiteX327" fmla="*/ 269602 w 768492"/>
                <a:gd name="connsiteY327" fmla="*/ 476213 h 718099"/>
                <a:gd name="connsiteX328" fmla="*/ 269602 w 768492"/>
                <a:gd name="connsiteY328" fmla="*/ 476213 h 718099"/>
                <a:gd name="connsiteX329" fmla="*/ 278421 w 768492"/>
                <a:gd name="connsiteY329" fmla="*/ 483772 h 718099"/>
                <a:gd name="connsiteX330" fmla="*/ 285980 w 768492"/>
                <a:gd name="connsiteY330" fmla="*/ 490071 h 718099"/>
                <a:gd name="connsiteX331" fmla="*/ 304877 w 768492"/>
                <a:gd name="connsiteY331" fmla="*/ 508969 h 718099"/>
                <a:gd name="connsiteX332" fmla="*/ 307397 w 768492"/>
                <a:gd name="connsiteY332" fmla="*/ 511488 h 718099"/>
                <a:gd name="connsiteX333" fmla="*/ 308657 w 768492"/>
                <a:gd name="connsiteY333" fmla="*/ 512748 h 718099"/>
                <a:gd name="connsiteX334" fmla="*/ 309917 w 768492"/>
                <a:gd name="connsiteY334" fmla="*/ 515268 h 718099"/>
                <a:gd name="connsiteX335" fmla="*/ 309917 w 768492"/>
                <a:gd name="connsiteY335" fmla="*/ 515268 h 718099"/>
                <a:gd name="connsiteX336" fmla="*/ 309917 w 768492"/>
                <a:gd name="connsiteY336" fmla="*/ 515268 h 718099"/>
                <a:gd name="connsiteX337" fmla="*/ 318735 w 768492"/>
                <a:gd name="connsiteY337" fmla="*/ 524086 h 718099"/>
                <a:gd name="connsiteX338" fmla="*/ 319995 w 768492"/>
                <a:gd name="connsiteY338" fmla="*/ 525346 h 718099"/>
                <a:gd name="connsiteX339" fmla="*/ 322515 w 768492"/>
                <a:gd name="connsiteY339" fmla="*/ 527866 h 718099"/>
                <a:gd name="connsiteX340" fmla="*/ 319995 w 768492"/>
                <a:gd name="connsiteY340" fmla="*/ 525346 h 718099"/>
                <a:gd name="connsiteX341" fmla="*/ 318735 w 768492"/>
                <a:gd name="connsiteY341" fmla="*/ 524086 h 718099"/>
                <a:gd name="connsiteX342" fmla="*/ 313696 w 768492"/>
                <a:gd name="connsiteY342" fmla="*/ 517787 h 718099"/>
                <a:gd name="connsiteX343" fmla="*/ 328814 w 768492"/>
                <a:gd name="connsiteY343" fmla="*/ 535425 h 718099"/>
                <a:gd name="connsiteX344" fmla="*/ 333853 w 768492"/>
                <a:gd name="connsiteY344" fmla="*/ 541724 h 718099"/>
                <a:gd name="connsiteX345" fmla="*/ 332593 w 768492"/>
                <a:gd name="connsiteY345" fmla="*/ 539204 h 718099"/>
                <a:gd name="connsiteX346" fmla="*/ 330074 w 768492"/>
                <a:gd name="connsiteY346" fmla="*/ 536685 h 718099"/>
                <a:gd name="connsiteX347" fmla="*/ 340152 w 768492"/>
                <a:gd name="connsiteY347" fmla="*/ 550543 h 718099"/>
                <a:gd name="connsiteX348" fmla="*/ 340152 w 768492"/>
                <a:gd name="connsiteY348" fmla="*/ 550543 h 718099"/>
                <a:gd name="connsiteX349" fmla="*/ 347711 w 768492"/>
                <a:gd name="connsiteY349" fmla="*/ 561881 h 718099"/>
                <a:gd name="connsiteX350" fmla="*/ 350231 w 768492"/>
                <a:gd name="connsiteY350" fmla="*/ 565661 h 718099"/>
                <a:gd name="connsiteX351" fmla="*/ 350231 w 768492"/>
                <a:gd name="connsiteY351" fmla="*/ 565661 h 718099"/>
                <a:gd name="connsiteX352" fmla="*/ 354010 w 768492"/>
                <a:gd name="connsiteY352" fmla="*/ 571960 h 718099"/>
                <a:gd name="connsiteX353" fmla="*/ 351491 w 768492"/>
                <a:gd name="connsiteY353" fmla="*/ 568180 h 718099"/>
                <a:gd name="connsiteX354" fmla="*/ 356530 w 768492"/>
                <a:gd name="connsiteY354" fmla="*/ 575739 h 718099"/>
                <a:gd name="connsiteX355" fmla="*/ 356530 w 768492"/>
                <a:gd name="connsiteY355" fmla="*/ 575739 h 718099"/>
                <a:gd name="connsiteX356" fmla="*/ 355270 w 768492"/>
                <a:gd name="connsiteY356" fmla="*/ 573220 h 718099"/>
                <a:gd name="connsiteX357" fmla="*/ 357790 w 768492"/>
                <a:gd name="connsiteY357" fmla="*/ 576999 h 718099"/>
                <a:gd name="connsiteX358" fmla="*/ 359050 w 768492"/>
                <a:gd name="connsiteY358" fmla="*/ 578259 h 718099"/>
                <a:gd name="connsiteX359" fmla="*/ 364089 w 768492"/>
                <a:gd name="connsiteY359" fmla="*/ 587078 h 718099"/>
                <a:gd name="connsiteX360" fmla="*/ 364089 w 768492"/>
                <a:gd name="connsiteY360" fmla="*/ 587078 h 718099"/>
                <a:gd name="connsiteX361" fmla="*/ 366609 w 768492"/>
                <a:gd name="connsiteY361" fmla="*/ 592117 h 718099"/>
                <a:gd name="connsiteX362" fmla="*/ 366609 w 768492"/>
                <a:gd name="connsiteY362" fmla="*/ 592117 h 718099"/>
                <a:gd name="connsiteX363" fmla="*/ 366609 w 768492"/>
                <a:gd name="connsiteY363" fmla="*/ 592117 h 718099"/>
                <a:gd name="connsiteX364" fmla="*/ 367868 w 768492"/>
                <a:gd name="connsiteY364" fmla="*/ 594637 h 718099"/>
                <a:gd name="connsiteX365" fmla="*/ 374167 w 768492"/>
                <a:gd name="connsiteY365" fmla="*/ 608495 h 718099"/>
                <a:gd name="connsiteX366" fmla="*/ 374167 w 768492"/>
                <a:gd name="connsiteY366" fmla="*/ 609754 h 718099"/>
                <a:gd name="connsiteX367" fmla="*/ 374167 w 768492"/>
                <a:gd name="connsiteY367" fmla="*/ 609754 h 718099"/>
                <a:gd name="connsiteX368" fmla="*/ 374167 w 768492"/>
                <a:gd name="connsiteY368" fmla="*/ 609754 h 718099"/>
                <a:gd name="connsiteX369" fmla="*/ 376687 w 768492"/>
                <a:gd name="connsiteY369" fmla="*/ 618573 h 718099"/>
                <a:gd name="connsiteX370" fmla="*/ 376687 w 768492"/>
                <a:gd name="connsiteY370" fmla="*/ 619833 h 718099"/>
                <a:gd name="connsiteX371" fmla="*/ 379207 w 768492"/>
                <a:gd name="connsiteY371" fmla="*/ 627392 h 718099"/>
                <a:gd name="connsiteX372" fmla="*/ 379207 w 768492"/>
                <a:gd name="connsiteY372" fmla="*/ 632431 h 718099"/>
                <a:gd name="connsiteX373" fmla="*/ 379207 w 768492"/>
                <a:gd name="connsiteY373" fmla="*/ 634951 h 718099"/>
                <a:gd name="connsiteX374" fmla="*/ 379207 w 768492"/>
                <a:gd name="connsiteY374" fmla="*/ 637471 h 718099"/>
                <a:gd name="connsiteX375" fmla="*/ 379207 w 768492"/>
                <a:gd name="connsiteY375" fmla="*/ 642510 h 718099"/>
                <a:gd name="connsiteX376" fmla="*/ 379207 w 768492"/>
                <a:gd name="connsiteY376" fmla="*/ 642510 h 718099"/>
                <a:gd name="connsiteX377" fmla="*/ 379207 w 768492"/>
                <a:gd name="connsiteY377" fmla="*/ 642510 h 718099"/>
                <a:gd name="connsiteX378" fmla="*/ 379207 w 768492"/>
                <a:gd name="connsiteY378" fmla="*/ 642510 h 718099"/>
                <a:gd name="connsiteX379" fmla="*/ 379207 w 768492"/>
                <a:gd name="connsiteY379" fmla="*/ 645030 h 718099"/>
                <a:gd name="connsiteX380" fmla="*/ 379207 w 768492"/>
                <a:gd name="connsiteY380" fmla="*/ 651329 h 718099"/>
                <a:gd name="connsiteX381" fmla="*/ 379207 w 768492"/>
                <a:gd name="connsiteY381" fmla="*/ 652588 h 718099"/>
                <a:gd name="connsiteX382" fmla="*/ 377947 w 768492"/>
                <a:gd name="connsiteY382" fmla="*/ 660147 h 718099"/>
                <a:gd name="connsiteX383" fmla="*/ 374167 w 768492"/>
                <a:gd name="connsiteY383" fmla="*/ 677785 h 718099"/>
                <a:gd name="connsiteX384" fmla="*/ 374167 w 768492"/>
                <a:gd name="connsiteY384" fmla="*/ 677785 h 718099"/>
                <a:gd name="connsiteX385" fmla="*/ 374167 w 768492"/>
                <a:gd name="connsiteY385" fmla="*/ 679045 h 718099"/>
                <a:gd name="connsiteX386" fmla="*/ 374167 w 768492"/>
                <a:gd name="connsiteY386" fmla="*/ 679045 h 718099"/>
                <a:gd name="connsiteX387" fmla="*/ 371648 w 768492"/>
                <a:gd name="connsiteY387" fmla="*/ 687863 h 718099"/>
                <a:gd name="connsiteX388" fmla="*/ 372908 w 768492"/>
                <a:gd name="connsiteY388" fmla="*/ 682824 h 718099"/>
                <a:gd name="connsiteX389" fmla="*/ 370388 w 768492"/>
                <a:gd name="connsiteY389" fmla="*/ 689123 h 718099"/>
                <a:gd name="connsiteX390" fmla="*/ 369128 w 768492"/>
                <a:gd name="connsiteY390" fmla="*/ 691643 h 718099"/>
                <a:gd name="connsiteX391" fmla="*/ 366609 w 768492"/>
                <a:gd name="connsiteY391" fmla="*/ 696682 h 718099"/>
                <a:gd name="connsiteX392" fmla="*/ 365349 w 768492"/>
                <a:gd name="connsiteY392" fmla="*/ 699202 h 718099"/>
                <a:gd name="connsiteX393" fmla="*/ 364089 w 768492"/>
                <a:gd name="connsiteY393" fmla="*/ 701722 h 718099"/>
                <a:gd name="connsiteX394" fmla="*/ 365349 w 768492"/>
                <a:gd name="connsiteY394" fmla="*/ 699202 h 718099"/>
                <a:gd name="connsiteX395" fmla="*/ 364089 w 768492"/>
                <a:gd name="connsiteY395" fmla="*/ 701722 h 718099"/>
                <a:gd name="connsiteX396" fmla="*/ 364089 w 768492"/>
                <a:gd name="connsiteY396" fmla="*/ 701722 h 718099"/>
                <a:gd name="connsiteX397" fmla="*/ 364089 w 768492"/>
                <a:gd name="connsiteY397" fmla="*/ 701722 h 718099"/>
                <a:gd name="connsiteX398" fmla="*/ 362829 w 768492"/>
                <a:gd name="connsiteY398" fmla="*/ 702981 h 718099"/>
                <a:gd name="connsiteX399" fmla="*/ 362829 w 768492"/>
                <a:gd name="connsiteY399" fmla="*/ 704241 h 718099"/>
                <a:gd name="connsiteX400" fmla="*/ 356530 w 768492"/>
                <a:gd name="connsiteY400" fmla="*/ 710540 h 718099"/>
                <a:gd name="connsiteX401" fmla="*/ 356530 w 768492"/>
                <a:gd name="connsiteY401" fmla="*/ 710540 h 718099"/>
                <a:gd name="connsiteX402" fmla="*/ 355270 w 768492"/>
                <a:gd name="connsiteY402" fmla="*/ 711800 h 718099"/>
                <a:gd name="connsiteX403" fmla="*/ 355270 w 768492"/>
                <a:gd name="connsiteY403" fmla="*/ 711800 h 718099"/>
                <a:gd name="connsiteX404" fmla="*/ 355270 w 768492"/>
                <a:gd name="connsiteY404" fmla="*/ 711800 h 718099"/>
                <a:gd name="connsiteX405" fmla="*/ 352751 w 768492"/>
                <a:gd name="connsiteY405" fmla="*/ 713060 h 718099"/>
                <a:gd name="connsiteX406" fmla="*/ 347711 w 768492"/>
                <a:gd name="connsiteY406" fmla="*/ 715580 h 718099"/>
                <a:gd name="connsiteX407" fmla="*/ 346451 w 768492"/>
                <a:gd name="connsiteY407" fmla="*/ 715580 h 718099"/>
                <a:gd name="connsiteX408" fmla="*/ 346451 w 768492"/>
                <a:gd name="connsiteY408" fmla="*/ 715580 h 718099"/>
                <a:gd name="connsiteX409" fmla="*/ 346451 w 768492"/>
                <a:gd name="connsiteY409" fmla="*/ 715580 h 718099"/>
                <a:gd name="connsiteX410" fmla="*/ 346451 w 768492"/>
                <a:gd name="connsiteY410" fmla="*/ 715580 h 718099"/>
                <a:gd name="connsiteX411" fmla="*/ 342672 w 768492"/>
                <a:gd name="connsiteY411" fmla="*/ 716839 h 718099"/>
                <a:gd name="connsiteX412" fmla="*/ 335113 w 768492"/>
                <a:gd name="connsiteY412" fmla="*/ 720619 h 718099"/>
                <a:gd name="connsiteX413" fmla="*/ 335113 w 768492"/>
                <a:gd name="connsiteY413" fmla="*/ 720619 h 718099"/>
                <a:gd name="connsiteX414" fmla="*/ 325034 w 768492"/>
                <a:gd name="connsiteY414" fmla="*/ 723139 h 718099"/>
                <a:gd name="connsiteX415" fmla="*/ 325034 w 768492"/>
                <a:gd name="connsiteY415" fmla="*/ 723139 h 718099"/>
                <a:gd name="connsiteX416" fmla="*/ 325034 w 768492"/>
                <a:gd name="connsiteY416" fmla="*/ 723139 h 718099"/>
                <a:gd name="connsiteX417" fmla="*/ 325034 w 768492"/>
                <a:gd name="connsiteY417" fmla="*/ 723139 h 718099"/>
                <a:gd name="connsiteX418" fmla="*/ 325034 w 768492"/>
                <a:gd name="connsiteY418" fmla="*/ 723139 h 718099"/>
                <a:gd name="connsiteX419" fmla="*/ 325034 w 768492"/>
                <a:gd name="connsiteY419" fmla="*/ 723139 h 718099"/>
                <a:gd name="connsiteX420" fmla="*/ 325034 w 768492"/>
                <a:gd name="connsiteY420" fmla="*/ 723139 h 718099"/>
                <a:gd name="connsiteX421" fmla="*/ 325034 w 768492"/>
                <a:gd name="connsiteY421" fmla="*/ 723139 h 718099"/>
                <a:gd name="connsiteX422" fmla="*/ 327554 w 768492"/>
                <a:gd name="connsiteY422" fmla="*/ 723139 h 718099"/>
                <a:gd name="connsiteX423" fmla="*/ 328814 w 768492"/>
                <a:gd name="connsiteY423" fmla="*/ 723139 h 718099"/>
                <a:gd name="connsiteX424" fmla="*/ 332593 w 768492"/>
                <a:gd name="connsiteY424" fmla="*/ 723139 h 718099"/>
                <a:gd name="connsiteX425" fmla="*/ 337633 w 768492"/>
                <a:gd name="connsiteY425" fmla="*/ 723139 h 718099"/>
                <a:gd name="connsiteX426" fmla="*/ 359050 w 768492"/>
                <a:gd name="connsiteY426" fmla="*/ 724398 h 718099"/>
                <a:gd name="connsiteX427" fmla="*/ 389286 w 768492"/>
                <a:gd name="connsiteY427" fmla="*/ 724398 h 718099"/>
                <a:gd name="connsiteX428" fmla="*/ 398104 w 768492"/>
                <a:gd name="connsiteY428" fmla="*/ 724398 h 718099"/>
                <a:gd name="connsiteX429" fmla="*/ 400624 w 768492"/>
                <a:gd name="connsiteY429" fmla="*/ 724398 h 718099"/>
                <a:gd name="connsiteX430" fmla="*/ 400624 w 768492"/>
                <a:gd name="connsiteY430" fmla="*/ 724398 h 718099"/>
                <a:gd name="connsiteX431" fmla="*/ 406923 w 768492"/>
                <a:gd name="connsiteY431" fmla="*/ 724398 h 718099"/>
                <a:gd name="connsiteX432" fmla="*/ 409443 w 768492"/>
                <a:gd name="connsiteY432" fmla="*/ 724398 h 718099"/>
                <a:gd name="connsiteX433" fmla="*/ 417002 w 768492"/>
                <a:gd name="connsiteY433" fmla="*/ 724398 h 718099"/>
                <a:gd name="connsiteX434" fmla="*/ 420781 w 768492"/>
                <a:gd name="connsiteY434" fmla="*/ 724398 h 718099"/>
                <a:gd name="connsiteX435" fmla="*/ 422041 w 768492"/>
                <a:gd name="connsiteY435" fmla="*/ 724398 h 718099"/>
                <a:gd name="connsiteX436" fmla="*/ 422041 w 768492"/>
                <a:gd name="connsiteY436" fmla="*/ 724398 h 718099"/>
                <a:gd name="connsiteX437" fmla="*/ 435899 w 768492"/>
                <a:gd name="connsiteY437" fmla="*/ 724398 h 718099"/>
                <a:gd name="connsiteX438" fmla="*/ 443458 w 768492"/>
                <a:gd name="connsiteY438" fmla="*/ 724398 h 718099"/>
                <a:gd name="connsiteX439" fmla="*/ 454796 w 768492"/>
                <a:gd name="connsiteY439" fmla="*/ 724398 h 718099"/>
                <a:gd name="connsiteX440" fmla="*/ 459835 w 768492"/>
                <a:gd name="connsiteY440" fmla="*/ 724398 h 718099"/>
                <a:gd name="connsiteX441" fmla="*/ 461095 w 768492"/>
                <a:gd name="connsiteY441" fmla="*/ 724398 h 718099"/>
                <a:gd name="connsiteX442" fmla="*/ 474953 w 768492"/>
                <a:gd name="connsiteY442" fmla="*/ 724398 h 718099"/>
                <a:gd name="connsiteX443" fmla="*/ 482512 w 768492"/>
                <a:gd name="connsiteY443" fmla="*/ 724398 h 718099"/>
                <a:gd name="connsiteX444" fmla="*/ 483772 w 768492"/>
                <a:gd name="connsiteY444" fmla="*/ 724398 h 718099"/>
                <a:gd name="connsiteX445" fmla="*/ 495111 w 768492"/>
                <a:gd name="connsiteY445" fmla="*/ 724398 h 718099"/>
                <a:gd name="connsiteX446" fmla="*/ 515268 w 768492"/>
                <a:gd name="connsiteY446" fmla="*/ 723139 h 718099"/>
                <a:gd name="connsiteX447" fmla="*/ 517787 w 768492"/>
                <a:gd name="connsiteY447" fmla="*/ 723139 h 718099"/>
                <a:gd name="connsiteX448" fmla="*/ 517787 w 768492"/>
                <a:gd name="connsiteY448" fmla="*/ 723139 h 718099"/>
                <a:gd name="connsiteX449" fmla="*/ 527866 w 768492"/>
                <a:gd name="connsiteY449" fmla="*/ 721879 h 718099"/>
                <a:gd name="connsiteX450" fmla="*/ 527866 w 768492"/>
                <a:gd name="connsiteY450" fmla="*/ 721879 h 718099"/>
                <a:gd name="connsiteX451" fmla="*/ 535425 w 768492"/>
                <a:gd name="connsiteY451" fmla="*/ 720619 h 718099"/>
                <a:gd name="connsiteX452" fmla="*/ 537945 w 768492"/>
                <a:gd name="connsiteY452" fmla="*/ 720619 h 718099"/>
                <a:gd name="connsiteX453" fmla="*/ 537945 w 768492"/>
                <a:gd name="connsiteY453" fmla="*/ 720619 h 718099"/>
                <a:gd name="connsiteX454" fmla="*/ 546763 w 768492"/>
                <a:gd name="connsiteY454" fmla="*/ 720619 h 718099"/>
                <a:gd name="connsiteX455" fmla="*/ 554322 w 768492"/>
                <a:gd name="connsiteY455" fmla="*/ 720619 h 718099"/>
                <a:gd name="connsiteX456" fmla="*/ 556842 w 768492"/>
                <a:gd name="connsiteY456" fmla="*/ 720619 h 718099"/>
                <a:gd name="connsiteX457" fmla="*/ 560621 w 768492"/>
                <a:gd name="connsiteY457" fmla="*/ 720619 h 718099"/>
                <a:gd name="connsiteX458" fmla="*/ 560621 w 768492"/>
                <a:gd name="connsiteY458" fmla="*/ 720619 h 718099"/>
                <a:gd name="connsiteX459" fmla="*/ 560621 w 768492"/>
                <a:gd name="connsiteY459" fmla="*/ 720619 h 718099"/>
                <a:gd name="connsiteX460" fmla="*/ 561881 w 768492"/>
                <a:gd name="connsiteY460" fmla="*/ 720619 h 718099"/>
                <a:gd name="connsiteX461" fmla="*/ 565661 w 768492"/>
                <a:gd name="connsiteY461" fmla="*/ 720619 h 718099"/>
                <a:gd name="connsiteX462" fmla="*/ 571960 w 768492"/>
                <a:gd name="connsiteY462" fmla="*/ 720619 h 718099"/>
                <a:gd name="connsiteX463" fmla="*/ 574480 w 768492"/>
                <a:gd name="connsiteY463" fmla="*/ 720619 h 718099"/>
                <a:gd name="connsiteX464" fmla="*/ 574480 w 768492"/>
                <a:gd name="connsiteY464" fmla="*/ 720619 h 718099"/>
                <a:gd name="connsiteX465" fmla="*/ 575739 w 768492"/>
                <a:gd name="connsiteY465" fmla="*/ 720619 h 718099"/>
                <a:gd name="connsiteX466" fmla="*/ 587078 w 768492"/>
                <a:gd name="connsiteY466" fmla="*/ 720619 h 718099"/>
                <a:gd name="connsiteX467" fmla="*/ 592117 w 768492"/>
                <a:gd name="connsiteY467" fmla="*/ 720619 h 718099"/>
                <a:gd name="connsiteX468" fmla="*/ 597156 w 768492"/>
                <a:gd name="connsiteY468" fmla="*/ 720619 h 718099"/>
                <a:gd name="connsiteX469" fmla="*/ 598416 w 768492"/>
                <a:gd name="connsiteY469" fmla="*/ 720619 h 718099"/>
                <a:gd name="connsiteX470" fmla="*/ 599676 w 768492"/>
                <a:gd name="connsiteY470" fmla="*/ 720619 h 718099"/>
                <a:gd name="connsiteX471" fmla="*/ 605975 w 768492"/>
                <a:gd name="connsiteY471" fmla="*/ 720619 h 718099"/>
                <a:gd name="connsiteX472" fmla="*/ 605975 w 768492"/>
                <a:gd name="connsiteY472" fmla="*/ 720619 h 718099"/>
                <a:gd name="connsiteX473" fmla="*/ 605975 w 768492"/>
                <a:gd name="connsiteY473" fmla="*/ 720619 h 718099"/>
                <a:gd name="connsiteX474" fmla="*/ 637471 w 768492"/>
                <a:gd name="connsiteY474" fmla="*/ 723139 h 718099"/>
                <a:gd name="connsiteX475" fmla="*/ 656368 w 768492"/>
                <a:gd name="connsiteY475" fmla="*/ 723139 h 718099"/>
                <a:gd name="connsiteX476" fmla="*/ 657628 w 768492"/>
                <a:gd name="connsiteY476" fmla="*/ 723139 h 718099"/>
                <a:gd name="connsiteX477" fmla="*/ 660148 w 768492"/>
                <a:gd name="connsiteY477" fmla="*/ 723139 h 718099"/>
                <a:gd name="connsiteX478" fmla="*/ 661407 w 768492"/>
                <a:gd name="connsiteY478" fmla="*/ 723139 h 718099"/>
                <a:gd name="connsiteX479" fmla="*/ 666447 w 768492"/>
                <a:gd name="connsiteY479" fmla="*/ 723139 h 718099"/>
                <a:gd name="connsiteX480" fmla="*/ 670226 w 768492"/>
                <a:gd name="connsiteY480" fmla="*/ 723139 h 718099"/>
                <a:gd name="connsiteX481" fmla="*/ 670226 w 768492"/>
                <a:gd name="connsiteY481" fmla="*/ 723139 h 718099"/>
                <a:gd name="connsiteX482" fmla="*/ 674005 w 768492"/>
                <a:gd name="connsiteY482" fmla="*/ 723139 h 718099"/>
                <a:gd name="connsiteX483" fmla="*/ 674005 w 768492"/>
                <a:gd name="connsiteY483" fmla="*/ 723139 h 718099"/>
                <a:gd name="connsiteX484" fmla="*/ 677785 w 768492"/>
                <a:gd name="connsiteY484" fmla="*/ 721879 h 718099"/>
                <a:gd name="connsiteX485" fmla="*/ 680305 w 768492"/>
                <a:gd name="connsiteY485" fmla="*/ 720619 h 718099"/>
                <a:gd name="connsiteX486" fmla="*/ 680305 w 768492"/>
                <a:gd name="connsiteY486" fmla="*/ 720619 h 718099"/>
                <a:gd name="connsiteX487" fmla="*/ 681564 w 768492"/>
                <a:gd name="connsiteY487" fmla="*/ 719359 h 718099"/>
                <a:gd name="connsiteX488" fmla="*/ 681564 w 768492"/>
                <a:gd name="connsiteY488" fmla="*/ 719359 h 718099"/>
                <a:gd name="connsiteX489" fmla="*/ 682824 w 768492"/>
                <a:gd name="connsiteY489" fmla="*/ 718099 h 718099"/>
                <a:gd name="connsiteX490" fmla="*/ 684084 w 768492"/>
                <a:gd name="connsiteY490" fmla="*/ 713060 h 718099"/>
                <a:gd name="connsiteX491" fmla="*/ 684084 w 768492"/>
                <a:gd name="connsiteY491" fmla="*/ 708021 h 718099"/>
                <a:gd name="connsiteX492" fmla="*/ 685344 w 768492"/>
                <a:gd name="connsiteY492" fmla="*/ 702981 h 718099"/>
                <a:gd name="connsiteX493" fmla="*/ 685344 w 768492"/>
                <a:gd name="connsiteY493" fmla="*/ 702981 h 718099"/>
                <a:gd name="connsiteX494" fmla="*/ 685344 w 768492"/>
                <a:gd name="connsiteY494" fmla="*/ 697942 h 718099"/>
                <a:gd name="connsiteX495" fmla="*/ 685344 w 768492"/>
                <a:gd name="connsiteY495" fmla="*/ 697942 h 718099"/>
                <a:gd name="connsiteX496" fmla="*/ 685344 w 768492"/>
                <a:gd name="connsiteY496" fmla="*/ 697942 h 718099"/>
                <a:gd name="connsiteX497" fmla="*/ 685344 w 768492"/>
                <a:gd name="connsiteY497" fmla="*/ 694163 h 718099"/>
                <a:gd name="connsiteX498" fmla="*/ 685344 w 768492"/>
                <a:gd name="connsiteY498" fmla="*/ 689123 h 718099"/>
                <a:gd name="connsiteX499" fmla="*/ 685344 w 768492"/>
                <a:gd name="connsiteY499" fmla="*/ 689123 h 718099"/>
                <a:gd name="connsiteX500" fmla="*/ 685344 w 768492"/>
                <a:gd name="connsiteY500" fmla="*/ 682824 h 718099"/>
                <a:gd name="connsiteX501" fmla="*/ 685344 w 768492"/>
                <a:gd name="connsiteY501" fmla="*/ 681564 h 718099"/>
                <a:gd name="connsiteX502" fmla="*/ 685344 w 768492"/>
                <a:gd name="connsiteY502" fmla="*/ 680305 h 718099"/>
                <a:gd name="connsiteX503" fmla="*/ 685344 w 768492"/>
                <a:gd name="connsiteY503" fmla="*/ 671486 h 718099"/>
                <a:gd name="connsiteX504" fmla="*/ 685344 w 768492"/>
                <a:gd name="connsiteY504" fmla="*/ 660147 h 718099"/>
                <a:gd name="connsiteX505" fmla="*/ 685344 w 768492"/>
                <a:gd name="connsiteY505" fmla="*/ 658887 h 718099"/>
                <a:gd name="connsiteX506" fmla="*/ 685344 w 768492"/>
                <a:gd name="connsiteY506" fmla="*/ 651329 h 718099"/>
                <a:gd name="connsiteX507" fmla="*/ 685344 w 768492"/>
                <a:gd name="connsiteY507" fmla="*/ 648809 h 718099"/>
                <a:gd name="connsiteX508" fmla="*/ 685344 w 768492"/>
                <a:gd name="connsiteY508" fmla="*/ 647549 h 718099"/>
                <a:gd name="connsiteX509" fmla="*/ 685344 w 768492"/>
                <a:gd name="connsiteY509" fmla="*/ 642510 h 718099"/>
                <a:gd name="connsiteX510" fmla="*/ 685344 w 768492"/>
                <a:gd name="connsiteY510" fmla="*/ 641250 h 718099"/>
                <a:gd name="connsiteX511" fmla="*/ 685344 w 768492"/>
                <a:gd name="connsiteY511" fmla="*/ 632431 h 718099"/>
                <a:gd name="connsiteX512" fmla="*/ 685344 w 768492"/>
                <a:gd name="connsiteY512" fmla="*/ 612274 h 718099"/>
                <a:gd name="connsiteX513" fmla="*/ 685344 w 768492"/>
                <a:gd name="connsiteY513" fmla="*/ 597156 h 718099"/>
                <a:gd name="connsiteX514" fmla="*/ 684084 w 768492"/>
                <a:gd name="connsiteY514" fmla="*/ 595896 h 718099"/>
                <a:gd name="connsiteX515" fmla="*/ 684084 w 768492"/>
                <a:gd name="connsiteY515" fmla="*/ 595896 h 718099"/>
                <a:gd name="connsiteX516" fmla="*/ 681564 w 768492"/>
                <a:gd name="connsiteY516" fmla="*/ 593377 h 718099"/>
                <a:gd name="connsiteX517" fmla="*/ 680305 w 768492"/>
                <a:gd name="connsiteY517" fmla="*/ 592117 h 718099"/>
                <a:gd name="connsiteX518" fmla="*/ 676525 w 768492"/>
                <a:gd name="connsiteY518" fmla="*/ 588337 h 718099"/>
                <a:gd name="connsiteX519" fmla="*/ 665187 w 768492"/>
                <a:gd name="connsiteY519" fmla="*/ 575739 h 718099"/>
                <a:gd name="connsiteX520" fmla="*/ 665187 w 768492"/>
                <a:gd name="connsiteY520" fmla="*/ 575739 h 718099"/>
                <a:gd name="connsiteX521" fmla="*/ 662667 w 768492"/>
                <a:gd name="connsiteY521" fmla="*/ 571960 h 718099"/>
                <a:gd name="connsiteX522" fmla="*/ 661407 w 768492"/>
                <a:gd name="connsiteY522" fmla="*/ 570700 h 718099"/>
                <a:gd name="connsiteX523" fmla="*/ 656368 w 768492"/>
                <a:gd name="connsiteY523" fmla="*/ 564401 h 718099"/>
                <a:gd name="connsiteX524" fmla="*/ 651329 w 768492"/>
                <a:gd name="connsiteY524" fmla="*/ 556842 h 718099"/>
                <a:gd name="connsiteX525" fmla="*/ 642510 w 768492"/>
                <a:gd name="connsiteY525" fmla="*/ 544244 h 718099"/>
                <a:gd name="connsiteX526" fmla="*/ 639990 w 768492"/>
                <a:gd name="connsiteY526" fmla="*/ 540464 h 718099"/>
                <a:gd name="connsiteX527" fmla="*/ 627392 w 768492"/>
                <a:gd name="connsiteY527" fmla="*/ 524086 h 718099"/>
                <a:gd name="connsiteX528" fmla="*/ 621093 w 768492"/>
                <a:gd name="connsiteY528" fmla="*/ 515268 h 718099"/>
                <a:gd name="connsiteX529" fmla="*/ 616054 w 768492"/>
                <a:gd name="connsiteY529" fmla="*/ 507709 h 718099"/>
                <a:gd name="connsiteX530" fmla="*/ 609755 w 768492"/>
                <a:gd name="connsiteY530" fmla="*/ 497630 h 718099"/>
                <a:gd name="connsiteX531" fmla="*/ 609755 w 768492"/>
                <a:gd name="connsiteY531" fmla="*/ 497630 h 718099"/>
                <a:gd name="connsiteX532" fmla="*/ 609755 w 768492"/>
                <a:gd name="connsiteY532" fmla="*/ 497630 h 718099"/>
                <a:gd name="connsiteX533" fmla="*/ 604715 w 768492"/>
                <a:gd name="connsiteY533" fmla="*/ 490071 h 718099"/>
                <a:gd name="connsiteX534" fmla="*/ 593377 w 768492"/>
                <a:gd name="connsiteY534" fmla="*/ 472434 h 718099"/>
                <a:gd name="connsiteX535" fmla="*/ 593377 w 768492"/>
                <a:gd name="connsiteY535" fmla="*/ 471174 h 718099"/>
                <a:gd name="connsiteX536" fmla="*/ 592117 w 768492"/>
                <a:gd name="connsiteY536" fmla="*/ 469914 h 718099"/>
                <a:gd name="connsiteX537" fmla="*/ 592117 w 768492"/>
                <a:gd name="connsiteY537" fmla="*/ 469914 h 718099"/>
                <a:gd name="connsiteX538" fmla="*/ 587078 w 768492"/>
                <a:gd name="connsiteY538" fmla="*/ 462355 h 718099"/>
                <a:gd name="connsiteX539" fmla="*/ 582038 w 768492"/>
                <a:gd name="connsiteY539" fmla="*/ 452277 h 718099"/>
                <a:gd name="connsiteX540" fmla="*/ 573220 w 768492"/>
                <a:gd name="connsiteY540" fmla="*/ 433379 h 718099"/>
                <a:gd name="connsiteX541" fmla="*/ 571960 w 768492"/>
                <a:gd name="connsiteY541" fmla="*/ 430860 h 718099"/>
                <a:gd name="connsiteX542" fmla="*/ 568180 w 768492"/>
                <a:gd name="connsiteY542" fmla="*/ 423301 h 718099"/>
                <a:gd name="connsiteX543" fmla="*/ 564401 w 768492"/>
                <a:gd name="connsiteY543" fmla="*/ 415742 h 718099"/>
                <a:gd name="connsiteX544" fmla="*/ 563141 w 768492"/>
                <a:gd name="connsiteY544" fmla="*/ 413222 h 718099"/>
                <a:gd name="connsiteX545" fmla="*/ 558102 w 768492"/>
                <a:gd name="connsiteY545" fmla="*/ 403143 h 718099"/>
                <a:gd name="connsiteX546" fmla="*/ 555582 w 768492"/>
                <a:gd name="connsiteY546" fmla="*/ 396844 h 718099"/>
                <a:gd name="connsiteX547" fmla="*/ 555582 w 768492"/>
                <a:gd name="connsiteY547" fmla="*/ 396844 h 718099"/>
                <a:gd name="connsiteX548" fmla="*/ 554322 w 768492"/>
                <a:gd name="connsiteY548" fmla="*/ 394325 h 718099"/>
                <a:gd name="connsiteX549" fmla="*/ 546763 w 768492"/>
                <a:gd name="connsiteY549" fmla="*/ 374167 h 718099"/>
                <a:gd name="connsiteX550" fmla="*/ 540464 w 768492"/>
                <a:gd name="connsiteY550" fmla="*/ 354010 h 718099"/>
                <a:gd name="connsiteX551" fmla="*/ 537945 w 768492"/>
                <a:gd name="connsiteY551" fmla="*/ 345192 h 718099"/>
                <a:gd name="connsiteX552" fmla="*/ 537945 w 768492"/>
                <a:gd name="connsiteY552" fmla="*/ 343932 h 718099"/>
                <a:gd name="connsiteX553" fmla="*/ 536685 w 768492"/>
                <a:gd name="connsiteY553" fmla="*/ 337633 h 718099"/>
                <a:gd name="connsiteX554" fmla="*/ 536685 w 768492"/>
                <a:gd name="connsiteY554" fmla="*/ 337633 h 718099"/>
                <a:gd name="connsiteX555" fmla="*/ 535425 w 768492"/>
                <a:gd name="connsiteY555" fmla="*/ 335113 h 718099"/>
                <a:gd name="connsiteX556" fmla="*/ 531645 w 768492"/>
                <a:gd name="connsiteY556" fmla="*/ 314956 h 718099"/>
                <a:gd name="connsiteX557" fmla="*/ 531645 w 768492"/>
                <a:gd name="connsiteY557" fmla="*/ 313696 h 718099"/>
                <a:gd name="connsiteX558" fmla="*/ 530386 w 768492"/>
                <a:gd name="connsiteY558" fmla="*/ 308657 h 718099"/>
                <a:gd name="connsiteX559" fmla="*/ 529126 w 768492"/>
                <a:gd name="connsiteY559" fmla="*/ 303617 h 718099"/>
                <a:gd name="connsiteX560" fmla="*/ 527866 w 768492"/>
                <a:gd name="connsiteY560" fmla="*/ 294799 h 718099"/>
                <a:gd name="connsiteX561" fmla="*/ 527866 w 768492"/>
                <a:gd name="connsiteY561" fmla="*/ 293539 h 718099"/>
                <a:gd name="connsiteX562" fmla="*/ 527866 w 768492"/>
                <a:gd name="connsiteY562" fmla="*/ 289759 h 718099"/>
                <a:gd name="connsiteX563" fmla="*/ 527866 w 768492"/>
                <a:gd name="connsiteY563" fmla="*/ 288499 h 718099"/>
                <a:gd name="connsiteX564" fmla="*/ 527866 w 768492"/>
                <a:gd name="connsiteY564" fmla="*/ 287240 h 718099"/>
                <a:gd name="connsiteX565" fmla="*/ 527866 w 768492"/>
                <a:gd name="connsiteY565" fmla="*/ 282200 h 718099"/>
                <a:gd name="connsiteX566" fmla="*/ 527866 w 768492"/>
                <a:gd name="connsiteY566" fmla="*/ 275901 h 718099"/>
                <a:gd name="connsiteX567" fmla="*/ 527866 w 768492"/>
                <a:gd name="connsiteY567" fmla="*/ 272122 h 718099"/>
                <a:gd name="connsiteX568" fmla="*/ 527866 w 768492"/>
                <a:gd name="connsiteY568" fmla="*/ 260783 h 718099"/>
                <a:gd name="connsiteX569" fmla="*/ 527866 w 768492"/>
                <a:gd name="connsiteY569" fmla="*/ 257004 h 718099"/>
                <a:gd name="connsiteX570" fmla="*/ 527866 w 768492"/>
                <a:gd name="connsiteY570" fmla="*/ 255744 h 718099"/>
                <a:gd name="connsiteX571" fmla="*/ 527866 w 768492"/>
                <a:gd name="connsiteY571" fmla="*/ 251965 h 718099"/>
                <a:gd name="connsiteX572" fmla="*/ 527866 w 768492"/>
                <a:gd name="connsiteY572" fmla="*/ 251965 h 718099"/>
                <a:gd name="connsiteX573" fmla="*/ 527866 w 768492"/>
                <a:gd name="connsiteY573" fmla="*/ 249445 h 718099"/>
                <a:gd name="connsiteX574" fmla="*/ 527866 w 768492"/>
                <a:gd name="connsiteY574" fmla="*/ 249445 h 718099"/>
                <a:gd name="connsiteX575" fmla="*/ 527866 w 768492"/>
                <a:gd name="connsiteY575" fmla="*/ 249445 h 718099"/>
                <a:gd name="connsiteX576" fmla="*/ 527866 w 768492"/>
                <a:gd name="connsiteY576" fmla="*/ 249445 h 718099"/>
                <a:gd name="connsiteX577" fmla="*/ 527866 w 768492"/>
                <a:gd name="connsiteY577" fmla="*/ 249445 h 718099"/>
                <a:gd name="connsiteX578" fmla="*/ 527866 w 768492"/>
                <a:gd name="connsiteY578" fmla="*/ 249445 h 718099"/>
                <a:gd name="connsiteX579" fmla="*/ 527866 w 768492"/>
                <a:gd name="connsiteY579" fmla="*/ 249445 h 718099"/>
                <a:gd name="connsiteX580" fmla="*/ 527866 w 768492"/>
                <a:gd name="connsiteY580" fmla="*/ 249445 h 718099"/>
                <a:gd name="connsiteX581" fmla="*/ 527866 w 768492"/>
                <a:gd name="connsiteY581" fmla="*/ 246925 h 718099"/>
                <a:gd name="connsiteX582" fmla="*/ 527866 w 768492"/>
                <a:gd name="connsiteY582" fmla="*/ 245666 h 718099"/>
                <a:gd name="connsiteX583" fmla="*/ 529126 w 768492"/>
                <a:gd name="connsiteY583" fmla="*/ 239366 h 718099"/>
                <a:gd name="connsiteX584" fmla="*/ 531645 w 768492"/>
                <a:gd name="connsiteY584" fmla="*/ 230548 h 718099"/>
                <a:gd name="connsiteX585" fmla="*/ 535425 w 768492"/>
                <a:gd name="connsiteY585" fmla="*/ 221729 h 718099"/>
                <a:gd name="connsiteX586" fmla="*/ 540464 w 768492"/>
                <a:gd name="connsiteY586" fmla="*/ 214170 h 718099"/>
                <a:gd name="connsiteX587" fmla="*/ 540464 w 768492"/>
                <a:gd name="connsiteY587" fmla="*/ 214170 h 718099"/>
                <a:gd name="connsiteX588" fmla="*/ 541724 w 768492"/>
                <a:gd name="connsiteY588" fmla="*/ 211650 h 718099"/>
                <a:gd name="connsiteX589" fmla="*/ 542984 w 768492"/>
                <a:gd name="connsiteY589" fmla="*/ 210390 h 718099"/>
                <a:gd name="connsiteX590" fmla="*/ 542984 w 768492"/>
                <a:gd name="connsiteY590" fmla="*/ 210390 h 718099"/>
                <a:gd name="connsiteX591" fmla="*/ 544244 w 768492"/>
                <a:gd name="connsiteY591" fmla="*/ 209131 h 718099"/>
                <a:gd name="connsiteX592" fmla="*/ 549283 w 768492"/>
                <a:gd name="connsiteY592" fmla="*/ 204091 h 718099"/>
                <a:gd name="connsiteX593" fmla="*/ 555582 w 768492"/>
                <a:gd name="connsiteY593" fmla="*/ 199052 h 718099"/>
                <a:gd name="connsiteX594" fmla="*/ 559362 w 768492"/>
                <a:gd name="connsiteY594" fmla="*/ 197792 h 718099"/>
                <a:gd name="connsiteX595" fmla="*/ 563141 w 768492"/>
                <a:gd name="connsiteY595" fmla="*/ 196532 h 718099"/>
                <a:gd name="connsiteX596" fmla="*/ 575739 w 768492"/>
                <a:gd name="connsiteY596" fmla="*/ 194013 h 718099"/>
                <a:gd name="connsiteX597" fmla="*/ 578259 w 768492"/>
                <a:gd name="connsiteY597" fmla="*/ 194013 h 718099"/>
                <a:gd name="connsiteX598" fmla="*/ 594637 w 768492"/>
                <a:gd name="connsiteY598" fmla="*/ 195273 h 718099"/>
                <a:gd name="connsiteX599" fmla="*/ 595896 w 768492"/>
                <a:gd name="connsiteY599" fmla="*/ 195273 h 718099"/>
                <a:gd name="connsiteX600" fmla="*/ 605975 w 768492"/>
                <a:gd name="connsiteY600" fmla="*/ 197792 h 718099"/>
                <a:gd name="connsiteX601" fmla="*/ 616054 w 768492"/>
                <a:gd name="connsiteY601" fmla="*/ 202831 h 718099"/>
                <a:gd name="connsiteX602" fmla="*/ 616054 w 768492"/>
                <a:gd name="connsiteY602" fmla="*/ 202831 h 718099"/>
                <a:gd name="connsiteX603" fmla="*/ 621093 w 768492"/>
                <a:gd name="connsiteY603" fmla="*/ 206611 h 718099"/>
                <a:gd name="connsiteX604" fmla="*/ 622353 w 768492"/>
                <a:gd name="connsiteY604" fmla="*/ 206611 h 718099"/>
                <a:gd name="connsiteX605" fmla="*/ 624872 w 768492"/>
                <a:gd name="connsiteY605" fmla="*/ 209131 h 718099"/>
                <a:gd name="connsiteX606" fmla="*/ 626132 w 768492"/>
                <a:gd name="connsiteY606" fmla="*/ 210390 h 718099"/>
                <a:gd name="connsiteX607" fmla="*/ 629912 w 768492"/>
                <a:gd name="connsiteY607" fmla="*/ 214170 h 718099"/>
                <a:gd name="connsiteX608" fmla="*/ 632431 w 768492"/>
                <a:gd name="connsiteY608" fmla="*/ 217949 h 718099"/>
                <a:gd name="connsiteX609" fmla="*/ 637471 w 768492"/>
                <a:gd name="connsiteY609" fmla="*/ 228028 h 718099"/>
                <a:gd name="connsiteX610" fmla="*/ 639990 w 768492"/>
                <a:gd name="connsiteY610" fmla="*/ 235587 h 718099"/>
                <a:gd name="connsiteX611" fmla="*/ 639990 w 768492"/>
                <a:gd name="connsiteY611" fmla="*/ 236847 h 718099"/>
                <a:gd name="connsiteX612" fmla="*/ 642510 w 768492"/>
                <a:gd name="connsiteY612" fmla="*/ 246925 h 718099"/>
                <a:gd name="connsiteX613" fmla="*/ 643770 w 768492"/>
                <a:gd name="connsiteY613" fmla="*/ 253224 h 718099"/>
                <a:gd name="connsiteX614" fmla="*/ 643770 w 768492"/>
                <a:gd name="connsiteY614" fmla="*/ 253224 h 718099"/>
                <a:gd name="connsiteX615" fmla="*/ 643770 w 768492"/>
                <a:gd name="connsiteY615" fmla="*/ 257004 h 718099"/>
                <a:gd name="connsiteX616" fmla="*/ 647549 w 768492"/>
                <a:gd name="connsiteY616" fmla="*/ 270862 h 718099"/>
                <a:gd name="connsiteX617" fmla="*/ 648809 w 768492"/>
                <a:gd name="connsiteY617" fmla="*/ 275901 h 718099"/>
                <a:gd name="connsiteX618" fmla="*/ 648809 w 768492"/>
                <a:gd name="connsiteY618" fmla="*/ 275901 h 718099"/>
                <a:gd name="connsiteX619" fmla="*/ 651329 w 768492"/>
                <a:gd name="connsiteY619" fmla="*/ 284720 h 718099"/>
                <a:gd name="connsiteX620" fmla="*/ 655108 w 768492"/>
                <a:gd name="connsiteY620" fmla="*/ 297318 h 718099"/>
                <a:gd name="connsiteX621" fmla="*/ 660148 w 768492"/>
                <a:gd name="connsiteY621" fmla="*/ 311176 h 718099"/>
                <a:gd name="connsiteX622" fmla="*/ 661407 w 768492"/>
                <a:gd name="connsiteY622" fmla="*/ 314956 h 718099"/>
                <a:gd name="connsiteX623" fmla="*/ 665187 w 768492"/>
                <a:gd name="connsiteY623" fmla="*/ 321255 h 718099"/>
                <a:gd name="connsiteX624" fmla="*/ 666447 w 768492"/>
                <a:gd name="connsiteY624" fmla="*/ 325034 h 718099"/>
                <a:gd name="connsiteX625" fmla="*/ 670226 w 768492"/>
                <a:gd name="connsiteY625" fmla="*/ 331333 h 718099"/>
                <a:gd name="connsiteX626" fmla="*/ 681564 w 768492"/>
                <a:gd name="connsiteY626" fmla="*/ 351491 h 718099"/>
                <a:gd name="connsiteX627" fmla="*/ 682824 w 768492"/>
                <a:gd name="connsiteY627" fmla="*/ 354010 h 718099"/>
                <a:gd name="connsiteX628" fmla="*/ 694163 w 768492"/>
                <a:gd name="connsiteY628" fmla="*/ 369128 h 718099"/>
                <a:gd name="connsiteX629" fmla="*/ 695422 w 768492"/>
                <a:gd name="connsiteY629" fmla="*/ 370388 h 718099"/>
                <a:gd name="connsiteX630" fmla="*/ 696682 w 768492"/>
                <a:gd name="connsiteY630" fmla="*/ 372908 h 718099"/>
                <a:gd name="connsiteX631" fmla="*/ 696682 w 768492"/>
                <a:gd name="connsiteY631" fmla="*/ 365349 h 718099"/>
                <a:gd name="connsiteX632" fmla="*/ 696682 w 768492"/>
                <a:gd name="connsiteY632" fmla="*/ 361569 h 718099"/>
                <a:gd name="connsiteX633" fmla="*/ 696682 w 768492"/>
                <a:gd name="connsiteY633" fmla="*/ 357790 h 718099"/>
                <a:gd name="connsiteX634" fmla="*/ 696682 w 768492"/>
                <a:gd name="connsiteY634" fmla="*/ 356530 h 718099"/>
                <a:gd name="connsiteX635" fmla="*/ 696682 w 768492"/>
                <a:gd name="connsiteY635" fmla="*/ 351491 h 718099"/>
                <a:gd name="connsiteX636" fmla="*/ 696682 w 768492"/>
                <a:gd name="connsiteY636" fmla="*/ 351491 h 718099"/>
                <a:gd name="connsiteX637" fmla="*/ 696682 w 768492"/>
                <a:gd name="connsiteY637" fmla="*/ 342672 h 718099"/>
                <a:gd name="connsiteX638" fmla="*/ 696682 w 768492"/>
                <a:gd name="connsiteY638" fmla="*/ 341412 h 718099"/>
                <a:gd name="connsiteX639" fmla="*/ 696682 w 768492"/>
                <a:gd name="connsiteY639" fmla="*/ 341412 h 718099"/>
                <a:gd name="connsiteX640" fmla="*/ 696682 w 768492"/>
                <a:gd name="connsiteY640" fmla="*/ 335113 h 718099"/>
                <a:gd name="connsiteX641" fmla="*/ 696682 w 768492"/>
                <a:gd name="connsiteY641" fmla="*/ 333853 h 718099"/>
                <a:gd name="connsiteX642" fmla="*/ 696682 w 768492"/>
                <a:gd name="connsiteY642" fmla="*/ 331333 h 718099"/>
                <a:gd name="connsiteX643" fmla="*/ 696682 w 768492"/>
                <a:gd name="connsiteY643" fmla="*/ 327554 h 718099"/>
                <a:gd name="connsiteX644" fmla="*/ 696682 w 768492"/>
                <a:gd name="connsiteY644" fmla="*/ 326294 h 718099"/>
                <a:gd name="connsiteX645" fmla="*/ 696682 w 768492"/>
                <a:gd name="connsiteY645" fmla="*/ 321255 h 718099"/>
                <a:gd name="connsiteX646" fmla="*/ 696682 w 768492"/>
                <a:gd name="connsiteY646" fmla="*/ 316216 h 718099"/>
                <a:gd name="connsiteX647" fmla="*/ 696682 w 768492"/>
                <a:gd name="connsiteY647" fmla="*/ 314956 h 718099"/>
                <a:gd name="connsiteX648" fmla="*/ 696682 w 768492"/>
                <a:gd name="connsiteY648" fmla="*/ 313696 h 718099"/>
                <a:gd name="connsiteX649" fmla="*/ 696682 w 768492"/>
                <a:gd name="connsiteY649" fmla="*/ 309916 h 718099"/>
                <a:gd name="connsiteX650" fmla="*/ 696682 w 768492"/>
                <a:gd name="connsiteY650" fmla="*/ 299838 h 718099"/>
                <a:gd name="connsiteX651" fmla="*/ 696682 w 768492"/>
                <a:gd name="connsiteY651" fmla="*/ 296058 h 718099"/>
                <a:gd name="connsiteX652" fmla="*/ 696682 w 768492"/>
                <a:gd name="connsiteY652" fmla="*/ 292279 h 718099"/>
                <a:gd name="connsiteX653" fmla="*/ 696682 w 768492"/>
                <a:gd name="connsiteY653" fmla="*/ 283460 h 718099"/>
                <a:gd name="connsiteX654" fmla="*/ 696682 w 768492"/>
                <a:gd name="connsiteY654" fmla="*/ 274641 h 718099"/>
                <a:gd name="connsiteX655" fmla="*/ 696682 w 768492"/>
                <a:gd name="connsiteY655" fmla="*/ 273382 h 718099"/>
                <a:gd name="connsiteX656" fmla="*/ 696682 w 768492"/>
                <a:gd name="connsiteY656" fmla="*/ 272122 h 718099"/>
                <a:gd name="connsiteX657" fmla="*/ 696682 w 768492"/>
                <a:gd name="connsiteY657" fmla="*/ 269602 h 718099"/>
                <a:gd name="connsiteX658" fmla="*/ 696682 w 768492"/>
                <a:gd name="connsiteY658" fmla="*/ 263303 h 718099"/>
                <a:gd name="connsiteX659" fmla="*/ 696682 w 768492"/>
                <a:gd name="connsiteY659" fmla="*/ 263303 h 718099"/>
                <a:gd name="connsiteX660" fmla="*/ 696682 w 768492"/>
                <a:gd name="connsiteY660" fmla="*/ 259523 h 718099"/>
                <a:gd name="connsiteX661" fmla="*/ 696682 w 768492"/>
                <a:gd name="connsiteY661" fmla="*/ 249445 h 718099"/>
                <a:gd name="connsiteX662" fmla="*/ 696682 w 768492"/>
                <a:gd name="connsiteY662" fmla="*/ 244406 h 718099"/>
                <a:gd name="connsiteX663" fmla="*/ 696682 w 768492"/>
                <a:gd name="connsiteY663" fmla="*/ 240626 h 718099"/>
                <a:gd name="connsiteX664" fmla="*/ 696682 w 768492"/>
                <a:gd name="connsiteY664" fmla="*/ 240626 h 718099"/>
                <a:gd name="connsiteX665" fmla="*/ 696682 w 768492"/>
                <a:gd name="connsiteY665" fmla="*/ 240626 h 718099"/>
                <a:gd name="connsiteX666" fmla="*/ 696682 w 768492"/>
                <a:gd name="connsiteY666" fmla="*/ 235587 h 718099"/>
                <a:gd name="connsiteX667" fmla="*/ 696682 w 768492"/>
                <a:gd name="connsiteY667" fmla="*/ 234327 h 718099"/>
                <a:gd name="connsiteX668" fmla="*/ 696682 w 768492"/>
                <a:gd name="connsiteY668" fmla="*/ 233067 h 718099"/>
                <a:gd name="connsiteX669" fmla="*/ 696682 w 768492"/>
                <a:gd name="connsiteY669" fmla="*/ 233067 h 718099"/>
                <a:gd name="connsiteX670" fmla="*/ 697942 w 768492"/>
                <a:gd name="connsiteY670" fmla="*/ 230548 h 718099"/>
                <a:gd name="connsiteX671" fmla="*/ 697942 w 768492"/>
                <a:gd name="connsiteY671" fmla="*/ 229288 h 718099"/>
                <a:gd name="connsiteX672" fmla="*/ 699202 w 768492"/>
                <a:gd name="connsiteY672" fmla="*/ 225508 h 718099"/>
                <a:gd name="connsiteX673" fmla="*/ 699202 w 768492"/>
                <a:gd name="connsiteY673" fmla="*/ 224248 h 718099"/>
                <a:gd name="connsiteX674" fmla="*/ 700462 w 768492"/>
                <a:gd name="connsiteY674" fmla="*/ 221729 h 718099"/>
                <a:gd name="connsiteX675" fmla="*/ 701722 w 768492"/>
                <a:gd name="connsiteY675" fmla="*/ 221729 h 718099"/>
                <a:gd name="connsiteX676" fmla="*/ 702981 w 768492"/>
                <a:gd name="connsiteY676" fmla="*/ 221729 h 718099"/>
                <a:gd name="connsiteX677" fmla="*/ 702981 w 768492"/>
                <a:gd name="connsiteY677" fmla="*/ 221729 h 718099"/>
                <a:gd name="connsiteX678" fmla="*/ 702981 w 768492"/>
                <a:gd name="connsiteY678" fmla="*/ 221729 h 718099"/>
                <a:gd name="connsiteX679" fmla="*/ 702981 w 768492"/>
                <a:gd name="connsiteY679" fmla="*/ 221729 h 718099"/>
                <a:gd name="connsiteX680" fmla="*/ 702981 w 768492"/>
                <a:gd name="connsiteY680" fmla="*/ 221729 h 718099"/>
                <a:gd name="connsiteX681" fmla="*/ 702981 w 768492"/>
                <a:gd name="connsiteY681" fmla="*/ 221729 h 718099"/>
                <a:gd name="connsiteX682" fmla="*/ 702981 w 768492"/>
                <a:gd name="connsiteY682" fmla="*/ 221729 h 718099"/>
                <a:gd name="connsiteX683" fmla="*/ 702981 w 768492"/>
                <a:gd name="connsiteY683" fmla="*/ 221729 h 718099"/>
                <a:gd name="connsiteX684" fmla="*/ 702981 w 768492"/>
                <a:gd name="connsiteY684" fmla="*/ 221729 h 718099"/>
                <a:gd name="connsiteX685" fmla="*/ 702981 w 768492"/>
                <a:gd name="connsiteY685" fmla="*/ 222989 h 718099"/>
                <a:gd name="connsiteX686" fmla="*/ 702981 w 768492"/>
                <a:gd name="connsiteY686" fmla="*/ 222989 h 718099"/>
                <a:gd name="connsiteX687" fmla="*/ 702981 w 768492"/>
                <a:gd name="connsiteY687" fmla="*/ 222989 h 718099"/>
                <a:gd name="connsiteX688" fmla="*/ 704241 w 768492"/>
                <a:gd name="connsiteY688" fmla="*/ 222989 h 718099"/>
                <a:gd name="connsiteX689" fmla="*/ 704241 w 768492"/>
                <a:gd name="connsiteY689" fmla="*/ 222989 h 718099"/>
                <a:gd name="connsiteX690" fmla="*/ 704241 w 768492"/>
                <a:gd name="connsiteY690" fmla="*/ 222989 h 718099"/>
                <a:gd name="connsiteX691" fmla="*/ 706761 w 768492"/>
                <a:gd name="connsiteY691" fmla="*/ 225508 h 718099"/>
                <a:gd name="connsiteX692" fmla="*/ 715580 w 768492"/>
                <a:gd name="connsiteY692" fmla="*/ 244406 h 718099"/>
                <a:gd name="connsiteX693" fmla="*/ 718099 w 768492"/>
                <a:gd name="connsiteY693" fmla="*/ 248185 h 718099"/>
                <a:gd name="connsiteX694" fmla="*/ 719359 w 768492"/>
                <a:gd name="connsiteY694" fmla="*/ 250705 h 718099"/>
                <a:gd name="connsiteX695" fmla="*/ 719359 w 768492"/>
                <a:gd name="connsiteY695" fmla="*/ 250705 h 718099"/>
                <a:gd name="connsiteX696" fmla="*/ 723139 w 768492"/>
                <a:gd name="connsiteY696" fmla="*/ 258264 h 718099"/>
                <a:gd name="connsiteX697" fmla="*/ 724398 w 768492"/>
                <a:gd name="connsiteY697" fmla="*/ 260783 h 718099"/>
                <a:gd name="connsiteX698" fmla="*/ 728178 w 768492"/>
                <a:gd name="connsiteY698" fmla="*/ 267083 h 718099"/>
                <a:gd name="connsiteX699" fmla="*/ 729438 w 768492"/>
                <a:gd name="connsiteY699" fmla="*/ 268342 h 718099"/>
                <a:gd name="connsiteX700" fmla="*/ 733217 w 768492"/>
                <a:gd name="connsiteY700" fmla="*/ 274641 h 718099"/>
                <a:gd name="connsiteX701" fmla="*/ 735737 w 768492"/>
                <a:gd name="connsiteY701" fmla="*/ 278421 h 718099"/>
                <a:gd name="connsiteX702" fmla="*/ 745815 w 768492"/>
                <a:gd name="connsiteY702" fmla="*/ 297318 h 718099"/>
                <a:gd name="connsiteX703" fmla="*/ 748335 w 768492"/>
                <a:gd name="connsiteY703" fmla="*/ 303617 h 718099"/>
                <a:gd name="connsiteX704" fmla="*/ 750855 w 768492"/>
                <a:gd name="connsiteY704" fmla="*/ 308657 h 718099"/>
                <a:gd name="connsiteX705" fmla="*/ 753374 w 768492"/>
                <a:gd name="connsiteY705" fmla="*/ 313696 h 718099"/>
                <a:gd name="connsiteX706" fmla="*/ 755894 w 768492"/>
                <a:gd name="connsiteY706" fmla="*/ 318735 h 718099"/>
                <a:gd name="connsiteX707" fmla="*/ 755894 w 768492"/>
                <a:gd name="connsiteY707" fmla="*/ 318735 h 718099"/>
                <a:gd name="connsiteX708" fmla="*/ 755894 w 768492"/>
                <a:gd name="connsiteY708" fmla="*/ 318735 h 718099"/>
                <a:gd name="connsiteX709" fmla="*/ 758414 w 768492"/>
                <a:gd name="connsiteY709" fmla="*/ 325034 h 718099"/>
                <a:gd name="connsiteX710" fmla="*/ 758414 w 768492"/>
                <a:gd name="connsiteY710" fmla="*/ 325034 h 718099"/>
                <a:gd name="connsiteX711" fmla="*/ 758414 w 768492"/>
                <a:gd name="connsiteY711" fmla="*/ 325034 h 718099"/>
                <a:gd name="connsiteX712" fmla="*/ 758414 w 768492"/>
                <a:gd name="connsiteY712" fmla="*/ 325034 h 718099"/>
                <a:gd name="connsiteX713" fmla="*/ 762193 w 768492"/>
                <a:gd name="connsiteY713" fmla="*/ 332593 h 718099"/>
                <a:gd name="connsiteX714" fmla="*/ 767232 w 768492"/>
                <a:gd name="connsiteY714" fmla="*/ 343932 h 718099"/>
                <a:gd name="connsiteX715" fmla="*/ 771012 w 768492"/>
                <a:gd name="connsiteY715" fmla="*/ 354010 h 718099"/>
                <a:gd name="connsiteX716" fmla="*/ 771012 w 768492"/>
                <a:gd name="connsiteY716" fmla="*/ 355270 h 718099"/>
                <a:gd name="connsiteX717" fmla="*/ 774791 w 768492"/>
                <a:gd name="connsiteY717" fmla="*/ 365349 h 718099"/>
                <a:gd name="connsiteX718" fmla="*/ 776051 w 768492"/>
                <a:gd name="connsiteY718" fmla="*/ 367868 h 718099"/>
                <a:gd name="connsiteX719" fmla="*/ 778571 w 768492"/>
                <a:gd name="connsiteY719" fmla="*/ 372908 h 718099"/>
                <a:gd name="connsiteX720" fmla="*/ 778571 w 768492"/>
                <a:gd name="connsiteY720" fmla="*/ 369128 h 718099"/>
                <a:gd name="connsiteX721" fmla="*/ 778571 w 768492"/>
                <a:gd name="connsiteY721" fmla="*/ 372908 h 718099"/>
                <a:gd name="connsiteX722" fmla="*/ 777311 w 768492"/>
                <a:gd name="connsiteY722" fmla="*/ 367868 h 718099"/>
                <a:gd name="connsiteX723" fmla="*/ 777311 w 768492"/>
                <a:gd name="connsiteY723" fmla="*/ 367868 h 718099"/>
                <a:gd name="connsiteX724" fmla="*/ 777311 w 768492"/>
                <a:gd name="connsiteY724" fmla="*/ 366608 h 718099"/>
                <a:gd name="connsiteX725" fmla="*/ 777311 w 768492"/>
                <a:gd name="connsiteY725" fmla="*/ 366608 h 718099"/>
                <a:gd name="connsiteX726" fmla="*/ 777311 w 768492"/>
                <a:gd name="connsiteY726" fmla="*/ 366608 h 718099"/>
                <a:gd name="connsiteX727" fmla="*/ 777311 w 768492"/>
                <a:gd name="connsiteY727" fmla="*/ 366608 h 718099"/>
                <a:gd name="connsiteX728" fmla="*/ 777311 w 768492"/>
                <a:gd name="connsiteY728" fmla="*/ 366608 h 718099"/>
                <a:gd name="connsiteX729" fmla="*/ 777311 w 768492"/>
                <a:gd name="connsiteY729" fmla="*/ 365349 h 718099"/>
                <a:gd name="connsiteX730" fmla="*/ 777311 w 768492"/>
                <a:gd name="connsiteY730" fmla="*/ 365349 h 718099"/>
                <a:gd name="connsiteX731" fmla="*/ 777311 w 768492"/>
                <a:gd name="connsiteY731" fmla="*/ 365349 h 718099"/>
                <a:gd name="connsiteX732" fmla="*/ 777311 w 768492"/>
                <a:gd name="connsiteY732" fmla="*/ 365349 h 718099"/>
                <a:gd name="connsiteX733" fmla="*/ 777311 w 768492"/>
                <a:gd name="connsiteY733" fmla="*/ 365349 h 718099"/>
                <a:gd name="connsiteX734" fmla="*/ 777311 w 768492"/>
                <a:gd name="connsiteY734" fmla="*/ 362829 h 718099"/>
                <a:gd name="connsiteX735" fmla="*/ 777311 w 768492"/>
                <a:gd name="connsiteY735" fmla="*/ 364089 h 718099"/>
                <a:gd name="connsiteX736" fmla="*/ 776051 w 768492"/>
                <a:gd name="connsiteY736" fmla="*/ 359050 h 718099"/>
                <a:gd name="connsiteX737" fmla="*/ 773532 w 768492"/>
                <a:gd name="connsiteY737" fmla="*/ 346451 h 718099"/>
                <a:gd name="connsiteX738" fmla="*/ 769752 w 768492"/>
                <a:gd name="connsiteY738" fmla="*/ 323775 h 718099"/>
                <a:gd name="connsiteX739" fmla="*/ 769752 w 768492"/>
                <a:gd name="connsiteY739" fmla="*/ 323775 h 718099"/>
                <a:gd name="connsiteX740" fmla="*/ 765973 w 768492"/>
                <a:gd name="connsiteY740" fmla="*/ 299838 h 718099"/>
                <a:gd name="connsiteX741" fmla="*/ 762193 w 768492"/>
                <a:gd name="connsiteY741" fmla="*/ 265823 h 718099"/>
                <a:gd name="connsiteX742" fmla="*/ 762193 w 768492"/>
                <a:gd name="connsiteY742" fmla="*/ 265823 h 718099"/>
                <a:gd name="connsiteX743" fmla="*/ 760933 w 768492"/>
                <a:gd name="connsiteY743" fmla="*/ 262043 h 718099"/>
                <a:gd name="connsiteX744" fmla="*/ 758414 w 768492"/>
                <a:gd name="connsiteY744" fmla="*/ 250705 h 718099"/>
                <a:gd name="connsiteX745" fmla="*/ 754634 w 768492"/>
                <a:gd name="connsiteY745" fmla="*/ 236847 h 718099"/>
                <a:gd name="connsiteX746" fmla="*/ 750855 w 768492"/>
                <a:gd name="connsiteY746" fmla="*/ 225508 h 718099"/>
                <a:gd name="connsiteX747" fmla="*/ 750855 w 768492"/>
                <a:gd name="connsiteY747" fmla="*/ 221729 h 718099"/>
                <a:gd name="connsiteX748" fmla="*/ 750855 w 768492"/>
                <a:gd name="connsiteY748" fmla="*/ 217949 h 718099"/>
                <a:gd name="connsiteX749" fmla="*/ 749595 w 768492"/>
                <a:gd name="connsiteY749" fmla="*/ 202831 h 718099"/>
                <a:gd name="connsiteX750" fmla="*/ 749595 w 768492"/>
                <a:gd name="connsiteY750" fmla="*/ 201572 h 718099"/>
                <a:gd name="connsiteX751" fmla="*/ 748335 w 768492"/>
                <a:gd name="connsiteY751" fmla="*/ 197792 h 718099"/>
                <a:gd name="connsiteX752" fmla="*/ 748335 w 768492"/>
                <a:gd name="connsiteY752" fmla="*/ 197792 h 718099"/>
                <a:gd name="connsiteX753" fmla="*/ 748335 w 768492"/>
                <a:gd name="connsiteY753" fmla="*/ 197792 h 718099"/>
                <a:gd name="connsiteX754" fmla="*/ 743296 w 768492"/>
                <a:gd name="connsiteY754" fmla="*/ 178895 h 718099"/>
                <a:gd name="connsiteX755" fmla="*/ 736997 w 768492"/>
                <a:gd name="connsiteY755" fmla="*/ 158738 h 718099"/>
                <a:gd name="connsiteX756" fmla="*/ 734477 w 768492"/>
                <a:gd name="connsiteY756" fmla="*/ 152439 h 718099"/>
                <a:gd name="connsiteX757" fmla="*/ 729438 w 768492"/>
                <a:gd name="connsiteY757" fmla="*/ 137321 h 718099"/>
                <a:gd name="connsiteX758" fmla="*/ 721879 w 768492"/>
                <a:gd name="connsiteY758" fmla="*/ 118423 h 718099"/>
                <a:gd name="connsiteX759" fmla="*/ 720619 w 768492"/>
                <a:gd name="connsiteY759" fmla="*/ 117163 h 718099"/>
                <a:gd name="connsiteX760" fmla="*/ 718099 w 768492"/>
                <a:gd name="connsiteY760" fmla="*/ 110864 h 718099"/>
                <a:gd name="connsiteX761" fmla="*/ 713060 w 768492"/>
                <a:gd name="connsiteY761" fmla="*/ 99526 h 718099"/>
                <a:gd name="connsiteX762" fmla="*/ 713060 w 768492"/>
                <a:gd name="connsiteY762" fmla="*/ 98266 h 718099"/>
                <a:gd name="connsiteX763" fmla="*/ 702981 w 768492"/>
                <a:gd name="connsiteY763" fmla="*/ 79369 h 718099"/>
                <a:gd name="connsiteX764" fmla="*/ 695422 w 768492"/>
                <a:gd name="connsiteY764" fmla="*/ 70550 h 718099"/>
                <a:gd name="connsiteX765" fmla="*/ 687864 w 768492"/>
                <a:gd name="connsiteY765" fmla="*/ 62991 h 718099"/>
                <a:gd name="connsiteX766" fmla="*/ 686604 w 768492"/>
                <a:gd name="connsiteY766" fmla="*/ 61731 h 718099"/>
                <a:gd name="connsiteX767" fmla="*/ 679045 w 768492"/>
                <a:gd name="connsiteY767" fmla="*/ 54172 h 718099"/>
                <a:gd name="connsiteX768" fmla="*/ 670226 w 768492"/>
                <a:gd name="connsiteY768" fmla="*/ 47873 h 718099"/>
                <a:gd name="connsiteX769" fmla="*/ 660148 w 768492"/>
                <a:gd name="connsiteY769" fmla="*/ 41574 h 718099"/>
                <a:gd name="connsiteX770" fmla="*/ 650069 w 768492"/>
                <a:gd name="connsiteY770" fmla="*/ 36535 h 718099"/>
                <a:gd name="connsiteX771" fmla="*/ 650069 w 768492"/>
                <a:gd name="connsiteY771" fmla="*/ 36535 h 718099"/>
                <a:gd name="connsiteX772" fmla="*/ 641250 w 768492"/>
                <a:gd name="connsiteY772" fmla="*/ 32755 h 718099"/>
                <a:gd name="connsiteX773" fmla="*/ 637471 w 768492"/>
                <a:gd name="connsiteY773" fmla="*/ 31496 h 718099"/>
                <a:gd name="connsiteX774" fmla="*/ 631172 w 768492"/>
                <a:gd name="connsiteY774" fmla="*/ 28976 h 718099"/>
                <a:gd name="connsiteX775" fmla="*/ 628652 w 768492"/>
                <a:gd name="connsiteY775" fmla="*/ 27716 h 718099"/>
                <a:gd name="connsiteX776" fmla="*/ 627392 w 768492"/>
                <a:gd name="connsiteY776" fmla="*/ 27716 h 718099"/>
                <a:gd name="connsiteX777" fmla="*/ 622353 w 768492"/>
                <a:gd name="connsiteY777" fmla="*/ 25196 h 718099"/>
                <a:gd name="connsiteX778" fmla="*/ 609755 w 768492"/>
                <a:gd name="connsiteY778" fmla="*/ 22677 h 718099"/>
                <a:gd name="connsiteX779" fmla="*/ 595896 w 768492"/>
                <a:gd name="connsiteY779" fmla="*/ 18897 h 718099"/>
                <a:gd name="connsiteX780" fmla="*/ 595896 w 768492"/>
                <a:gd name="connsiteY780" fmla="*/ 18897 h 718099"/>
                <a:gd name="connsiteX781" fmla="*/ 590857 w 768492"/>
                <a:gd name="connsiteY781" fmla="*/ 17637 h 718099"/>
                <a:gd name="connsiteX782" fmla="*/ 574480 w 768492"/>
                <a:gd name="connsiteY782" fmla="*/ 12598 h 718099"/>
                <a:gd name="connsiteX783" fmla="*/ 561881 w 768492"/>
                <a:gd name="connsiteY783" fmla="*/ 8819 h 718099"/>
                <a:gd name="connsiteX784" fmla="*/ 551803 w 768492"/>
                <a:gd name="connsiteY784" fmla="*/ 6299 h 718099"/>
                <a:gd name="connsiteX785" fmla="*/ 550543 w 768492"/>
                <a:gd name="connsiteY785" fmla="*/ 6299 h 718099"/>
                <a:gd name="connsiteX786" fmla="*/ 540464 w 768492"/>
                <a:gd name="connsiteY786" fmla="*/ 3779 h 718099"/>
                <a:gd name="connsiteX787" fmla="*/ 534165 w 768492"/>
                <a:gd name="connsiteY787" fmla="*/ 2520 h 718099"/>
                <a:gd name="connsiteX788" fmla="*/ 530386 w 768492"/>
                <a:gd name="connsiteY788" fmla="*/ 1260 h 718099"/>
                <a:gd name="connsiteX789" fmla="*/ 526606 w 768492"/>
                <a:gd name="connsiteY789" fmla="*/ 0 h 718099"/>
                <a:gd name="connsiteX790" fmla="*/ 526606 w 768492"/>
                <a:gd name="connsiteY790" fmla="*/ 0 h 718099"/>
                <a:gd name="connsiteX791" fmla="*/ 526606 w 768492"/>
                <a:gd name="connsiteY791" fmla="*/ 0 h 718099"/>
                <a:gd name="connsiteX792" fmla="*/ 526606 w 768492"/>
                <a:gd name="connsiteY792" fmla="*/ 0 h 718099"/>
                <a:gd name="connsiteX793" fmla="*/ 537945 w 768492"/>
                <a:gd name="connsiteY793" fmla="*/ 16378 h 718099"/>
                <a:gd name="connsiteX794" fmla="*/ 162517 w 768492"/>
                <a:gd name="connsiteY794" fmla="*/ 388025 h 718099"/>
                <a:gd name="connsiteX795" fmla="*/ 162517 w 768492"/>
                <a:gd name="connsiteY795" fmla="*/ 388025 h 718099"/>
                <a:gd name="connsiteX796" fmla="*/ 162517 w 768492"/>
                <a:gd name="connsiteY796" fmla="*/ 388025 h 718099"/>
                <a:gd name="connsiteX797" fmla="*/ 162517 w 768492"/>
                <a:gd name="connsiteY797" fmla="*/ 388025 h 718099"/>
                <a:gd name="connsiteX798" fmla="*/ 354010 w 768492"/>
                <a:gd name="connsiteY798" fmla="*/ 725658 h 718099"/>
                <a:gd name="connsiteX799" fmla="*/ 351491 w 768492"/>
                <a:gd name="connsiteY799" fmla="*/ 726918 h 718099"/>
                <a:gd name="connsiteX800" fmla="*/ 354010 w 768492"/>
                <a:gd name="connsiteY800" fmla="*/ 725658 h 718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Lst>
              <a:rect l="l" t="t" r="r" b="b"/>
              <a:pathLst>
                <a:path w="768492" h="718099">
                  <a:moveTo>
                    <a:pt x="537945" y="16378"/>
                  </a:moveTo>
                  <a:cubicBezTo>
                    <a:pt x="537945" y="16378"/>
                    <a:pt x="537945" y="16378"/>
                    <a:pt x="537945" y="16378"/>
                  </a:cubicBezTo>
                  <a:lnTo>
                    <a:pt x="537945" y="16378"/>
                  </a:lnTo>
                  <a:cubicBezTo>
                    <a:pt x="537945" y="18897"/>
                    <a:pt x="537945" y="21417"/>
                    <a:pt x="536685" y="22677"/>
                  </a:cubicBezTo>
                  <a:cubicBezTo>
                    <a:pt x="536685" y="20157"/>
                    <a:pt x="536685" y="18897"/>
                    <a:pt x="537945" y="16378"/>
                  </a:cubicBezTo>
                  <a:lnTo>
                    <a:pt x="537945" y="16378"/>
                  </a:lnTo>
                  <a:lnTo>
                    <a:pt x="537945" y="16378"/>
                  </a:lnTo>
                  <a:cubicBezTo>
                    <a:pt x="537945" y="18897"/>
                    <a:pt x="537945" y="21417"/>
                    <a:pt x="536685" y="23937"/>
                  </a:cubicBezTo>
                  <a:cubicBezTo>
                    <a:pt x="536685" y="25196"/>
                    <a:pt x="536685" y="25196"/>
                    <a:pt x="536685" y="26456"/>
                  </a:cubicBezTo>
                  <a:cubicBezTo>
                    <a:pt x="536685" y="27716"/>
                    <a:pt x="535425" y="30236"/>
                    <a:pt x="535425" y="31496"/>
                  </a:cubicBezTo>
                  <a:cubicBezTo>
                    <a:pt x="534165" y="32755"/>
                    <a:pt x="534165" y="35275"/>
                    <a:pt x="531645" y="37795"/>
                  </a:cubicBezTo>
                  <a:cubicBezTo>
                    <a:pt x="530386" y="39054"/>
                    <a:pt x="529126" y="41574"/>
                    <a:pt x="526606" y="44094"/>
                  </a:cubicBezTo>
                  <a:cubicBezTo>
                    <a:pt x="524087" y="45354"/>
                    <a:pt x="522827" y="46613"/>
                    <a:pt x="519047" y="49133"/>
                  </a:cubicBezTo>
                  <a:cubicBezTo>
                    <a:pt x="514008" y="51653"/>
                    <a:pt x="510228" y="54172"/>
                    <a:pt x="505189" y="55432"/>
                  </a:cubicBezTo>
                  <a:cubicBezTo>
                    <a:pt x="502670" y="56692"/>
                    <a:pt x="500150" y="57952"/>
                    <a:pt x="496370" y="57952"/>
                  </a:cubicBezTo>
                  <a:cubicBezTo>
                    <a:pt x="492591" y="59212"/>
                    <a:pt x="490071" y="59212"/>
                    <a:pt x="487552" y="59212"/>
                  </a:cubicBezTo>
                  <a:cubicBezTo>
                    <a:pt x="487552" y="59212"/>
                    <a:pt x="486292" y="59212"/>
                    <a:pt x="486292" y="59212"/>
                  </a:cubicBezTo>
                  <a:cubicBezTo>
                    <a:pt x="482512" y="59212"/>
                    <a:pt x="479993" y="59212"/>
                    <a:pt x="476213" y="59212"/>
                  </a:cubicBezTo>
                  <a:cubicBezTo>
                    <a:pt x="472434" y="59212"/>
                    <a:pt x="469914" y="59212"/>
                    <a:pt x="466135" y="57952"/>
                  </a:cubicBezTo>
                  <a:cubicBezTo>
                    <a:pt x="458576" y="56692"/>
                    <a:pt x="452277" y="55432"/>
                    <a:pt x="447237" y="52913"/>
                  </a:cubicBezTo>
                  <a:cubicBezTo>
                    <a:pt x="444718" y="51653"/>
                    <a:pt x="442198" y="50393"/>
                    <a:pt x="440938" y="49133"/>
                  </a:cubicBezTo>
                  <a:lnTo>
                    <a:pt x="439678" y="47873"/>
                  </a:lnTo>
                  <a:cubicBezTo>
                    <a:pt x="435899" y="46613"/>
                    <a:pt x="433379" y="44094"/>
                    <a:pt x="430860" y="42834"/>
                  </a:cubicBezTo>
                  <a:cubicBezTo>
                    <a:pt x="425820" y="39054"/>
                    <a:pt x="420781" y="35275"/>
                    <a:pt x="417002" y="30236"/>
                  </a:cubicBezTo>
                  <a:cubicBezTo>
                    <a:pt x="414482" y="27716"/>
                    <a:pt x="413222" y="26456"/>
                    <a:pt x="411962" y="23937"/>
                  </a:cubicBezTo>
                  <a:cubicBezTo>
                    <a:pt x="410702" y="21417"/>
                    <a:pt x="409443" y="17637"/>
                    <a:pt x="408183" y="15118"/>
                  </a:cubicBezTo>
                  <a:cubicBezTo>
                    <a:pt x="408183" y="13858"/>
                    <a:pt x="406923" y="12598"/>
                    <a:pt x="406923" y="11338"/>
                  </a:cubicBezTo>
                  <a:lnTo>
                    <a:pt x="406923" y="10078"/>
                  </a:lnTo>
                  <a:cubicBezTo>
                    <a:pt x="406923" y="8819"/>
                    <a:pt x="405663" y="7559"/>
                    <a:pt x="406923" y="6299"/>
                  </a:cubicBezTo>
                  <a:cubicBezTo>
                    <a:pt x="406923" y="5039"/>
                    <a:pt x="406923" y="3779"/>
                    <a:pt x="406923" y="2520"/>
                  </a:cubicBezTo>
                  <a:lnTo>
                    <a:pt x="406923" y="2520"/>
                  </a:lnTo>
                  <a:lnTo>
                    <a:pt x="406923" y="2520"/>
                  </a:lnTo>
                  <a:cubicBezTo>
                    <a:pt x="406923" y="2520"/>
                    <a:pt x="406923" y="2520"/>
                    <a:pt x="406923" y="2520"/>
                  </a:cubicBezTo>
                  <a:lnTo>
                    <a:pt x="406923" y="2520"/>
                  </a:lnTo>
                  <a:lnTo>
                    <a:pt x="406923" y="2520"/>
                  </a:lnTo>
                  <a:lnTo>
                    <a:pt x="406923" y="2520"/>
                  </a:lnTo>
                  <a:lnTo>
                    <a:pt x="406923" y="2520"/>
                  </a:lnTo>
                  <a:cubicBezTo>
                    <a:pt x="405663" y="2520"/>
                    <a:pt x="404403" y="3779"/>
                    <a:pt x="403143" y="3779"/>
                  </a:cubicBezTo>
                  <a:lnTo>
                    <a:pt x="403143" y="3779"/>
                  </a:lnTo>
                  <a:lnTo>
                    <a:pt x="401884" y="3779"/>
                  </a:lnTo>
                  <a:cubicBezTo>
                    <a:pt x="400624" y="3779"/>
                    <a:pt x="400624" y="3779"/>
                    <a:pt x="399364" y="3779"/>
                  </a:cubicBezTo>
                  <a:cubicBezTo>
                    <a:pt x="395585" y="5039"/>
                    <a:pt x="391805" y="5039"/>
                    <a:pt x="388026" y="6299"/>
                  </a:cubicBezTo>
                  <a:cubicBezTo>
                    <a:pt x="386766" y="6299"/>
                    <a:pt x="385506" y="7559"/>
                    <a:pt x="382986" y="7559"/>
                  </a:cubicBezTo>
                  <a:lnTo>
                    <a:pt x="381726" y="7559"/>
                  </a:lnTo>
                  <a:lnTo>
                    <a:pt x="380467" y="7559"/>
                  </a:lnTo>
                  <a:lnTo>
                    <a:pt x="379207" y="7559"/>
                  </a:lnTo>
                  <a:cubicBezTo>
                    <a:pt x="376687" y="7559"/>
                    <a:pt x="374167" y="7559"/>
                    <a:pt x="371648" y="8819"/>
                  </a:cubicBezTo>
                  <a:cubicBezTo>
                    <a:pt x="370388" y="8819"/>
                    <a:pt x="369128" y="8819"/>
                    <a:pt x="367868" y="8819"/>
                  </a:cubicBezTo>
                  <a:cubicBezTo>
                    <a:pt x="362829" y="8819"/>
                    <a:pt x="359050" y="10078"/>
                    <a:pt x="354010" y="11338"/>
                  </a:cubicBezTo>
                  <a:cubicBezTo>
                    <a:pt x="350231" y="12598"/>
                    <a:pt x="345192" y="13858"/>
                    <a:pt x="340152" y="15118"/>
                  </a:cubicBezTo>
                  <a:cubicBezTo>
                    <a:pt x="338893" y="15118"/>
                    <a:pt x="338893" y="15118"/>
                    <a:pt x="337633" y="15118"/>
                  </a:cubicBezTo>
                  <a:cubicBezTo>
                    <a:pt x="333853" y="15118"/>
                    <a:pt x="330074" y="16378"/>
                    <a:pt x="326294" y="17637"/>
                  </a:cubicBezTo>
                  <a:cubicBezTo>
                    <a:pt x="318735" y="20157"/>
                    <a:pt x="311176" y="22677"/>
                    <a:pt x="302358" y="26456"/>
                  </a:cubicBezTo>
                  <a:cubicBezTo>
                    <a:pt x="298578" y="27716"/>
                    <a:pt x="293539" y="30236"/>
                    <a:pt x="289759" y="32755"/>
                  </a:cubicBezTo>
                  <a:lnTo>
                    <a:pt x="289759" y="32755"/>
                  </a:lnTo>
                  <a:cubicBezTo>
                    <a:pt x="287240" y="34015"/>
                    <a:pt x="284720" y="35275"/>
                    <a:pt x="282201" y="36535"/>
                  </a:cubicBezTo>
                  <a:cubicBezTo>
                    <a:pt x="274642" y="40314"/>
                    <a:pt x="267083" y="44094"/>
                    <a:pt x="262043" y="46613"/>
                  </a:cubicBezTo>
                  <a:cubicBezTo>
                    <a:pt x="257004" y="49133"/>
                    <a:pt x="254484" y="51653"/>
                    <a:pt x="250705" y="54172"/>
                  </a:cubicBezTo>
                  <a:cubicBezTo>
                    <a:pt x="248185" y="56692"/>
                    <a:pt x="244406" y="59212"/>
                    <a:pt x="241886" y="61731"/>
                  </a:cubicBezTo>
                  <a:cubicBezTo>
                    <a:pt x="236847" y="66770"/>
                    <a:pt x="231808" y="71810"/>
                    <a:pt x="225508" y="76849"/>
                  </a:cubicBezTo>
                  <a:cubicBezTo>
                    <a:pt x="224249" y="79369"/>
                    <a:pt x="221729" y="80629"/>
                    <a:pt x="220469" y="83148"/>
                  </a:cubicBezTo>
                  <a:cubicBezTo>
                    <a:pt x="217949" y="85668"/>
                    <a:pt x="215430" y="86928"/>
                    <a:pt x="212910" y="88188"/>
                  </a:cubicBezTo>
                  <a:cubicBezTo>
                    <a:pt x="210391" y="90707"/>
                    <a:pt x="207871" y="93227"/>
                    <a:pt x="204091" y="95746"/>
                  </a:cubicBezTo>
                  <a:cubicBezTo>
                    <a:pt x="201572" y="98266"/>
                    <a:pt x="200312" y="99526"/>
                    <a:pt x="197792" y="103305"/>
                  </a:cubicBezTo>
                  <a:cubicBezTo>
                    <a:pt x="192753" y="108345"/>
                    <a:pt x="187714" y="113384"/>
                    <a:pt x="183934" y="117163"/>
                  </a:cubicBezTo>
                  <a:cubicBezTo>
                    <a:pt x="182674" y="118423"/>
                    <a:pt x="181415" y="120943"/>
                    <a:pt x="178895" y="122203"/>
                  </a:cubicBezTo>
                  <a:lnTo>
                    <a:pt x="177635" y="123463"/>
                  </a:lnTo>
                  <a:lnTo>
                    <a:pt x="176375" y="124722"/>
                  </a:lnTo>
                  <a:cubicBezTo>
                    <a:pt x="173856" y="127242"/>
                    <a:pt x="171336" y="131022"/>
                    <a:pt x="167557" y="133541"/>
                  </a:cubicBezTo>
                  <a:cubicBezTo>
                    <a:pt x="163777" y="137321"/>
                    <a:pt x="158738" y="141100"/>
                    <a:pt x="154958" y="146139"/>
                  </a:cubicBezTo>
                  <a:cubicBezTo>
                    <a:pt x="153699" y="147399"/>
                    <a:pt x="152439" y="148659"/>
                    <a:pt x="151179" y="149919"/>
                  </a:cubicBezTo>
                  <a:cubicBezTo>
                    <a:pt x="147399" y="153698"/>
                    <a:pt x="144880" y="156218"/>
                    <a:pt x="141100" y="159998"/>
                  </a:cubicBezTo>
                  <a:cubicBezTo>
                    <a:pt x="139840" y="162517"/>
                    <a:pt x="137321" y="163777"/>
                    <a:pt x="136061" y="165037"/>
                  </a:cubicBezTo>
                  <a:cubicBezTo>
                    <a:pt x="132281" y="168816"/>
                    <a:pt x="128502" y="173855"/>
                    <a:pt x="124723" y="177635"/>
                  </a:cubicBezTo>
                  <a:lnTo>
                    <a:pt x="120943" y="181414"/>
                  </a:lnTo>
                  <a:cubicBezTo>
                    <a:pt x="119683" y="182674"/>
                    <a:pt x="117164" y="185194"/>
                    <a:pt x="115904" y="186454"/>
                  </a:cubicBezTo>
                  <a:lnTo>
                    <a:pt x="115904" y="186454"/>
                  </a:lnTo>
                  <a:cubicBezTo>
                    <a:pt x="112124" y="190233"/>
                    <a:pt x="108345" y="194013"/>
                    <a:pt x="105825" y="197792"/>
                  </a:cubicBezTo>
                  <a:cubicBezTo>
                    <a:pt x="102046" y="202831"/>
                    <a:pt x="98266" y="207871"/>
                    <a:pt x="94487" y="212910"/>
                  </a:cubicBezTo>
                  <a:lnTo>
                    <a:pt x="93227" y="214170"/>
                  </a:lnTo>
                  <a:cubicBezTo>
                    <a:pt x="91967" y="215430"/>
                    <a:pt x="91967" y="215430"/>
                    <a:pt x="90707" y="216690"/>
                  </a:cubicBezTo>
                  <a:cubicBezTo>
                    <a:pt x="86928" y="221729"/>
                    <a:pt x="81889" y="228028"/>
                    <a:pt x="78109" y="234327"/>
                  </a:cubicBezTo>
                  <a:lnTo>
                    <a:pt x="76849" y="235587"/>
                  </a:lnTo>
                  <a:cubicBezTo>
                    <a:pt x="74330" y="238107"/>
                    <a:pt x="73070" y="240626"/>
                    <a:pt x="70550" y="244406"/>
                  </a:cubicBezTo>
                  <a:cubicBezTo>
                    <a:pt x="69290" y="245666"/>
                    <a:pt x="68030" y="248185"/>
                    <a:pt x="66771" y="249445"/>
                  </a:cubicBezTo>
                  <a:lnTo>
                    <a:pt x="66771" y="249445"/>
                  </a:lnTo>
                  <a:cubicBezTo>
                    <a:pt x="65511" y="250705"/>
                    <a:pt x="64251" y="251965"/>
                    <a:pt x="64251" y="253224"/>
                  </a:cubicBezTo>
                  <a:cubicBezTo>
                    <a:pt x="60472" y="258264"/>
                    <a:pt x="56692" y="264563"/>
                    <a:pt x="51653" y="270862"/>
                  </a:cubicBezTo>
                  <a:cubicBezTo>
                    <a:pt x="45354" y="280940"/>
                    <a:pt x="37795" y="291019"/>
                    <a:pt x="31496" y="301098"/>
                  </a:cubicBezTo>
                  <a:lnTo>
                    <a:pt x="27716" y="307397"/>
                  </a:lnTo>
                  <a:cubicBezTo>
                    <a:pt x="26456" y="308657"/>
                    <a:pt x="26456" y="309916"/>
                    <a:pt x="25196" y="311176"/>
                  </a:cubicBezTo>
                  <a:cubicBezTo>
                    <a:pt x="22677" y="314956"/>
                    <a:pt x="20157" y="319995"/>
                    <a:pt x="17638" y="325034"/>
                  </a:cubicBezTo>
                  <a:lnTo>
                    <a:pt x="16378" y="327554"/>
                  </a:lnTo>
                  <a:lnTo>
                    <a:pt x="16378" y="327554"/>
                  </a:lnTo>
                  <a:cubicBezTo>
                    <a:pt x="15118" y="328814"/>
                    <a:pt x="13858" y="331333"/>
                    <a:pt x="13858" y="332593"/>
                  </a:cubicBezTo>
                  <a:cubicBezTo>
                    <a:pt x="12598" y="335113"/>
                    <a:pt x="11338" y="338892"/>
                    <a:pt x="10079" y="342672"/>
                  </a:cubicBezTo>
                  <a:lnTo>
                    <a:pt x="10079" y="342672"/>
                  </a:lnTo>
                  <a:cubicBezTo>
                    <a:pt x="8819" y="346451"/>
                    <a:pt x="7559" y="348971"/>
                    <a:pt x="6299" y="351491"/>
                  </a:cubicBezTo>
                  <a:cubicBezTo>
                    <a:pt x="5039" y="355270"/>
                    <a:pt x="3780" y="357790"/>
                    <a:pt x="3780" y="360309"/>
                  </a:cubicBezTo>
                  <a:cubicBezTo>
                    <a:pt x="2520" y="367868"/>
                    <a:pt x="1260" y="374167"/>
                    <a:pt x="0" y="381726"/>
                  </a:cubicBezTo>
                  <a:cubicBezTo>
                    <a:pt x="0" y="389285"/>
                    <a:pt x="1260" y="395584"/>
                    <a:pt x="1260" y="401884"/>
                  </a:cubicBezTo>
                  <a:cubicBezTo>
                    <a:pt x="1260" y="405663"/>
                    <a:pt x="2520" y="409443"/>
                    <a:pt x="3780" y="413222"/>
                  </a:cubicBezTo>
                  <a:cubicBezTo>
                    <a:pt x="5039" y="417001"/>
                    <a:pt x="6299" y="419521"/>
                    <a:pt x="8819" y="423301"/>
                  </a:cubicBezTo>
                  <a:cubicBezTo>
                    <a:pt x="8819" y="424560"/>
                    <a:pt x="10079" y="424560"/>
                    <a:pt x="11338" y="425820"/>
                  </a:cubicBezTo>
                  <a:lnTo>
                    <a:pt x="11338" y="425820"/>
                  </a:lnTo>
                  <a:cubicBezTo>
                    <a:pt x="11338" y="425820"/>
                    <a:pt x="11338" y="425820"/>
                    <a:pt x="11338" y="425820"/>
                  </a:cubicBezTo>
                  <a:cubicBezTo>
                    <a:pt x="11338" y="425820"/>
                    <a:pt x="11338" y="425820"/>
                    <a:pt x="11338" y="425820"/>
                  </a:cubicBezTo>
                  <a:lnTo>
                    <a:pt x="11338" y="425820"/>
                  </a:lnTo>
                  <a:lnTo>
                    <a:pt x="11338" y="425820"/>
                  </a:lnTo>
                  <a:cubicBezTo>
                    <a:pt x="11338" y="425820"/>
                    <a:pt x="11338" y="425820"/>
                    <a:pt x="11338" y="425820"/>
                  </a:cubicBezTo>
                  <a:cubicBezTo>
                    <a:pt x="10079" y="418261"/>
                    <a:pt x="10079" y="411962"/>
                    <a:pt x="10079" y="406923"/>
                  </a:cubicBezTo>
                  <a:cubicBezTo>
                    <a:pt x="10079" y="401884"/>
                    <a:pt x="10079" y="394325"/>
                    <a:pt x="11338" y="388025"/>
                  </a:cubicBezTo>
                  <a:cubicBezTo>
                    <a:pt x="11338" y="385506"/>
                    <a:pt x="12598" y="382986"/>
                    <a:pt x="13858" y="380467"/>
                  </a:cubicBezTo>
                  <a:lnTo>
                    <a:pt x="13858" y="380467"/>
                  </a:lnTo>
                  <a:cubicBezTo>
                    <a:pt x="15118" y="376687"/>
                    <a:pt x="16378" y="374167"/>
                    <a:pt x="17638" y="370388"/>
                  </a:cubicBezTo>
                  <a:cubicBezTo>
                    <a:pt x="18897" y="366608"/>
                    <a:pt x="21417" y="362829"/>
                    <a:pt x="23937" y="359050"/>
                  </a:cubicBezTo>
                  <a:cubicBezTo>
                    <a:pt x="25196" y="357790"/>
                    <a:pt x="26456" y="356530"/>
                    <a:pt x="27716" y="355270"/>
                  </a:cubicBezTo>
                  <a:cubicBezTo>
                    <a:pt x="28976" y="355270"/>
                    <a:pt x="28976" y="354010"/>
                    <a:pt x="30236" y="354010"/>
                  </a:cubicBezTo>
                  <a:cubicBezTo>
                    <a:pt x="30236" y="354010"/>
                    <a:pt x="31496" y="354010"/>
                    <a:pt x="31496" y="352751"/>
                  </a:cubicBezTo>
                  <a:cubicBezTo>
                    <a:pt x="32755" y="352751"/>
                    <a:pt x="34015" y="351491"/>
                    <a:pt x="35275" y="351491"/>
                  </a:cubicBezTo>
                  <a:lnTo>
                    <a:pt x="36535" y="350231"/>
                  </a:lnTo>
                  <a:cubicBezTo>
                    <a:pt x="39055" y="348971"/>
                    <a:pt x="42834" y="347711"/>
                    <a:pt x="45354" y="346451"/>
                  </a:cubicBezTo>
                  <a:cubicBezTo>
                    <a:pt x="47873" y="345192"/>
                    <a:pt x="49133" y="345192"/>
                    <a:pt x="51653" y="345192"/>
                  </a:cubicBezTo>
                  <a:cubicBezTo>
                    <a:pt x="51653" y="345192"/>
                    <a:pt x="51653" y="345192"/>
                    <a:pt x="52913" y="345192"/>
                  </a:cubicBezTo>
                  <a:cubicBezTo>
                    <a:pt x="56692" y="345192"/>
                    <a:pt x="61731" y="345192"/>
                    <a:pt x="65511" y="345192"/>
                  </a:cubicBezTo>
                  <a:cubicBezTo>
                    <a:pt x="70550" y="345192"/>
                    <a:pt x="75589" y="346451"/>
                    <a:pt x="79369" y="346451"/>
                  </a:cubicBezTo>
                  <a:cubicBezTo>
                    <a:pt x="86928" y="347711"/>
                    <a:pt x="94487" y="350231"/>
                    <a:pt x="102046" y="352751"/>
                  </a:cubicBezTo>
                  <a:cubicBezTo>
                    <a:pt x="107085" y="355270"/>
                    <a:pt x="112124" y="356530"/>
                    <a:pt x="115904" y="359050"/>
                  </a:cubicBezTo>
                  <a:cubicBezTo>
                    <a:pt x="117164" y="360309"/>
                    <a:pt x="118423" y="360309"/>
                    <a:pt x="119683" y="361569"/>
                  </a:cubicBezTo>
                  <a:cubicBezTo>
                    <a:pt x="119683" y="361569"/>
                    <a:pt x="119683" y="361569"/>
                    <a:pt x="119683" y="361569"/>
                  </a:cubicBezTo>
                  <a:cubicBezTo>
                    <a:pt x="122203" y="362829"/>
                    <a:pt x="123463" y="364089"/>
                    <a:pt x="125982" y="365349"/>
                  </a:cubicBezTo>
                  <a:cubicBezTo>
                    <a:pt x="127242" y="365349"/>
                    <a:pt x="128502" y="366608"/>
                    <a:pt x="129762" y="366608"/>
                  </a:cubicBezTo>
                  <a:cubicBezTo>
                    <a:pt x="129762" y="366608"/>
                    <a:pt x="129762" y="366608"/>
                    <a:pt x="129762" y="366608"/>
                  </a:cubicBezTo>
                  <a:cubicBezTo>
                    <a:pt x="129762" y="366608"/>
                    <a:pt x="129762" y="366608"/>
                    <a:pt x="129762" y="366608"/>
                  </a:cubicBezTo>
                  <a:cubicBezTo>
                    <a:pt x="132281" y="367868"/>
                    <a:pt x="134801" y="369128"/>
                    <a:pt x="138581" y="371648"/>
                  </a:cubicBezTo>
                  <a:cubicBezTo>
                    <a:pt x="139840" y="372908"/>
                    <a:pt x="142360" y="374167"/>
                    <a:pt x="143620" y="375427"/>
                  </a:cubicBezTo>
                  <a:cubicBezTo>
                    <a:pt x="144880" y="376687"/>
                    <a:pt x="147399" y="377947"/>
                    <a:pt x="148659" y="379207"/>
                  </a:cubicBezTo>
                  <a:cubicBezTo>
                    <a:pt x="153699" y="382986"/>
                    <a:pt x="157478" y="385506"/>
                    <a:pt x="161257" y="388025"/>
                  </a:cubicBezTo>
                  <a:lnTo>
                    <a:pt x="161257" y="388025"/>
                  </a:lnTo>
                  <a:lnTo>
                    <a:pt x="161257" y="388025"/>
                  </a:lnTo>
                  <a:lnTo>
                    <a:pt x="161257" y="388025"/>
                  </a:lnTo>
                  <a:lnTo>
                    <a:pt x="161257" y="388025"/>
                  </a:lnTo>
                  <a:lnTo>
                    <a:pt x="161257" y="388025"/>
                  </a:lnTo>
                  <a:lnTo>
                    <a:pt x="161257" y="388025"/>
                  </a:lnTo>
                  <a:lnTo>
                    <a:pt x="161257" y="388025"/>
                  </a:lnTo>
                  <a:lnTo>
                    <a:pt x="161257" y="388025"/>
                  </a:lnTo>
                  <a:lnTo>
                    <a:pt x="161257" y="388025"/>
                  </a:lnTo>
                  <a:lnTo>
                    <a:pt x="161257" y="388025"/>
                  </a:lnTo>
                  <a:lnTo>
                    <a:pt x="162517" y="388025"/>
                  </a:lnTo>
                  <a:cubicBezTo>
                    <a:pt x="163777" y="389285"/>
                    <a:pt x="165037" y="389285"/>
                    <a:pt x="166297" y="390545"/>
                  </a:cubicBezTo>
                  <a:cubicBezTo>
                    <a:pt x="165037" y="389285"/>
                    <a:pt x="163777" y="389285"/>
                    <a:pt x="162517" y="388025"/>
                  </a:cubicBezTo>
                  <a:cubicBezTo>
                    <a:pt x="163777" y="389285"/>
                    <a:pt x="165037" y="389285"/>
                    <a:pt x="166297" y="390545"/>
                  </a:cubicBezTo>
                  <a:lnTo>
                    <a:pt x="166297" y="390545"/>
                  </a:lnTo>
                  <a:lnTo>
                    <a:pt x="166297" y="390545"/>
                  </a:lnTo>
                  <a:lnTo>
                    <a:pt x="166297" y="390545"/>
                  </a:lnTo>
                  <a:lnTo>
                    <a:pt x="166297" y="390545"/>
                  </a:lnTo>
                  <a:lnTo>
                    <a:pt x="166297" y="390545"/>
                  </a:lnTo>
                  <a:lnTo>
                    <a:pt x="166297" y="390545"/>
                  </a:lnTo>
                  <a:lnTo>
                    <a:pt x="166297" y="390545"/>
                  </a:lnTo>
                  <a:lnTo>
                    <a:pt x="166297" y="390545"/>
                  </a:lnTo>
                  <a:lnTo>
                    <a:pt x="166297" y="390545"/>
                  </a:lnTo>
                  <a:lnTo>
                    <a:pt x="167557" y="388025"/>
                  </a:lnTo>
                  <a:lnTo>
                    <a:pt x="168816" y="386766"/>
                  </a:lnTo>
                  <a:cubicBezTo>
                    <a:pt x="170076" y="384246"/>
                    <a:pt x="171336" y="382986"/>
                    <a:pt x="173856" y="380467"/>
                  </a:cubicBezTo>
                  <a:cubicBezTo>
                    <a:pt x="178895" y="374167"/>
                    <a:pt x="182674" y="369128"/>
                    <a:pt x="186454" y="362829"/>
                  </a:cubicBezTo>
                  <a:cubicBezTo>
                    <a:pt x="190233" y="357790"/>
                    <a:pt x="194013" y="352751"/>
                    <a:pt x="196533" y="347711"/>
                  </a:cubicBezTo>
                  <a:lnTo>
                    <a:pt x="196533" y="346451"/>
                  </a:lnTo>
                  <a:cubicBezTo>
                    <a:pt x="201572" y="340152"/>
                    <a:pt x="206611" y="332593"/>
                    <a:pt x="210391" y="326294"/>
                  </a:cubicBezTo>
                  <a:cubicBezTo>
                    <a:pt x="212910" y="322515"/>
                    <a:pt x="216690" y="317475"/>
                    <a:pt x="219209" y="313696"/>
                  </a:cubicBezTo>
                  <a:lnTo>
                    <a:pt x="219209" y="313696"/>
                  </a:lnTo>
                  <a:lnTo>
                    <a:pt x="220469" y="312436"/>
                  </a:lnTo>
                  <a:cubicBezTo>
                    <a:pt x="221729" y="311176"/>
                    <a:pt x="222989" y="309916"/>
                    <a:pt x="222989" y="308657"/>
                  </a:cubicBezTo>
                  <a:lnTo>
                    <a:pt x="222989" y="307397"/>
                  </a:lnTo>
                  <a:cubicBezTo>
                    <a:pt x="224249" y="304877"/>
                    <a:pt x="226768" y="302358"/>
                    <a:pt x="228028" y="299838"/>
                  </a:cubicBezTo>
                  <a:cubicBezTo>
                    <a:pt x="230548" y="297318"/>
                    <a:pt x="233067" y="293539"/>
                    <a:pt x="235587" y="291019"/>
                  </a:cubicBezTo>
                  <a:cubicBezTo>
                    <a:pt x="236847" y="288499"/>
                    <a:pt x="239366" y="287240"/>
                    <a:pt x="240626" y="284720"/>
                  </a:cubicBezTo>
                  <a:cubicBezTo>
                    <a:pt x="243146" y="280940"/>
                    <a:pt x="245666" y="278421"/>
                    <a:pt x="248185" y="275901"/>
                  </a:cubicBezTo>
                  <a:cubicBezTo>
                    <a:pt x="250705" y="273382"/>
                    <a:pt x="253225" y="269602"/>
                    <a:pt x="255744" y="265823"/>
                  </a:cubicBezTo>
                  <a:cubicBezTo>
                    <a:pt x="255744" y="265823"/>
                    <a:pt x="257004" y="264563"/>
                    <a:pt x="257004" y="264563"/>
                  </a:cubicBezTo>
                  <a:cubicBezTo>
                    <a:pt x="257004" y="264563"/>
                    <a:pt x="257004" y="264563"/>
                    <a:pt x="257004" y="264563"/>
                  </a:cubicBezTo>
                  <a:cubicBezTo>
                    <a:pt x="257004" y="264563"/>
                    <a:pt x="257004" y="264563"/>
                    <a:pt x="257004" y="264563"/>
                  </a:cubicBezTo>
                  <a:cubicBezTo>
                    <a:pt x="257004" y="264563"/>
                    <a:pt x="257004" y="264563"/>
                    <a:pt x="257004" y="264563"/>
                  </a:cubicBezTo>
                  <a:cubicBezTo>
                    <a:pt x="257004" y="264563"/>
                    <a:pt x="257004" y="264563"/>
                    <a:pt x="257004" y="264563"/>
                  </a:cubicBezTo>
                  <a:cubicBezTo>
                    <a:pt x="257004" y="263303"/>
                    <a:pt x="258264" y="263303"/>
                    <a:pt x="258264" y="262043"/>
                  </a:cubicBezTo>
                  <a:cubicBezTo>
                    <a:pt x="259524" y="260783"/>
                    <a:pt x="259524" y="259523"/>
                    <a:pt x="260783" y="259523"/>
                  </a:cubicBezTo>
                  <a:cubicBezTo>
                    <a:pt x="260783" y="259523"/>
                    <a:pt x="260783" y="259523"/>
                    <a:pt x="260783" y="259523"/>
                  </a:cubicBezTo>
                  <a:cubicBezTo>
                    <a:pt x="260783" y="259523"/>
                    <a:pt x="262043" y="258264"/>
                    <a:pt x="262043" y="258264"/>
                  </a:cubicBezTo>
                  <a:cubicBezTo>
                    <a:pt x="262043" y="258264"/>
                    <a:pt x="262043" y="258264"/>
                    <a:pt x="262043" y="258264"/>
                  </a:cubicBezTo>
                  <a:cubicBezTo>
                    <a:pt x="263303" y="257004"/>
                    <a:pt x="263303" y="257004"/>
                    <a:pt x="264563" y="255744"/>
                  </a:cubicBezTo>
                  <a:lnTo>
                    <a:pt x="264563" y="255744"/>
                  </a:lnTo>
                  <a:lnTo>
                    <a:pt x="264563" y="255744"/>
                  </a:lnTo>
                  <a:lnTo>
                    <a:pt x="264563" y="254484"/>
                  </a:lnTo>
                  <a:lnTo>
                    <a:pt x="265823" y="253224"/>
                  </a:lnTo>
                  <a:cubicBezTo>
                    <a:pt x="265823" y="253224"/>
                    <a:pt x="267083" y="251965"/>
                    <a:pt x="267083" y="251965"/>
                  </a:cubicBezTo>
                  <a:cubicBezTo>
                    <a:pt x="267083" y="250705"/>
                    <a:pt x="268342" y="250705"/>
                    <a:pt x="268342" y="250705"/>
                  </a:cubicBezTo>
                  <a:cubicBezTo>
                    <a:pt x="268342" y="250705"/>
                    <a:pt x="269602" y="249445"/>
                    <a:pt x="269602" y="249445"/>
                  </a:cubicBezTo>
                  <a:cubicBezTo>
                    <a:pt x="269602" y="248185"/>
                    <a:pt x="270862" y="248185"/>
                    <a:pt x="270862" y="246925"/>
                  </a:cubicBezTo>
                  <a:lnTo>
                    <a:pt x="270862" y="245666"/>
                  </a:lnTo>
                  <a:lnTo>
                    <a:pt x="272122" y="244406"/>
                  </a:lnTo>
                  <a:lnTo>
                    <a:pt x="273382" y="243146"/>
                  </a:lnTo>
                  <a:cubicBezTo>
                    <a:pt x="274642" y="241886"/>
                    <a:pt x="275901" y="240626"/>
                    <a:pt x="275901" y="239366"/>
                  </a:cubicBezTo>
                  <a:cubicBezTo>
                    <a:pt x="275901" y="239366"/>
                    <a:pt x="277161" y="238107"/>
                    <a:pt x="277161" y="238107"/>
                  </a:cubicBezTo>
                  <a:lnTo>
                    <a:pt x="278421" y="236847"/>
                  </a:lnTo>
                  <a:lnTo>
                    <a:pt x="278421" y="236847"/>
                  </a:lnTo>
                  <a:cubicBezTo>
                    <a:pt x="278421" y="236847"/>
                    <a:pt x="278421" y="236847"/>
                    <a:pt x="279681" y="235587"/>
                  </a:cubicBezTo>
                  <a:cubicBezTo>
                    <a:pt x="280941" y="235587"/>
                    <a:pt x="280941" y="234327"/>
                    <a:pt x="282201" y="234327"/>
                  </a:cubicBezTo>
                  <a:cubicBezTo>
                    <a:pt x="283460" y="233067"/>
                    <a:pt x="283460" y="233067"/>
                    <a:pt x="284720" y="231807"/>
                  </a:cubicBezTo>
                  <a:cubicBezTo>
                    <a:pt x="284720" y="231807"/>
                    <a:pt x="284720" y="231807"/>
                    <a:pt x="284720" y="231807"/>
                  </a:cubicBezTo>
                  <a:lnTo>
                    <a:pt x="285980" y="230548"/>
                  </a:lnTo>
                  <a:cubicBezTo>
                    <a:pt x="287240" y="229288"/>
                    <a:pt x="287240" y="229288"/>
                    <a:pt x="288500" y="228028"/>
                  </a:cubicBezTo>
                  <a:cubicBezTo>
                    <a:pt x="289759" y="226768"/>
                    <a:pt x="289759" y="226768"/>
                    <a:pt x="291019" y="225508"/>
                  </a:cubicBezTo>
                  <a:lnTo>
                    <a:pt x="291019" y="225508"/>
                  </a:lnTo>
                  <a:lnTo>
                    <a:pt x="291019" y="225508"/>
                  </a:lnTo>
                  <a:lnTo>
                    <a:pt x="291019" y="225508"/>
                  </a:lnTo>
                  <a:lnTo>
                    <a:pt x="291019" y="225508"/>
                  </a:lnTo>
                  <a:lnTo>
                    <a:pt x="291019" y="225508"/>
                  </a:lnTo>
                  <a:cubicBezTo>
                    <a:pt x="291019" y="225508"/>
                    <a:pt x="292279" y="224248"/>
                    <a:pt x="292279" y="224248"/>
                  </a:cubicBezTo>
                  <a:cubicBezTo>
                    <a:pt x="292279" y="224248"/>
                    <a:pt x="293539" y="222989"/>
                    <a:pt x="293539" y="222989"/>
                  </a:cubicBezTo>
                  <a:cubicBezTo>
                    <a:pt x="293539" y="222989"/>
                    <a:pt x="293539" y="222989"/>
                    <a:pt x="293539" y="222989"/>
                  </a:cubicBezTo>
                  <a:cubicBezTo>
                    <a:pt x="294799" y="221729"/>
                    <a:pt x="296058" y="221729"/>
                    <a:pt x="296058" y="220469"/>
                  </a:cubicBezTo>
                  <a:lnTo>
                    <a:pt x="296058" y="220469"/>
                  </a:lnTo>
                  <a:cubicBezTo>
                    <a:pt x="297318" y="220469"/>
                    <a:pt x="297318" y="219209"/>
                    <a:pt x="298578" y="219209"/>
                  </a:cubicBezTo>
                  <a:lnTo>
                    <a:pt x="298578" y="219209"/>
                  </a:lnTo>
                  <a:cubicBezTo>
                    <a:pt x="298578" y="219209"/>
                    <a:pt x="298578" y="219209"/>
                    <a:pt x="298578" y="219209"/>
                  </a:cubicBezTo>
                  <a:cubicBezTo>
                    <a:pt x="298578" y="219209"/>
                    <a:pt x="298578" y="217949"/>
                    <a:pt x="299838" y="217949"/>
                  </a:cubicBezTo>
                  <a:cubicBezTo>
                    <a:pt x="299838" y="217949"/>
                    <a:pt x="299838" y="217949"/>
                    <a:pt x="299838" y="217949"/>
                  </a:cubicBezTo>
                  <a:cubicBezTo>
                    <a:pt x="299838" y="217949"/>
                    <a:pt x="299838" y="217949"/>
                    <a:pt x="299838" y="217949"/>
                  </a:cubicBezTo>
                  <a:lnTo>
                    <a:pt x="299838" y="217949"/>
                  </a:lnTo>
                  <a:cubicBezTo>
                    <a:pt x="299838" y="217949"/>
                    <a:pt x="299838" y="217949"/>
                    <a:pt x="299838" y="217949"/>
                  </a:cubicBezTo>
                  <a:cubicBezTo>
                    <a:pt x="299838" y="217949"/>
                    <a:pt x="301098" y="217949"/>
                    <a:pt x="301098" y="217949"/>
                  </a:cubicBezTo>
                  <a:lnTo>
                    <a:pt x="301098" y="217949"/>
                  </a:lnTo>
                  <a:lnTo>
                    <a:pt x="301098" y="217949"/>
                  </a:lnTo>
                  <a:lnTo>
                    <a:pt x="301098" y="217949"/>
                  </a:lnTo>
                  <a:cubicBezTo>
                    <a:pt x="301098" y="217949"/>
                    <a:pt x="301098" y="217949"/>
                    <a:pt x="301098" y="217949"/>
                  </a:cubicBezTo>
                  <a:cubicBezTo>
                    <a:pt x="301098" y="217949"/>
                    <a:pt x="301098" y="219209"/>
                    <a:pt x="301098" y="219209"/>
                  </a:cubicBezTo>
                  <a:lnTo>
                    <a:pt x="301098" y="219209"/>
                  </a:lnTo>
                  <a:cubicBezTo>
                    <a:pt x="301098" y="219209"/>
                    <a:pt x="301098" y="219209"/>
                    <a:pt x="301098" y="219209"/>
                  </a:cubicBezTo>
                  <a:cubicBezTo>
                    <a:pt x="301098" y="219209"/>
                    <a:pt x="301098" y="220469"/>
                    <a:pt x="301098" y="220469"/>
                  </a:cubicBezTo>
                  <a:lnTo>
                    <a:pt x="301098" y="220469"/>
                  </a:lnTo>
                  <a:cubicBezTo>
                    <a:pt x="301098" y="221729"/>
                    <a:pt x="301098" y="221729"/>
                    <a:pt x="301098" y="222989"/>
                  </a:cubicBezTo>
                  <a:cubicBezTo>
                    <a:pt x="301098" y="224248"/>
                    <a:pt x="301098" y="225508"/>
                    <a:pt x="301098" y="225508"/>
                  </a:cubicBezTo>
                  <a:lnTo>
                    <a:pt x="301098" y="226768"/>
                  </a:lnTo>
                  <a:lnTo>
                    <a:pt x="301098" y="228028"/>
                  </a:lnTo>
                  <a:cubicBezTo>
                    <a:pt x="301098" y="229288"/>
                    <a:pt x="301098" y="230548"/>
                    <a:pt x="301098" y="231807"/>
                  </a:cubicBezTo>
                  <a:lnTo>
                    <a:pt x="301098" y="234327"/>
                  </a:lnTo>
                  <a:lnTo>
                    <a:pt x="301098" y="235587"/>
                  </a:lnTo>
                  <a:cubicBezTo>
                    <a:pt x="301098" y="236847"/>
                    <a:pt x="301098" y="238107"/>
                    <a:pt x="299838" y="239366"/>
                  </a:cubicBezTo>
                  <a:lnTo>
                    <a:pt x="299838" y="240626"/>
                  </a:lnTo>
                  <a:cubicBezTo>
                    <a:pt x="299838" y="241886"/>
                    <a:pt x="299838" y="241886"/>
                    <a:pt x="299838" y="243146"/>
                  </a:cubicBezTo>
                  <a:cubicBezTo>
                    <a:pt x="299838" y="243146"/>
                    <a:pt x="299838" y="243146"/>
                    <a:pt x="299838" y="243146"/>
                  </a:cubicBezTo>
                  <a:lnTo>
                    <a:pt x="299838" y="243146"/>
                  </a:lnTo>
                  <a:lnTo>
                    <a:pt x="299838" y="244406"/>
                  </a:lnTo>
                  <a:lnTo>
                    <a:pt x="299838" y="244406"/>
                  </a:lnTo>
                  <a:lnTo>
                    <a:pt x="299838" y="245666"/>
                  </a:lnTo>
                  <a:lnTo>
                    <a:pt x="299838" y="246925"/>
                  </a:lnTo>
                  <a:cubicBezTo>
                    <a:pt x="299838" y="246925"/>
                    <a:pt x="299838" y="248185"/>
                    <a:pt x="299838" y="248185"/>
                  </a:cubicBezTo>
                  <a:cubicBezTo>
                    <a:pt x="299838" y="249445"/>
                    <a:pt x="299838" y="250705"/>
                    <a:pt x="298578" y="250705"/>
                  </a:cubicBezTo>
                  <a:lnTo>
                    <a:pt x="298578" y="251965"/>
                  </a:lnTo>
                  <a:cubicBezTo>
                    <a:pt x="298578" y="251965"/>
                    <a:pt x="298578" y="251965"/>
                    <a:pt x="298578" y="251965"/>
                  </a:cubicBezTo>
                  <a:cubicBezTo>
                    <a:pt x="298578" y="253224"/>
                    <a:pt x="298578" y="254484"/>
                    <a:pt x="297318" y="254484"/>
                  </a:cubicBezTo>
                  <a:lnTo>
                    <a:pt x="297318" y="257004"/>
                  </a:lnTo>
                  <a:cubicBezTo>
                    <a:pt x="296058" y="260783"/>
                    <a:pt x="294799" y="264563"/>
                    <a:pt x="294799" y="268342"/>
                  </a:cubicBezTo>
                  <a:cubicBezTo>
                    <a:pt x="294799" y="269602"/>
                    <a:pt x="293539" y="270862"/>
                    <a:pt x="293539" y="272122"/>
                  </a:cubicBezTo>
                  <a:lnTo>
                    <a:pt x="293539" y="273382"/>
                  </a:lnTo>
                  <a:cubicBezTo>
                    <a:pt x="293539" y="274641"/>
                    <a:pt x="292279" y="275901"/>
                    <a:pt x="292279" y="277161"/>
                  </a:cubicBezTo>
                  <a:cubicBezTo>
                    <a:pt x="292279" y="278421"/>
                    <a:pt x="292279" y="278421"/>
                    <a:pt x="292279" y="279681"/>
                  </a:cubicBezTo>
                  <a:cubicBezTo>
                    <a:pt x="292279" y="280940"/>
                    <a:pt x="292279" y="280940"/>
                    <a:pt x="292279" y="282200"/>
                  </a:cubicBezTo>
                  <a:cubicBezTo>
                    <a:pt x="292279" y="283460"/>
                    <a:pt x="292279" y="283460"/>
                    <a:pt x="291019" y="284720"/>
                  </a:cubicBezTo>
                  <a:lnTo>
                    <a:pt x="291019" y="285980"/>
                  </a:lnTo>
                  <a:lnTo>
                    <a:pt x="291019" y="287240"/>
                  </a:lnTo>
                  <a:lnTo>
                    <a:pt x="289759" y="291019"/>
                  </a:lnTo>
                  <a:cubicBezTo>
                    <a:pt x="289759" y="291019"/>
                    <a:pt x="289759" y="291019"/>
                    <a:pt x="289759" y="291019"/>
                  </a:cubicBezTo>
                  <a:cubicBezTo>
                    <a:pt x="289759" y="291019"/>
                    <a:pt x="289759" y="292279"/>
                    <a:pt x="289759" y="292279"/>
                  </a:cubicBezTo>
                  <a:cubicBezTo>
                    <a:pt x="289759" y="292279"/>
                    <a:pt x="289759" y="293539"/>
                    <a:pt x="289759" y="293539"/>
                  </a:cubicBezTo>
                  <a:cubicBezTo>
                    <a:pt x="289759" y="294799"/>
                    <a:pt x="289759" y="296058"/>
                    <a:pt x="289759" y="297318"/>
                  </a:cubicBezTo>
                  <a:cubicBezTo>
                    <a:pt x="289759" y="299838"/>
                    <a:pt x="289759" y="301098"/>
                    <a:pt x="288500" y="303617"/>
                  </a:cubicBezTo>
                  <a:lnTo>
                    <a:pt x="288500" y="304877"/>
                  </a:lnTo>
                  <a:cubicBezTo>
                    <a:pt x="287240" y="309916"/>
                    <a:pt x="285980" y="314956"/>
                    <a:pt x="285980" y="319995"/>
                  </a:cubicBezTo>
                  <a:cubicBezTo>
                    <a:pt x="285980" y="322515"/>
                    <a:pt x="284720" y="326294"/>
                    <a:pt x="284720" y="330074"/>
                  </a:cubicBezTo>
                  <a:cubicBezTo>
                    <a:pt x="284720" y="331333"/>
                    <a:pt x="284720" y="333853"/>
                    <a:pt x="283460" y="335113"/>
                  </a:cubicBezTo>
                  <a:cubicBezTo>
                    <a:pt x="283460" y="335113"/>
                    <a:pt x="283460" y="335113"/>
                    <a:pt x="283460" y="335113"/>
                  </a:cubicBezTo>
                  <a:lnTo>
                    <a:pt x="283460" y="335113"/>
                  </a:lnTo>
                  <a:lnTo>
                    <a:pt x="283460" y="336373"/>
                  </a:lnTo>
                  <a:lnTo>
                    <a:pt x="283460" y="337633"/>
                  </a:lnTo>
                  <a:lnTo>
                    <a:pt x="283460" y="337633"/>
                  </a:lnTo>
                  <a:cubicBezTo>
                    <a:pt x="283460" y="337633"/>
                    <a:pt x="283460" y="337633"/>
                    <a:pt x="283460" y="337633"/>
                  </a:cubicBezTo>
                  <a:cubicBezTo>
                    <a:pt x="283460" y="338892"/>
                    <a:pt x="283460" y="338892"/>
                    <a:pt x="283460" y="340152"/>
                  </a:cubicBezTo>
                  <a:cubicBezTo>
                    <a:pt x="283460" y="341412"/>
                    <a:pt x="283460" y="343932"/>
                    <a:pt x="282201" y="345192"/>
                  </a:cubicBezTo>
                  <a:lnTo>
                    <a:pt x="282201" y="346451"/>
                  </a:lnTo>
                  <a:cubicBezTo>
                    <a:pt x="282201" y="347711"/>
                    <a:pt x="282201" y="350231"/>
                    <a:pt x="280941" y="351491"/>
                  </a:cubicBezTo>
                  <a:cubicBezTo>
                    <a:pt x="280941" y="355270"/>
                    <a:pt x="279681" y="357790"/>
                    <a:pt x="279681" y="361569"/>
                  </a:cubicBezTo>
                  <a:cubicBezTo>
                    <a:pt x="279681" y="364089"/>
                    <a:pt x="278421" y="367868"/>
                    <a:pt x="278421" y="372908"/>
                  </a:cubicBezTo>
                  <a:lnTo>
                    <a:pt x="277161" y="376687"/>
                  </a:lnTo>
                  <a:lnTo>
                    <a:pt x="277161" y="376687"/>
                  </a:lnTo>
                  <a:lnTo>
                    <a:pt x="277161" y="376687"/>
                  </a:lnTo>
                  <a:lnTo>
                    <a:pt x="277161" y="376687"/>
                  </a:lnTo>
                  <a:cubicBezTo>
                    <a:pt x="277161" y="377947"/>
                    <a:pt x="277161" y="377947"/>
                    <a:pt x="277161" y="379207"/>
                  </a:cubicBezTo>
                  <a:cubicBezTo>
                    <a:pt x="277161" y="380467"/>
                    <a:pt x="277161" y="380467"/>
                    <a:pt x="277161" y="381726"/>
                  </a:cubicBezTo>
                  <a:cubicBezTo>
                    <a:pt x="277161" y="381726"/>
                    <a:pt x="277161" y="382986"/>
                    <a:pt x="277161" y="382986"/>
                  </a:cubicBezTo>
                  <a:cubicBezTo>
                    <a:pt x="277161" y="385506"/>
                    <a:pt x="275901" y="389285"/>
                    <a:pt x="275901" y="391805"/>
                  </a:cubicBezTo>
                  <a:lnTo>
                    <a:pt x="275901" y="391805"/>
                  </a:lnTo>
                  <a:lnTo>
                    <a:pt x="275901" y="391805"/>
                  </a:lnTo>
                  <a:cubicBezTo>
                    <a:pt x="275901" y="393065"/>
                    <a:pt x="274642" y="394325"/>
                    <a:pt x="274642" y="395584"/>
                  </a:cubicBezTo>
                  <a:cubicBezTo>
                    <a:pt x="274642" y="395584"/>
                    <a:pt x="274642" y="396844"/>
                    <a:pt x="274642" y="396844"/>
                  </a:cubicBezTo>
                  <a:lnTo>
                    <a:pt x="274642" y="396844"/>
                  </a:lnTo>
                  <a:cubicBezTo>
                    <a:pt x="274642" y="398104"/>
                    <a:pt x="273382" y="399364"/>
                    <a:pt x="273382" y="401884"/>
                  </a:cubicBezTo>
                  <a:cubicBezTo>
                    <a:pt x="273382" y="401884"/>
                    <a:pt x="273382" y="401884"/>
                    <a:pt x="273382" y="401884"/>
                  </a:cubicBezTo>
                  <a:cubicBezTo>
                    <a:pt x="273382" y="401884"/>
                    <a:pt x="272122" y="403143"/>
                    <a:pt x="272122" y="403143"/>
                  </a:cubicBezTo>
                  <a:cubicBezTo>
                    <a:pt x="272122" y="403143"/>
                    <a:pt x="270862" y="403143"/>
                    <a:pt x="270862" y="403143"/>
                  </a:cubicBezTo>
                  <a:cubicBezTo>
                    <a:pt x="270862" y="403143"/>
                    <a:pt x="269602" y="403143"/>
                    <a:pt x="269602" y="403143"/>
                  </a:cubicBezTo>
                  <a:cubicBezTo>
                    <a:pt x="269602" y="403143"/>
                    <a:pt x="269602" y="403143"/>
                    <a:pt x="268342" y="403143"/>
                  </a:cubicBezTo>
                  <a:cubicBezTo>
                    <a:pt x="268342" y="403143"/>
                    <a:pt x="268342" y="403143"/>
                    <a:pt x="268342" y="403143"/>
                  </a:cubicBezTo>
                  <a:cubicBezTo>
                    <a:pt x="268342" y="403143"/>
                    <a:pt x="268342" y="403143"/>
                    <a:pt x="267083" y="401884"/>
                  </a:cubicBezTo>
                  <a:lnTo>
                    <a:pt x="267083" y="401884"/>
                  </a:lnTo>
                  <a:cubicBezTo>
                    <a:pt x="267083" y="404403"/>
                    <a:pt x="267083" y="408183"/>
                    <a:pt x="267083" y="410702"/>
                  </a:cubicBezTo>
                  <a:cubicBezTo>
                    <a:pt x="267083" y="411962"/>
                    <a:pt x="267083" y="414482"/>
                    <a:pt x="267083" y="415742"/>
                  </a:cubicBezTo>
                  <a:lnTo>
                    <a:pt x="267083" y="417001"/>
                  </a:lnTo>
                  <a:lnTo>
                    <a:pt x="267083" y="418261"/>
                  </a:lnTo>
                  <a:lnTo>
                    <a:pt x="267083" y="419521"/>
                  </a:lnTo>
                  <a:lnTo>
                    <a:pt x="267083" y="420781"/>
                  </a:lnTo>
                  <a:cubicBezTo>
                    <a:pt x="267083" y="423301"/>
                    <a:pt x="267083" y="424560"/>
                    <a:pt x="267083" y="427080"/>
                  </a:cubicBezTo>
                  <a:lnTo>
                    <a:pt x="267083" y="429600"/>
                  </a:lnTo>
                  <a:lnTo>
                    <a:pt x="267083" y="432119"/>
                  </a:lnTo>
                  <a:lnTo>
                    <a:pt x="267083" y="434639"/>
                  </a:lnTo>
                  <a:cubicBezTo>
                    <a:pt x="267083" y="439678"/>
                    <a:pt x="268342" y="445977"/>
                    <a:pt x="268342" y="452277"/>
                  </a:cubicBezTo>
                  <a:cubicBezTo>
                    <a:pt x="268342" y="459836"/>
                    <a:pt x="268342" y="467394"/>
                    <a:pt x="269602" y="476213"/>
                  </a:cubicBezTo>
                  <a:lnTo>
                    <a:pt x="269602" y="476213"/>
                  </a:lnTo>
                  <a:lnTo>
                    <a:pt x="269602" y="476213"/>
                  </a:lnTo>
                  <a:lnTo>
                    <a:pt x="269602" y="476213"/>
                  </a:lnTo>
                  <a:cubicBezTo>
                    <a:pt x="272122" y="478733"/>
                    <a:pt x="275901" y="481252"/>
                    <a:pt x="278421" y="483772"/>
                  </a:cubicBezTo>
                  <a:cubicBezTo>
                    <a:pt x="280941" y="486292"/>
                    <a:pt x="283460" y="488811"/>
                    <a:pt x="285980" y="490071"/>
                  </a:cubicBezTo>
                  <a:cubicBezTo>
                    <a:pt x="293539" y="496370"/>
                    <a:pt x="298578" y="502669"/>
                    <a:pt x="304877" y="508969"/>
                  </a:cubicBezTo>
                  <a:lnTo>
                    <a:pt x="307397" y="511488"/>
                  </a:lnTo>
                  <a:cubicBezTo>
                    <a:pt x="307397" y="511488"/>
                    <a:pt x="307397" y="512748"/>
                    <a:pt x="308657" y="512748"/>
                  </a:cubicBezTo>
                  <a:cubicBezTo>
                    <a:pt x="308657" y="514008"/>
                    <a:pt x="309917" y="514008"/>
                    <a:pt x="309917" y="515268"/>
                  </a:cubicBezTo>
                  <a:cubicBezTo>
                    <a:pt x="309917" y="515268"/>
                    <a:pt x="309917" y="515268"/>
                    <a:pt x="309917" y="515268"/>
                  </a:cubicBezTo>
                  <a:cubicBezTo>
                    <a:pt x="309917" y="515268"/>
                    <a:pt x="309917" y="515268"/>
                    <a:pt x="309917" y="515268"/>
                  </a:cubicBezTo>
                  <a:cubicBezTo>
                    <a:pt x="312436" y="517787"/>
                    <a:pt x="314956" y="521567"/>
                    <a:pt x="318735" y="524086"/>
                  </a:cubicBezTo>
                  <a:cubicBezTo>
                    <a:pt x="318735" y="524086"/>
                    <a:pt x="319995" y="525346"/>
                    <a:pt x="319995" y="525346"/>
                  </a:cubicBezTo>
                  <a:cubicBezTo>
                    <a:pt x="321255" y="526606"/>
                    <a:pt x="321255" y="526606"/>
                    <a:pt x="322515" y="527866"/>
                  </a:cubicBezTo>
                  <a:cubicBezTo>
                    <a:pt x="321255" y="526606"/>
                    <a:pt x="321255" y="526606"/>
                    <a:pt x="319995" y="525346"/>
                  </a:cubicBezTo>
                  <a:cubicBezTo>
                    <a:pt x="319995" y="525346"/>
                    <a:pt x="318735" y="524086"/>
                    <a:pt x="318735" y="524086"/>
                  </a:cubicBezTo>
                  <a:cubicBezTo>
                    <a:pt x="317475" y="521567"/>
                    <a:pt x="314956" y="520307"/>
                    <a:pt x="313696" y="517787"/>
                  </a:cubicBezTo>
                  <a:cubicBezTo>
                    <a:pt x="318735" y="522827"/>
                    <a:pt x="323775" y="529126"/>
                    <a:pt x="328814" y="535425"/>
                  </a:cubicBezTo>
                  <a:cubicBezTo>
                    <a:pt x="330074" y="536685"/>
                    <a:pt x="331334" y="539204"/>
                    <a:pt x="333853" y="541724"/>
                  </a:cubicBezTo>
                  <a:cubicBezTo>
                    <a:pt x="333853" y="540464"/>
                    <a:pt x="332593" y="540464"/>
                    <a:pt x="332593" y="539204"/>
                  </a:cubicBezTo>
                  <a:cubicBezTo>
                    <a:pt x="331334" y="537945"/>
                    <a:pt x="331334" y="537945"/>
                    <a:pt x="330074" y="536685"/>
                  </a:cubicBezTo>
                  <a:cubicBezTo>
                    <a:pt x="333853" y="540464"/>
                    <a:pt x="337633" y="545503"/>
                    <a:pt x="340152" y="550543"/>
                  </a:cubicBezTo>
                  <a:cubicBezTo>
                    <a:pt x="340152" y="550543"/>
                    <a:pt x="340152" y="550543"/>
                    <a:pt x="340152" y="550543"/>
                  </a:cubicBezTo>
                  <a:cubicBezTo>
                    <a:pt x="342672" y="554322"/>
                    <a:pt x="345192" y="558102"/>
                    <a:pt x="347711" y="561881"/>
                  </a:cubicBezTo>
                  <a:cubicBezTo>
                    <a:pt x="348971" y="563141"/>
                    <a:pt x="348971" y="564401"/>
                    <a:pt x="350231" y="565661"/>
                  </a:cubicBezTo>
                  <a:cubicBezTo>
                    <a:pt x="350231" y="565661"/>
                    <a:pt x="350231" y="565661"/>
                    <a:pt x="350231" y="565661"/>
                  </a:cubicBezTo>
                  <a:cubicBezTo>
                    <a:pt x="351491" y="568180"/>
                    <a:pt x="352751" y="569440"/>
                    <a:pt x="354010" y="571960"/>
                  </a:cubicBezTo>
                  <a:cubicBezTo>
                    <a:pt x="352751" y="570700"/>
                    <a:pt x="352751" y="569440"/>
                    <a:pt x="351491" y="568180"/>
                  </a:cubicBezTo>
                  <a:cubicBezTo>
                    <a:pt x="352751" y="570700"/>
                    <a:pt x="355270" y="573220"/>
                    <a:pt x="356530" y="575739"/>
                  </a:cubicBezTo>
                  <a:cubicBezTo>
                    <a:pt x="356530" y="575739"/>
                    <a:pt x="356530" y="575739"/>
                    <a:pt x="356530" y="575739"/>
                  </a:cubicBezTo>
                  <a:cubicBezTo>
                    <a:pt x="356530" y="574479"/>
                    <a:pt x="355270" y="573220"/>
                    <a:pt x="355270" y="573220"/>
                  </a:cubicBezTo>
                  <a:cubicBezTo>
                    <a:pt x="356530" y="574479"/>
                    <a:pt x="356530" y="575739"/>
                    <a:pt x="357790" y="576999"/>
                  </a:cubicBezTo>
                  <a:cubicBezTo>
                    <a:pt x="357790" y="576999"/>
                    <a:pt x="359050" y="578259"/>
                    <a:pt x="359050" y="578259"/>
                  </a:cubicBezTo>
                  <a:cubicBezTo>
                    <a:pt x="360310" y="580778"/>
                    <a:pt x="362829" y="583298"/>
                    <a:pt x="364089" y="587078"/>
                  </a:cubicBezTo>
                  <a:cubicBezTo>
                    <a:pt x="364089" y="587078"/>
                    <a:pt x="364089" y="587078"/>
                    <a:pt x="364089" y="587078"/>
                  </a:cubicBezTo>
                  <a:cubicBezTo>
                    <a:pt x="365349" y="588337"/>
                    <a:pt x="366609" y="590857"/>
                    <a:pt x="366609" y="592117"/>
                  </a:cubicBezTo>
                  <a:lnTo>
                    <a:pt x="366609" y="592117"/>
                  </a:lnTo>
                  <a:lnTo>
                    <a:pt x="366609" y="592117"/>
                  </a:lnTo>
                  <a:cubicBezTo>
                    <a:pt x="366609" y="593377"/>
                    <a:pt x="367868" y="593377"/>
                    <a:pt x="367868" y="594637"/>
                  </a:cubicBezTo>
                  <a:cubicBezTo>
                    <a:pt x="370388" y="599676"/>
                    <a:pt x="371648" y="603455"/>
                    <a:pt x="374167" y="608495"/>
                  </a:cubicBezTo>
                  <a:cubicBezTo>
                    <a:pt x="374167" y="608495"/>
                    <a:pt x="374167" y="609754"/>
                    <a:pt x="374167" y="609754"/>
                  </a:cubicBezTo>
                  <a:lnTo>
                    <a:pt x="374167" y="609754"/>
                  </a:lnTo>
                  <a:lnTo>
                    <a:pt x="374167" y="609754"/>
                  </a:lnTo>
                  <a:cubicBezTo>
                    <a:pt x="375427" y="612274"/>
                    <a:pt x="376687" y="616054"/>
                    <a:pt x="376687" y="618573"/>
                  </a:cubicBezTo>
                  <a:lnTo>
                    <a:pt x="376687" y="619833"/>
                  </a:lnTo>
                  <a:cubicBezTo>
                    <a:pt x="377947" y="622353"/>
                    <a:pt x="377947" y="624872"/>
                    <a:pt x="379207" y="627392"/>
                  </a:cubicBezTo>
                  <a:cubicBezTo>
                    <a:pt x="379207" y="628652"/>
                    <a:pt x="379207" y="629912"/>
                    <a:pt x="379207" y="632431"/>
                  </a:cubicBezTo>
                  <a:lnTo>
                    <a:pt x="379207" y="634951"/>
                  </a:lnTo>
                  <a:lnTo>
                    <a:pt x="379207" y="637471"/>
                  </a:lnTo>
                  <a:cubicBezTo>
                    <a:pt x="379207" y="638730"/>
                    <a:pt x="379207" y="641250"/>
                    <a:pt x="379207" y="642510"/>
                  </a:cubicBezTo>
                  <a:cubicBezTo>
                    <a:pt x="379207" y="642510"/>
                    <a:pt x="379207" y="642510"/>
                    <a:pt x="379207" y="642510"/>
                  </a:cubicBezTo>
                  <a:lnTo>
                    <a:pt x="379207" y="642510"/>
                  </a:lnTo>
                  <a:lnTo>
                    <a:pt x="379207" y="642510"/>
                  </a:lnTo>
                  <a:lnTo>
                    <a:pt x="379207" y="645030"/>
                  </a:lnTo>
                  <a:cubicBezTo>
                    <a:pt x="379207" y="647549"/>
                    <a:pt x="379207" y="648809"/>
                    <a:pt x="379207" y="651329"/>
                  </a:cubicBezTo>
                  <a:lnTo>
                    <a:pt x="379207" y="652588"/>
                  </a:lnTo>
                  <a:cubicBezTo>
                    <a:pt x="379207" y="655108"/>
                    <a:pt x="379207" y="657628"/>
                    <a:pt x="377947" y="660147"/>
                  </a:cubicBezTo>
                  <a:cubicBezTo>
                    <a:pt x="376687" y="667706"/>
                    <a:pt x="375427" y="672746"/>
                    <a:pt x="374167" y="677785"/>
                  </a:cubicBezTo>
                  <a:cubicBezTo>
                    <a:pt x="374167" y="677785"/>
                    <a:pt x="374167" y="677785"/>
                    <a:pt x="374167" y="677785"/>
                  </a:cubicBezTo>
                  <a:lnTo>
                    <a:pt x="374167" y="679045"/>
                  </a:lnTo>
                  <a:cubicBezTo>
                    <a:pt x="374167" y="679045"/>
                    <a:pt x="374167" y="679045"/>
                    <a:pt x="374167" y="679045"/>
                  </a:cubicBezTo>
                  <a:cubicBezTo>
                    <a:pt x="372908" y="681564"/>
                    <a:pt x="372908" y="684084"/>
                    <a:pt x="371648" y="687863"/>
                  </a:cubicBezTo>
                  <a:cubicBezTo>
                    <a:pt x="372908" y="686604"/>
                    <a:pt x="372908" y="685344"/>
                    <a:pt x="372908" y="682824"/>
                  </a:cubicBezTo>
                  <a:cubicBezTo>
                    <a:pt x="371648" y="685344"/>
                    <a:pt x="371648" y="686604"/>
                    <a:pt x="370388" y="689123"/>
                  </a:cubicBezTo>
                  <a:cubicBezTo>
                    <a:pt x="370388" y="690383"/>
                    <a:pt x="369128" y="690383"/>
                    <a:pt x="369128" y="691643"/>
                  </a:cubicBezTo>
                  <a:cubicBezTo>
                    <a:pt x="367868" y="692903"/>
                    <a:pt x="367868" y="694163"/>
                    <a:pt x="366609" y="696682"/>
                  </a:cubicBezTo>
                  <a:cubicBezTo>
                    <a:pt x="366609" y="697942"/>
                    <a:pt x="365349" y="697942"/>
                    <a:pt x="365349" y="699202"/>
                  </a:cubicBezTo>
                  <a:cubicBezTo>
                    <a:pt x="365349" y="700462"/>
                    <a:pt x="364089" y="700462"/>
                    <a:pt x="364089" y="701722"/>
                  </a:cubicBezTo>
                  <a:cubicBezTo>
                    <a:pt x="364089" y="700462"/>
                    <a:pt x="365349" y="700462"/>
                    <a:pt x="365349" y="699202"/>
                  </a:cubicBezTo>
                  <a:cubicBezTo>
                    <a:pt x="365349" y="700462"/>
                    <a:pt x="364089" y="700462"/>
                    <a:pt x="364089" y="701722"/>
                  </a:cubicBezTo>
                  <a:cubicBezTo>
                    <a:pt x="364089" y="701722"/>
                    <a:pt x="364089" y="701722"/>
                    <a:pt x="364089" y="701722"/>
                  </a:cubicBezTo>
                  <a:cubicBezTo>
                    <a:pt x="364089" y="701722"/>
                    <a:pt x="364089" y="701722"/>
                    <a:pt x="364089" y="701722"/>
                  </a:cubicBezTo>
                  <a:cubicBezTo>
                    <a:pt x="364089" y="702981"/>
                    <a:pt x="362829" y="702981"/>
                    <a:pt x="362829" y="702981"/>
                  </a:cubicBezTo>
                  <a:lnTo>
                    <a:pt x="362829" y="704241"/>
                  </a:lnTo>
                  <a:cubicBezTo>
                    <a:pt x="360310" y="706761"/>
                    <a:pt x="359050" y="709280"/>
                    <a:pt x="356530" y="710540"/>
                  </a:cubicBezTo>
                  <a:lnTo>
                    <a:pt x="356530" y="710540"/>
                  </a:lnTo>
                  <a:cubicBezTo>
                    <a:pt x="356530" y="710540"/>
                    <a:pt x="355270" y="711800"/>
                    <a:pt x="355270" y="711800"/>
                  </a:cubicBezTo>
                  <a:cubicBezTo>
                    <a:pt x="355270" y="711800"/>
                    <a:pt x="355270" y="711800"/>
                    <a:pt x="355270" y="711800"/>
                  </a:cubicBezTo>
                  <a:cubicBezTo>
                    <a:pt x="355270" y="711800"/>
                    <a:pt x="355270" y="711800"/>
                    <a:pt x="355270" y="711800"/>
                  </a:cubicBezTo>
                  <a:cubicBezTo>
                    <a:pt x="354010" y="711800"/>
                    <a:pt x="354010" y="713060"/>
                    <a:pt x="352751" y="713060"/>
                  </a:cubicBezTo>
                  <a:cubicBezTo>
                    <a:pt x="351491" y="714320"/>
                    <a:pt x="348971" y="715580"/>
                    <a:pt x="347711" y="715580"/>
                  </a:cubicBezTo>
                  <a:lnTo>
                    <a:pt x="346451" y="715580"/>
                  </a:lnTo>
                  <a:lnTo>
                    <a:pt x="346451" y="715580"/>
                  </a:lnTo>
                  <a:lnTo>
                    <a:pt x="346451" y="715580"/>
                  </a:lnTo>
                  <a:lnTo>
                    <a:pt x="346451" y="715580"/>
                  </a:lnTo>
                  <a:cubicBezTo>
                    <a:pt x="345192" y="715580"/>
                    <a:pt x="343932" y="716839"/>
                    <a:pt x="342672" y="716839"/>
                  </a:cubicBezTo>
                  <a:cubicBezTo>
                    <a:pt x="340152" y="718099"/>
                    <a:pt x="337633" y="719359"/>
                    <a:pt x="335113" y="720619"/>
                  </a:cubicBezTo>
                  <a:lnTo>
                    <a:pt x="335113" y="720619"/>
                  </a:lnTo>
                  <a:cubicBezTo>
                    <a:pt x="331334" y="721879"/>
                    <a:pt x="328814" y="723139"/>
                    <a:pt x="325034" y="723139"/>
                  </a:cubicBezTo>
                  <a:cubicBezTo>
                    <a:pt x="325034" y="723139"/>
                    <a:pt x="325034" y="723139"/>
                    <a:pt x="325034" y="723139"/>
                  </a:cubicBezTo>
                  <a:cubicBezTo>
                    <a:pt x="325034" y="723139"/>
                    <a:pt x="325034" y="723139"/>
                    <a:pt x="325034" y="723139"/>
                  </a:cubicBezTo>
                  <a:cubicBezTo>
                    <a:pt x="325034" y="723139"/>
                    <a:pt x="325034" y="723139"/>
                    <a:pt x="325034" y="723139"/>
                  </a:cubicBezTo>
                  <a:cubicBezTo>
                    <a:pt x="325034" y="723139"/>
                    <a:pt x="325034" y="723139"/>
                    <a:pt x="325034" y="723139"/>
                  </a:cubicBezTo>
                  <a:lnTo>
                    <a:pt x="325034" y="723139"/>
                  </a:lnTo>
                  <a:lnTo>
                    <a:pt x="325034" y="723139"/>
                  </a:lnTo>
                  <a:cubicBezTo>
                    <a:pt x="325034" y="723139"/>
                    <a:pt x="325034" y="723139"/>
                    <a:pt x="325034" y="723139"/>
                  </a:cubicBezTo>
                  <a:cubicBezTo>
                    <a:pt x="326294" y="723139"/>
                    <a:pt x="326294" y="723139"/>
                    <a:pt x="327554" y="723139"/>
                  </a:cubicBezTo>
                  <a:lnTo>
                    <a:pt x="328814" y="723139"/>
                  </a:lnTo>
                  <a:cubicBezTo>
                    <a:pt x="330074" y="723139"/>
                    <a:pt x="331334" y="723139"/>
                    <a:pt x="332593" y="723139"/>
                  </a:cubicBezTo>
                  <a:cubicBezTo>
                    <a:pt x="333853" y="723139"/>
                    <a:pt x="336373" y="723139"/>
                    <a:pt x="337633" y="723139"/>
                  </a:cubicBezTo>
                  <a:cubicBezTo>
                    <a:pt x="343932" y="723139"/>
                    <a:pt x="351491" y="724398"/>
                    <a:pt x="359050" y="724398"/>
                  </a:cubicBezTo>
                  <a:cubicBezTo>
                    <a:pt x="369128" y="724398"/>
                    <a:pt x="379207" y="724398"/>
                    <a:pt x="389286" y="724398"/>
                  </a:cubicBezTo>
                  <a:cubicBezTo>
                    <a:pt x="391805" y="724398"/>
                    <a:pt x="394325" y="724398"/>
                    <a:pt x="398104" y="724398"/>
                  </a:cubicBezTo>
                  <a:lnTo>
                    <a:pt x="400624" y="724398"/>
                  </a:lnTo>
                  <a:lnTo>
                    <a:pt x="400624" y="724398"/>
                  </a:lnTo>
                  <a:cubicBezTo>
                    <a:pt x="403143" y="724398"/>
                    <a:pt x="404403" y="724398"/>
                    <a:pt x="406923" y="724398"/>
                  </a:cubicBezTo>
                  <a:cubicBezTo>
                    <a:pt x="408183" y="724398"/>
                    <a:pt x="408183" y="724398"/>
                    <a:pt x="409443" y="724398"/>
                  </a:cubicBezTo>
                  <a:cubicBezTo>
                    <a:pt x="411962" y="724398"/>
                    <a:pt x="414482" y="724398"/>
                    <a:pt x="417002" y="724398"/>
                  </a:cubicBezTo>
                  <a:cubicBezTo>
                    <a:pt x="418261" y="724398"/>
                    <a:pt x="419521" y="724398"/>
                    <a:pt x="420781" y="724398"/>
                  </a:cubicBezTo>
                  <a:cubicBezTo>
                    <a:pt x="420781" y="724398"/>
                    <a:pt x="422041" y="724398"/>
                    <a:pt x="422041" y="724398"/>
                  </a:cubicBezTo>
                  <a:lnTo>
                    <a:pt x="422041" y="724398"/>
                  </a:lnTo>
                  <a:cubicBezTo>
                    <a:pt x="427080" y="724398"/>
                    <a:pt x="432119" y="724398"/>
                    <a:pt x="435899" y="724398"/>
                  </a:cubicBezTo>
                  <a:cubicBezTo>
                    <a:pt x="438419" y="724398"/>
                    <a:pt x="440938" y="724398"/>
                    <a:pt x="443458" y="724398"/>
                  </a:cubicBezTo>
                  <a:cubicBezTo>
                    <a:pt x="447237" y="724398"/>
                    <a:pt x="451017" y="724398"/>
                    <a:pt x="454796" y="724398"/>
                  </a:cubicBezTo>
                  <a:lnTo>
                    <a:pt x="459835" y="724398"/>
                  </a:lnTo>
                  <a:lnTo>
                    <a:pt x="461095" y="724398"/>
                  </a:lnTo>
                  <a:cubicBezTo>
                    <a:pt x="466135" y="724398"/>
                    <a:pt x="469914" y="724398"/>
                    <a:pt x="474953" y="724398"/>
                  </a:cubicBezTo>
                  <a:cubicBezTo>
                    <a:pt x="477473" y="724398"/>
                    <a:pt x="479993" y="724398"/>
                    <a:pt x="482512" y="724398"/>
                  </a:cubicBezTo>
                  <a:cubicBezTo>
                    <a:pt x="482512" y="724398"/>
                    <a:pt x="483772" y="724398"/>
                    <a:pt x="483772" y="724398"/>
                  </a:cubicBezTo>
                  <a:cubicBezTo>
                    <a:pt x="487552" y="724398"/>
                    <a:pt x="491331" y="724398"/>
                    <a:pt x="495111" y="724398"/>
                  </a:cubicBezTo>
                  <a:cubicBezTo>
                    <a:pt x="501410" y="724398"/>
                    <a:pt x="507709" y="724398"/>
                    <a:pt x="515268" y="723139"/>
                  </a:cubicBezTo>
                  <a:cubicBezTo>
                    <a:pt x="516528" y="723139"/>
                    <a:pt x="516528" y="723139"/>
                    <a:pt x="517787" y="723139"/>
                  </a:cubicBezTo>
                  <a:lnTo>
                    <a:pt x="517787" y="723139"/>
                  </a:lnTo>
                  <a:cubicBezTo>
                    <a:pt x="521567" y="723139"/>
                    <a:pt x="524087" y="723139"/>
                    <a:pt x="527866" y="721879"/>
                  </a:cubicBezTo>
                  <a:lnTo>
                    <a:pt x="527866" y="721879"/>
                  </a:lnTo>
                  <a:cubicBezTo>
                    <a:pt x="530386" y="721879"/>
                    <a:pt x="532905" y="721879"/>
                    <a:pt x="535425" y="720619"/>
                  </a:cubicBezTo>
                  <a:cubicBezTo>
                    <a:pt x="536685" y="720619"/>
                    <a:pt x="536685" y="720619"/>
                    <a:pt x="537945" y="720619"/>
                  </a:cubicBezTo>
                  <a:lnTo>
                    <a:pt x="537945" y="720619"/>
                  </a:lnTo>
                  <a:cubicBezTo>
                    <a:pt x="540464" y="720619"/>
                    <a:pt x="544244" y="720619"/>
                    <a:pt x="546763" y="720619"/>
                  </a:cubicBezTo>
                  <a:cubicBezTo>
                    <a:pt x="549283" y="720619"/>
                    <a:pt x="551803" y="720619"/>
                    <a:pt x="554322" y="720619"/>
                  </a:cubicBezTo>
                  <a:cubicBezTo>
                    <a:pt x="555582" y="720619"/>
                    <a:pt x="556842" y="720619"/>
                    <a:pt x="556842" y="720619"/>
                  </a:cubicBezTo>
                  <a:cubicBezTo>
                    <a:pt x="558102" y="720619"/>
                    <a:pt x="559362" y="720619"/>
                    <a:pt x="560621" y="720619"/>
                  </a:cubicBezTo>
                  <a:lnTo>
                    <a:pt x="560621" y="720619"/>
                  </a:lnTo>
                  <a:lnTo>
                    <a:pt x="560621" y="720619"/>
                  </a:lnTo>
                  <a:cubicBezTo>
                    <a:pt x="560621" y="720619"/>
                    <a:pt x="561881" y="720619"/>
                    <a:pt x="561881" y="720619"/>
                  </a:cubicBezTo>
                  <a:cubicBezTo>
                    <a:pt x="563141" y="720619"/>
                    <a:pt x="564401" y="720619"/>
                    <a:pt x="565661" y="720619"/>
                  </a:cubicBezTo>
                  <a:cubicBezTo>
                    <a:pt x="568180" y="720619"/>
                    <a:pt x="569440" y="720619"/>
                    <a:pt x="571960" y="720619"/>
                  </a:cubicBezTo>
                  <a:cubicBezTo>
                    <a:pt x="573220" y="720619"/>
                    <a:pt x="574480" y="720619"/>
                    <a:pt x="574480" y="720619"/>
                  </a:cubicBezTo>
                  <a:lnTo>
                    <a:pt x="574480" y="720619"/>
                  </a:lnTo>
                  <a:cubicBezTo>
                    <a:pt x="574480" y="720619"/>
                    <a:pt x="575739" y="720619"/>
                    <a:pt x="575739" y="720619"/>
                  </a:cubicBezTo>
                  <a:cubicBezTo>
                    <a:pt x="579519" y="720619"/>
                    <a:pt x="583298" y="720619"/>
                    <a:pt x="587078" y="720619"/>
                  </a:cubicBezTo>
                  <a:cubicBezTo>
                    <a:pt x="588337" y="720619"/>
                    <a:pt x="590857" y="720619"/>
                    <a:pt x="592117" y="720619"/>
                  </a:cubicBezTo>
                  <a:cubicBezTo>
                    <a:pt x="593377" y="720619"/>
                    <a:pt x="595896" y="720619"/>
                    <a:pt x="597156" y="720619"/>
                  </a:cubicBezTo>
                  <a:lnTo>
                    <a:pt x="598416" y="720619"/>
                  </a:lnTo>
                  <a:cubicBezTo>
                    <a:pt x="598416" y="720619"/>
                    <a:pt x="599676" y="720619"/>
                    <a:pt x="599676" y="720619"/>
                  </a:cubicBezTo>
                  <a:cubicBezTo>
                    <a:pt x="602196" y="720619"/>
                    <a:pt x="603455" y="720619"/>
                    <a:pt x="605975" y="720619"/>
                  </a:cubicBezTo>
                  <a:lnTo>
                    <a:pt x="605975" y="720619"/>
                  </a:lnTo>
                  <a:lnTo>
                    <a:pt x="605975" y="720619"/>
                  </a:lnTo>
                  <a:cubicBezTo>
                    <a:pt x="616054" y="721879"/>
                    <a:pt x="627392" y="721879"/>
                    <a:pt x="637471" y="723139"/>
                  </a:cubicBezTo>
                  <a:cubicBezTo>
                    <a:pt x="645029" y="723139"/>
                    <a:pt x="650069" y="723139"/>
                    <a:pt x="656368" y="723139"/>
                  </a:cubicBezTo>
                  <a:cubicBezTo>
                    <a:pt x="656368" y="723139"/>
                    <a:pt x="656368" y="723139"/>
                    <a:pt x="657628" y="723139"/>
                  </a:cubicBezTo>
                  <a:cubicBezTo>
                    <a:pt x="658888" y="723139"/>
                    <a:pt x="658888" y="723139"/>
                    <a:pt x="660148" y="723139"/>
                  </a:cubicBezTo>
                  <a:lnTo>
                    <a:pt x="661407" y="723139"/>
                  </a:lnTo>
                  <a:cubicBezTo>
                    <a:pt x="662667" y="723139"/>
                    <a:pt x="665187" y="723139"/>
                    <a:pt x="666447" y="723139"/>
                  </a:cubicBezTo>
                  <a:cubicBezTo>
                    <a:pt x="667706" y="723139"/>
                    <a:pt x="668966" y="723139"/>
                    <a:pt x="670226" y="723139"/>
                  </a:cubicBezTo>
                  <a:lnTo>
                    <a:pt x="670226" y="723139"/>
                  </a:lnTo>
                  <a:cubicBezTo>
                    <a:pt x="671486" y="723139"/>
                    <a:pt x="672746" y="723139"/>
                    <a:pt x="674005" y="723139"/>
                  </a:cubicBezTo>
                  <a:lnTo>
                    <a:pt x="674005" y="723139"/>
                  </a:lnTo>
                  <a:cubicBezTo>
                    <a:pt x="675265" y="723139"/>
                    <a:pt x="676525" y="723139"/>
                    <a:pt x="677785" y="721879"/>
                  </a:cubicBezTo>
                  <a:cubicBezTo>
                    <a:pt x="679045" y="721879"/>
                    <a:pt x="679045" y="720619"/>
                    <a:pt x="680305" y="720619"/>
                  </a:cubicBezTo>
                  <a:cubicBezTo>
                    <a:pt x="680305" y="720619"/>
                    <a:pt x="680305" y="720619"/>
                    <a:pt x="680305" y="720619"/>
                  </a:cubicBezTo>
                  <a:cubicBezTo>
                    <a:pt x="680305" y="720619"/>
                    <a:pt x="681564" y="719359"/>
                    <a:pt x="681564" y="719359"/>
                  </a:cubicBezTo>
                  <a:cubicBezTo>
                    <a:pt x="681564" y="719359"/>
                    <a:pt x="681564" y="719359"/>
                    <a:pt x="681564" y="719359"/>
                  </a:cubicBezTo>
                  <a:cubicBezTo>
                    <a:pt x="681564" y="719359"/>
                    <a:pt x="681564" y="719359"/>
                    <a:pt x="682824" y="718099"/>
                  </a:cubicBezTo>
                  <a:cubicBezTo>
                    <a:pt x="684084" y="716839"/>
                    <a:pt x="684084" y="715580"/>
                    <a:pt x="684084" y="713060"/>
                  </a:cubicBezTo>
                  <a:cubicBezTo>
                    <a:pt x="684084" y="711800"/>
                    <a:pt x="684084" y="709280"/>
                    <a:pt x="684084" y="708021"/>
                  </a:cubicBezTo>
                  <a:cubicBezTo>
                    <a:pt x="684084" y="706761"/>
                    <a:pt x="685344" y="704241"/>
                    <a:pt x="685344" y="702981"/>
                  </a:cubicBezTo>
                  <a:lnTo>
                    <a:pt x="685344" y="702981"/>
                  </a:lnTo>
                  <a:cubicBezTo>
                    <a:pt x="685344" y="701722"/>
                    <a:pt x="685344" y="699202"/>
                    <a:pt x="685344" y="697942"/>
                  </a:cubicBezTo>
                  <a:lnTo>
                    <a:pt x="685344" y="697942"/>
                  </a:lnTo>
                  <a:lnTo>
                    <a:pt x="685344" y="697942"/>
                  </a:lnTo>
                  <a:cubicBezTo>
                    <a:pt x="685344" y="696682"/>
                    <a:pt x="685344" y="695422"/>
                    <a:pt x="685344" y="694163"/>
                  </a:cubicBezTo>
                  <a:cubicBezTo>
                    <a:pt x="685344" y="692903"/>
                    <a:pt x="685344" y="691643"/>
                    <a:pt x="685344" y="689123"/>
                  </a:cubicBezTo>
                  <a:cubicBezTo>
                    <a:pt x="685344" y="689123"/>
                    <a:pt x="685344" y="689123"/>
                    <a:pt x="685344" y="689123"/>
                  </a:cubicBezTo>
                  <a:cubicBezTo>
                    <a:pt x="685344" y="686604"/>
                    <a:pt x="685344" y="684084"/>
                    <a:pt x="685344" y="682824"/>
                  </a:cubicBezTo>
                  <a:lnTo>
                    <a:pt x="685344" y="681564"/>
                  </a:lnTo>
                  <a:lnTo>
                    <a:pt x="685344" y="680305"/>
                  </a:lnTo>
                  <a:cubicBezTo>
                    <a:pt x="685344" y="676525"/>
                    <a:pt x="685344" y="674005"/>
                    <a:pt x="685344" y="671486"/>
                  </a:cubicBezTo>
                  <a:cubicBezTo>
                    <a:pt x="685344" y="667706"/>
                    <a:pt x="685344" y="663927"/>
                    <a:pt x="685344" y="660147"/>
                  </a:cubicBezTo>
                  <a:lnTo>
                    <a:pt x="685344" y="658887"/>
                  </a:lnTo>
                  <a:cubicBezTo>
                    <a:pt x="685344" y="656368"/>
                    <a:pt x="685344" y="653848"/>
                    <a:pt x="685344" y="651329"/>
                  </a:cubicBezTo>
                  <a:cubicBezTo>
                    <a:pt x="685344" y="650069"/>
                    <a:pt x="685344" y="648809"/>
                    <a:pt x="685344" y="648809"/>
                  </a:cubicBezTo>
                  <a:lnTo>
                    <a:pt x="685344" y="647549"/>
                  </a:lnTo>
                  <a:cubicBezTo>
                    <a:pt x="685344" y="646289"/>
                    <a:pt x="685344" y="643770"/>
                    <a:pt x="685344" y="642510"/>
                  </a:cubicBezTo>
                  <a:lnTo>
                    <a:pt x="685344" y="641250"/>
                  </a:lnTo>
                  <a:cubicBezTo>
                    <a:pt x="685344" y="638730"/>
                    <a:pt x="685344" y="636211"/>
                    <a:pt x="685344" y="632431"/>
                  </a:cubicBezTo>
                  <a:cubicBezTo>
                    <a:pt x="685344" y="624872"/>
                    <a:pt x="685344" y="618573"/>
                    <a:pt x="685344" y="612274"/>
                  </a:cubicBezTo>
                  <a:cubicBezTo>
                    <a:pt x="685344" y="607235"/>
                    <a:pt x="685344" y="602195"/>
                    <a:pt x="685344" y="597156"/>
                  </a:cubicBezTo>
                  <a:cubicBezTo>
                    <a:pt x="684084" y="597156"/>
                    <a:pt x="684084" y="595896"/>
                    <a:pt x="684084" y="595896"/>
                  </a:cubicBezTo>
                  <a:cubicBezTo>
                    <a:pt x="684084" y="595896"/>
                    <a:pt x="684084" y="595896"/>
                    <a:pt x="684084" y="595896"/>
                  </a:cubicBezTo>
                  <a:cubicBezTo>
                    <a:pt x="682824" y="594637"/>
                    <a:pt x="681564" y="594637"/>
                    <a:pt x="681564" y="593377"/>
                  </a:cubicBezTo>
                  <a:cubicBezTo>
                    <a:pt x="681564" y="593377"/>
                    <a:pt x="680305" y="592117"/>
                    <a:pt x="680305" y="592117"/>
                  </a:cubicBezTo>
                  <a:cubicBezTo>
                    <a:pt x="679045" y="590857"/>
                    <a:pt x="677785" y="589597"/>
                    <a:pt x="676525" y="588337"/>
                  </a:cubicBezTo>
                  <a:cubicBezTo>
                    <a:pt x="672746" y="584558"/>
                    <a:pt x="668966" y="579519"/>
                    <a:pt x="665187" y="575739"/>
                  </a:cubicBezTo>
                  <a:lnTo>
                    <a:pt x="665187" y="575739"/>
                  </a:lnTo>
                  <a:cubicBezTo>
                    <a:pt x="663927" y="574479"/>
                    <a:pt x="662667" y="573220"/>
                    <a:pt x="662667" y="571960"/>
                  </a:cubicBezTo>
                  <a:lnTo>
                    <a:pt x="661407" y="570700"/>
                  </a:lnTo>
                  <a:cubicBezTo>
                    <a:pt x="660148" y="568180"/>
                    <a:pt x="657628" y="566921"/>
                    <a:pt x="656368" y="564401"/>
                  </a:cubicBezTo>
                  <a:cubicBezTo>
                    <a:pt x="653848" y="561881"/>
                    <a:pt x="652589" y="559361"/>
                    <a:pt x="651329" y="556842"/>
                  </a:cubicBezTo>
                  <a:cubicBezTo>
                    <a:pt x="648809" y="553062"/>
                    <a:pt x="645029" y="548023"/>
                    <a:pt x="642510" y="544244"/>
                  </a:cubicBezTo>
                  <a:cubicBezTo>
                    <a:pt x="641250" y="542984"/>
                    <a:pt x="641250" y="541724"/>
                    <a:pt x="639990" y="540464"/>
                  </a:cubicBezTo>
                  <a:cubicBezTo>
                    <a:pt x="634951" y="534165"/>
                    <a:pt x="631172" y="527866"/>
                    <a:pt x="627392" y="524086"/>
                  </a:cubicBezTo>
                  <a:cubicBezTo>
                    <a:pt x="624872" y="521567"/>
                    <a:pt x="623613" y="517787"/>
                    <a:pt x="621093" y="515268"/>
                  </a:cubicBezTo>
                  <a:cubicBezTo>
                    <a:pt x="619833" y="512748"/>
                    <a:pt x="617313" y="510228"/>
                    <a:pt x="616054" y="507709"/>
                  </a:cubicBezTo>
                  <a:cubicBezTo>
                    <a:pt x="613534" y="503929"/>
                    <a:pt x="611014" y="501410"/>
                    <a:pt x="609755" y="497630"/>
                  </a:cubicBezTo>
                  <a:lnTo>
                    <a:pt x="609755" y="497630"/>
                  </a:lnTo>
                  <a:lnTo>
                    <a:pt x="609755" y="497630"/>
                  </a:lnTo>
                  <a:cubicBezTo>
                    <a:pt x="608495" y="495110"/>
                    <a:pt x="605975" y="492591"/>
                    <a:pt x="604715" y="490071"/>
                  </a:cubicBezTo>
                  <a:cubicBezTo>
                    <a:pt x="600936" y="483772"/>
                    <a:pt x="597156" y="477473"/>
                    <a:pt x="593377" y="472434"/>
                  </a:cubicBezTo>
                  <a:lnTo>
                    <a:pt x="593377" y="471174"/>
                  </a:lnTo>
                  <a:lnTo>
                    <a:pt x="592117" y="469914"/>
                  </a:lnTo>
                  <a:lnTo>
                    <a:pt x="592117" y="469914"/>
                  </a:lnTo>
                  <a:cubicBezTo>
                    <a:pt x="590857" y="467394"/>
                    <a:pt x="588337" y="464875"/>
                    <a:pt x="587078" y="462355"/>
                  </a:cubicBezTo>
                  <a:cubicBezTo>
                    <a:pt x="585818" y="458576"/>
                    <a:pt x="583298" y="456056"/>
                    <a:pt x="582038" y="452277"/>
                  </a:cubicBezTo>
                  <a:cubicBezTo>
                    <a:pt x="579519" y="444717"/>
                    <a:pt x="575739" y="439678"/>
                    <a:pt x="573220" y="433379"/>
                  </a:cubicBezTo>
                  <a:lnTo>
                    <a:pt x="571960" y="430860"/>
                  </a:lnTo>
                  <a:cubicBezTo>
                    <a:pt x="570700" y="428340"/>
                    <a:pt x="569440" y="425820"/>
                    <a:pt x="568180" y="423301"/>
                  </a:cubicBezTo>
                  <a:cubicBezTo>
                    <a:pt x="566920" y="420781"/>
                    <a:pt x="565661" y="418261"/>
                    <a:pt x="564401" y="415742"/>
                  </a:cubicBezTo>
                  <a:lnTo>
                    <a:pt x="563141" y="413222"/>
                  </a:lnTo>
                  <a:cubicBezTo>
                    <a:pt x="561881" y="410702"/>
                    <a:pt x="559362" y="406923"/>
                    <a:pt x="558102" y="403143"/>
                  </a:cubicBezTo>
                  <a:cubicBezTo>
                    <a:pt x="556842" y="400624"/>
                    <a:pt x="556842" y="399364"/>
                    <a:pt x="555582" y="396844"/>
                  </a:cubicBezTo>
                  <a:lnTo>
                    <a:pt x="555582" y="396844"/>
                  </a:lnTo>
                  <a:cubicBezTo>
                    <a:pt x="555582" y="395584"/>
                    <a:pt x="554322" y="395584"/>
                    <a:pt x="554322" y="394325"/>
                  </a:cubicBezTo>
                  <a:cubicBezTo>
                    <a:pt x="551803" y="386766"/>
                    <a:pt x="549283" y="380467"/>
                    <a:pt x="546763" y="374167"/>
                  </a:cubicBezTo>
                  <a:cubicBezTo>
                    <a:pt x="544244" y="367868"/>
                    <a:pt x="541724" y="361569"/>
                    <a:pt x="540464" y="354010"/>
                  </a:cubicBezTo>
                  <a:cubicBezTo>
                    <a:pt x="539204" y="351491"/>
                    <a:pt x="539204" y="347711"/>
                    <a:pt x="537945" y="345192"/>
                  </a:cubicBezTo>
                  <a:lnTo>
                    <a:pt x="537945" y="343932"/>
                  </a:lnTo>
                  <a:cubicBezTo>
                    <a:pt x="537945" y="341412"/>
                    <a:pt x="536685" y="340152"/>
                    <a:pt x="536685" y="337633"/>
                  </a:cubicBezTo>
                  <a:lnTo>
                    <a:pt x="536685" y="337633"/>
                  </a:lnTo>
                  <a:cubicBezTo>
                    <a:pt x="536685" y="336373"/>
                    <a:pt x="536685" y="335113"/>
                    <a:pt x="535425" y="335113"/>
                  </a:cubicBezTo>
                  <a:cubicBezTo>
                    <a:pt x="534165" y="328814"/>
                    <a:pt x="532905" y="321255"/>
                    <a:pt x="531645" y="314956"/>
                  </a:cubicBezTo>
                  <a:lnTo>
                    <a:pt x="531645" y="313696"/>
                  </a:lnTo>
                  <a:cubicBezTo>
                    <a:pt x="531645" y="312436"/>
                    <a:pt x="531645" y="309916"/>
                    <a:pt x="530386" y="308657"/>
                  </a:cubicBezTo>
                  <a:cubicBezTo>
                    <a:pt x="530386" y="307397"/>
                    <a:pt x="530386" y="304877"/>
                    <a:pt x="529126" y="303617"/>
                  </a:cubicBezTo>
                  <a:cubicBezTo>
                    <a:pt x="529126" y="299838"/>
                    <a:pt x="527866" y="297318"/>
                    <a:pt x="527866" y="294799"/>
                  </a:cubicBezTo>
                  <a:lnTo>
                    <a:pt x="527866" y="293539"/>
                  </a:lnTo>
                  <a:cubicBezTo>
                    <a:pt x="527866" y="292279"/>
                    <a:pt x="527866" y="291019"/>
                    <a:pt x="527866" y="289759"/>
                  </a:cubicBezTo>
                  <a:lnTo>
                    <a:pt x="527866" y="288499"/>
                  </a:lnTo>
                  <a:lnTo>
                    <a:pt x="527866" y="287240"/>
                  </a:lnTo>
                  <a:cubicBezTo>
                    <a:pt x="527866" y="285980"/>
                    <a:pt x="527866" y="284720"/>
                    <a:pt x="527866" y="282200"/>
                  </a:cubicBezTo>
                  <a:cubicBezTo>
                    <a:pt x="527866" y="279681"/>
                    <a:pt x="527866" y="277161"/>
                    <a:pt x="527866" y="275901"/>
                  </a:cubicBezTo>
                  <a:cubicBezTo>
                    <a:pt x="527866" y="274641"/>
                    <a:pt x="527866" y="273382"/>
                    <a:pt x="527866" y="272122"/>
                  </a:cubicBezTo>
                  <a:cubicBezTo>
                    <a:pt x="527866" y="268342"/>
                    <a:pt x="527866" y="264563"/>
                    <a:pt x="527866" y="260783"/>
                  </a:cubicBezTo>
                  <a:cubicBezTo>
                    <a:pt x="527866" y="259523"/>
                    <a:pt x="527866" y="258264"/>
                    <a:pt x="527866" y="257004"/>
                  </a:cubicBezTo>
                  <a:cubicBezTo>
                    <a:pt x="527866" y="257004"/>
                    <a:pt x="527866" y="257004"/>
                    <a:pt x="527866" y="255744"/>
                  </a:cubicBezTo>
                  <a:cubicBezTo>
                    <a:pt x="527866" y="254484"/>
                    <a:pt x="527866" y="253224"/>
                    <a:pt x="527866" y="251965"/>
                  </a:cubicBezTo>
                  <a:cubicBezTo>
                    <a:pt x="527866" y="251965"/>
                    <a:pt x="527866" y="251965"/>
                    <a:pt x="527866" y="251965"/>
                  </a:cubicBezTo>
                  <a:cubicBezTo>
                    <a:pt x="527866" y="250705"/>
                    <a:pt x="527866" y="250705"/>
                    <a:pt x="527866" y="249445"/>
                  </a:cubicBezTo>
                  <a:lnTo>
                    <a:pt x="527866" y="249445"/>
                  </a:lnTo>
                  <a:lnTo>
                    <a:pt x="527866" y="249445"/>
                  </a:lnTo>
                  <a:lnTo>
                    <a:pt x="527866" y="249445"/>
                  </a:lnTo>
                  <a:cubicBezTo>
                    <a:pt x="527866" y="249445"/>
                    <a:pt x="527866" y="249445"/>
                    <a:pt x="527866" y="249445"/>
                  </a:cubicBezTo>
                  <a:lnTo>
                    <a:pt x="527866" y="249445"/>
                  </a:lnTo>
                  <a:cubicBezTo>
                    <a:pt x="527866" y="249445"/>
                    <a:pt x="527866" y="249445"/>
                    <a:pt x="527866" y="249445"/>
                  </a:cubicBezTo>
                  <a:lnTo>
                    <a:pt x="527866" y="249445"/>
                  </a:lnTo>
                  <a:cubicBezTo>
                    <a:pt x="527866" y="248185"/>
                    <a:pt x="527866" y="248185"/>
                    <a:pt x="527866" y="246925"/>
                  </a:cubicBezTo>
                  <a:lnTo>
                    <a:pt x="527866" y="245666"/>
                  </a:lnTo>
                  <a:cubicBezTo>
                    <a:pt x="527866" y="243146"/>
                    <a:pt x="527866" y="240626"/>
                    <a:pt x="529126" y="239366"/>
                  </a:cubicBezTo>
                  <a:cubicBezTo>
                    <a:pt x="529126" y="236847"/>
                    <a:pt x="530386" y="234327"/>
                    <a:pt x="531645" y="230548"/>
                  </a:cubicBezTo>
                  <a:cubicBezTo>
                    <a:pt x="532905" y="226768"/>
                    <a:pt x="534165" y="224248"/>
                    <a:pt x="535425" y="221729"/>
                  </a:cubicBezTo>
                  <a:cubicBezTo>
                    <a:pt x="536685" y="219209"/>
                    <a:pt x="539204" y="216690"/>
                    <a:pt x="540464" y="214170"/>
                  </a:cubicBezTo>
                  <a:cubicBezTo>
                    <a:pt x="540464" y="214170"/>
                    <a:pt x="540464" y="214170"/>
                    <a:pt x="540464" y="214170"/>
                  </a:cubicBezTo>
                  <a:cubicBezTo>
                    <a:pt x="540464" y="212910"/>
                    <a:pt x="541724" y="212910"/>
                    <a:pt x="541724" y="211650"/>
                  </a:cubicBezTo>
                  <a:cubicBezTo>
                    <a:pt x="541724" y="211650"/>
                    <a:pt x="542984" y="210390"/>
                    <a:pt x="542984" y="210390"/>
                  </a:cubicBezTo>
                  <a:cubicBezTo>
                    <a:pt x="542984" y="210390"/>
                    <a:pt x="542984" y="210390"/>
                    <a:pt x="542984" y="210390"/>
                  </a:cubicBezTo>
                  <a:cubicBezTo>
                    <a:pt x="542984" y="210390"/>
                    <a:pt x="542984" y="209131"/>
                    <a:pt x="544244" y="209131"/>
                  </a:cubicBezTo>
                  <a:cubicBezTo>
                    <a:pt x="545504" y="207871"/>
                    <a:pt x="546763" y="205351"/>
                    <a:pt x="549283" y="204091"/>
                  </a:cubicBezTo>
                  <a:cubicBezTo>
                    <a:pt x="550543" y="202831"/>
                    <a:pt x="553063" y="200312"/>
                    <a:pt x="555582" y="199052"/>
                  </a:cubicBezTo>
                  <a:cubicBezTo>
                    <a:pt x="556842" y="199052"/>
                    <a:pt x="558102" y="197792"/>
                    <a:pt x="559362" y="197792"/>
                  </a:cubicBezTo>
                  <a:cubicBezTo>
                    <a:pt x="560621" y="197792"/>
                    <a:pt x="561881" y="196532"/>
                    <a:pt x="563141" y="196532"/>
                  </a:cubicBezTo>
                  <a:cubicBezTo>
                    <a:pt x="566920" y="195273"/>
                    <a:pt x="571960" y="194013"/>
                    <a:pt x="575739" y="194013"/>
                  </a:cubicBezTo>
                  <a:cubicBezTo>
                    <a:pt x="576999" y="194013"/>
                    <a:pt x="576999" y="194013"/>
                    <a:pt x="578259" y="194013"/>
                  </a:cubicBezTo>
                  <a:cubicBezTo>
                    <a:pt x="583298" y="194013"/>
                    <a:pt x="589597" y="194013"/>
                    <a:pt x="594637" y="195273"/>
                  </a:cubicBezTo>
                  <a:cubicBezTo>
                    <a:pt x="594637" y="195273"/>
                    <a:pt x="595896" y="195273"/>
                    <a:pt x="595896" y="195273"/>
                  </a:cubicBezTo>
                  <a:cubicBezTo>
                    <a:pt x="599676" y="196532"/>
                    <a:pt x="603455" y="196532"/>
                    <a:pt x="605975" y="197792"/>
                  </a:cubicBezTo>
                  <a:cubicBezTo>
                    <a:pt x="609755" y="199052"/>
                    <a:pt x="612274" y="200312"/>
                    <a:pt x="616054" y="202831"/>
                  </a:cubicBezTo>
                  <a:lnTo>
                    <a:pt x="616054" y="202831"/>
                  </a:lnTo>
                  <a:cubicBezTo>
                    <a:pt x="617313" y="204091"/>
                    <a:pt x="619833" y="205351"/>
                    <a:pt x="621093" y="206611"/>
                  </a:cubicBezTo>
                  <a:cubicBezTo>
                    <a:pt x="621093" y="206611"/>
                    <a:pt x="621093" y="206611"/>
                    <a:pt x="622353" y="206611"/>
                  </a:cubicBezTo>
                  <a:cubicBezTo>
                    <a:pt x="623613" y="207871"/>
                    <a:pt x="624872" y="207871"/>
                    <a:pt x="624872" y="209131"/>
                  </a:cubicBezTo>
                  <a:cubicBezTo>
                    <a:pt x="624872" y="209131"/>
                    <a:pt x="624872" y="209131"/>
                    <a:pt x="626132" y="210390"/>
                  </a:cubicBezTo>
                  <a:cubicBezTo>
                    <a:pt x="627392" y="211650"/>
                    <a:pt x="628652" y="212910"/>
                    <a:pt x="629912" y="214170"/>
                  </a:cubicBezTo>
                  <a:cubicBezTo>
                    <a:pt x="631172" y="215430"/>
                    <a:pt x="631172" y="216690"/>
                    <a:pt x="632431" y="217949"/>
                  </a:cubicBezTo>
                  <a:cubicBezTo>
                    <a:pt x="633691" y="220469"/>
                    <a:pt x="636211" y="224248"/>
                    <a:pt x="637471" y="228028"/>
                  </a:cubicBezTo>
                  <a:cubicBezTo>
                    <a:pt x="638730" y="230548"/>
                    <a:pt x="638730" y="233067"/>
                    <a:pt x="639990" y="235587"/>
                  </a:cubicBezTo>
                  <a:lnTo>
                    <a:pt x="639990" y="236847"/>
                  </a:lnTo>
                  <a:cubicBezTo>
                    <a:pt x="641250" y="240626"/>
                    <a:pt x="641250" y="243146"/>
                    <a:pt x="642510" y="246925"/>
                  </a:cubicBezTo>
                  <a:cubicBezTo>
                    <a:pt x="642510" y="249445"/>
                    <a:pt x="643770" y="250705"/>
                    <a:pt x="643770" y="253224"/>
                  </a:cubicBezTo>
                  <a:lnTo>
                    <a:pt x="643770" y="253224"/>
                  </a:lnTo>
                  <a:cubicBezTo>
                    <a:pt x="643770" y="254484"/>
                    <a:pt x="643770" y="255744"/>
                    <a:pt x="643770" y="257004"/>
                  </a:cubicBezTo>
                  <a:cubicBezTo>
                    <a:pt x="645029" y="262043"/>
                    <a:pt x="646289" y="265823"/>
                    <a:pt x="647549" y="270862"/>
                  </a:cubicBezTo>
                  <a:cubicBezTo>
                    <a:pt x="647549" y="272122"/>
                    <a:pt x="648809" y="274641"/>
                    <a:pt x="648809" y="275901"/>
                  </a:cubicBezTo>
                  <a:lnTo>
                    <a:pt x="648809" y="275901"/>
                  </a:lnTo>
                  <a:cubicBezTo>
                    <a:pt x="650069" y="278421"/>
                    <a:pt x="650069" y="282200"/>
                    <a:pt x="651329" y="284720"/>
                  </a:cubicBezTo>
                  <a:cubicBezTo>
                    <a:pt x="652589" y="288499"/>
                    <a:pt x="653848" y="293539"/>
                    <a:pt x="655108" y="297318"/>
                  </a:cubicBezTo>
                  <a:cubicBezTo>
                    <a:pt x="656368" y="302358"/>
                    <a:pt x="658888" y="306137"/>
                    <a:pt x="660148" y="311176"/>
                  </a:cubicBezTo>
                  <a:cubicBezTo>
                    <a:pt x="660148" y="312436"/>
                    <a:pt x="661407" y="313696"/>
                    <a:pt x="661407" y="314956"/>
                  </a:cubicBezTo>
                  <a:cubicBezTo>
                    <a:pt x="662667" y="317475"/>
                    <a:pt x="663927" y="318735"/>
                    <a:pt x="665187" y="321255"/>
                  </a:cubicBezTo>
                  <a:cubicBezTo>
                    <a:pt x="665187" y="322515"/>
                    <a:pt x="666447" y="323775"/>
                    <a:pt x="666447" y="325034"/>
                  </a:cubicBezTo>
                  <a:cubicBezTo>
                    <a:pt x="667706" y="327554"/>
                    <a:pt x="668966" y="330074"/>
                    <a:pt x="670226" y="331333"/>
                  </a:cubicBezTo>
                  <a:cubicBezTo>
                    <a:pt x="674005" y="337633"/>
                    <a:pt x="677785" y="345192"/>
                    <a:pt x="681564" y="351491"/>
                  </a:cubicBezTo>
                  <a:cubicBezTo>
                    <a:pt x="681564" y="352751"/>
                    <a:pt x="682824" y="352751"/>
                    <a:pt x="682824" y="354010"/>
                  </a:cubicBezTo>
                  <a:cubicBezTo>
                    <a:pt x="686604" y="359050"/>
                    <a:pt x="690383" y="364089"/>
                    <a:pt x="694163" y="369128"/>
                  </a:cubicBezTo>
                  <a:cubicBezTo>
                    <a:pt x="694163" y="369128"/>
                    <a:pt x="695422" y="370388"/>
                    <a:pt x="695422" y="370388"/>
                  </a:cubicBezTo>
                  <a:cubicBezTo>
                    <a:pt x="695422" y="371648"/>
                    <a:pt x="696682" y="371648"/>
                    <a:pt x="696682" y="372908"/>
                  </a:cubicBezTo>
                  <a:cubicBezTo>
                    <a:pt x="696682" y="370388"/>
                    <a:pt x="696682" y="367868"/>
                    <a:pt x="696682" y="365349"/>
                  </a:cubicBezTo>
                  <a:cubicBezTo>
                    <a:pt x="696682" y="364089"/>
                    <a:pt x="696682" y="362829"/>
                    <a:pt x="696682" y="361569"/>
                  </a:cubicBezTo>
                  <a:cubicBezTo>
                    <a:pt x="696682" y="360309"/>
                    <a:pt x="696682" y="359050"/>
                    <a:pt x="696682" y="357790"/>
                  </a:cubicBezTo>
                  <a:lnTo>
                    <a:pt x="696682" y="356530"/>
                  </a:lnTo>
                  <a:cubicBezTo>
                    <a:pt x="696682" y="355270"/>
                    <a:pt x="696682" y="352751"/>
                    <a:pt x="696682" y="351491"/>
                  </a:cubicBezTo>
                  <a:lnTo>
                    <a:pt x="696682" y="351491"/>
                  </a:lnTo>
                  <a:cubicBezTo>
                    <a:pt x="696682" y="348971"/>
                    <a:pt x="696682" y="345192"/>
                    <a:pt x="696682" y="342672"/>
                  </a:cubicBezTo>
                  <a:lnTo>
                    <a:pt x="696682" y="341412"/>
                  </a:lnTo>
                  <a:lnTo>
                    <a:pt x="696682" y="341412"/>
                  </a:lnTo>
                  <a:cubicBezTo>
                    <a:pt x="696682" y="338892"/>
                    <a:pt x="696682" y="337633"/>
                    <a:pt x="696682" y="335113"/>
                  </a:cubicBezTo>
                  <a:lnTo>
                    <a:pt x="696682" y="333853"/>
                  </a:lnTo>
                  <a:cubicBezTo>
                    <a:pt x="696682" y="332593"/>
                    <a:pt x="696682" y="332593"/>
                    <a:pt x="696682" y="331333"/>
                  </a:cubicBezTo>
                  <a:cubicBezTo>
                    <a:pt x="696682" y="330074"/>
                    <a:pt x="696682" y="328814"/>
                    <a:pt x="696682" y="327554"/>
                  </a:cubicBezTo>
                  <a:lnTo>
                    <a:pt x="696682" y="326294"/>
                  </a:lnTo>
                  <a:cubicBezTo>
                    <a:pt x="696682" y="325034"/>
                    <a:pt x="696682" y="322515"/>
                    <a:pt x="696682" y="321255"/>
                  </a:cubicBezTo>
                  <a:cubicBezTo>
                    <a:pt x="696682" y="319995"/>
                    <a:pt x="696682" y="317475"/>
                    <a:pt x="696682" y="316216"/>
                  </a:cubicBezTo>
                  <a:lnTo>
                    <a:pt x="696682" y="314956"/>
                  </a:lnTo>
                  <a:lnTo>
                    <a:pt x="696682" y="313696"/>
                  </a:lnTo>
                  <a:cubicBezTo>
                    <a:pt x="696682" y="312436"/>
                    <a:pt x="696682" y="311176"/>
                    <a:pt x="696682" y="309916"/>
                  </a:cubicBezTo>
                  <a:cubicBezTo>
                    <a:pt x="696682" y="306137"/>
                    <a:pt x="696682" y="302358"/>
                    <a:pt x="696682" y="299838"/>
                  </a:cubicBezTo>
                  <a:cubicBezTo>
                    <a:pt x="696682" y="298578"/>
                    <a:pt x="696682" y="297318"/>
                    <a:pt x="696682" y="296058"/>
                  </a:cubicBezTo>
                  <a:cubicBezTo>
                    <a:pt x="696682" y="294799"/>
                    <a:pt x="696682" y="293539"/>
                    <a:pt x="696682" y="292279"/>
                  </a:cubicBezTo>
                  <a:cubicBezTo>
                    <a:pt x="696682" y="289759"/>
                    <a:pt x="696682" y="285980"/>
                    <a:pt x="696682" y="283460"/>
                  </a:cubicBezTo>
                  <a:cubicBezTo>
                    <a:pt x="696682" y="280940"/>
                    <a:pt x="696682" y="278421"/>
                    <a:pt x="696682" y="274641"/>
                  </a:cubicBezTo>
                  <a:cubicBezTo>
                    <a:pt x="696682" y="274641"/>
                    <a:pt x="696682" y="273382"/>
                    <a:pt x="696682" y="273382"/>
                  </a:cubicBezTo>
                  <a:lnTo>
                    <a:pt x="696682" y="272122"/>
                  </a:lnTo>
                  <a:cubicBezTo>
                    <a:pt x="696682" y="270862"/>
                    <a:pt x="696682" y="269602"/>
                    <a:pt x="696682" y="269602"/>
                  </a:cubicBezTo>
                  <a:cubicBezTo>
                    <a:pt x="696682" y="267083"/>
                    <a:pt x="696682" y="265823"/>
                    <a:pt x="696682" y="263303"/>
                  </a:cubicBezTo>
                  <a:lnTo>
                    <a:pt x="696682" y="263303"/>
                  </a:lnTo>
                  <a:cubicBezTo>
                    <a:pt x="696682" y="262043"/>
                    <a:pt x="696682" y="260783"/>
                    <a:pt x="696682" y="259523"/>
                  </a:cubicBezTo>
                  <a:cubicBezTo>
                    <a:pt x="696682" y="257004"/>
                    <a:pt x="696682" y="253224"/>
                    <a:pt x="696682" y="249445"/>
                  </a:cubicBezTo>
                  <a:cubicBezTo>
                    <a:pt x="696682" y="248185"/>
                    <a:pt x="696682" y="245666"/>
                    <a:pt x="696682" y="244406"/>
                  </a:cubicBezTo>
                  <a:cubicBezTo>
                    <a:pt x="696682" y="243146"/>
                    <a:pt x="696682" y="241886"/>
                    <a:pt x="696682" y="240626"/>
                  </a:cubicBezTo>
                  <a:lnTo>
                    <a:pt x="696682" y="240626"/>
                  </a:lnTo>
                  <a:lnTo>
                    <a:pt x="696682" y="240626"/>
                  </a:lnTo>
                  <a:cubicBezTo>
                    <a:pt x="696682" y="239366"/>
                    <a:pt x="696682" y="236847"/>
                    <a:pt x="696682" y="235587"/>
                  </a:cubicBezTo>
                  <a:cubicBezTo>
                    <a:pt x="696682" y="235587"/>
                    <a:pt x="696682" y="234327"/>
                    <a:pt x="696682" y="234327"/>
                  </a:cubicBezTo>
                  <a:lnTo>
                    <a:pt x="696682" y="233067"/>
                  </a:lnTo>
                  <a:cubicBezTo>
                    <a:pt x="696682" y="233067"/>
                    <a:pt x="696682" y="233067"/>
                    <a:pt x="696682" y="233067"/>
                  </a:cubicBezTo>
                  <a:cubicBezTo>
                    <a:pt x="696682" y="231807"/>
                    <a:pt x="696682" y="231807"/>
                    <a:pt x="697942" y="230548"/>
                  </a:cubicBezTo>
                  <a:lnTo>
                    <a:pt x="697942" y="229288"/>
                  </a:lnTo>
                  <a:cubicBezTo>
                    <a:pt x="697942" y="228028"/>
                    <a:pt x="697942" y="226768"/>
                    <a:pt x="699202" y="225508"/>
                  </a:cubicBezTo>
                  <a:cubicBezTo>
                    <a:pt x="699202" y="225508"/>
                    <a:pt x="699202" y="224248"/>
                    <a:pt x="699202" y="224248"/>
                  </a:cubicBezTo>
                  <a:cubicBezTo>
                    <a:pt x="699202" y="222989"/>
                    <a:pt x="699202" y="221729"/>
                    <a:pt x="700462" y="221729"/>
                  </a:cubicBezTo>
                  <a:cubicBezTo>
                    <a:pt x="700462" y="221729"/>
                    <a:pt x="701722" y="221729"/>
                    <a:pt x="701722" y="221729"/>
                  </a:cubicBezTo>
                  <a:cubicBezTo>
                    <a:pt x="701722" y="221729"/>
                    <a:pt x="702981" y="221729"/>
                    <a:pt x="702981" y="221729"/>
                  </a:cubicBezTo>
                  <a:cubicBezTo>
                    <a:pt x="702981" y="221729"/>
                    <a:pt x="702981" y="221729"/>
                    <a:pt x="702981" y="221729"/>
                  </a:cubicBezTo>
                  <a:lnTo>
                    <a:pt x="702981" y="221729"/>
                  </a:lnTo>
                  <a:cubicBezTo>
                    <a:pt x="702981" y="221729"/>
                    <a:pt x="702981" y="221729"/>
                    <a:pt x="702981" y="221729"/>
                  </a:cubicBezTo>
                  <a:cubicBezTo>
                    <a:pt x="702981" y="221729"/>
                    <a:pt x="702981" y="221729"/>
                    <a:pt x="702981" y="221729"/>
                  </a:cubicBezTo>
                  <a:cubicBezTo>
                    <a:pt x="702981" y="221729"/>
                    <a:pt x="702981" y="221729"/>
                    <a:pt x="702981" y="221729"/>
                  </a:cubicBezTo>
                  <a:lnTo>
                    <a:pt x="702981" y="221729"/>
                  </a:lnTo>
                  <a:lnTo>
                    <a:pt x="702981" y="221729"/>
                  </a:lnTo>
                  <a:cubicBezTo>
                    <a:pt x="702981" y="221729"/>
                    <a:pt x="702981" y="221729"/>
                    <a:pt x="702981" y="221729"/>
                  </a:cubicBezTo>
                  <a:cubicBezTo>
                    <a:pt x="702981" y="221729"/>
                    <a:pt x="702981" y="221729"/>
                    <a:pt x="702981" y="222989"/>
                  </a:cubicBezTo>
                  <a:cubicBezTo>
                    <a:pt x="702981" y="222989"/>
                    <a:pt x="702981" y="222989"/>
                    <a:pt x="702981" y="222989"/>
                  </a:cubicBezTo>
                  <a:cubicBezTo>
                    <a:pt x="702981" y="222989"/>
                    <a:pt x="702981" y="222989"/>
                    <a:pt x="702981" y="222989"/>
                  </a:cubicBezTo>
                  <a:cubicBezTo>
                    <a:pt x="702981" y="222989"/>
                    <a:pt x="702981" y="222989"/>
                    <a:pt x="704241" y="222989"/>
                  </a:cubicBezTo>
                  <a:lnTo>
                    <a:pt x="704241" y="222989"/>
                  </a:lnTo>
                  <a:lnTo>
                    <a:pt x="704241" y="222989"/>
                  </a:lnTo>
                  <a:cubicBezTo>
                    <a:pt x="705501" y="222989"/>
                    <a:pt x="706761" y="224248"/>
                    <a:pt x="706761" y="225508"/>
                  </a:cubicBezTo>
                  <a:cubicBezTo>
                    <a:pt x="709281" y="233067"/>
                    <a:pt x="711800" y="239366"/>
                    <a:pt x="715580" y="244406"/>
                  </a:cubicBezTo>
                  <a:cubicBezTo>
                    <a:pt x="716840" y="245666"/>
                    <a:pt x="716840" y="246925"/>
                    <a:pt x="718099" y="248185"/>
                  </a:cubicBezTo>
                  <a:cubicBezTo>
                    <a:pt x="718099" y="249445"/>
                    <a:pt x="719359" y="249445"/>
                    <a:pt x="719359" y="250705"/>
                  </a:cubicBezTo>
                  <a:lnTo>
                    <a:pt x="719359" y="250705"/>
                  </a:lnTo>
                  <a:cubicBezTo>
                    <a:pt x="720619" y="253224"/>
                    <a:pt x="721879" y="255744"/>
                    <a:pt x="723139" y="258264"/>
                  </a:cubicBezTo>
                  <a:lnTo>
                    <a:pt x="724398" y="260783"/>
                  </a:lnTo>
                  <a:cubicBezTo>
                    <a:pt x="725658" y="263303"/>
                    <a:pt x="726918" y="264563"/>
                    <a:pt x="728178" y="267083"/>
                  </a:cubicBezTo>
                  <a:lnTo>
                    <a:pt x="729438" y="268342"/>
                  </a:lnTo>
                  <a:cubicBezTo>
                    <a:pt x="730698" y="270862"/>
                    <a:pt x="731957" y="272122"/>
                    <a:pt x="733217" y="274641"/>
                  </a:cubicBezTo>
                  <a:lnTo>
                    <a:pt x="735737" y="278421"/>
                  </a:lnTo>
                  <a:cubicBezTo>
                    <a:pt x="739516" y="284720"/>
                    <a:pt x="743296" y="291019"/>
                    <a:pt x="745815" y="297318"/>
                  </a:cubicBezTo>
                  <a:cubicBezTo>
                    <a:pt x="747075" y="299838"/>
                    <a:pt x="748335" y="301098"/>
                    <a:pt x="748335" y="303617"/>
                  </a:cubicBezTo>
                  <a:cubicBezTo>
                    <a:pt x="749595" y="304877"/>
                    <a:pt x="749595" y="307397"/>
                    <a:pt x="750855" y="308657"/>
                  </a:cubicBezTo>
                  <a:cubicBezTo>
                    <a:pt x="752114" y="309916"/>
                    <a:pt x="752114" y="311176"/>
                    <a:pt x="753374" y="313696"/>
                  </a:cubicBezTo>
                  <a:cubicBezTo>
                    <a:pt x="754634" y="314956"/>
                    <a:pt x="754634" y="317475"/>
                    <a:pt x="755894" y="318735"/>
                  </a:cubicBezTo>
                  <a:lnTo>
                    <a:pt x="755894" y="318735"/>
                  </a:lnTo>
                  <a:lnTo>
                    <a:pt x="755894" y="318735"/>
                  </a:lnTo>
                  <a:cubicBezTo>
                    <a:pt x="757154" y="321255"/>
                    <a:pt x="758414" y="322515"/>
                    <a:pt x="758414" y="325034"/>
                  </a:cubicBezTo>
                  <a:lnTo>
                    <a:pt x="758414" y="325034"/>
                  </a:lnTo>
                  <a:cubicBezTo>
                    <a:pt x="758414" y="325034"/>
                    <a:pt x="758414" y="325034"/>
                    <a:pt x="758414" y="325034"/>
                  </a:cubicBezTo>
                  <a:lnTo>
                    <a:pt x="758414" y="325034"/>
                  </a:lnTo>
                  <a:cubicBezTo>
                    <a:pt x="759673" y="327554"/>
                    <a:pt x="760933" y="330074"/>
                    <a:pt x="762193" y="332593"/>
                  </a:cubicBezTo>
                  <a:cubicBezTo>
                    <a:pt x="763453" y="336373"/>
                    <a:pt x="765973" y="340152"/>
                    <a:pt x="767232" y="343932"/>
                  </a:cubicBezTo>
                  <a:cubicBezTo>
                    <a:pt x="768492" y="347711"/>
                    <a:pt x="769752" y="350231"/>
                    <a:pt x="771012" y="354010"/>
                  </a:cubicBezTo>
                  <a:lnTo>
                    <a:pt x="771012" y="355270"/>
                  </a:lnTo>
                  <a:cubicBezTo>
                    <a:pt x="772272" y="357790"/>
                    <a:pt x="773532" y="361569"/>
                    <a:pt x="774791" y="365349"/>
                  </a:cubicBezTo>
                  <a:lnTo>
                    <a:pt x="776051" y="367868"/>
                  </a:lnTo>
                  <a:cubicBezTo>
                    <a:pt x="777311" y="369128"/>
                    <a:pt x="777311" y="371648"/>
                    <a:pt x="778571" y="372908"/>
                  </a:cubicBezTo>
                  <a:cubicBezTo>
                    <a:pt x="778571" y="371648"/>
                    <a:pt x="778571" y="370388"/>
                    <a:pt x="778571" y="369128"/>
                  </a:cubicBezTo>
                  <a:cubicBezTo>
                    <a:pt x="778571" y="370388"/>
                    <a:pt x="778571" y="371648"/>
                    <a:pt x="778571" y="372908"/>
                  </a:cubicBezTo>
                  <a:cubicBezTo>
                    <a:pt x="778571" y="371648"/>
                    <a:pt x="778571" y="370388"/>
                    <a:pt x="777311" y="367868"/>
                  </a:cubicBezTo>
                  <a:cubicBezTo>
                    <a:pt x="777311" y="367868"/>
                    <a:pt x="777311" y="367868"/>
                    <a:pt x="777311" y="367868"/>
                  </a:cubicBezTo>
                  <a:cubicBezTo>
                    <a:pt x="777311" y="367868"/>
                    <a:pt x="777311" y="366608"/>
                    <a:pt x="777311" y="366608"/>
                  </a:cubicBezTo>
                  <a:cubicBezTo>
                    <a:pt x="777311" y="366608"/>
                    <a:pt x="777311" y="366608"/>
                    <a:pt x="777311" y="366608"/>
                  </a:cubicBezTo>
                  <a:cubicBezTo>
                    <a:pt x="777311" y="366608"/>
                    <a:pt x="777311" y="366608"/>
                    <a:pt x="777311" y="366608"/>
                  </a:cubicBezTo>
                  <a:cubicBezTo>
                    <a:pt x="777311" y="366608"/>
                    <a:pt x="777311" y="366608"/>
                    <a:pt x="777311" y="366608"/>
                  </a:cubicBezTo>
                  <a:cubicBezTo>
                    <a:pt x="777311" y="366608"/>
                    <a:pt x="777311" y="366608"/>
                    <a:pt x="777311" y="366608"/>
                  </a:cubicBezTo>
                  <a:cubicBezTo>
                    <a:pt x="777311" y="366608"/>
                    <a:pt x="777311" y="365349"/>
                    <a:pt x="777311" y="365349"/>
                  </a:cubicBezTo>
                  <a:cubicBezTo>
                    <a:pt x="777311" y="365349"/>
                    <a:pt x="777311" y="365349"/>
                    <a:pt x="777311" y="365349"/>
                  </a:cubicBezTo>
                  <a:cubicBezTo>
                    <a:pt x="777311" y="365349"/>
                    <a:pt x="777311" y="365349"/>
                    <a:pt x="777311" y="365349"/>
                  </a:cubicBezTo>
                  <a:cubicBezTo>
                    <a:pt x="777311" y="365349"/>
                    <a:pt x="777311" y="365349"/>
                    <a:pt x="777311" y="365349"/>
                  </a:cubicBezTo>
                  <a:cubicBezTo>
                    <a:pt x="777311" y="365349"/>
                    <a:pt x="777311" y="365349"/>
                    <a:pt x="777311" y="365349"/>
                  </a:cubicBezTo>
                  <a:lnTo>
                    <a:pt x="777311" y="362829"/>
                  </a:lnTo>
                  <a:cubicBezTo>
                    <a:pt x="777311" y="362829"/>
                    <a:pt x="777311" y="362829"/>
                    <a:pt x="777311" y="364089"/>
                  </a:cubicBezTo>
                  <a:cubicBezTo>
                    <a:pt x="777311" y="362829"/>
                    <a:pt x="777311" y="360309"/>
                    <a:pt x="776051" y="359050"/>
                  </a:cubicBezTo>
                  <a:cubicBezTo>
                    <a:pt x="774791" y="355270"/>
                    <a:pt x="774791" y="351491"/>
                    <a:pt x="773532" y="346451"/>
                  </a:cubicBezTo>
                  <a:cubicBezTo>
                    <a:pt x="772272" y="338892"/>
                    <a:pt x="771012" y="331333"/>
                    <a:pt x="769752" y="323775"/>
                  </a:cubicBezTo>
                  <a:cubicBezTo>
                    <a:pt x="769752" y="323775"/>
                    <a:pt x="769752" y="323775"/>
                    <a:pt x="769752" y="323775"/>
                  </a:cubicBezTo>
                  <a:cubicBezTo>
                    <a:pt x="768492" y="316216"/>
                    <a:pt x="767232" y="308657"/>
                    <a:pt x="765973" y="299838"/>
                  </a:cubicBezTo>
                  <a:cubicBezTo>
                    <a:pt x="764713" y="288499"/>
                    <a:pt x="763453" y="277161"/>
                    <a:pt x="762193" y="265823"/>
                  </a:cubicBezTo>
                  <a:cubicBezTo>
                    <a:pt x="762193" y="265823"/>
                    <a:pt x="762193" y="265823"/>
                    <a:pt x="762193" y="265823"/>
                  </a:cubicBezTo>
                  <a:lnTo>
                    <a:pt x="760933" y="262043"/>
                  </a:lnTo>
                  <a:cubicBezTo>
                    <a:pt x="759673" y="258264"/>
                    <a:pt x="759673" y="254484"/>
                    <a:pt x="758414" y="250705"/>
                  </a:cubicBezTo>
                  <a:cubicBezTo>
                    <a:pt x="757154" y="245666"/>
                    <a:pt x="755894" y="241886"/>
                    <a:pt x="754634" y="236847"/>
                  </a:cubicBezTo>
                  <a:cubicBezTo>
                    <a:pt x="753374" y="233067"/>
                    <a:pt x="752114" y="229288"/>
                    <a:pt x="750855" y="225508"/>
                  </a:cubicBezTo>
                  <a:lnTo>
                    <a:pt x="750855" y="221729"/>
                  </a:lnTo>
                  <a:lnTo>
                    <a:pt x="750855" y="217949"/>
                  </a:lnTo>
                  <a:cubicBezTo>
                    <a:pt x="750855" y="212910"/>
                    <a:pt x="750855" y="207871"/>
                    <a:pt x="749595" y="202831"/>
                  </a:cubicBezTo>
                  <a:lnTo>
                    <a:pt x="749595" y="201572"/>
                  </a:lnTo>
                  <a:cubicBezTo>
                    <a:pt x="749595" y="200312"/>
                    <a:pt x="749595" y="199052"/>
                    <a:pt x="748335" y="197792"/>
                  </a:cubicBezTo>
                  <a:lnTo>
                    <a:pt x="748335" y="197792"/>
                  </a:lnTo>
                  <a:lnTo>
                    <a:pt x="748335" y="197792"/>
                  </a:lnTo>
                  <a:cubicBezTo>
                    <a:pt x="747075" y="191493"/>
                    <a:pt x="745815" y="185194"/>
                    <a:pt x="743296" y="178895"/>
                  </a:cubicBezTo>
                  <a:cubicBezTo>
                    <a:pt x="742036" y="172596"/>
                    <a:pt x="739516" y="166297"/>
                    <a:pt x="736997" y="158738"/>
                  </a:cubicBezTo>
                  <a:cubicBezTo>
                    <a:pt x="735737" y="156218"/>
                    <a:pt x="735737" y="154958"/>
                    <a:pt x="734477" y="152439"/>
                  </a:cubicBezTo>
                  <a:cubicBezTo>
                    <a:pt x="733217" y="147399"/>
                    <a:pt x="730698" y="142360"/>
                    <a:pt x="729438" y="137321"/>
                  </a:cubicBezTo>
                  <a:cubicBezTo>
                    <a:pt x="726918" y="131022"/>
                    <a:pt x="724398" y="124722"/>
                    <a:pt x="721879" y="118423"/>
                  </a:cubicBezTo>
                  <a:lnTo>
                    <a:pt x="720619" y="117163"/>
                  </a:lnTo>
                  <a:cubicBezTo>
                    <a:pt x="719359" y="114644"/>
                    <a:pt x="718099" y="113384"/>
                    <a:pt x="718099" y="110864"/>
                  </a:cubicBezTo>
                  <a:cubicBezTo>
                    <a:pt x="716840" y="107085"/>
                    <a:pt x="714320" y="103305"/>
                    <a:pt x="713060" y="99526"/>
                  </a:cubicBezTo>
                  <a:lnTo>
                    <a:pt x="713060" y="98266"/>
                  </a:lnTo>
                  <a:cubicBezTo>
                    <a:pt x="710540" y="91967"/>
                    <a:pt x="708021" y="84408"/>
                    <a:pt x="702981" y="79369"/>
                  </a:cubicBezTo>
                  <a:cubicBezTo>
                    <a:pt x="700462" y="75589"/>
                    <a:pt x="697942" y="73070"/>
                    <a:pt x="695422" y="70550"/>
                  </a:cubicBezTo>
                  <a:cubicBezTo>
                    <a:pt x="692903" y="68030"/>
                    <a:pt x="690383" y="65511"/>
                    <a:pt x="687864" y="62991"/>
                  </a:cubicBezTo>
                  <a:lnTo>
                    <a:pt x="686604" y="61731"/>
                  </a:lnTo>
                  <a:cubicBezTo>
                    <a:pt x="684084" y="59212"/>
                    <a:pt x="681564" y="56692"/>
                    <a:pt x="679045" y="54172"/>
                  </a:cubicBezTo>
                  <a:cubicBezTo>
                    <a:pt x="676525" y="51653"/>
                    <a:pt x="672746" y="49133"/>
                    <a:pt x="670226" y="47873"/>
                  </a:cubicBezTo>
                  <a:cubicBezTo>
                    <a:pt x="666447" y="45354"/>
                    <a:pt x="662667" y="42834"/>
                    <a:pt x="660148" y="41574"/>
                  </a:cubicBezTo>
                  <a:cubicBezTo>
                    <a:pt x="656368" y="40314"/>
                    <a:pt x="652589" y="37795"/>
                    <a:pt x="650069" y="36535"/>
                  </a:cubicBezTo>
                  <a:lnTo>
                    <a:pt x="650069" y="36535"/>
                  </a:lnTo>
                  <a:cubicBezTo>
                    <a:pt x="647549" y="35275"/>
                    <a:pt x="643770" y="34015"/>
                    <a:pt x="641250" y="32755"/>
                  </a:cubicBezTo>
                  <a:cubicBezTo>
                    <a:pt x="639990" y="32755"/>
                    <a:pt x="638730" y="31496"/>
                    <a:pt x="637471" y="31496"/>
                  </a:cubicBezTo>
                  <a:cubicBezTo>
                    <a:pt x="634951" y="30236"/>
                    <a:pt x="633691" y="30236"/>
                    <a:pt x="631172" y="28976"/>
                  </a:cubicBezTo>
                  <a:lnTo>
                    <a:pt x="628652" y="27716"/>
                  </a:lnTo>
                  <a:cubicBezTo>
                    <a:pt x="628652" y="27716"/>
                    <a:pt x="628652" y="27716"/>
                    <a:pt x="627392" y="27716"/>
                  </a:cubicBezTo>
                  <a:cubicBezTo>
                    <a:pt x="626132" y="26456"/>
                    <a:pt x="624872" y="26456"/>
                    <a:pt x="622353" y="25196"/>
                  </a:cubicBezTo>
                  <a:cubicBezTo>
                    <a:pt x="618573" y="23937"/>
                    <a:pt x="613534" y="23937"/>
                    <a:pt x="609755" y="22677"/>
                  </a:cubicBezTo>
                  <a:cubicBezTo>
                    <a:pt x="604715" y="21417"/>
                    <a:pt x="599676" y="20157"/>
                    <a:pt x="595896" y="18897"/>
                  </a:cubicBezTo>
                  <a:lnTo>
                    <a:pt x="595896" y="18897"/>
                  </a:lnTo>
                  <a:lnTo>
                    <a:pt x="590857" y="17637"/>
                  </a:lnTo>
                  <a:cubicBezTo>
                    <a:pt x="585818" y="16378"/>
                    <a:pt x="579519" y="15118"/>
                    <a:pt x="574480" y="12598"/>
                  </a:cubicBezTo>
                  <a:cubicBezTo>
                    <a:pt x="570700" y="11338"/>
                    <a:pt x="565661" y="10078"/>
                    <a:pt x="561881" y="8819"/>
                  </a:cubicBezTo>
                  <a:cubicBezTo>
                    <a:pt x="558102" y="7559"/>
                    <a:pt x="555582" y="6299"/>
                    <a:pt x="551803" y="6299"/>
                  </a:cubicBezTo>
                  <a:lnTo>
                    <a:pt x="550543" y="6299"/>
                  </a:lnTo>
                  <a:cubicBezTo>
                    <a:pt x="546763" y="5039"/>
                    <a:pt x="544244" y="3779"/>
                    <a:pt x="540464" y="3779"/>
                  </a:cubicBezTo>
                  <a:cubicBezTo>
                    <a:pt x="537945" y="3779"/>
                    <a:pt x="535425" y="2520"/>
                    <a:pt x="534165" y="2520"/>
                  </a:cubicBezTo>
                  <a:cubicBezTo>
                    <a:pt x="532905" y="2520"/>
                    <a:pt x="531645" y="2520"/>
                    <a:pt x="530386" y="1260"/>
                  </a:cubicBezTo>
                  <a:cubicBezTo>
                    <a:pt x="529126" y="1260"/>
                    <a:pt x="527866" y="1260"/>
                    <a:pt x="526606" y="0"/>
                  </a:cubicBezTo>
                  <a:cubicBezTo>
                    <a:pt x="526606" y="0"/>
                    <a:pt x="526606" y="0"/>
                    <a:pt x="526606" y="0"/>
                  </a:cubicBezTo>
                  <a:cubicBezTo>
                    <a:pt x="526606" y="0"/>
                    <a:pt x="526606" y="0"/>
                    <a:pt x="526606" y="0"/>
                  </a:cubicBezTo>
                  <a:cubicBezTo>
                    <a:pt x="526606" y="0"/>
                    <a:pt x="526606" y="0"/>
                    <a:pt x="526606" y="0"/>
                  </a:cubicBezTo>
                  <a:cubicBezTo>
                    <a:pt x="537945" y="13858"/>
                    <a:pt x="537945" y="15118"/>
                    <a:pt x="537945" y="16378"/>
                  </a:cubicBezTo>
                  <a:close/>
                  <a:moveTo>
                    <a:pt x="162517" y="388025"/>
                  </a:moveTo>
                  <a:lnTo>
                    <a:pt x="162517" y="388025"/>
                  </a:lnTo>
                  <a:lnTo>
                    <a:pt x="162517" y="388025"/>
                  </a:lnTo>
                  <a:lnTo>
                    <a:pt x="162517" y="388025"/>
                  </a:lnTo>
                  <a:close/>
                  <a:moveTo>
                    <a:pt x="354010" y="725658"/>
                  </a:moveTo>
                  <a:cubicBezTo>
                    <a:pt x="352751" y="725658"/>
                    <a:pt x="352751" y="726918"/>
                    <a:pt x="351491" y="726918"/>
                  </a:cubicBezTo>
                  <a:cubicBezTo>
                    <a:pt x="352751" y="725658"/>
                    <a:pt x="354010" y="725658"/>
                    <a:pt x="354010" y="725658"/>
                  </a:cubicBezTo>
                  <a:close/>
                </a:path>
              </a:pathLst>
            </a:custGeom>
            <a:solidFill>
              <a:srgbClr val="54F3F5"/>
            </a:solidFill>
            <a:ln w="12584" cap="flat">
              <a:noFill/>
              <a:prstDash val="solid"/>
              <a:miter/>
            </a:ln>
          </p:spPr>
          <p:txBody>
            <a:bodyPr rtlCol="0" anchor="ctr"/>
            <a:lstStyle/>
            <a:p>
              <a:endParaRPr lang="zh-CN" altLang="en-US"/>
            </a:p>
          </p:txBody>
        </p:sp>
        <p:sp>
          <p:nvSpPr>
            <p:cNvPr id="10138" name="任意多边形: 形状 10137"/>
            <p:cNvSpPr/>
            <p:nvPr/>
          </p:nvSpPr>
          <p:spPr>
            <a:xfrm>
              <a:off x="2847916" y="3134201"/>
              <a:ext cx="340152" cy="730698"/>
            </a:xfrm>
            <a:custGeom>
              <a:avLst/>
              <a:gdLst>
                <a:gd name="connsiteX0" fmla="*/ 313696 w 340152"/>
                <a:gd name="connsiteY0" fmla="*/ 645030 h 730697"/>
                <a:gd name="connsiteX1" fmla="*/ 279681 w 340152"/>
                <a:gd name="connsiteY1" fmla="*/ 495110 h 730697"/>
                <a:gd name="connsiteX2" fmla="*/ 269602 w 340152"/>
                <a:gd name="connsiteY2" fmla="*/ 479993 h 730697"/>
                <a:gd name="connsiteX3" fmla="*/ 269602 w 340152"/>
                <a:gd name="connsiteY3" fmla="*/ 478733 h 730697"/>
                <a:gd name="connsiteX4" fmla="*/ 268342 w 340152"/>
                <a:gd name="connsiteY4" fmla="*/ 477473 h 730697"/>
                <a:gd name="connsiteX5" fmla="*/ 268342 w 340152"/>
                <a:gd name="connsiteY5" fmla="*/ 477473 h 730697"/>
                <a:gd name="connsiteX6" fmla="*/ 263303 w 340152"/>
                <a:gd name="connsiteY6" fmla="*/ 469914 h 730697"/>
                <a:gd name="connsiteX7" fmla="*/ 258264 w 340152"/>
                <a:gd name="connsiteY7" fmla="*/ 459836 h 730697"/>
                <a:gd name="connsiteX8" fmla="*/ 249445 w 340152"/>
                <a:gd name="connsiteY8" fmla="*/ 440938 h 730697"/>
                <a:gd name="connsiteX9" fmla="*/ 248185 w 340152"/>
                <a:gd name="connsiteY9" fmla="*/ 438418 h 730697"/>
                <a:gd name="connsiteX10" fmla="*/ 244406 w 340152"/>
                <a:gd name="connsiteY10" fmla="*/ 430860 h 730697"/>
                <a:gd name="connsiteX11" fmla="*/ 240626 w 340152"/>
                <a:gd name="connsiteY11" fmla="*/ 423301 h 730697"/>
                <a:gd name="connsiteX12" fmla="*/ 239366 w 340152"/>
                <a:gd name="connsiteY12" fmla="*/ 420781 h 730697"/>
                <a:gd name="connsiteX13" fmla="*/ 234327 w 340152"/>
                <a:gd name="connsiteY13" fmla="*/ 410702 h 730697"/>
                <a:gd name="connsiteX14" fmla="*/ 231808 w 340152"/>
                <a:gd name="connsiteY14" fmla="*/ 404403 h 730697"/>
                <a:gd name="connsiteX15" fmla="*/ 231808 w 340152"/>
                <a:gd name="connsiteY15" fmla="*/ 404403 h 730697"/>
                <a:gd name="connsiteX16" fmla="*/ 230548 w 340152"/>
                <a:gd name="connsiteY16" fmla="*/ 401884 h 730697"/>
                <a:gd name="connsiteX17" fmla="*/ 222989 w 340152"/>
                <a:gd name="connsiteY17" fmla="*/ 381726 h 730697"/>
                <a:gd name="connsiteX18" fmla="*/ 216690 w 340152"/>
                <a:gd name="connsiteY18" fmla="*/ 361569 h 730697"/>
                <a:gd name="connsiteX19" fmla="*/ 214170 w 340152"/>
                <a:gd name="connsiteY19" fmla="*/ 352751 h 730697"/>
                <a:gd name="connsiteX20" fmla="*/ 214170 w 340152"/>
                <a:gd name="connsiteY20" fmla="*/ 351491 h 730697"/>
                <a:gd name="connsiteX21" fmla="*/ 212910 w 340152"/>
                <a:gd name="connsiteY21" fmla="*/ 345192 h 730697"/>
                <a:gd name="connsiteX22" fmla="*/ 212910 w 340152"/>
                <a:gd name="connsiteY22" fmla="*/ 345192 h 730697"/>
                <a:gd name="connsiteX23" fmla="*/ 211650 w 340152"/>
                <a:gd name="connsiteY23" fmla="*/ 342672 h 730697"/>
                <a:gd name="connsiteX24" fmla="*/ 207871 w 340152"/>
                <a:gd name="connsiteY24" fmla="*/ 322515 h 730697"/>
                <a:gd name="connsiteX25" fmla="*/ 207871 w 340152"/>
                <a:gd name="connsiteY25" fmla="*/ 321255 h 730697"/>
                <a:gd name="connsiteX26" fmla="*/ 206611 w 340152"/>
                <a:gd name="connsiteY26" fmla="*/ 316216 h 730697"/>
                <a:gd name="connsiteX27" fmla="*/ 205351 w 340152"/>
                <a:gd name="connsiteY27" fmla="*/ 311176 h 730697"/>
                <a:gd name="connsiteX28" fmla="*/ 204092 w 340152"/>
                <a:gd name="connsiteY28" fmla="*/ 302358 h 730697"/>
                <a:gd name="connsiteX29" fmla="*/ 204092 w 340152"/>
                <a:gd name="connsiteY29" fmla="*/ 301098 h 730697"/>
                <a:gd name="connsiteX30" fmla="*/ 204092 w 340152"/>
                <a:gd name="connsiteY30" fmla="*/ 297318 h 730697"/>
                <a:gd name="connsiteX31" fmla="*/ 204092 w 340152"/>
                <a:gd name="connsiteY31" fmla="*/ 296058 h 730697"/>
                <a:gd name="connsiteX32" fmla="*/ 204092 w 340152"/>
                <a:gd name="connsiteY32" fmla="*/ 294799 h 730697"/>
                <a:gd name="connsiteX33" fmla="*/ 204092 w 340152"/>
                <a:gd name="connsiteY33" fmla="*/ 289759 h 730697"/>
                <a:gd name="connsiteX34" fmla="*/ 204092 w 340152"/>
                <a:gd name="connsiteY34" fmla="*/ 283460 h 730697"/>
                <a:gd name="connsiteX35" fmla="*/ 204092 w 340152"/>
                <a:gd name="connsiteY35" fmla="*/ 279681 h 730697"/>
                <a:gd name="connsiteX36" fmla="*/ 204092 w 340152"/>
                <a:gd name="connsiteY36" fmla="*/ 268342 h 730697"/>
                <a:gd name="connsiteX37" fmla="*/ 204092 w 340152"/>
                <a:gd name="connsiteY37" fmla="*/ 264563 h 730697"/>
                <a:gd name="connsiteX38" fmla="*/ 204092 w 340152"/>
                <a:gd name="connsiteY38" fmla="*/ 263303 h 730697"/>
                <a:gd name="connsiteX39" fmla="*/ 204092 w 340152"/>
                <a:gd name="connsiteY39" fmla="*/ 259523 h 730697"/>
                <a:gd name="connsiteX40" fmla="*/ 204092 w 340152"/>
                <a:gd name="connsiteY40" fmla="*/ 259523 h 730697"/>
                <a:gd name="connsiteX41" fmla="*/ 204092 w 340152"/>
                <a:gd name="connsiteY41" fmla="*/ 257004 h 730697"/>
                <a:gd name="connsiteX42" fmla="*/ 204092 w 340152"/>
                <a:gd name="connsiteY42" fmla="*/ 257004 h 730697"/>
                <a:gd name="connsiteX43" fmla="*/ 204092 w 340152"/>
                <a:gd name="connsiteY43" fmla="*/ 257004 h 730697"/>
                <a:gd name="connsiteX44" fmla="*/ 204092 w 340152"/>
                <a:gd name="connsiteY44" fmla="*/ 257004 h 730697"/>
                <a:gd name="connsiteX45" fmla="*/ 204092 w 340152"/>
                <a:gd name="connsiteY45" fmla="*/ 257004 h 730697"/>
                <a:gd name="connsiteX46" fmla="*/ 204092 w 340152"/>
                <a:gd name="connsiteY46" fmla="*/ 257004 h 730697"/>
                <a:gd name="connsiteX47" fmla="*/ 204092 w 340152"/>
                <a:gd name="connsiteY47" fmla="*/ 257004 h 730697"/>
                <a:gd name="connsiteX48" fmla="*/ 204092 w 340152"/>
                <a:gd name="connsiteY48" fmla="*/ 257004 h 730697"/>
                <a:gd name="connsiteX49" fmla="*/ 204092 w 340152"/>
                <a:gd name="connsiteY49" fmla="*/ 254484 h 730697"/>
                <a:gd name="connsiteX50" fmla="*/ 204092 w 340152"/>
                <a:gd name="connsiteY50" fmla="*/ 253224 h 730697"/>
                <a:gd name="connsiteX51" fmla="*/ 205351 w 340152"/>
                <a:gd name="connsiteY51" fmla="*/ 246925 h 730697"/>
                <a:gd name="connsiteX52" fmla="*/ 207871 w 340152"/>
                <a:gd name="connsiteY52" fmla="*/ 238107 h 730697"/>
                <a:gd name="connsiteX53" fmla="*/ 211650 w 340152"/>
                <a:gd name="connsiteY53" fmla="*/ 229288 h 730697"/>
                <a:gd name="connsiteX54" fmla="*/ 216690 w 340152"/>
                <a:gd name="connsiteY54" fmla="*/ 221729 h 730697"/>
                <a:gd name="connsiteX55" fmla="*/ 216690 w 340152"/>
                <a:gd name="connsiteY55" fmla="*/ 221729 h 730697"/>
                <a:gd name="connsiteX56" fmla="*/ 217949 w 340152"/>
                <a:gd name="connsiteY56" fmla="*/ 219209 h 730697"/>
                <a:gd name="connsiteX57" fmla="*/ 219209 w 340152"/>
                <a:gd name="connsiteY57" fmla="*/ 217949 h 730697"/>
                <a:gd name="connsiteX58" fmla="*/ 219209 w 340152"/>
                <a:gd name="connsiteY58" fmla="*/ 217949 h 730697"/>
                <a:gd name="connsiteX59" fmla="*/ 220469 w 340152"/>
                <a:gd name="connsiteY59" fmla="*/ 216690 h 730697"/>
                <a:gd name="connsiteX60" fmla="*/ 224249 w 340152"/>
                <a:gd name="connsiteY60" fmla="*/ 212910 h 730697"/>
                <a:gd name="connsiteX61" fmla="*/ 229288 w 340152"/>
                <a:gd name="connsiteY61" fmla="*/ 16378 h 730697"/>
                <a:gd name="connsiteX62" fmla="*/ 222989 w 340152"/>
                <a:gd name="connsiteY62" fmla="*/ 15118 h 730697"/>
                <a:gd name="connsiteX63" fmla="*/ 216690 w 340152"/>
                <a:gd name="connsiteY63" fmla="*/ 13858 h 730697"/>
                <a:gd name="connsiteX64" fmla="*/ 212910 w 340152"/>
                <a:gd name="connsiteY64" fmla="*/ 12598 h 730697"/>
                <a:gd name="connsiteX65" fmla="*/ 209131 w 340152"/>
                <a:gd name="connsiteY65" fmla="*/ 11338 h 730697"/>
                <a:gd name="connsiteX66" fmla="*/ 209131 w 340152"/>
                <a:gd name="connsiteY66" fmla="*/ 11338 h 730697"/>
                <a:gd name="connsiteX67" fmla="*/ 209131 w 340152"/>
                <a:gd name="connsiteY67" fmla="*/ 11338 h 730697"/>
                <a:gd name="connsiteX68" fmla="*/ 209131 w 340152"/>
                <a:gd name="connsiteY68" fmla="*/ 11338 h 730697"/>
                <a:gd name="connsiteX69" fmla="*/ 209131 w 340152"/>
                <a:gd name="connsiteY69" fmla="*/ 13858 h 730697"/>
                <a:gd name="connsiteX70" fmla="*/ 209131 w 340152"/>
                <a:gd name="connsiteY70" fmla="*/ 13858 h 730697"/>
                <a:gd name="connsiteX71" fmla="*/ 209131 w 340152"/>
                <a:gd name="connsiteY71" fmla="*/ 13858 h 730697"/>
                <a:gd name="connsiteX72" fmla="*/ 209131 w 340152"/>
                <a:gd name="connsiteY72" fmla="*/ 15118 h 730697"/>
                <a:gd name="connsiteX73" fmla="*/ 209131 w 340152"/>
                <a:gd name="connsiteY73" fmla="*/ 15118 h 730697"/>
                <a:gd name="connsiteX74" fmla="*/ 209131 w 340152"/>
                <a:gd name="connsiteY74" fmla="*/ 13858 h 730697"/>
                <a:gd name="connsiteX75" fmla="*/ 209131 w 340152"/>
                <a:gd name="connsiteY75" fmla="*/ 13858 h 730697"/>
                <a:gd name="connsiteX76" fmla="*/ 209131 w 340152"/>
                <a:gd name="connsiteY76" fmla="*/ 13858 h 730697"/>
                <a:gd name="connsiteX77" fmla="*/ 209131 w 340152"/>
                <a:gd name="connsiteY77" fmla="*/ 15118 h 730697"/>
                <a:gd name="connsiteX78" fmla="*/ 207871 w 340152"/>
                <a:gd name="connsiteY78" fmla="*/ 20157 h 730697"/>
                <a:gd name="connsiteX79" fmla="*/ 209131 w 340152"/>
                <a:gd name="connsiteY79" fmla="*/ 15118 h 730697"/>
                <a:gd name="connsiteX80" fmla="*/ 207871 w 340152"/>
                <a:gd name="connsiteY80" fmla="*/ 21417 h 730697"/>
                <a:gd name="connsiteX81" fmla="*/ 207871 w 340152"/>
                <a:gd name="connsiteY81" fmla="*/ 23937 h 730697"/>
                <a:gd name="connsiteX82" fmla="*/ 206611 w 340152"/>
                <a:gd name="connsiteY82" fmla="*/ 28976 h 730697"/>
                <a:gd name="connsiteX83" fmla="*/ 202832 w 340152"/>
                <a:gd name="connsiteY83" fmla="*/ 35275 h 730697"/>
                <a:gd name="connsiteX84" fmla="*/ 197792 w 340152"/>
                <a:gd name="connsiteY84" fmla="*/ 41574 h 730697"/>
                <a:gd name="connsiteX85" fmla="*/ 190233 w 340152"/>
                <a:gd name="connsiteY85" fmla="*/ 46613 h 730697"/>
                <a:gd name="connsiteX86" fmla="*/ 176375 w 340152"/>
                <a:gd name="connsiteY86" fmla="*/ 52913 h 730697"/>
                <a:gd name="connsiteX87" fmla="*/ 167557 w 340152"/>
                <a:gd name="connsiteY87" fmla="*/ 55432 h 730697"/>
                <a:gd name="connsiteX88" fmla="*/ 158738 w 340152"/>
                <a:gd name="connsiteY88" fmla="*/ 56692 h 730697"/>
                <a:gd name="connsiteX89" fmla="*/ 157478 w 340152"/>
                <a:gd name="connsiteY89" fmla="*/ 56692 h 730697"/>
                <a:gd name="connsiteX90" fmla="*/ 147399 w 340152"/>
                <a:gd name="connsiteY90" fmla="*/ 56692 h 730697"/>
                <a:gd name="connsiteX91" fmla="*/ 137321 w 340152"/>
                <a:gd name="connsiteY91" fmla="*/ 55432 h 730697"/>
                <a:gd name="connsiteX92" fmla="*/ 118424 w 340152"/>
                <a:gd name="connsiteY92" fmla="*/ 50393 h 730697"/>
                <a:gd name="connsiteX93" fmla="*/ 112124 w 340152"/>
                <a:gd name="connsiteY93" fmla="*/ 46613 h 730697"/>
                <a:gd name="connsiteX94" fmla="*/ 110864 w 340152"/>
                <a:gd name="connsiteY94" fmla="*/ 45354 h 730697"/>
                <a:gd name="connsiteX95" fmla="*/ 102046 w 340152"/>
                <a:gd name="connsiteY95" fmla="*/ 40314 h 730697"/>
                <a:gd name="connsiteX96" fmla="*/ 88188 w 340152"/>
                <a:gd name="connsiteY96" fmla="*/ 27716 h 730697"/>
                <a:gd name="connsiteX97" fmla="*/ 83148 w 340152"/>
                <a:gd name="connsiteY97" fmla="*/ 21417 h 730697"/>
                <a:gd name="connsiteX98" fmla="*/ 79369 w 340152"/>
                <a:gd name="connsiteY98" fmla="*/ 12598 h 730697"/>
                <a:gd name="connsiteX99" fmla="*/ 78109 w 340152"/>
                <a:gd name="connsiteY99" fmla="*/ 8819 h 730697"/>
                <a:gd name="connsiteX100" fmla="*/ 78109 w 340152"/>
                <a:gd name="connsiteY100" fmla="*/ 7559 h 730697"/>
                <a:gd name="connsiteX101" fmla="*/ 78109 w 340152"/>
                <a:gd name="connsiteY101" fmla="*/ 3779 h 730697"/>
                <a:gd name="connsiteX102" fmla="*/ 78109 w 340152"/>
                <a:gd name="connsiteY102" fmla="*/ 0 h 730697"/>
                <a:gd name="connsiteX103" fmla="*/ 78109 w 340152"/>
                <a:gd name="connsiteY103" fmla="*/ 0 h 730697"/>
                <a:gd name="connsiteX104" fmla="*/ 78109 w 340152"/>
                <a:gd name="connsiteY104" fmla="*/ 0 h 730697"/>
                <a:gd name="connsiteX105" fmla="*/ 78109 w 340152"/>
                <a:gd name="connsiteY105" fmla="*/ 0 h 730697"/>
                <a:gd name="connsiteX106" fmla="*/ 78109 w 340152"/>
                <a:gd name="connsiteY106" fmla="*/ 0 h 730697"/>
                <a:gd name="connsiteX107" fmla="*/ 78109 w 340152"/>
                <a:gd name="connsiteY107" fmla="*/ 0 h 730697"/>
                <a:gd name="connsiteX108" fmla="*/ 78109 w 340152"/>
                <a:gd name="connsiteY108" fmla="*/ 0 h 730697"/>
                <a:gd name="connsiteX109" fmla="*/ 78109 w 340152"/>
                <a:gd name="connsiteY109" fmla="*/ 0 h 730697"/>
                <a:gd name="connsiteX110" fmla="*/ 74330 w 340152"/>
                <a:gd name="connsiteY110" fmla="*/ 1260 h 730697"/>
                <a:gd name="connsiteX111" fmla="*/ 74330 w 340152"/>
                <a:gd name="connsiteY111" fmla="*/ 1260 h 730697"/>
                <a:gd name="connsiteX112" fmla="*/ 73070 w 340152"/>
                <a:gd name="connsiteY112" fmla="*/ 1260 h 730697"/>
                <a:gd name="connsiteX113" fmla="*/ 54172 w 340152"/>
                <a:gd name="connsiteY113" fmla="*/ 323775 h 730697"/>
                <a:gd name="connsiteX114" fmla="*/ 39055 w 340152"/>
                <a:gd name="connsiteY114" fmla="*/ 476213 h 730697"/>
                <a:gd name="connsiteX115" fmla="*/ 25196 w 340152"/>
                <a:gd name="connsiteY115" fmla="*/ 573220 h 730697"/>
                <a:gd name="connsiteX116" fmla="*/ 25196 w 340152"/>
                <a:gd name="connsiteY116" fmla="*/ 573220 h 730697"/>
                <a:gd name="connsiteX117" fmla="*/ 25196 w 340152"/>
                <a:gd name="connsiteY117" fmla="*/ 573220 h 730697"/>
                <a:gd name="connsiteX118" fmla="*/ 27716 w 340152"/>
                <a:gd name="connsiteY118" fmla="*/ 576999 h 730697"/>
                <a:gd name="connsiteX119" fmla="*/ 25196 w 340152"/>
                <a:gd name="connsiteY119" fmla="*/ 573220 h 730697"/>
                <a:gd name="connsiteX120" fmla="*/ 30236 w 340152"/>
                <a:gd name="connsiteY120" fmla="*/ 580778 h 730697"/>
                <a:gd name="connsiteX121" fmla="*/ 28976 w 340152"/>
                <a:gd name="connsiteY121" fmla="*/ 578259 h 730697"/>
                <a:gd name="connsiteX122" fmla="*/ 30236 w 340152"/>
                <a:gd name="connsiteY122" fmla="*/ 580778 h 730697"/>
                <a:gd name="connsiteX123" fmla="*/ 30236 w 340152"/>
                <a:gd name="connsiteY123" fmla="*/ 580778 h 730697"/>
                <a:gd name="connsiteX124" fmla="*/ 30236 w 340152"/>
                <a:gd name="connsiteY124" fmla="*/ 580778 h 730697"/>
                <a:gd name="connsiteX125" fmla="*/ 31496 w 340152"/>
                <a:gd name="connsiteY125" fmla="*/ 582038 h 730697"/>
                <a:gd name="connsiteX126" fmla="*/ 32755 w 340152"/>
                <a:gd name="connsiteY126" fmla="*/ 583298 h 730697"/>
                <a:gd name="connsiteX127" fmla="*/ 37795 w 340152"/>
                <a:gd name="connsiteY127" fmla="*/ 592117 h 730697"/>
                <a:gd name="connsiteX128" fmla="*/ 37795 w 340152"/>
                <a:gd name="connsiteY128" fmla="*/ 592117 h 730697"/>
                <a:gd name="connsiteX129" fmla="*/ 40314 w 340152"/>
                <a:gd name="connsiteY129" fmla="*/ 597156 h 730697"/>
                <a:gd name="connsiteX130" fmla="*/ 40314 w 340152"/>
                <a:gd name="connsiteY130" fmla="*/ 597156 h 730697"/>
                <a:gd name="connsiteX131" fmla="*/ 40314 w 340152"/>
                <a:gd name="connsiteY131" fmla="*/ 597156 h 730697"/>
                <a:gd name="connsiteX132" fmla="*/ 41574 w 340152"/>
                <a:gd name="connsiteY132" fmla="*/ 599676 h 730697"/>
                <a:gd name="connsiteX133" fmla="*/ 47873 w 340152"/>
                <a:gd name="connsiteY133" fmla="*/ 613534 h 730697"/>
                <a:gd name="connsiteX134" fmla="*/ 47873 w 340152"/>
                <a:gd name="connsiteY134" fmla="*/ 614794 h 730697"/>
                <a:gd name="connsiteX135" fmla="*/ 47873 w 340152"/>
                <a:gd name="connsiteY135" fmla="*/ 614794 h 730697"/>
                <a:gd name="connsiteX136" fmla="*/ 47873 w 340152"/>
                <a:gd name="connsiteY136" fmla="*/ 614794 h 730697"/>
                <a:gd name="connsiteX137" fmla="*/ 50393 w 340152"/>
                <a:gd name="connsiteY137" fmla="*/ 623613 h 730697"/>
                <a:gd name="connsiteX138" fmla="*/ 50393 w 340152"/>
                <a:gd name="connsiteY138" fmla="*/ 624872 h 730697"/>
                <a:gd name="connsiteX139" fmla="*/ 52913 w 340152"/>
                <a:gd name="connsiteY139" fmla="*/ 632431 h 730697"/>
                <a:gd name="connsiteX140" fmla="*/ 52913 w 340152"/>
                <a:gd name="connsiteY140" fmla="*/ 637471 h 730697"/>
                <a:gd name="connsiteX141" fmla="*/ 52913 w 340152"/>
                <a:gd name="connsiteY141" fmla="*/ 639990 h 730697"/>
                <a:gd name="connsiteX142" fmla="*/ 52913 w 340152"/>
                <a:gd name="connsiteY142" fmla="*/ 642510 h 730697"/>
                <a:gd name="connsiteX143" fmla="*/ 52913 w 340152"/>
                <a:gd name="connsiteY143" fmla="*/ 647549 h 730697"/>
                <a:gd name="connsiteX144" fmla="*/ 52913 w 340152"/>
                <a:gd name="connsiteY144" fmla="*/ 647549 h 730697"/>
                <a:gd name="connsiteX145" fmla="*/ 52913 w 340152"/>
                <a:gd name="connsiteY145" fmla="*/ 647549 h 730697"/>
                <a:gd name="connsiteX146" fmla="*/ 52913 w 340152"/>
                <a:gd name="connsiteY146" fmla="*/ 647549 h 730697"/>
                <a:gd name="connsiteX147" fmla="*/ 52913 w 340152"/>
                <a:gd name="connsiteY147" fmla="*/ 650069 h 730697"/>
                <a:gd name="connsiteX148" fmla="*/ 52913 w 340152"/>
                <a:gd name="connsiteY148" fmla="*/ 656368 h 730697"/>
                <a:gd name="connsiteX149" fmla="*/ 52913 w 340152"/>
                <a:gd name="connsiteY149" fmla="*/ 657628 h 730697"/>
                <a:gd name="connsiteX150" fmla="*/ 51653 w 340152"/>
                <a:gd name="connsiteY150" fmla="*/ 665187 h 730697"/>
                <a:gd name="connsiteX151" fmla="*/ 47873 w 340152"/>
                <a:gd name="connsiteY151" fmla="*/ 682824 h 730697"/>
                <a:gd name="connsiteX152" fmla="*/ 47873 w 340152"/>
                <a:gd name="connsiteY152" fmla="*/ 682824 h 730697"/>
                <a:gd name="connsiteX153" fmla="*/ 47873 w 340152"/>
                <a:gd name="connsiteY153" fmla="*/ 684084 h 730697"/>
                <a:gd name="connsiteX154" fmla="*/ 47873 w 340152"/>
                <a:gd name="connsiteY154" fmla="*/ 684084 h 730697"/>
                <a:gd name="connsiteX155" fmla="*/ 45354 w 340152"/>
                <a:gd name="connsiteY155" fmla="*/ 691643 h 730697"/>
                <a:gd name="connsiteX156" fmla="*/ 46614 w 340152"/>
                <a:gd name="connsiteY156" fmla="*/ 687863 h 730697"/>
                <a:gd name="connsiteX157" fmla="*/ 45354 w 340152"/>
                <a:gd name="connsiteY157" fmla="*/ 692903 h 730697"/>
                <a:gd name="connsiteX158" fmla="*/ 45354 w 340152"/>
                <a:gd name="connsiteY158" fmla="*/ 691643 h 730697"/>
                <a:gd name="connsiteX159" fmla="*/ 44094 w 340152"/>
                <a:gd name="connsiteY159" fmla="*/ 694163 h 730697"/>
                <a:gd name="connsiteX160" fmla="*/ 42834 w 340152"/>
                <a:gd name="connsiteY160" fmla="*/ 696682 h 730697"/>
                <a:gd name="connsiteX161" fmla="*/ 40314 w 340152"/>
                <a:gd name="connsiteY161" fmla="*/ 701722 h 730697"/>
                <a:gd name="connsiteX162" fmla="*/ 39055 w 340152"/>
                <a:gd name="connsiteY162" fmla="*/ 704241 h 730697"/>
                <a:gd name="connsiteX163" fmla="*/ 39055 w 340152"/>
                <a:gd name="connsiteY163" fmla="*/ 705501 h 730697"/>
                <a:gd name="connsiteX164" fmla="*/ 39055 w 340152"/>
                <a:gd name="connsiteY164" fmla="*/ 704241 h 730697"/>
                <a:gd name="connsiteX165" fmla="*/ 37795 w 340152"/>
                <a:gd name="connsiteY165" fmla="*/ 706761 h 730697"/>
                <a:gd name="connsiteX166" fmla="*/ 39055 w 340152"/>
                <a:gd name="connsiteY166" fmla="*/ 705501 h 730697"/>
                <a:gd name="connsiteX167" fmla="*/ 37795 w 340152"/>
                <a:gd name="connsiteY167" fmla="*/ 708021 h 730697"/>
                <a:gd name="connsiteX168" fmla="*/ 37795 w 340152"/>
                <a:gd name="connsiteY168" fmla="*/ 708021 h 730697"/>
                <a:gd name="connsiteX169" fmla="*/ 37795 w 340152"/>
                <a:gd name="connsiteY169" fmla="*/ 708021 h 730697"/>
                <a:gd name="connsiteX170" fmla="*/ 36535 w 340152"/>
                <a:gd name="connsiteY170" fmla="*/ 709280 h 730697"/>
                <a:gd name="connsiteX171" fmla="*/ 36535 w 340152"/>
                <a:gd name="connsiteY171" fmla="*/ 710540 h 730697"/>
                <a:gd name="connsiteX172" fmla="*/ 30236 w 340152"/>
                <a:gd name="connsiteY172" fmla="*/ 716839 h 730697"/>
                <a:gd name="connsiteX173" fmla="*/ 30236 w 340152"/>
                <a:gd name="connsiteY173" fmla="*/ 716839 h 730697"/>
                <a:gd name="connsiteX174" fmla="*/ 28976 w 340152"/>
                <a:gd name="connsiteY174" fmla="*/ 718099 h 730697"/>
                <a:gd name="connsiteX175" fmla="*/ 28976 w 340152"/>
                <a:gd name="connsiteY175" fmla="*/ 718099 h 730697"/>
                <a:gd name="connsiteX176" fmla="*/ 28976 w 340152"/>
                <a:gd name="connsiteY176" fmla="*/ 718099 h 730697"/>
                <a:gd name="connsiteX177" fmla="*/ 26456 w 340152"/>
                <a:gd name="connsiteY177" fmla="*/ 719359 h 730697"/>
                <a:gd name="connsiteX178" fmla="*/ 21417 w 340152"/>
                <a:gd name="connsiteY178" fmla="*/ 721879 h 730697"/>
                <a:gd name="connsiteX179" fmla="*/ 21417 w 340152"/>
                <a:gd name="connsiteY179" fmla="*/ 721879 h 730697"/>
                <a:gd name="connsiteX180" fmla="*/ 21417 w 340152"/>
                <a:gd name="connsiteY180" fmla="*/ 721879 h 730697"/>
                <a:gd name="connsiteX181" fmla="*/ 21417 w 340152"/>
                <a:gd name="connsiteY181" fmla="*/ 721879 h 730697"/>
                <a:gd name="connsiteX182" fmla="*/ 17638 w 340152"/>
                <a:gd name="connsiteY182" fmla="*/ 723139 h 730697"/>
                <a:gd name="connsiteX183" fmla="*/ 10079 w 340152"/>
                <a:gd name="connsiteY183" fmla="*/ 726918 h 730697"/>
                <a:gd name="connsiteX184" fmla="*/ 10079 w 340152"/>
                <a:gd name="connsiteY184" fmla="*/ 726918 h 730697"/>
                <a:gd name="connsiteX185" fmla="*/ 0 w 340152"/>
                <a:gd name="connsiteY185" fmla="*/ 729438 h 730697"/>
                <a:gd name="connsiteX186" fmla="*/ 0 w 340152"/>
                <a:gd name="connsiteY186" fmla="*/ 729438 h 730697"/>
                <a:gd name="connsiteX187" fmla="*/ 0 w 340152"/>
                <a:gd name="connsiteY187" fmla="*/ 729438 h 730697"/>
                <a:gd name="connsiteX188" fmla="*/ 0 w 340152"/>
                <a:gd name="connsiteY188" fmla="*/ 729438 h 730697"/>
                <a:gd name="connsiteX189" fmla="*/ 0 w 340152"/>
                <a:gd name="connsiteY189" fmla="*/ 729438 h 730697"/>
                <a:gd name="connsiteX190" fmla="*/ 0 w 340152"/>
                <a:gd name="connsiteY190" fmla="*/ 729438 h 730697"/>
                <a:gd name="connsiteX191" fmla="*/ 0 w 340152"/>
                <a:gd name="connsiteY191" fmla="*/ 729438 h 730697"/>
                <a:gd name="connsiteX192" fmla="*/ 0 w 340152"/>
                <a:gd name="connsiteY192" fmla="*/ 729438 h 730697"/>
                <a:gd name="connsiteX193" fmla="*/ 2520 w 340152"/>
                <a:gd name="connsiteY193" fmla="*/ 729438 h 730697"/>
                <a:gd name="connsiteX194" fmla="*/ 3780 w 340152"/>
                <a:gd name="connsiteY194" fmla="*/ 729438 h 730697"/>
                <a:gd name="connsiteX195" fmla="*/ 7559 w 340152"/>
                <a:gd name="connsiteY195" fmla="*/ 729438 h 730697"/>
                <a:gd name="connsiteX196" fmla="*/ 12598 w 340152"/>
                <a:gd name="connsiteY196" fmla="*/ 729438 h 730697"/>
                <a:gd name="connsiteX197" fmla="*/ 34015 w 340152"/>
                <a:gd name="connsiteY197" fmla="*/ 730698 h 730697"/>
                <a:gd name="connsiteX198" fmla="*/ 64251 w 340152"/>
                <a:gd name="connsiteY198" fmla="*/ 730698 h 730697"/>
                <a:gd name="connsiteX199" fmla="*/ 73070 w 340152"/>
                <a:gd name="connsiteY199" fmla="*/ 730698 h 730697"/>
                <a:gd name="connsiteX200" fmla="*/ 75589 w 340152"/>
                <a:gd name="connsiteY200" fmla="*/ 730698 h 730697"/>
                <a:gd name="connsiteX201" fmla="*/ 75589 w 340152"/>
                <a:gd name="connsiteY201" fmla="*/ 730698 h 730697"/>
                <a:gd name="connsiteX202" fmla="*/ 81889 w 340152"/>
                <a:gd name="connsiteY202" fmla="*/ 730698 h 730697"/>
                <a:gd name="connsiteX203" fmla="*/ 84408 w 340152"/>
                <a:gd name="connsiteY203" fmla="*/ 730698 h 730697"/>
                <a:gd name="connsiteX204" fmla="*/ 91967 w 340152"/>
                <a:gd name="connsiteY204" fmla="*/ 730698 h 730697"/>
                <a:gd name="connsiteX205" fmla="*/ 95747 w 340152"/>
                <a:gd name="connsiteY205" fmla="*/ 730698 h 730697"/>
                <a:gd name="connsiteX206" fmla="*/ 97007 w 340152"/>
                <a:gd name="connsiteY206" fmla="*/ 730698 h 730697"/>
                <a:gd name="connsiteX207" fmla="*/ 97007 w 340152"/>
                <a:gd name="connsiteY207" fmla="*/ 730698 h 730697"/>
                <a:gd name="connsiteX208" fmla="*/ 110864 w 340152"/>
                <a:gd name="connsiteY208" fmla="*/ 730698 h 730697"/>
                <a:gd name="connsiteX209" fmla="*/ 118424 w 340152"/>
                <a:gd name="connsiteY209" fmla="*/ 730698 h 730697"/>
                <a:gd name="connsiteX210" fmla="*/ 129762 w 340152"/>
                <a:gd name="connsiteY210" fmla="*/ 730698 h 730697"/>
                <a:gd name="connsiteX211" fmla="*/ 134801 w 340152"/>
                <a:gd name="connsiteY211" fmla="*/ 730698 h 730697"/>
                <a:gd name="connsiteX212" fmla="*/ 136061 w 340152"/>
                <a:gd name="connsiteY212" fmla="*/ 730698 h 730697"/>
                <a:gd name="connsiteX213" fmla="*/ 149919 w 340152"/>
                <a:gd name="connsiteY213" fmla="*/ 730698 h 730697"/>
                <a:gd name="connsiteX214" fmla="*/ 157478 w 340152"/>
                <a:gd name="connsiteY214" fmla="*/ 730698 h 730697"/>
                <a:gd name="connsiteX215" fmla="*/ 158738 w 340152"/>
                <a:gd name="connsiteY215" fmla="*/ 730698 h 730697"/>
                <a:gd name="connsiteX216" fmla="*/ 170076 w 340152"/>
                <a:gd name="connsiteY216" fmla="*/ 730698 h 730697"/>
                <a:gd name="connsiteX217" fmla="*/ 190233 w 340152"/>
                <a:gd name="connsiteY217" fmla="*/ 729438 h 730697"/>
                <a:gd name="connsiteX218" fmla="*/ 192753 w 340152"/>
                <a:gd name="connsiteY218" fmla="*/ 729438 h 730697"/>
                <a:gd name="connsiteX219" fmla="*/ 192753 w 340152"/>
                <a:gd name="connsiteY219" fmla="*/ 729438 h 730697"/>
                <a:gd name="connsiteX220" fmla="*/ 202832 w 340152"/>
                <a:gd name="connsiteY220" fmla="*/ 728178 h 730697"/>
                <a:gd name="connsiteX221" fmla="*/ 202832 w 340152"/>
                <a:gd name="connsiteY221" fmla="*/ 728178 h 730697"/>
                <a:gd name="connsiteX222" fmla="*/ 210391 w 340152"/>
                <a:gd name="connsiteY222" fmla="*/ 726918 h 730697"/>
                <a:gd name="connsiteX223" fmla="*/ 212910 w 340152"/>
                <a:gd name="connsiteY223" fmla="*/ 726918 h 730697"/>
                <a:gd name="connsiteX224" fmla="*/ 212910 w 340152"/>
                <a:gd name="connsiteY224" fmla="*/ 726918 h 730697"/>
                <a:gd name="connsiteX225" fmla="*/ 221729 w 340152"/>
                <a:gd name="connsiteY225" fmla="*/ 726918 h 730697"/>
                <a:gd name="connsiteX226" fmla="*/ 229288 w 340152"/>
                <a:gd name="connsiteY226" fmla="*/ 726918 h 730697"/>
                <a:gd name="connsiteX227" fmla="*/ 231808 w 340152"/>
                <a:gd name="connsiteY227" fmla="*/ 726918 h 730697"/>
                <a:gd name="connsiteX228" fmla="*/ 235587 w 340152"/>
                <a:gd name="connsiteY228" fmla="*/ 726918 h 730697"/>
                <a:gd name="connsiteX229" fmla="*/ 235587 w 340152"/>
                <a:gd name="connsiteY229" fmla="*/ 726918 h 730697"/>
                <a:gd name="connsiteX230" fmla="*/ 235587 w 340152"/>
                <a:gd name="connsiteY230" fmla="*/ 726918 h 730697"/>
                <a:gd name="connsiteX231" fmla="*/ 236847 w 340152"/>
                <a:gd name="connsiteY231" fmla="*/ 726918 h 730697"/>
                <a:gd name="connsiteX232" fmla="*/ 240626 w 340152"/>
                <a:gd name="connsiteY232" fmla="*/ 726918 h 730697"/>
                <a:gd name="connsiteX233" fmla="*/ 246925 w 340152"/>
                <a:gd name="connsiteY233" fmla="*/ 726918 h 730697"/>
                <a:gd name="connsiteX234" fmla="*/ 249445 w 340152"/>
                <a:gd name="connsiteY234" fmla="*/ 726918 h 730697"/>
                <a:gd name="connsiteX235" fmla="*/ 249445 w 340152"/>
                <a:gd name="connsiteY235" fmla="*/ 726918 h 730697"/>
                <a:gd name="connsiteX236" fmla="*/ 250705 w 340152"/>
                <a:gd name="connsiteY236" fmla="*/ 726918 h 730697"/>
                <a:gd name="connsiteX237" fmla="*/ 262043 w 340152"/>
                <a:gd name="connsiteY237" fmla="*/ 726918 h 730697"/>
                <a:gd name="connsiteX238" fmla="*/ 267083 w 340152"/>
                <a:gd name="connsiteY238" fmla="*/ 726918 h 730697"/>
                <a:gd name="connsiteX239" fmla="*/ 272122 w 340152"/>
                <a:gd name="connsiteY239" fmla="*/ 726918 h 730697"/>
                <a:gd name="connsiteX240" fmla="*/ 273382 w 340152"/>
                <a:gd name="connsiteY240" fmla="*/ 726918 h 730697"/>
                <a:gd name="connsiteX241" fmla="*/ 274642 w 340152"/>
                <a:gd name="connsiteY241" fmla="*/ 726918 h 730697"/>
                <a:gd name="connsiteX242" fmla="*/ 280941 w 340152"/>
                <a:gd name="connsiteY242" fmla="*/ 726918 h 730697"/>
                <a:gd name="connsiteX243" fmla="*/ 280941 w 340152"/>
                <a:gd name="connsiteY243" fmla="*/ 726918 h 730697"/>
                <a:gd name="connsiteX244" fmla="*/ 280941 w 340152"/>
                <a:gd name="connsiteY244" fmla="*/ 726918 h 730697"/>
                <a:gd name="connsiteX245" fmla="*/ 312436 w 340152"/>
                <a:gd name="connsiteY245" fmla="*/ 729438 h 730697"/>
                <a:gd name="connsiteX246" fmla="*/ 331334 w 340152"/>
                <a:gd name="connsiteY246" fmla="*/ 729438 h 730697"/>
                <a:gd name="connsiteX247" fmla="*/ 332593 w 340152"/>
                <a:gd name="connsiteY247" fmla="*/ 729438 h 730697"/>
                <a:gd name="connsiteX248" fmla="*/ 335113 w 340152"/>
                <a:gd name="connsiteY248" fmla="*/ 729438 h 730697"/>
                <a:gd name="connsiteX249" fmla="*/ 336373 w 340152"/>
                <a:gd name="connsiteY249" fmla="*/ 729438 h 730697"/>
                <a:gd name="connsiteX250" fmla="*/ 341412 w 340152"/>
                <a:gd name="connsiteY250" fmla="*/ 729438 h 730697"/>
                <a:gd name="connsiteX251" fmla="*/ 345192 w 340152"/>
                <a:gd name="connsiteY251" fmla="*/ 729438 h 730697"/>
                <a:gd name="connsiteX252" fmla="*/ 348971 w 340152"/>
                <a:gd name="connsiteY252" fmla="*/ 729438 h 730697"/>
                <a:gd name="connsiteX253" fmla="*/ 348971 w 340152"/>
                <a:gd name="connsiteY253" fmla="*/ 729438 h 730697"/>
                <a:gd name="connsiteX254" fmla="*/ 350231 w 340152"/>
                <a:gd name="connsiteY254" fmla="*/ 729438 h 730697"/>
                <a:gd name="connsiteX255" fmla="*/ 313696 w 340152"/>
                <a:gd name="connsiteY255" fmla="*/ 645030 h 730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340152" h="730697">
                  <a:moveTo>
                    <a:pt x="313696" y="645030"/>
                  </a:moveTo>
                  <a:cubicBezTo>
                    <a:pt x="299838" y="600936"/>
                    <a:pt x="282201" y="553062"/>
                    <a:pt x="279681" y="495110"/>
                  </a:cubicBezTo>
                  <a:cubicBezTo>
                    <a:pt x="275901" y="490071"/>
                    <a:pt x="273382" y="485032"/>
                    <a:pt x="269602" y="479993"/>
                  </a:cubicBezTo>
                  <a:lnTo>
                    <a:pt x="269602" y="478733"/>
                  </a:lnTo>
                  <a:lnTo>
                    <a:pt x="268342" y="477473"/>
                  </a:lnTo>
                  <a:lnTo>
                    <a:pt x="268342" y="477473"/>
                  </a:lnTo>
                  <a:cubicBezTo>
                    <a:pt x="267083" y="474953"/>
                    <a:pt x="264563" y="472434"/>
                    <a:pt x="263303" y="469914"/>
                  </a:cubicBezTo>
                  <a:cubicBezTo>
                    <a:pt x="262043" y="466135"/>
                    <a:pt x="259524" y="463615"/>
                    <a:pt x="258264" y="459836"/>
                  </a:cubicBezTo>
                  <a:cubicBezTo>
                    <a:pt x="255744" y="452277"/>
                    <a:pt x="251965" y="447237"/>
                    <a:pt x="249445" y="440938"/>
                  </a:cubicBezTo>
                  <a:lnTo>
                    <a:pt x="248185" y="438418"/>
                  </a:lnTo>
                  <a:cubicBezTo>
                    <a:pt x="246925" y="435899"/>
                    <a:pt x="245666" y="433379"/>
                    <a:pt x="244406" y="430860"/>
                  </a:cubicBezTo>
                  <a:cubicBezTo>
                    <a:pt x="243146" y="428340"/>
                    <a:pt x="241886" y="425820"/>
                    <a:pt x="240626" y="423301"/>
                  </a:cubicBezTo>
                  <a:lnTo>
                    <a:pt x="239366" y="420781"/>
                  </a:lnTo>
                  <a:cubicBezTo>
                    <a:pt x="238107" y="418261"/>
                    <a:pt x="235587" y="414482"/>
                    <a:pt x="234327" y="410702"/>
                  </a:cubicBezTo>
                  <a:cubicBezTo>
                    <a:pt x="233067" y="408183"/>
                    <a:pt x="233067" y="406923"/>
                    <a:pt x="231808" y="404403"/>
                  </a:cubicBezTo>
                  <a:lnTo>
                    <a:pt x="231808" y="404403"/>
                  </a:lnTo>
                  <a:cubicBezTo>
                    <a:pt x="231808" y="403143"/>
                    <a:pt x="230548" y="403143"/>
                    <a:pt x="230548" y="401884"/>
                  </a:cubicBezTo>
                  <a:cubicBezTo>
                    <a:pt x="228028" y="394325"/>
                    <a:pt x="225508" y="388025"/>
                    <a:pt x="222989" y="381726"/>
                  </a:cubicBezTo>
                  <a:cubicBezTo>
                    <a:pt x="220469" y="375427"/>
                    <a:pt x="217949" y="369128"/>
                    <a:pt x="216690" y="361569"/>
                  </a:cubicBezTo>
                  <a:cubicBezTo>
                    <a:pt x="215430" y="359050"/>
                    <a:pt x="215430" y="355270"/>
                    <a:pt x="214170" y="352751"/>
                  </a:cubicBezTo>
                  <a:lnTo>
                    <a:pt x="214170" y="351491"/>
                  </a:lnTo>
                  <a:cubicBezTo>
                    <a:pt x="214170" y="348971"/>
                    <a:pt x="212910" y="347711"/>
                    <a:pt x="212910" y="345192"/>
                  </a:cubicBezTo>
                  <a:lnTo>
                    <a:pt x="212910" y="345192"/>
                  </a:lnTo>
                  <a:cubicBezTo>
                    <a:pt x="212910" y="343932"/>
                    <a:pt x="212910" y="342672"/>
                    <a:pt x="211650" y="342672"/>
                  </a:cubicBezTo>
                  <a:cubicBezTo>
                    <a:pt x="210391" y="336373"/>
                    <a:pt x="209131" y="328814"/>
                    <a:pt x="207871" y="322515"/>
                  </a:cubicBezTo>
                  <a:lnTo>
                    <a:pt x="207871" y="321255"/>
                  </a:lnTo>
                  <a:cubicBezTo>
                    <a:pt x="207871" y="319995"/>
                    <a:pt x="207871" y="317475"/>
                    <a:pt x="206611" y="316216"/>
                  </a:cubicBezTo>
                  <a:cubicBezTo>
                    <a:pt x="206611" y="314956"/>
                    <a:pt x="206611" y="312436"/>
                    <a:pt x="205351" y="311176"/>
                  </a:cubicBezTo>
                  <a:cubicBezTo>
                    <a:pt x="205351" y="307397"/>
                    <a:pt x="204092" y="304877"/>
                    <a:pt x="204092" y="302358"/>
                  </a:cubicBezTo>
                  <a:lnTo>
                    <a:pt x="204092" y="301098"/>
                  </a:lnTo>
                  <a:cubicBezTo>
                    <a:pt x="204092" y="299838"/>
                    <a:pt x="204092" y="298578"/>
                    <a:pt x="204092" y="297318"/>
                  </a:cubicBezTo>
                  <a:lnTo>
                    <a:pt x="204092" y="296058"/>
                  </a:lnTo>
                  <a:lnTo>
                    <a:pt x="204092" y="294799"/>
                  </a:lnTo>
                  <a:cubicBezTo>
                    <a:pt x="204092" y="293539"/>
                    <a:pt x="204092" y="292279"/>
                    <a:pt x="204092" y="289759"/>
                  </a:cubicBezTo>
                  <a:cubicBezTo>
                    <a:pt x="204092" y="287240"/>
                    <a:pt x="204092" y="284720"/>
                    <a:pt x="204092" y="283460"/>
                  </a:cubicBezTo>
                  <a:cubicBezTo>
                    <a:pt x="204092" y="282200"/>
                    <a:pt x="204092" y="280940"/>
                    <a:pt x="204092" y="279681"/>
                  </a:cubicBezTo>
                  <a:cubicBezTo>
                    <a:pt x="204092" y="275901"/>
                    <a:pt x="204092" y="272122"/>
                    <a:pt x="204092" y="268342"/>
                  </a:cubicBezTo>
                  <a:cubicBezTo>
                    <a:pt x="204092" y="267083"/>
                    <a:pt x="204092" y="265823"/>
                    <a:pt x="204092" y="264563"/>
                  </a:cubicBezTo>
                  <a:cubicBezTo>
                    <a:pt x="204092" y="264563"/>
                    <a:pt x="204092" y="264563"/>
                    <a:pt x="204092" y="263303"/>
                  </a:cubicBezTo>
                  <a:cubicBezTo>
                    <a:pt x="204092" y="262043"/>
                    <a:pt x="204092" y="260783"/>
                    <a:pt x="204092" y="259523"/>
                  </a:cubicBezTo>
                  <a:cubicBezTo>
                    <a:pt x="204092" y="259523"/>
                    <a:pt x="204092" y="259523"/>
                    <a:pt x="204092" y="259523"/>
                  </a:cubicBezTo>
                  <a:cubicBezTo>
                    <a:pt x="204092" y="258264"/>
                    <a:pt x="204092" y="258264"/>
                    <a:pt x="204092" y="257004"/>
                  </a:cubicBezTo>
                  <a:lnTo>
                    <a:pt x="204092" y="257004"/>
                  </a:lnTo>
                  <a:lnTo>
                    <a:pt x="204092" y="257004"/>
                  </a:lnTo>
                  <a:lnTo>
                    <a:pt x="204092" y="257004"/>
                  </a:lnTo>
                  <a:cubicBezTo>
                    <a:pt x="204092" y="257004"/>
                    <a:pt x="204092" y="257004"/>
                    <a:pt x="204092" y="257004"/>
                  </a:cubicBezTo>
                  <a:lnTo>
                    <a:pt x="204092" y="257004"/>
                  </a:lnTo>
                  <a:cubicBezTo>
                    <a:pt x="204092" y="257004"/>
                    <a:pt x="204092" y="257004"/>
                    <a:pt x="204092" y="257004"/>
                  </a:cubicBezTo>
                  <a:lnTo>
                    <a:pt x="204092" y="257004"/>
                  </a:lnTo>
                  <a:cubicBezTo>
                    <a:pt x="204092" y="255744"/>
                    <a:pt x="204092" y="255744"/>
                    <a:pt x="204092" y="254484"/>
                  </a:cubicBezTo>
                  <a:lnTo>
                    <a:pt x="204092" y="253224"/>
                  </a:lnTo>
                  <a:cubicBezTo>
                    <a:pt x="204092" y="250705"/>
                    <a:pt x="204092" y="248185"/>
                    <a:pt x="205351" y="246925"/>
                  </a:cubicBezTo>
                  <a:cubicBezTo>
                    <a:pt x="205351" y="244406"/>
                    <a:pt x="206611" y="241886"/>
                    <a:pt x="207871" y="238107"/>
                  </a:cubicBezTo>
                  <a:cubicBezTo>
                    <a:pt x="209131" y="234327"/>
                    <a:pt x="210391" y="231807"/>
                    <a:pt x="211650" y="229288"/>
                  </a:cubicBezTo>
                  <a:cubicBezTo>
                    <a:pt x="212910" y="226768"/>
                    <a:pt x="215430" y="224248"/>
                    <a:pt x="216690" y="221729"/>
                  </a:cubicBezTo>
                  <a:cubicBezTo>
                    <a:pt x="216690" y="221729"/>
                    <a:pt x="216690" y="221729"/>
                    <a:pt x="216690" y="221729"/>
                  </a:cubicBezTo>
                  <a:cubicBezTo>
                    <a:pt x="216690" y="220469"/>
                    <a:pt x="217949" y="220469"/>
                    <a:pt x="217949" y="219209"/>
                  </a:cubicBezTo>
                  <a:cubicBezTo>
                    <a:pt x="217949" y="219209"/>
                    <a:pt x="219209" y="217949"/>
                    <a:pt x="219209" y="217949"/>
                  </a:cubicBezTo>
                  <a:cubicBezTo>
                    <a:pt x="219209" y="217949"/>
                    <a:pt x="219209" y="217949"/>
                    <a:pt x="219209" y="217949"/>
                  </a:cubicBezTo>
                  <a:cubicBezTo>
                    <a:pt x="219209" y="217949"/>
                    <a:pt x="219209" y="216690"/>
                    <a:pt x="220469" y="216690"/>
                  </a:cubicBezTo>
                  <a:cubicBezTo>
                    <a:pt x="221729" y="215430"/>
                    <a:pt x="222989" y="214170"/>
                    <a:pt x="224249" y="212910"/>
                  </a:cubicBezTo>
                  <a:cubicBezTo>
                    <a:pt x="217949" y="144880"/>
                    <a:pt x="220469" y="78109"/>
                    <a:pt x="229288" y="16378"/>
                  </a:cubicBezTo>
                  <a:cubicBezTo>
                    <a:pt x="226768" y="15118"/>
                    <a:pt x="224249" y="15118"/>
                    <a:pt x="222989" y="15118"/>
                  </a:cubicBezTo>
                  <a:cubicBezTo>
                    <a:pt x="220469" y="15118"/>
                    <a:pt x="217949" y="13858"/>
                    <a:pt x="216690" y="13858"/>
                  </a:cubicBezTo>
                  <a:cubicBezTo>
                    <a:pt x="215430" y="13858"/>
                    <a:pt x="214170" y="13858"/>
                    <a:pt x="212910" y="12598"/>
                  </a:cubicBezTo>
                  <a:cubicBezTo>
                    <a:pt x="211650" y="12598"/>
                    <a:pt x="210391" y="12598"/>
                    <a:pt x="209131" y="11338"/>
                  </a:cubicBezTo>
                  <a:cubicBezTo>
                    <a:pt x="209131" y="11338"/>
                    <a:pt x="209131" y="11338"/>
                    <a:pt x="209131" y="11338"/>
                  </a:cubicBezTo>
                  <a:cubicBezTo>
                    <a:pt x="209131" y="11338"/>
                    <a:pt x="209131" y="11338"/>
                    <a:pt x="209131" y="11338"/>
                  </a:cubicBezTo>
                  <a:cubicBezTo>
                    <a:pt x="209131" y="11338"/>
                    <a:pt x="209131" y="11338"/>
                    <a:pt x="209131" y="11338"/>
                  </a:cubicBezTo>
                  <a:cubicBezTo>
                    <a:pt x="209131" y="12598"/>
                    <a:pt x="209131" y="13858"/>
                    <a:pt x="209131" y="13858"/>
                  </a:cubicBezTo>
                  <a:cubicBezTo>
                    <a:pt x="209131" y="13858"/>
                    <a:pt x="209131" y="13858"/>
                    <a:pt x="209131" y="13858"/>
                  </a:cubicBezTo>
                  <a:lnTo>
                    <a:pt x="209131" y="13858"/>
                  </a:lnTo>
                  <a:cubicBezTo>
                    <a:pt x="209131" y="13858"/>
                    <a:pt x="209131" y="15118"/>
                    <a:pt x="209131" y="15118"/>
                  </a:cubicBezTo>
                  <a:cubicBezTo>
                    <a:pt x="209131" y="15118"/>
                    <a:pt x="209131" y="15118"/>
                    <a:pt x="209131" y="15118"/>
                  </a:cubicBezTo>
                  <a:cubicBezTo>
                    <a:pt x="209131" y="15118"/>
                    <a:pt x="209131" y="13858"/>
                    <a:pt x="209131" y="13858"/>
                  </a:cubicBezTo>
                  <a:lnTo>
                    <a:pt x="209131" y="13858"/>
                  </a:lnTo>
                  <a:lnTo>
                    <a:pt x="209131" y="13858"/>
                  </a:lnTo>
                  <a:cubicBezTo>
                    <a:pt x="209131" y="13858"/>
                    <a:pt x="209131" y="15118"/>
                    <a:pt x="209131" y="15118"/>
                  </a:cubicBezTo>
                  <a:cubicBezTo>
                    <a:pt x="209131" y="16378"/>
                    <a:pt x="209131" y="18897"/>
                    <a:pt x="207871" y="20157"/>
                  </a:cubicBezTo>
                  <a:cubicBezTo>
                    <a:pt x="207871" y="18897"/>
                    <a:pt x="207871" y="16378"/>
                    <a:pt x="209131" y="15118"/>
                  </a:cubicBezTo>
                  <a:cubicBezTo>
                    <a:pt x="209131" y="17637"/>
                    <a:pt x="209131" y="18897"/>
                    <a:pt x="207871" y="21417"/>
                  </a:cubicBezTo>
                  <a:cubicBezTo>
                    <a:pt x="207871" y="22677"/>
                    <a:pt x="207871" y="22677"/>
                    <a:pt x="207871" y="23937"/>
                  </a:cubicBezTo>
                  <a:cubicBezTo>
                    <a:pt x="207871" y="25196"/>
                    <a:pt x="206611" y="27716"/>
                    <a:pt x="206611" y="28976"/>
                  </a:cubicBezTo>
                  <a:cubicBezTo>
                    <a:pt x="205351" y="30236"/>
                    <a:pt x="205351" y="32755"/>
                    <a:pt x="202832" y="35275"/>
                  </a:cubicBezTo>
                  <a:cubicBezTo>
                    <a:pt x="201572" y="36535"/>
                    <a:pt x="200312" y="39054"/>
                    <a:pt x="197792" y="41574"/>
                  </a:cubicBezTo>
                  <a:cubicBezTo>
                    <a:pt x="195273" y="42834"/>
                    <a:pt x="194013" y="44094"/>
                    <a:pt x="190233" y="46613"/>
                  </a:cubicBezTo>
                  <a:cubicBezTo>
                    <a:pt x="185194" y="49133"/>
                    <a:pt x="181415" y="51653"/>
                    <a:pt x="176375" y="52913"/>
                  </a:cubicBezTo>
                  <a:cubicBezTo>
                    <a:pt x="173856" y="54172"/>
                    <a:pt x="171336" y="55432"/>
                    <a:pt x="167557" y="55432"/>
                  </a:cubicBezTo>
                  <a:cubicBezTo>
                    <a:pt x="163777" y="56692"/>
                    <a:pt x="161257" y="56692"/>
                    <a:pt x="158738" y="56692"/>
                  </a:cubicBezTo>
                  <a:cubicBezTo>
                    <a:pt x="158738" y="56692"/>
                    <a:pt x="157478" y="56692"/>
                    <a:pt x="157478" y="56692"/>
                  </a:cubicBezTo>
                  <a:cubicBezTo>
                    <a:pt x="153699" y="56692"/>
                    <a:pt x="151179" y="56692"/>
                    <a:pt x="147399" y="56692"/>
                  </a:cubicBezTo>
                  <a:cubicBezTo>
                    <a:pt x="143620" y="56692"/>
                    <a:pt x="141100" y="56692"/>
                    <a:pt x="137321" y="55432"/>
                  </a:cubicBezTo>
                  <a:cubicBezTo>
                    <a:pt x="129762" y="54172"/>
                    <a:pt x="123463" y="52913"/>
                    <a:pt x="118424" y="50393"/>
                  </a:cubicBezTo>
                  <a:cubicBezTo>
                    <a:pt x="115904" y="49133"/>
                    <a:pt x="113384" y="47873"/>
                    <a:pt x="112124" y="46613"/>
                  </a:cubicBezTo>
                  <a:lnTo>
                    <a:pt x="110864" y="45354"/>
                  </a:lnTo>
                  <a:cubicBezTo>
                    <a:pt x="107085" y="44094"/>
                    <a:pt x="104565" y="41574"/>
                    <a:pt x="102046" y="40314"/>
                  </a:cubicBezTo>
                  <a:cubicBezTo>
                    <a:pt x="97007" y="36535"/>
                    <a:pt x="91967" y="32755"/>
                    <a:pt x="88188" y="27716"/>
                  </a:cubicBezTo>
                  <a:cubicBezTo>
                    <a:pt x="85668" y="25196"/>
                    <a:pt x="84408" y="23937"/>
                    <a:pt x="83148" y="21417"/>
                  </a:cubicBezTo>
                  <a:cubicBezTo>
                    <a:pt x="81889" y="18897"/>
                    <a:pt x="80629" y="15118"/>
                    <a:pt x="79369" y="12598"/>
                  </a:cubicBezTo>
                  <a:cubicBezTo>
                    <a:pt x="79369" y="11338"/>
                    <a:pt x="78109" y="10078"/>
                    <a:pt x="78109" y="8819"/>
                  </a:cubicBezTo>
                  <a:lnTo>
                    <a:pt x="78109" y="7559"/>
                  </a:lnTo>
                  <a:cubicBezTo>
                    <a:pt x="78109" y="6299"/>
                    <a:pt x="76849" y="5039"/>
                    <a:pt x="78109" y="3779"/>
                  </a:cubicBezTo>
                  <a:cubicBezTo>
                    <a:pt x="78109" y="2520"/>
                    <a:pt x="78109" y="1260"/>
                    <a:pt x="78109" y="0"/>
                  </a:cubicBezTo>
                  <a:lnTo>
                    <a:pt x="78109" y="0"/>
                  </a:lnTo>
                  <a:lnTo>
                    <a:pt x="78109" y="0"/>
                  </a:lnTo>
                  <a:cubicBezTo>
                    <a:pt x="78109" y="0"/>
                    <a:pt x="78109" y="0"/>
                    <a:pt x="78109" y="0"/>
                  </a:cubicBezTo>
                  <a:lnTo>
                    <a:pt x="78109" y="0"/>
                  </a:lnTo>
                  <a:lnTo>
                    <a:pt x="78109" y="0"/>
                  </a:lnTo>
                  <a:lnTo>
                    <a:pt x="78109" y="0"/>
                  </a:lnTo>
                  <a:lnTo>
                    <a:pt x="78109" y="0"/>
                  </a:lnTo>
                  <a:cubicBezTo>
                    <a:pt x="76849" y="0"/>
                    <a:pt x="75589" y="1260"/>
                    <a:pt x="74330" y="1260"/>
                  </a:cubicBezTo>
                  <a:lnTo>
                    <a:pt x="74330" y="1260"/>
                  </a:lnTo>
                  <a:lnTo>
                    <a:pt x="73070" y="1260"/>
                  </a:lnTo>
                  <a:cubicBezTo>
                    <a:pt x="84408" y="105825"/>
                    <a:pt x="80629" y="217949"/>
                    <a:pt x="54172" y="323775"/>
                  </a:cubicBezTo>
                  <a:cubicBezTo>
                    <a:pt x="49133" y="374167"/>
                    <a:pt x="45354" y="425820"/>
                    <a:pt x="39055" y="476213"/>
                  </a:cubicBezTo>
                  <a:cubicBezTo>
                    <a:pt x="35275" y="507709"/>
                    <a:pt x="31496" y="540464"/>
                    <a:pt x="25196" y="573220"/>
                  </a:cubicBezTo>
                  <a:lnTo>
                    <a:pt x="25196" y="573220"/>
                  </a:lnTo>
                  <a:cubicBezTo>
                    <a:pt x="25196" y="573220"/>
                    <a:pt x="25196" y="573220"/>
                    <a:pt x="25196" y="573220"/>
                  </a:cubicBezTo>
                  <a:cubicBezTo>
                    <a:pt x="26456" y="574479"/>
                    <a:pt x="26456" y="575739"/>
                    <a:pt x="27716" y="576999"/>
                  </a:cubicBezTo>
                  <a:cubicBezTo>
                    <a:pt x="26456" y="575739"/>
                    <a:pt x="26456" y="574479"/>
                    <a:pt x="25196" y="573220"/>
                  </a:cubicBezTo>
                  <a:cubicBezTo>
                    <a:pt x="26456" y="575739"/>
                    <a:pt x="28976" y="578259"/>
                    <a:pt x="30236" y="580778"/>
                  </a:cubicBezTo>
                  <a:cubicBezTo>
                    <a:pt x="30236" y="579519"/>
                    <a:pt x="28976" y="579519"/>
                    <a:pt x="28976" y="578259"/>
                  </a:cubicBezTo>
                  <a:cubicBezTo>
                    <a:pt x="28976" y="579519"/>
                    <a:pt x="30236" y="579519"/>
                    <a:pt x="30236" y="580778"/>
                  </a:cubicBezTo>
                  <a:cubicBezTo>
                    <a:pt x="30236" y="580778"/>
                    <a:pt x="30236" y="580778"/>
                    <a:pt x="30236" y="580778"/>
                  </a:cubicBezTo>
                  <a:cubicBezTo>
                    <a:pt x="30236" y="580778"/>
                    <a:pt x="30236" y="580778"/>
                    <a:pt x="30236" y="580778"/>
                  </a:cubicBezTo>
                  <a:cubicBezTo>
                    <a:pt x="30236" y="580778"/>
                    <a:pt x="30236" y="582038"/>
                    <a:pt x="31496" y="582038"/>
                  </a:cubicBezTo>
                  <a:cubicBezTo>
                    <a:pt x="31496" y="582038"/>
                    <a:pt x="32755" y="583298"/>
                    <a:pt x="32755" y="583298"/>
                  </a:cubicBezTo>
                  <a:cubicBezTo>
                    <a:pt x="34015" y="585818"/>
                    <a:pt x="36535" y="588337"/>
                    <a:pt x="37795" y="592117"/>
                  </a:cubicBezTo>
                  <a:cubicBezTo>
                    <a:pt x="37795" y="592117"/>
                    <a:pt x="37795" y="592117"/>
                    <a:pt x="37795" y="592117"/>
                  </a:cubicBezTo>
                  <a:cubicBezTo>
                    <a:pt x="39055" y="593377"/>
                    <a:pt x="40314" y="595896"/>
                    <a:pt x="40314" y="597156"/>
                  </a:cubicBezTo>
                  <a:lnTo>
                    <a:pt x="40314" y="597156"/>
                  </a:lnTo>
                  <a:lnTo>
                    <a:pt x="40314" y="597156"/>
                  </a:lnTo>
                  <a:cubicBezTo>
                    <a:pt x="40314" y="598416"/>
                    <a:pt x="41574" y="598416"/>
                    <a:pt x="41574" y="599676"/>
                  </a:cubicBezTo>
                  <a:cubicBezTo>
                    <a:pt x="44094" y="604715"/>
                    <a:pt x="45354" y="608495"/>
                    <a:pt x="47873" y="613534"/>
                  </a:cubicBezTo>
                  <a:cubicBezTo>
                    <a:pt x="47873" y="613534"/>
                    <a:pt x="47873" y="614794"/>
                    <a:pt x="47873" y="614794"/>
                  </a:cubicBezTo>
                  <a:lnTo>
                    <a:pt x="47873" y="614794"/>
                  </a:lnTo>
                  <a:lnTo>
                    <a:pt x="47873" y="614794"/>
                  </a:lnTo>
                  <a:cubicBezTo>
                    <a:pt x="49133" y="617313"/>
                    <a:pt x="50393" y="621093"/>
                    <a:pt x="50393" y="623613"/>
                  </a:cubicBezTo>
                  <a:lnTo>
                    <a:pt x="50393" y="624872"/>
                  </a:lnTo>
                  <a:cubicBezTo>
                    <a:pt x="51653" y="627392"/>
                    <a:pt x="51653" y="629912"/>
                    <a:pt x="52913" y="632431"/>
                  </a:cubicBezTo>
                  <a:cubicBezTo>
                    <a:pt x="52913" y="633691"/>
                    <a:pt x="52913" y="634951"/>
                    <a:pt x="52913" y="637471"/>
                  </a:cubicBezTo>
                  <a:lnTo>
                    <a:pt x="52913" y="639990"/>
                  </a:lnTo>
                  <a:lnTo>
                    <a:pt x="52913" y="642510"/>
                  </a:lnTo>
                  <a:cubicBezTo>
                    <a:pt x="52913" y="643770"/>
                    <a:pt x="52913" y="646289"/>
                    <a:pt x="52913" y="647549"/>
                  </a:cubicBezTo>
                  <a:cubicBezTo>
                    <a:pt x="52913" y="647549"/>
                    <a:pt x="52913" y="647549"/>
                    <a:pt x="52913" y="647549"/>
                  </a:cubicBezTo>
                  <a:lnTo>
                    <a:pt x="52913" y="647549"/>
                  </a:lnTo>
                  <a:lnTo>
                    <a:pt x="52913" y="647549"/>
                  </a:lnTo>
                  <a:lnTo>
                    <a:pt x="52913" y="650069"/>
                  </a:lnTo>
                  <a:cubicBezTo>
                    <a:pt x="52913" y="652588"/>
                    <a:pt x="52913" y="653848"/>
                    <a:pt x="52913" y="656368"/>
                  </a:cubicBezTo>
                  <a:lnTo>
                    <a:pt x="52913" y="657628"/>
                  </a:lnTo>
                  <a:cubicBezTo>
                    <a:pt x="52913" y="660147"/>
                    <a:pt x="52913" y="662667"/>
                    <a:pt x="51653" y="665187"/>
                  </a:cubicBezTo>
                  <a:cubicBezTo>
                    <a:pt x="50393" y="672746"/>
                    <a:pt x="49133" y="677785"/>
                    <a:pt x="47873" y="682824"/>
                  </a:cubicBezTo>
                  <a:cubicBezTo>
                    <a:pt x="47873" y="682824"/>
                    <a:pt x="47873" y="682824"/>
                    <a:pt x="47873" y="682824"/>
                  </a:cubicBezTo>
                  <a:lnTo>
                    <a:pt x="47873" y="684084"/>
                  </a:lnTo>
                  <a:cubicBezTo>
                    <a:pt x="47873" y="684084"/>
                    <a:pt x="47873" y="684084"/>
                    <a:pt x="47873" y="684084"/>
                  </a:cubicBezTo>
                  <a:cubicBezTo>
                    <a:pt x="46614" y="686604"/>
                    <a:pt x="46614" y="689123"/>
                    <a:pt x="45354" y="691643"/>
                  </a:cubicBezTo>
                  <a:cubicBezTo>
                    <a:pt x="45354" y="690383"/>
                    <a:pt x="46614" y="689123"/>
                    <a:pt x="46614" y="687863"/>
                  </a:cubicBezTo>
                  <a:cubicBezTo>
                    <a:pt x="46614" y="689123"/>
                    <a:pt x="45354" y="690383"/>
                    <a:pt x="45354" y="692903"/>
                  </a:cubicBezTo>
                  <a:cubicBezTo>
                    <a:pt x="45354" y="692903"/>
                    <a:pt x="45354" y="692903"/>
                    <a:pt x="45354" y="691643"/>
                  </a:cubicBezTo>
                  <a:cubicBezTo>
                    <a:pt x="45354" y="692903"/>
                    <a:pt x="45354" y="692903"/>
                    <a:pt x="44094" y="694163"/>
                  </a:cubicBezTo>
                  <a:cubicBezTo>
                    <a:pt x="44094" y="695422"/>
                    <a:pt x="42834" y="695422"/>
                    <a:pt x="42834" y="696682"/>
                  </a:cubicBezTo>
                  <a:cubicBezTo>
                    <a:pt x="41574" y="697942"/>
                    <a:pt x="41574" y="699202"/>
                    <a:pt x="40314" y="701722"/>
                  </a:cubicBezTo>
                  <a:cubicBezTo>
                    <a:pt x="40314" y="702981"/>
                    <a:pt x="39055" y="702981"/>
                    <a:pt x="39055" y="704241"/>
                  </a:cubicBezTo>
                  <a:cubicBezTo>
                    <a:pt x="39055" y="704241"/>
                    <a:pt x="39055" y="704241"/>
                    <a:pt x="39055" y="705501"/>
                  </a:cubicBezTo>
                  <a:cubicBezTo>
                    <a:pt x="39055" y="705501"/>
                    <a:pt x="39055" y="705501"/>
                    <a:pt x="39055" y="704241"/>
                  </a:cubicBezTo>
                  <a:cubicBezTo>
                    <a:pt x="39055" y="705501"/>
                    <a:pt x="37795" y="705501"/>
                    <a:pt x="37795" y="706761"/>
                  </a:cubicBezTo>
                  <a:cubicBezTo>
                    <a:pt x="37795" y="706761"/>
                    <a:pt x="39055" y="705501"/>
                    <a:pt x="39055" y="705501"/>
                  </a:cubicBezTo>
                  <a:cubicBezTo>
                    <a:pt x="39055" y="706761"/>
                    <a:pt x="37795" y="706761"/>
                    <a:pt x="37795" y="708021"/>
                  </a:cubicBezTo>
                  <a:cubicBezTo>
                    <a:pt x="37795" y="708021"/>
                    <a:pt x="37795" y="708021"/>
                    <a:pt x="37795" y="708021"/>
                  </a:cubicBezTo>
                  <a:cubicBezTo>
                    <a:pt x="37795" y="708021"/>
                    <a:pt x="37795" y="708021"/>
                    <a:pt x="37795" y="708021"/>
                  </a:cubicBezTo>
                  <a:cubicBezTo>
                    <a:pt x="37795" y="709280"/>
                    <a:pt x="36535" y="709280"/>
                    <a:pt x="36535" y="709280"/>
                  </a:cubicBezTo>
                  <a:lnTo>
                    <a:pt x="36535" y="710540"/>
                  </a:lnTo>
                  <a:cubicBezTo>
                    <a:pt x="34015" y="713060"/>
                    <a:pt x="32755" y="715580"/>
                    <a:pt x="30236" y="716839"/>
                  </a:cubicBezTo>
                  <a:lnTo>
                    <a:pt x="30236" y="716839"/>
                  </a:lnTo>
                  <a:cubicBezTo>
                    <a:pt x="30236" y="716839"/>
                    <a:pt x="28976" y="718099"/>
                    <a:pt x="28976" y="718099"/>
                  </a:cubicBezTo>
                  <a:cubicBezTo>
                    <a:pt x="28976" y="718099"/>
                    <a:pt x="28976" y="718099"/>
                    <a:pt x="28976" y="718099"/>
                  </a:cubicBezTo>
                  <a:cubicBezTo>
                    <a:pt x="28976" y="718099"/>
                    <a:pt x="28976" y="718099"/>
                    <a:pt x="28976" y="718099"/>
                  </a:cubicBezTo>
                  <a:cubicBezTo>
                    <a:pt x="27716" y="718099"/>
                    <a:pt x="27716" y="719359"/>
                    <a:pt x="26456" y="719359"/>
                  </a:cubicBezTo>
                  <a:cubicBezTo>
                    <a:pt x="25196" y="720619"/>
                    <a:pt x="22677" y="721879"/>
                    <a:pt x="21417" y="721879"/>
                  </a:cubicBezTo>
                  <a:lnTo>
                    <a:pt x="21417" y="721879"/>
                  </a:lnTo>
                  <a:lnTo>
                    <a:pt x="21417" y="721879"/>
                  </a:lnTo>
                  <a:lnTo>
                    <a:pt x="21417" y="721879"/>
                  </a:lnTo>
                  <a:cubicBezTo>
                    <a:pt x="20157" y="721879"/>
                    <a:pt x="18897" y="723139"/>
                    <a:pt x="17638" y="723139"/>
                  </a:cubicBezTo>
                  <a:cubicBezTo>
                    <a:pt x="15118" y="724398"/>
                    <a:pt x="12598" y="725658"/>
                    <a:pt x="10079" y="726918"/>
                  </a:cubicBezTo>
                  <a:lnTo>
                    <a:pt x="10079" y="726918"/>
                  </a:lnTo>
                  <a:cubicBezTo>
                    <a:pt x="6299" y="728178"/>
                    <a:pt x="3780" y="729438"/>
                    <a:pt x="0" y="729438"/>
                  </a:cubicBezTo>
                  <a:cubicBezTo>
                    <a:pt x="0" y="729438"/>
                    <a:pt x="0" y="729438"/>
                    <a:pt x="0" y="729438"/>
                  </a:cubicBezTo>
                  <a:cubicBezTo>
                    <a:pt x="0" y="729438"/>
                    <a:pt x="0" y="729438"/>
                    <a:pt x="0" y="729438"/>
                  </a:cubicBezTo>
                  <a:cubicBezTo>
                    <a:pt x="0" y="729438"/>
                    <a:pt x="0" y="729438"/>
                    <a:pt x="0" y="729438"/>
                  </a:cubicBezTo>
                  <a:cubicBezTo>
                    <a:pt x="0" y="729438"/>
                    <a:pt x="0" y="729438"/>
                    <a:pt x="0" y="729438"/>
                  </a:cubicBezTo>
                  <a:lnTo>
                    <a:pt x="0" y="729438"/>
                  </a:lnTo>
                  <a:lnTo>
                    <a:pt x="0" y="729438"/>
                  </a:lnTo>
                  <a:cubicBezTo>
                    <a:pt x="0" y="729438"/>
                    <a:pt x="0" y="729438"/>
                    <a:pt x="0" y="729438"/>
                  </a:cubicBezTo>
                  <a:cubicBezTo>
                    <a:pt x="1260" y="729438"/>
                    <a:pt x="1260" y="729438"/>
                    <a:pt x="2520" y="729438"/>
                  </a:cubicBezTo>
                  <a:lnTo>
                    <a:pt x="3780" y="729438"/>
                  </a:lnTo>
                  <a:cubicBezTo>
                    <a:pt x="5039" y="729438"/>
                    <a:pt x="6299" y="729438"/>
                    <a:pt x="7559" y="729438"/>
                  </a:cubicBezTo>
                  <a:cubicBezTo>
                    <a:pt x="8819" y="729438"/>
                    <a:pt x="11339" y="729438"/>
                    <a:pt x="12598" y="729438"/>
                  </a:cubicBezTo>
                  <a:cubicBezTo>
                    <a:pt x="18897" y="729438"/>
                    <a:pt x="26456" y="730698"/>
                    <a:pt x="34015" y="730698"/>
                  </a:cubicBezTo>
                  <a:cubicBezTo>
                    <a:pt x="44094" y="730698"/>
                    <a:pt x="54172" y="730698"/>
                    <a:pt x="64251" y="730698"/>
                  </a:cubicBezTo>
                  <a:cubicBezTo>
                    <a:pt x="66771" y="730698"/>
                    <a:pt x="69290" y="730698"/>
                    <a:pt x="73070" y="730698"/>
                  </a:cubicBezTo>
                  <a:lnTo>
                    <a:pt x="75589" y="730698"/>
                  </a:lnTo>
                  <a:lnTo>
                    <a:pt x="75589" y="730698"/>
                  </a:lnTo>
                  <a:cubicBezTo>
                    <a:pt x="78109" y="730698"/>
                    <a:pt x="79369" y="730698"/>
                    <a:pt x="81889" y="730698"/>
                  </a:cubicBezTo>
                  <a:cubicBezTo>
                    <a:pt x="83148" y="730698"/>
                    <a:pt x="83148" y="730698"/>
                    <a:pt x="84408" y="730698"/>
                  </a:cubicBezTo>
                  <a:cubicBezTo>
                    <a:pt x="86928" y="730698"/>
                    <a:pt x="89448" y="730698"/>
                    <a:pt x="91967" y="730698"/>
                  </a:cubicBezTo>
                  <a:cubicBezTo>
                    <a:pt x="93227" y="730698"/>
                    <a:pt x="94487" y="730698"/>
                    <a:pt x="95747" y="730698"/>
                  </a:cubicBezTo>
                  <a:cubicBezTo>
                    <a:pt x="95747" y="730698"/>
                    <a:pt x="97007" y="730698"/>
                    <a:pt x="97007" y="730698"/>
                  </a:cubicBezTo>
                  <a:lnTo>
                    <a:pt x="97007" y="730698"/>
                  </a:lnTo>
                  <a:cubicBezTo>
                    <a:pt x="102046" y="730698"/>
                    <a:pt x="107085" y="730698"/>
                    <a:pt x="110864" y="730698"/>
                  </a:cubicBezTo>
                  <a:cubicBezTo>
                    <a:pt x="113384" y="730698"/>
                    <a:pt x="115904" y="730698"/>
                    <a:pt x="118424" y="730698"/>
                  </a:cubicBezTo>
                  <a:cubicBezTo>
                    <a:pt x="122203" y="730698"/>
                    <a:pt x="125982" y="730698"/>
                    <a:pt x="129762" y="730698"/>
                  </a:cubicBezTo>
                  <a:lnTo>
                    <a:pt x="134801" y="730698"/>
                  </a:lnTo>
                  <a:lnTo>
                    <a:pt x="136061" y="730698"/>
                  </a:lnTo>
                  <a:cubicBezTo>
                    <a:pt x="141100" y="730698"/>
                    <a:pt x="144880" y="730698"/>
                    <a:pt x="149919" y="730698"/>
                  </a:cubicBezTo>
                  <a:cubicBezTo>
                    <a:pt x="152439" y="730698"/>
                    <a:pt x="154958" y="730698"/>
                    <a:pt x="157478" y="730698"/>
                  </a:cubicBezTo>
                  <a:cubicBezTo>
                    <a:pt x="157478" y="730698"/>
                    <a:pt x="158738" y="730698"/>
                    <a:pt x="158738" y="730698"/>
                  </a:cubicBezTo>
                  <a:cubicBezTo>
                    <a:pt x="162517" y="730698"/>
                    <a:pt x="166297" y="730698"/>
                    <a:pt x="170076" y="730698"/>
                  </a:cubicBezTo>
                  <a:cubicBezTo>
                    <a:pt x="176375" y="730698"/>
                    <a:pt x="182674" y="730698"/>
                    <a:pt x="190233" y="729438"/>
                  </a:cubicBezTo>
                  <a:cubicBezTo>
                    <a:pt x="191493" y="729438"/>
                    <a:pt x="191493" y="729438"/>
                    <a:pt x="192753" y="729438"/>
                  </a:cubicBezTo>
                  <a:lnTo>
                    <a:pt x="192753" y="729438"/>
                  </a:lnTo>
                  <a:cubicBezTo>
                    <a:pt x="196533" y="729438"/>
                    <a:pt x="199052" y="729438"/>
                    <a:pt x="202832" y="728178"/>
                  </a:cubicBezTo>
                  <a:lnTo>
                    <a:pt x="202832" y="728178"/>
                  </a:lnTo>
                  <a:cubicBezTo>
                    <a:pt x="205351" y="728178"/>
                    <a:pt x="207871" y="728178"/>
                    <a:pt x="210391" y="726918"/>
                  </a:cubicBezTo>
                  <a:cubicBezTo>
                    <a:pt x="211650" y="726918"/>
                    <a:pt x="211650" y="726918"/>
                    <a:pt x="212910" y="726918"/>
                  </a:cubicBezTo>
                  <a:lnTo>
                    <a:pt x="212910" y="726918"/>
                  </a:lnTo>
                  <a:cubicBezTo>
                    <a:pt x="215430" y="726918"/>
                    <a:pt x="219209" y="726918"/>
                    <a:pt x="221729" y="726918"/>
                  </a:cubicBezTo>
                  <a:cubicBezTo>
                    <a:pt x="224249" y="726918"/>
                    <a:pt x="226768" y="726918"/>
                    <a:pt x="229288" y="726918"/>
                  </a:cubicBezTo>
                  <a:cubicBezTo>
                    <a:pt x="230548" y="726918"/>
                    <a:pt x="231808" y="726918"/>
                    <a:pt x="231808" y="726918"/>
                  </a:cubicBezTo>
                  <a:cubicBezTo>
                    <a:pt x="233067" y="726918"/>
                    <a:pt x="234327" y="726918"/>
                    <a:pt x="235587" y="726918"/>
                  </a:cubicBezTo>
                  <a:lnTo>
                    <a:pt x="235587" y="726918"/>
                  </a:lnTo>
                  <a:lnTo>
                    <a:pt x="235587" y="726918"/>
                  </a:lnTo>
                  <a:cubicBezTo>
                    <a:pt x="235587" y="726918"/>
                    <a:pt x="236847" y="726918"/>
                    <a:pt x="236847" y="726918"/>
                  </a:cubicBezTo>
                  <a:cubicBezTo>
                    <a:pt x="238107" y="726918"/>
                    <a:pt x="239366" y="726918"/>
                    <a:pt x="240626" y="726918"/>
                  </a:cubicBezTo>
                  <a:cubicBezTo>
                    <a:pt x="243146" y="726918"/>
                    <a:pt x="244406" y="726918"/>
                    <a:pt x="246925" y="726918"/>
                  </a:cubicBezTo>
                  <a:cubicBezTo>
                    <a:pt x="248185" y="726918"/>
                    <a:pt x="249445" y="726918"/>
                    <a:pt x="249445" y="726918"/>
                  </a:cubicBezTo>
                  <a:lnTo>
                    <a:pt x="249445" y="726918"/>
                  </a:lnTo>
                  <a:cubicBezTo>
                    <a:pt x="249445" y="726918"/>
                    <a:pt x="250705" y="726918"/>
                    <a:pt x="250705" y="726918"/>
                  </a:cubicBezTo>
                  <a:cubicBezTo>
                    <a:pt x="254484" y="726918"/>
                    <a:pt x="258264" y="726918"/>
                    <a:pt x="262043" y="726918"/>
                  </a:cubicBezTo>
                  <a:cubicBezTo>
                    <a:pt x="263303" y="726918"/>
                    <a:pt x="265823" y="726918"/>
                    <a:pt x="267083" y="726918"/>
                  </a:cubicBezTo>
                  <a:cubicBezTo>
                    <a:pt x="268342" y="726918"/>
                    <a:pt x="270862" y="726918"/>
                    <a:pt x="272122" y="726918"/>
                  </a:cubicBezTo>
                  <a:lnTo>
                    <a:pt x="273382" y="726918"/>
                  </a:lnTo>
                  <a:cubicBezTo>
                    <a:pt x="273382" y="726918"/>
                    <a:pt x="274642" y="726918"/>
                    <a:pt x="274642" y="726918"/>
                  </a:cubicBezTo>
                  <a:cubicBezTo>
                    <a:pt x="277161" y="726918"/>
                    <a:pt x="278421" y="726918"/>
                    <a:pt x="280941" y="726918"/>
                  </a:cubicBezTo>
                  <a:lnTo>
                    <a:pt x="280941" y="726918"/>
                  </a:lnTo>
                  <a:lnTo>
                    <a:pt x="280941" y="726918"/>
                  </a:lnTo>
                  <a:cubicBezTo>
                    <a:pt x="291019" y="728178"/>
                    <a:pt x="302358" y="728178"/>
                    <a:pt x="312436" y="729438"/>
                  </a:cubicBezTo>
                  <a:cubicBezTo>
                    <a:pt x="319995" y="729438"/>
                    <a:pt x="325034" y="729438"/>
                    <a:pt x="331334" y="729438"/>
                  </a:cubicBezTo>
                  <a:cubicBezTo>
                    <a:pt x="331334" y="729438"/>
                    <a:pt x="331334" y="729438"/>
                    <a:pt x="332593" y="729438"/>
                  </a:cubicBezTo>
                  <a:cubicBezTo>
                    <a:pt x="333853" y="729438"/>
                    <a:pt x="333853" y="729438"/>
                    <a:pt x="335113" y="729438"/>
                  </a:cubicBezTo>
                  <a:lnTo>
                    <a:pt x="336373" y="729438"/>
                  </a:lnTo>
                  <a:cubicBezTo>
                    <a:pt x="337633" y="729438"/>
                    <a:pt x="340152" y="729438"/>
                    <a:pt x="341412" y="729438"/>
                  </a:cubicBezTo>
                  <a:cubicBezTo>
                    <a:pt x="342672" y="729438"/>
                    <a:pt x="343932" y="729438"/>
                    <a:pt x="345192" y="729438"/>
                  </a:cubicBezTo>
                  <a:cubicBezTo>
                    <a:pt x="346451" y="729438"/>
                    <a:pt x="347711" y="729438"/>
                    <a:pt x="348971" y="729438"/>
                  </a:cubicBezTo>
                  <a:lnTo>
                    <a:pt x="348971" y="729438"/>
                  </a:lnTo>
                  <a:cubicBezTo>
                    <a:pt x="348971" y="729438"/>
                    <a:pt x="350231" y="729438"/>
                    <a:pt x="350231" y="729438"/>
                  </a:cubicBezTo>
                  <a:cubicBezTo>
                    <a:pt x="333853" y="705501"/>
                    <a:pt x="323775" y="676525"/>
                    <a:pt x="313696" y="645030"/>
                  </a:cubicBezTo>
                  <a:close/>
                </a:path>
              </a:pathLst>
            </a:custGeom>
            <a:solidFill>
              <a:srgbClr val="54F3F5"/>
            </a:solidFill>
            <a:ln w="12584" cap="flat">
              <a:noFill/>
              <a:prstDash val="solid"/>
              <a:miter/>
            </a:ln>
          </p:spPr>
          <p:txBody>
            <a:bodyPr rtlCol="0" anchor="ctr"/>
            <a:lstStyle/>
            <a:p>
              <a:endParaRPr lang="zh-CN" altLang="en-US"/>
            </a:p>
          </p:txBody>
        </p:sp>
        <p:sp>
          <p:nvSpPr>
            <p:cNvPr id="10139" name="任意多边形: 形状 10138"/>
            <p:cNvSpPr/>
            <p:nvPr/>
          </p:nvSpPr>
          <p:spPr>
            <a:xfrm>
              <a:off x="2869333" y="3859859"/>
              <a:ext cx="12598" cy="12598"/>
            </a:xfrm>
            <a:custGeom>
              <a:avLst/>
              <a:gdLst>
                <a:gd name="connsiteX0" fmla="*/ 0 w 0"/>
                <a:gd name="connsiteY0" fmla="*/ 1260 h 0"/>
                <a:gd name="connsiteX1" fmla="*/ 2520 w 0"/>
                <a:gd name="connsiteY1" fmla="*/ 0 h 0"/>
                <a:gd name="connsiteX2" fmla="*/ 0 w 0"/>
                <a:gd name="connsiteY2" fmla="*/ 1260 h 0"/>
              </a:gdLst>
              <a:ahLst/>
              <a:cxnLst>
                <a:cxn ang="0">
                  <a:pos x="connsiteX0" y="connsiteY0"/>
                </a:cxn>
                <a:cxn ang="0">
                  <a:pos x="connsiteX1" y="connsiteY1"/>
                </a:cxn>
                <a:cxn ang="0">
                  <a:pos x="connsiteX2" y="connsiteY2"/>
                </a:cxn>
              </a:cxnLst>
              <a:rect l="l" t="t" r="r" b="b"/>
              <a:pathLst>
                <a:path>
                  <a:moveTo>
                    <a:pt x="0" y="1260"/>
                  </a:moveTo>
                  <a:cubicBezTo>
                    <a:pt x="1260" y="1260"/>
                    <a:pt x="1260" y="0"/>
                    <a:pt x="2520" y="0"/>
                  </a:cubicBezTo>
                  <a:cubicBezTo>
                    <a:pt x="2520" y="0"/>
                    <a:pt x="1260" y="0"/>
                    <a:pt x="0" y="1260"/>
                  </a:cubicBezTo>
                  <a:close/>
                </a:path>
              </a:pathLst>
            </a:custGeom>
            <a:solidFill>
              <a:srgbClr val="54F3F5"/>
            </a:solidFill>
            <a:ln w="12584" cap="flat">
              <a:noFill/>
              <a:prstDash val="solid"/>
              <a:miter/>
            </a:ln>
          </p:spPr>
          <p:txBody>
            <a:bodyPr rtlCol="0" anchor="ctr"/>
            <a:lstStyle/>
            <a:p>
              <a:endParaRPr lang="zh-CN" altLang="en-US"/>
            </a:p>
          </p:txBody>
        </p:sp>
        <p:sp>
          <p:nvSpPr>
            <p:cNvPr id="10140" name="任意多边形: 形状 10139"/>
            <p:cNvSpPr/>
            <p:nvPr/>
          </p:nvSpPr>
          <p:spPr>
            <a:xfrm>
              <a:off x="3305232" y="3509628"/>
              <a:ext cx="12598" cy="12598"/>
            </a:xfrm>
            <a:custGeom>
              <a:avLst/>
              <a:gdLst>
                <a:gd name="connsiteX0" fmla="*/ 0 w 0"/>
                <a:gd name="connsiteY0" fmla="*/ 0 h 0"/>
                <a:gd name="connsiteX1" fmla="*/ 0 w 0"/>
                <a:gd name="connsiteY1" fmla="*/ 0 h 0"/>
                <a:gd name="connsiteX2" fmla="*/ 0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0" y="0"/>
                    <a:pt x="0" y="0"/>
                    <a:pt x="0" y="0"/>
                  </a:cubicBezTo>
                  <a:cubicBezTo>
                    <a:pt x="0" y="0"/>
                    <a:pt x="0" y="0"/>
                    <a:pt x="0" y="0"/>
                  </a:cubicBezTo>
                  <a:cubicBezTo>
                    <a:pt x="0" y="0"/>
                    <a:pt x="0" y="0"/>
                    <a:pt x="0" y="0"/>
                  </a:cubicBezTo>
                  <a:close/>
                </a:path>
              </a:pathLst>
            </a:custGeom>
            <a:solidFill>
              <a:srgbClr val="54F3F5"/>
            </a:solidFill>
            <a:ln w="12584" cap="flat">
              <a:noFill/>
              <a:prstDash val="solid"/>
              <a:miter/>
            </a:ln>
          </p:spPr>
          <p:txBody>
            <a:bodyPr rtlCol="0" anchor="ctr"/>
            <a:lstStyle/>
            <a:p>
              <a:endParaRPr lang="zh-CN" altLang="en-US"/>
            </a:p>
          </p:txBody>
        </p:sp>
        <p:sp>
          <p:nvSpPr>
            <p:cNvPr id="10141" name="任意多边形: 形状 10140"/>
            <p:cNvSpPr/>
            <p:nvPr/>
          </p:nvSpPr>
          <p:spPr>
            <a:xfrm>
              <a:off x="3224603" y="3369788"/>
              <a:ext cx="88188" cy="340152"/>
            </a:xfrm>
            <a:custGeom>
              <a:avLst/>
              <a:gdLst>
                <a:gd name="connsiteX0" fmla="*/ 61731 w 88187"/>
                <a:gd name="connsiteY0" fmla="*/ 103305 h 340152"/>
                <a:gd name="connsiteX1" fmla="*/ 61731 w 88187"/>
                <a:gd name="connsiteY1" fmla="*/ 103305 h 340152"/>
                <a:gd name="connsiteX2" fmla="*/ 59212 w 88187"/>
                <a:gd name="connsiteY2" fmla="*/ 97006 h 340152"/>
                <a:gd name="connsiteX3" fmla="*/ 59212 w 88187"/>
                <a:gd name="connsiteY3" fmla="*/ 97006 h 340152"/>
                <a:gd name="connsiteX4" fmla="*/ 59212 w 88187"/>
                <a:gd name="connsiteY4" fmla="*/ 97006 h 340152"/>
                <a:gd name="connsiteX5" fmla="*/ 56692 w 88187"/>
                <a:gd name="connsiteY5" fmla="*/ 91967 h 340152"/>
                <a:gd name="connsiteX6" fmla="*/ 54172 w 88187"/>
                <a:gd name="connsiteY6" fmla="*/ 86928 h 340152"/>
                <a:gd name="connsiteX7" fmla="*/ 51653 w 88187"/>
                <a:gd name="connsiteY7" fmla="*/ 81889 h 340152"/>
                <a:gd name="connsiteX8" fmla="*/ 49133 w 88187"/>
                <a:gd name="connsiteY8" fmla="*/ 75589 h 340152"/>
                <a:gd name="connsiteX9" fmla="*/ 39054 w 88187"/>
                <a:gd name="connsiteY9" fmla="*/ 56692 h 340152"/>
                <a:gd name="connsiteX10" fmla="*/ 36535 w 88187"/>
                <a:gd name="connsiteY10" fmla="*/ 52913 h 340152"/>
                <a:gd name="connsiteX11" fmla="*/ 32755 w 88187"/>
                <a:gd name="connsiteY11" fmla="*/ 46613 h 340152"/>
                <a:gd name="connsiteX12" fmla="*/ 31496 w 88187"/>
                <a:gd name="connsiteY12" fmla="*/ 45354 h 340152"/>
                <a:gd name="connsiteX13" fmla="*/ 27716 w 88187"/>
                <a:gd name="connsiteY13" fmla="*/ 39054 h 340152"/>
                <a:gd name="connsiteX14" fmla="*/ 26456 w 88187"/>
                <a:gd name="connsiteY14" fmla="*/ 36535 h 340152"/>
                <a:gd name="connsiteX15" fmla="*/ 22677 w 88187"/>
                <a:gd name="connsiteY15" fmla="*/ 28976 h 340152"/>
                <a:gd name="connsiteX16" fmla="*/ 22677 w 88187"/>
                <a:gd name="connsiteY16" fmla="*/ 28976 h 340152"/>
                <a:gd name="connsiteX17" fmla="*/ 21417 w 88187"/>
                <a:gd name="connsiteY17" fmla="*/ 26456 h 340152"/>
                <a:gd name="connsiteX18" fmla="*/ 18897 w 88187"/>
                <a:gd name="connsiteY18" fmla="*/ 22677 h 340152"/>
                <a:gd name="connsiteX19" fmla="*/ 10079 w 88187"/>
                <a:gd name="connsiteY19" fmla="*/ 3780 h 340152"/>
                <a:gd name="connsiteX20" fmla="*/ 7559 w 88187"/>
                <a:gd name="connsiteY20" fmla="*/ 1260 h 340152"/>
                <a:gd name="connsiteX21" fmla="*/ 7559 w 88187"/>
                <a:gd name="connsiteY21" fmla="*/ 1260 h 340152"/>
                <a:gd name="connsiteX22" fmla="*/ 6299 w 88187"/>
                <a:gd name="connsiteY22" fmla="*/ 1260 h 340152"/>
                <a:gd name="connsiteX23" fmla="*/ 6299 w 88187"/>
                <a:gd name="connsiteY23" fmla="*/ 1260 h 340152"/>
                <a:gd name="connsiteX24" fmla="*/ 6299 w 88187"/>
                <a:gd name="connsiteY24" fmla="*/ 1260 h 340152"/>
                <a:gd name="connsiteX25" fmla="*/ 6299 w 88187"/>
                <a:gd name="connsiteY25" fmla="*/ 1260 h 340152"/>
                <a:gd name="connsiteX26" fmla="*/ 6299 w 88187"/>
                <a:gd name="connsiteY26" fmla="*/ 0 h 340152"/>
                <a:gd name="connsiteX27" fmla="*/ 6299 w 88187"/>
                <a:gd name="connsiteY27" fmla="*/ 0 h 340152"/>
                <a:gd name="connsiteX28" fmla="*/ 6299 w 88187"/>
                <a:gd name="connsiteY28" fmla="*/ 0 h 340152"/>
                <a:gd name="connsiteX29" fmla="*/ 6299 w 88187"/>
                <a:gd name="connsiteY29" fmla="*/ 0 h 340152"/>
                <a:gd name="connsiteX30" fmla="*/ 6299 w 88187"/>
                <a:gd name="connsiteY30" fmla="*/ 0 h 340152"/>
                <a:gd name="connsiteX31" fmla="*/ 6299 w 88187"/>
                <a:gd name="connsiteY31" fmla="*/ 0 h 340152"/>
                <a:gd name="connsiteX32" fmla="*/ 6299 w 88187"/>
                <a:gd name="connsiteY32" fmla="*/ 0 h 340152"/>
                <a:gd name="connsiteX33" fmla="*/ 5039 w 88187"/>
                <a:gd name="connsiteY33" fmla="*/ 0 h 340152"/>
                <a:gd name="connsiteX34" fmla="*/ 3780 w 88187"/>
                <a:gd name="connsiteY34" fmla="*/ 0 h 340152"/>
                <a:gd name="connsiteX35" fmla="*/ 2520 w 88187"/>
                <a:gd name="connsiteY35" fmla="*/ 2520 h 340152"/>
                <a:gd name="connsiteX36" fmla="*/ 2520 w 88187"/>
                <a:gd name="connsiteY36" fmla="*/ 3780 h 340152"/>
                <a:gd name="connsiteX37" fmla="*/ 1260 w 88187"/>
                <a:gd name="connsiteY37" fmla="*/ 7559 h 340152"/>
                <a:gd name="connsiteX38" fmla="*/ 1260 w 88187"/>
                <a:gd name="connsiteY38" fmla="*/ 8819 h 340152"/>
                <a:gd name="connsiteX39" fmla="*/ 0 w 88187"/>
                <a:gd name="connsiteY39" fmla="*/ 11338 h 340152"/>
                <a:gd name="connsiteX40" fmla="*/ 0 w 88187"/>
                <a:gd name="connsiteY40" fmla="*/ 11338 h 340152"/>
                <a:gd name="connsiteX41" fmla="*/ 0 w 88187"/>
                <a:gd name="connsiteY41" fmla="*/ 12598 h 340152"/>
                <a:gd name="connsiteX42" fmla="*/ 0 w 88187"/>
                <a:gd name="connsiteY42" fmla="*/ 13858 h 340152"/>
                <a:gd name="connsiteX43" fmla="*/ 0 w 88187"/>
                <a:gd name="connsiteY43" fmla="*/ 18897 h 340152"/>
                <a:gd name="connsiteX44" fmla="*/ 0 w 88187"/>
                <a:gd name="connsiteY44" fmla="*/ 18897 h 340152"/>
                <a:gd name="connsiteX45" fmla="*/ 0 w 88187"/>
                <a:gd name="connsiteY45" fmla="*/ 18897 h 340152"/>
                <a:gd name="connsiteX46" fmla="*/ 0 w 88187"/>
                <a:gd name="connsiteY46" fmla="*/ 22677 h 340152"/>
                <a:gd name="connsiteX47" fmla="*/ 0 w 88187"/>
                <a:gd name="connsiteY47" fmla="*/ 27716 h 340152"/>
                <a:gd name="connsiteX48" fmla="*/ 0 w 88187"/>
                <a:gd name="connsiteY48" fmla="*/ 37795 h 340152"/>
                <a:gd name="connsiteX49" fmla="*/ 0 w 88187"/>
                <a:gd name="connsiteY49" fmla="*/ 41574 h 340152"/>
                <a:gd name="connsiteX50" fmla="*/ 0 w 88187"/>
                <a:gd name="connsiteY50" fmla="*/ 41574 h 340152"/>
                <a:gd name="connsiteX51" fmla="*/ 0 w 88187"/>
                <a:gd name="connsiteY51" fmla="*/ 47873 h 340152"/>
                <a:gd name="connsiteX52" fmla="*/ 0 w 88187"/>
                <a:gd name="connsiteY52" fmla="*/ 50393 h 340152"/>
                <a:gd name="connsiteX53" fmla="*/ 0 w 88187"/>
                <a:gd name="connsiteY53" fmla="*/ 51653 h 340152"/>
                <a:gd name="connsiteX54" fmla="*/ 0 w 88187"/>
                <a:gd name="connsiteY54" fmla="*/ 52913 h 340152"/>
                <a:gd name="connsiteX55" fmla="*/ 0 w 88187"/>
                <a:gd name="connsiteY55" fmla="*/ 61731 h 340152"/>
                <a:gd name="connsiteX56" fmla="*/ 0 w 88187"/>
                <a:gd name="connsiteY56" fmla="*/ 70550 h 340152"/>
                <a:gd name="connsiteX57" fmla="*/ 0 w 88187"/>
                <a:gd name="connsiteY57" fmla="*/ 74330 h 340152"/>
                <a:gd name="connsiteX58" fmla="*/ 0 w 88187"/>
                <a:gd name="connsiteY58" fmla="*/ 78109 h 340152"/>
                <a:gd name="connsiteX59" fmla="*/ 0 w 88187"/>
                <a:gd name="connsiteY59" fmla="*/ 88188 h 340152"/>
                <a:gd name="connsiteX60" fmla="*/ 0 w 88187"/>
                <a:gd name="connsiteY60" fmla="*/ 91967 h 340152"/>
                <a:gd name="connsiteX61" fmla="*/ 0 w 88187"/>
                <a:gd name="connsiteY61" fmla="*/ 93227 h 340152"/>
                <a:gd name="connsiteX62" fmla="*/ 0 w 88187"/>
                <a:gd name="connsiteY62" fmla="*/ 94487 h 340152"/>
                <a:gd name="connsiteX63" fmla="*/ 0 w 88187"/>
                <a:gd name="connsiteY63" fmla="*/ 99526 h 340152"/>
                <a:gd name="connsiteX64" fmla="*/ 0 w 88187"/>
                <a:gd name="connsiteY64" fmla="*/ 104565 h 340152"/>
                <a:gd name="connsiteX65" fmla="*/ 0 w 88187"/>
                <a:gd name="connsiteY65" fmla="*/ 105825 h 340152"/>
                <a:gd name="connsiteX66" fmla="*/ 0 w 88187"/>
                <a:gd name="connsiteY66" fmla="*/ 109605 h 340152"/>
                <a:gd name="connsiteX67" fmla="*/ 0 w 88187"/>
                <a:gd name="connsiteY67" fmla="*/ 112124 h 340152"/>
                <a:gd name="connsiteX68" fmla="*/ 0 w 88187"/>
                <a:gd name="connsiteY68" fmla="*/ 113384 h 340152"/>
                <a:gd name="connsiteX69" fmla="*/ 0 w 88187"/>
                <a:gd name="connsiteY69" fmla="*/ 119683 h 340152"/>
                <a:gd name="connsiteX70" fmla="*/ 0 w 88187"/>
                <a:gd name="connsiteY70" fmla="*/ 119683 h 340152"/>
                <a:gd name="connsiteX71" fmla="*/ 0 w 88187"/>
                <a:gd name="connsiteY71" fmla="*/ 120943 h 340152"/>
                <a:gd name="connsiteX72" fmla="*/ 0 w 88187"/>
                <a:gd name="connsiteY72" fmla="*/ 129762 h 340152"/>
                <a:gd name="connsiteX73" fmla="*/ 0 w 88187"/>
                <a:gd name="connsiteY73" fmla="*/ 129762 h 340152"/>
                <a:gd name="connsiteX74" fmla="*/ 0 w 88187"/>
                <a:gd name="connsiteY74" fmla="*/ 134801 h 340152"/>
                <a:gd name="connsiteX75" fmla="*/ 0 w 88187"/>
                <a:gd name="connsiteY75" fmla="*/ 136061 h 340152"/>
                <a:gd name="connsiteX76" fmla="*/ 0 w 88187"/>
                <a:gd name="connsiteY76" fmla="*/ 139840 h 340152"/>
                <a:gd name="connsiteX77" fmla="*/ 0 w 88187"/>
                <a:gd name="connsiteY77" fmla="*/ 143620 h 340152"/>
                <a:gd name="connsiteX78" fmla="*/ 0 w 88187"/>
                <a:gd name="connsiteY78" fmla="*/ 151179 h 340152"/>
                <a:gd name="connsiteX79" fmla="*/ 0 w 88187"/>
                <a:gd name="connsiteY79" fmla="*/ 152439 h 340152"/>
                <a:gd name="connsiteX80" fmla="*/ 1260 w 88187"/>
                <a:gd name="connsiteY80" fmla="*/ 154958 h 340152"/>
                <a:gd name="connsiteX81" fmla="*/ 1260 w 88187"/>
                <a:gd name="connsiteY81" fmla="*/ 154958 h 340152"/>
                <a:gd name="connsiteX82" fmla="*/ 2520 w 88187"/>
                <a:gd name="connsiteY82" fmla="*/ 157478 h 340152"/>
                <a:gd name="connsiteX83" fmla="*/ 5039 w 88187"/>
                <a:gd name="connsiteY83" fmla="*/ 161257 h 340152"/>
                <a:gd name="connsiteX84" fmla="*/ 5039 w 88187"/>
                <a:gd name="connsiteY84" fmla="*/ 161257 h 340152"/>
                <a:gd name="connsiteX85" fmla="*/ 7559 w 88187"/>
                <a:gd name="connsiteY85" fmla="*/ 163777 h 340152"/>
                <a:gd name="connsiteX86" fmla="*/ 11338 w 88187"/>
                <a:gd name="connsiteY86" fmla="*/ 167557 h 340152"/>
                <a:gd name="connsiteX87" fmla="*/ 12598 w 88187"/>
                <a:gd name="connsiteY87" fmla="*/ 168816 h 340152"/>
                <a:gd name="connsiteX88" fmla="*/ 12598 w 88187"/>
                <a:gd name="connsiteY88" fmla="*/ 168816 h 340152"/>
                <a:gd name="connsiteX89" fmla="*/ 20157 w 88187"/>
                <a:gd name="connsiteY89" fmla="*/ 178895 h 340152"/>
                <a:gd name="connsiteX90" fmla="*/ 22677 w 88187"/>
                <a:gd name="connsiteY90" fmla="*/ 182674 h 340152"/>
                <a:gd name="connsiteX91" fmla="*/ 31496 w 88187"/>
                <a:gd name="connsiteY91" fmla="*/ 196532 h 340152"/>
                <a:gd name="connsiteX92" fmla="*/ 34015 w 88187"/>
                <a:gd name="connsiteY92" fmla="*/ 201572 h 340152"/>
                <a:gd name="connsiteX93" fmla="*/ 36535 w 88187"/>
                <a:gd name="connsiteY93" fmla="*/ 205351 h 340152"/>
                <a:gd name="connsiteX94" fmla="*/ 36535 w 88187"/>
                <a:gd name="connsiteY94" fmla="*/ 206611 h 340152"/>
                <a:gd name="connsiteX95" fmla="*/ 37795 w 88187"/>
                <a:gd name="connsiteY95" fmla="*/ 207871 h 340152"/>
                <a:gd name="connsiteX96" fmla="*/ 37795 w 88187"/>
                <a:gd name="connsiteY96" fmla="*/ 207871 h 340152"/>
                <a:gd name="connsiteX97" fmla="*/ 37795 w 88187"/>
                <a:gd name="connsiteY97" fmla="*/ 207871 h 340152"/>
                <a:gd name="connsiteX98" fmla="*/ 41574 w 88187"/>
                <a:gd name="connsiteY98" fmla="*/ 212910 h 340152"/>
                <a:gd name="connsiteX99" fmla="*/ 47873 w 88187"/>
                <a:gd name="connsiteY99" fmla="*/ 225508 h 340152"/>
                <a:gd name="connsiteX100" fmla="*/ 47873 w 88187"/>
                <a:gd name="connsiteY100" fmla="*/ 225508 h 340152"/>
                <a:gd name="connsiteX101" fmla="*/ 47873 w 88187"/>
                <a:gd name="connsiteY101" fmla="*/ 225508 h 340152"/>
                <a:gd name="connsiteX102" fmla="*/ 47873 w 88187"/>
                <a:gd name="connsiteY102" fmla="*/ 225508 h 340152"/>
                <a:gd name="connsiteX103" fmla="*/ 50393 w 88187"/>
                <a:gd name="connsiteY103" fmla="*/ 228028 h 340152"/>
                <a:gd name="connsiteX104" fmla="*/ 50393 w 88187"/>
                <a:gd name="connsiteY104" fmla="*/ 228028 h 340152"/>
                <a:gd name="connsiteX105" fmla="*/ 50393 w 88187"/>
                <a:gd name="connsiteY105" fmla="*/ 228028 h 340152"/>
                <a:gd name="connsiteX106" fmla="*/ 51653 w 88187"/>
                <a:gd name="connsiteY106" fmla="*/ 229288 h 340152"/>
                <a:gd name="connsiteX107" fmla="*/ 55432 w 88187"/>
                <a:gd name="connsiteY107" fmla="*/ 234327 h 340152"/>
                <a:gd name="connsiteX108" fmla="*/ 56692 w 88187"/>
                <a:gd name="connsiteY108" fmla="*/ 236847 h 340152"/>
                <a:gd name="connsiteX109" fmla="*/ 60472 w 88187"/>
                <a:gd name="connsiteY109" fmla="*/ 243146 h 340152"/>
                <a:gd name="connsiteX110" fmla="*/ 60472 w 88187"/>
                <a:gd name="connsiteY110" fmla="*/ 243146 h 340152"/>
                <a:gd name="connsiteX111" fmla="*/ 64251 w 88187"/>
                <a:gd name="connsiteY111" fmla="*/ 250705 h 340152"/>
                <a:gd name="connsiteX112" fmla="*/ 65511 w 88187"/>
                <a:gd name="connsiteY112" fmla="*/ 251965 h 340152"/>
                <a:gd name="connsiteX113" fmla="*/ 66771 w 88187"/>
                <a:gd name="connsiteY113" fmla="*/ 254484 h 340152"/>
                <a:gd name="connsiteX114" fmla="*/ 66771 w 88187"/>
                <a:gd name="connsiteY114" fmla="*/ 254484 h 340152"/>
                <a:gd name="connsiteX115" fmla="*/ 66771 w 88187"/>
                <a:gd name="connsiteY115" fmla="*/ 255744 h 340152"/>
                <a:gd name="connsiteX116" fmla="*/ 70550 w 88187"/>
                <a:gd name="connsiteY116" fmla="*/ 263303 h 340152"/>
                <a:gd name="connsiteX117" fmla="*/ 74329 w 88187"/>
                <a:gd name="connsiteY117" fmla="*/ 270862 h 340152"/>
                <a:gd name="connsiteX118" fmla="*/ 78109 w 88187"/>
                <a:gd name="connsiteY118" fmla="*/ 277161 h 340152"/>
                <a:gd name="connsiteX119" fmla="*/ 84408 w 88187"/>
                <a:gd name="connsiteY119" fmla="*/ 289759 h 340152"/>
                <a:gd name="connsiteX120" fmla="*/ 84408 w 88187"/>
                <a:gd name="connsiteY120" fmla="*/ 291019 h 340152"/>
                <a:gd name="connsiteX121" fmla="*/ 85668 w 88187"/>
                <a:gd name="connsiteY121" fmla="*/ 293539 h 340152"/>
                <a:gd name="connsiteX122" fmla="*/ 85668 w 88187"/>
                <a:gd name="connsiteY122" fmla="*/ 294799 h 340152"/>
                <a:gd name="connsiteX123" fmla="*/ 93227 w 88187"/>
                <a:gd name="connsiteY123" fmla="*/ 313696 h 340152"/>
                <a:gd name="connsiteX124" fmla="*/ 94487 w 88187"/>
                <a:gd name="connsiteY124" fmla="*/ 317475 h 340152"/>
                <a:gd name="connsiteX125" fmla="*/ 94487 w 88187"/>
                <a:gd name="connsiteY125" fmla="*/ 318735 h 340152"/>
                <a:gd name="connsiteX126" fmla="*/ 95746 w 88187"/>
                <a:gd name="connsiteY126" fmla="*/ 323775 h 340152"/>
                <a:gd name="connsiteX127" fmla="*/ 95746 w 88187"/>
                <a:gd name="connsiteY127" fmla="*/ 323775 h 340152"/>
                <a:gd name="connsiteX128" fmla="*/ 95746 w 88187"/>
                <a:gd name="connsiteY128" fmla="*/ 323775 h 340152"/>
                <a:gd name="connsiteX129" fmla="*/ 95746 w 88187"/>
                <a:gd name="connsiteY129" fmla="*/ 326294 h 340152"/>
                <a:gd name="connsiteX130" fmla="*/ 97006 w 88187"/>
                <a:gd name="connsiteY130" fmla="*/ 331334 h 340152"/>
                <a:gd name="connsiteX131" fmla="*/ 97006 w 88187"/>
                <a:gd name="connsiteY131" fmla="*/ 333853 h 340152"/>
                <a:gd name="connsiteX132" fmla="*/ 97006 w 88187"/>
                <a:gd name="connsiteY132" fmla="*/ 333853 h 340152"/>
                <a:gd name="connsiteX133" fmla="*/ 97006 w 88187"/>
                <a:gd name="connsiteY133" fmla="*/ 336373 h 340152"/>
                <a:gd name="connsiteX134" fmla="*/ 97006 w 88187"/>
                <a:gd name="connsiteY134" fmla="*/ 338892 h 340152"/>
                <a:gd name="connsiteX135" fmla="*/ 97006 w 88187"/>
                <a:gd name="connsiteY135" fmla="*/ 341412 h 340152"/>
                <a:gd name="connsiteX136" fmla="*/ 97006 w 88187"/>
                <a:gd name="connsiteY136" fmla="*/ 342672 h 340152"/>
                <a:gd name="connsiteX137" fmla="*/ 97006 w 88187"/>
                <a:gd name="connsiteY137" fmla="*/ 342672 h 340152"/>
                <a:gd name="connsiteX138" fmla="*/ 97006 w 88187"/>
                <a:gd name="connsiteY138" fmla="*/ 343932 h 340152"/>
                <a:gd name="connsiteX139" fmla="*/ 97006 w 88187"/>
                <a:gd name="connsiteY139" fmla="*/ 343932 h 340152"/>
                <a:gd name="connsiteX140" fmla="*/ 97006 w 88187"/>
                <a:gd name="connsiteY140" fmla="*/ 343932 h 340152"/>
                <a:gd name="connsiteX141" fmla="*/ 97006 w 88187"/>
                <a:gd name="connsiteY141" fmla="*/ 343932 h 340152"/>
                <a:gd name="connsiteX142" fmla="*/ 97006 w 88187"/>
                <a:gd name="connsiteY142" fmla="*/ 343932 h 340152"/>
                <a:gd name="connsiteX143" fmla="*/ 97006 w 88187"/>
                <a:gd name="connsiteY143" fmla="*/ 343932 h 340152"/>
                <a:gd name="connsiteX144" fmla="*/ 97006 w 88187"/>
                <a:gd name="connsiteY144" fmla="*/ 342672 h 340152"/>
                <a:gd name="connsiteX145" fmla="*/ 98266 w 88187"/>
                <a:gd name="connsiteY145" fmla="*/ 332593 h 340152"/>
                <a:gd name="connsiteX146" fmla="*/ 98266 w 88187"/>
                <a:gd name="connsiteY146" fmla="*/ 332593 h 340152"/>
                <a:gd name="connsiteX147" fmla="*/ 98266 w 88187"/>
                <a:gd name="connsiteY147" fmla="*/ 331334 h 340152"/>
                <a:gd name="connsiteX148" fmla="*/ 98266 w 88187"/>
                <a:gd name="connsiteY148" fmla="*/ 330074 h 340152"/>
                <a:gd name="connsiteX149" fmla="*/ 98266 w 88187"/>
                <a:gd name="connsiteY149" fmla="*/ 321255 h 340152"/>
                <a:gd name="connsiteX150" fmla="*/ 98266 w 88187"/>
                <a:gd name="connsiteY150" fmla="*/ 321255 h 340152"/>
                <a:gd name="connsiteX151" fmla="*/ 98266 w 88187"/>
                <a:gd name="connsiteY151" fmla="*/ 309916 h 340152"/>
                <a:gd name="connsiteX152" fmla="*/ 98266 w 88187"/>
                <a:gd name="connsiteY152" fmla="*/ 307397 h 340152"/>
                <a:gd name="connsiteX153" fmla="*/ 98266 w 88187"/>
                <a:gd name="connsiteY153" fmla="*/ 303617 h 340152"/>
                <a:gd name="connsiteX154" fmla="*/ 98266 w 88187"/>
                <a:gd name="connsiteY154" fmla="*/ 289759 h 340152"/>
                <a:gd name="connsiteX155" fmla="*/ 98266 w 88187"/>
                <a:gd name="connsiteY155" fmla="*/ 280941 h 340152"/>
                <a:gd name="connsiteX156" fmla="*/ 98266 w 88187"/>
                <a:gd name="connsiteY156" fmla="*/ 272122 h 340152"/>
                <a:gd name="connsiteX157" fmla="*/ 98266 w 88187"/>
                <a:gd name="connsiteY157" fmla="*/ 268342 h 340152"/>
                <a:gd name="connsiteX158" fmla="*/ 97006 w 88187"/>
                <a:gd name="connsiteY158" fmla="*/ 248185 h 340152"/>
                <a:gd name="connsiteX159" fmla="*/ 95746 w 88187"/>
                <a:gd name="connsiteY159" fmla="*/ 226768 h 340152"/>
                <a:gd name="connsiteX160" fmla="*/ 95746 w 88187"/>
                <a:gd name="connsiteY160" fmla="*/ 219209 h 340152"/>
                <a:gd name="connsiteX161" fmla="*/ 94487 w 88187"/>
                <a:gd name="connsiteY161" fmla="*/ 210390 h 340152"/>
                <a:gd name="connsiteX162" fmla="*/ 91967 w 88187"/>
                <a:gd name="connsiteY162" fmla="*/ 190233 h 340152"/>
                <a:gd name="connsiteX163" fmla="*/ 89447 w 88187"/>
                <a:gd name="connsiteY163" fmla="*/ 168816 h 340152"/>
                <a:gd name="connsiteX164" fmla="*/ 88188 w 88187"/>
                <a:gd name="connsiteY164" fmla="*/ 152439 h 340152"/>
                <a:gd name="connsiteX165" fmla="*/ 85668 w 88187"/>
                <a:gd name="connsiteY165" fmla="*/ 147399 h 340152"/>
                <a:gd name="connsiteX166" fmla="*/ 84408 w 88187"/>
                <a:gd name="connsiteY166" fmla="*/ 144880 h 340152"/>
                <a:gd name="connsiteX167" fmla="*/ 80629 w 88187"/>
                <a:gd name="connsiteY167" fmla="*/ 134801 h 340152"/>
                <a:gd name="connsiteX168" fmla="*/ 80629 w 88187"/>
                <a:gd name="connsiteY168" fmla="*/ 133541 h 340152"/>
                <a:gd name="connsiteX169" fmla="*/ 76849 w 88187"/>
                <a:gd name="connsiteY169" fmla="*/ 123463 h 340152"/>
                <a:gd name="connsiteX170" fmla="*/ 71810 w 88187"/>
                <a:gd name="connsiteY170" fmla="*/ 112124 h 340152"/>
                <a:gd name="connsiteX171" fmla="*/ 61731 w 88187"/>
                <a:gd name="connsiteY171" fmla="*/ 103305 h 340152"/>
                <a:gd name="connsiteX172" fmla="*/ 61731 w 88187"/>
                <a:gd name="connsiteY172" fmla="*/ 103305 h 340152"/>
                <a:gd name="connsiteX173" fmla="*/ 61731 w 88187"/>
                <a:gd name="connsiteY173" fmla="*/ 103305 h 340152"/>
                <a:gd name="connsiteX174" fmla="*/ 7559 w 88187"/>
                <a:gd name="connsiteY174" fmla="*/ 142360 h 340152"/>
                <a:gd name="connsiteX175" fmla="*/ 7559 w 88187"/>
                <a:gd name="connsiteY175" fmla="*/ 142360 h 340152"/>
                <a:gd name="connsiteX176" fmla="*/ 7559 w 88187"/>
                <a:gd name="connsiteY176" fmla="*/ 142360 h 34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88187" h="340152">
                  <a:moveTo>
                    <a:pt x="61731" y="103305"/>
                  </a:moveTo>
                  <a:lnTo>
                    <a:pt x="61731" y="103305"/>
                  </a:lnTo>
                  <a:cubicBezTo>
                    <a:pt x="60472" y="100786"/>
                    <a:pt x="59212" y="99526"/>
                    <a:pt x="59212" y="97006"/>
                  </a:cubicBezTo>
                  <a:lnTo>
                    <a:pt x="59212" y="97006"/>
                  </a:lnTo>
                  <a:lnTo>
                    <a:pt x="59212" y="97006"/>
                  </a:lnTo>
                  <a:cubicBezTo>
                    <a:pt x="57952" y="95746"/>
                    <a:pt x="57952" y="93227"/>
                    <a:pt x="56692" y="91967"/>
                  </a:cubicBezTo>
                  <a:cubicBezTo>
                    <a:pt x="55432" y="90707"/>
                    <a:pt x="55432" y="89447"/>
                    <a:pt x="54172" y="86928"/>
                  </a:cubicBezTo>
                  <a:cubicBezTo>
                    <a:pt x="52913" y="85668"/>
                    <a:pt x="52913" y="83148"/>
                    <a:pt x="51653" y="81889"/>
                  </a:cubicBezTo>
                  <a:cubicBezTo>
                    <a:pt x="50393" y="79369"/>
                    <a:pt x="49133" y="78109"/>
                    <a:pt x="49133" y="75589"/>
                  </a:cubicBezTo>
                  <a:cubicBezTo>
                    <a:pt x="45354" y="69290"/>
                    <a:pt x="42834" y="62991"/>
                    <a:pt x="39054" y="56692"/>
                  </a:cubicBezTo>
                  <a:lnTo>
                    <a:pt x="36535" y="52913"/>
                  </a:lnTo>
                  <a:cubicBezTo>
                    <a:pt x="35275" y="50393"/>
                    <a:pt x="34015" y="49133"/>
                    <a:pt x="32755" y="46613"/>
                  </a:cubicBezTo>
                  <a:lnTo>
                    <a:pt x="31496" y="45354"/>
                  </a:lnTo>
                  <a:cubicBezTo>
                    <a:pt x="30236" y="42834"/>
                    <a:pt x="28976" y="41574"/>
                    <a:pt x="27716" y="39054"/>
                  </a:cubicBezTo>
                  <a:lnTo>
                    <a:pt x="26456" y="36535"/>
                  </a:lnTo>
                  <a:cubicBezTo>
                    <a:pt x="25196" y="34015"/>
                    <a:pt x="23937" y="31496"/>
                    <a:pt x="22677" y="28976"/>
                  </a:cubicBezTo>
                  <a:lnTo>
                    <a:pt x="22677" y="28976"/>
                  </a:lnTo>
                  <a:cubicBezTo>
                    <a:pt x="22677" y="27716"/>
                    <a:pt x="21417" y="27716"/>
                    <a:pt x="21417" y="26456"/>
                  </a:cubicBezTo>
                  <a:cubicBezTo>
                    <a:pt x="20157" y="25196"/>
                    <a:pt x="20157" y="23937"/>
                    <a:pt x="18897" y="22677"/>
                  </a:cubicBezTo>
                  <a:cubicBezTo>
                    <a:pt x="16378" y="16378"/>
                    <a:pt x="13858" y="11338"/>
                    <a:pt x="10079" y="3780"/>
                  </a:cubicBezTo>
                  <a:cubicBezTo>
                    <a:pt x="10079" y="2520"/>
                    <a:pt x="8819" y="1260"/>
                    <a:pt x="7559" y="1260"/>
                  </a:cubicBezTo>
                  <a:lnTo>
                    <a:pt x="7559" y="1260"/>
                  </a:lnTo>
                  <a:cubicBezTo>
                    <a:pt x="7559" y="1260"/>
                    <a:pt x="7559" y="1260"/>
                    <a:pt x="6299" y="1260"/>
                  </a:cubicBezTo>
                  <a:cubicBezTo>
                    <a:pt x="6299" y="1260"/>
                    <a:pt x="6299" y="1260"/>
                    <a:pt x="6299" y="1260"/>
                  </a:cubicBezTo>
                  <a:cubicBezTo>
                    <a:pt x="6299" y="1260"/>
                    <a:pt x="6299" y="1260"/>
                    <a:pt x="6299" y="1260"/>
                  </a:cubicBezTo>
                  <a:cubicBezTo>
                    <a:pt x="6299" y="1260"/>
                    <a:pt x="6299" y="1260"/>
                    <a:pt x="6299" y="1260"/>
                  </a:cubicBezTo>
                  <a:cubicBezTo>
                    <a:pt x="6299" y="1260"/>
                    <a:pt x="6299" y="1260"/>
                    <a:pt x="6299" y="0"/>
                  </a:cubicBezTo>
                  <a:cubicBezTo>
                    <a:pt x="6299" y="0"/>
                    <a:pt x="6299" y="0"/>
                    <a:pt x="6299" y="0"/>
                  </a:cubicBezTo>
                  <a:lnTo>
                    <a:pt x="6299" y="0"/>
                  </a:lnTo>
                  <a:cubicBezTo>
                    <a:pt x="6299" y="0"/>
                    <a:pt x="6299" y="0"/>
                    <a:pt x="6299" y="0"/>
                  </a:cubicBezTo>
                  <a:cubicBezTo>
                    <a:pt x="6299" y="0"/>
                    <a:pt x="6299" y="0"/>
                    <a:pt x="6299" y="0"/>
                  </a:cubicBezTo>
                  <a:lnTo>
                    <a:pt x="6299" y="0"/>
                  </a:lnTo>
                  <a:cubicBezTo>
                    <a:pt x="6299" y="0"/>
                    <a:pt x="6299" y="0"/>
                    <a:pt x="6299" y="0"/>
                  </a:cubicBezTo>
                  <a:cubicBezTo>
                    <a:pt x="6299" y="0"/>
                    <a:pt x="6299" y="0"/>
                    <a:pt x="5039" y="0"/>
                  </a:cubicBezTo>
                  <a:cubicBezTo>
                    <a:pt x="5039" y="0"/>
                    <a:pt x="3780" y="0"/>
                    <a:pt x="3780" y="0"/>
                  </a:cubicBezTo>
                  <a:cubicBezTo>
                    <a:pt x="2520" y="0"/>
                    <a:pt x="2520" y="1260"/>
                    <a:pt x="2520" y="2520"/>
                  </a:cubicBezTo>
                  <a:cubicBezTo>
                    <a:pt x="2520" y="2520"/>
                    <a:pt x="2520" y="2520"/>
                    <a:pt x="2520" y="3780"/>
                  </a:cubicBezTo>
                  <a:cubicBezTo>
                    <a:pt x="1260" y="5039"/>
                    <a:pt x="1260" y="6299"/>
                    <a:pt x="1260" y="7559"/>
                  </a:cubicBezTo>
                  <a:lnTo>
                    <a:pt x="1260" y="8819"/>
                  </a:lnTo>
                  <a:cubicBezTo>
                    <a:pt x="1260" y="8819"/>
                    <a:pt x="1260" y="10079"/>
                    <a:pt x="0" y="11338"/>
                  </a:cubicBezTo>
                  <a:cubicBezTo>
                    <a:pt x="0" y="11338"/>
                    <a:pt x="0" y="11338"/>
                    <a:pt x="0" y="11338"/>
                  </a:cubicBezTo>
                  <a:lnTo>
                    <a:pt x="0" y="12598"/>
                  </a:lnTo>
                  <a:cubicBezTo>
                    <a:pt x="0" y="12598"/>
                    <a:pt x="0" y="13858"/>
                    <a:pt x="0" y="13858"/>
                  </a:cubicBezTo>
                  <a:cubicBezTo>
                    <a:pt x="0" y="15118"/>
                    <a:pt x="0" y="17637"/>
                    <a:pt x="0" y="18897"/>
                  </a:cubicBezTo>
                  <a:lnTo>
                    <a:pt x="0" y="18897"/>
                  </a:lnTo>
                  <a:lnTo>
                    <a:pt x="0" y="18897"/>
                  </a:lnTo>
                  <a:cubicBezTo>
                    <a:pt x="0" y="20157"/>
                    <a:pt x="0" y="21417"/>
                    <a:pt x="0" y="22677"/>
                  </a:cubicBezTo>
                  <a:cubicBezTo>
                    <a:pt x="0" y="23937"/>
                    <a:pt x="0" y="26456"/>
                    <a:pt x="0" y="27716"/>
                  </a:cubicBezTo>
                  <a:cubicBezTo>
                    <a:pt x="0" y="31496"/>
                    <a:pt x="0" y="35275"/>
                    <a:pt x="0" y="37795"/>
                  </a:cubicBezTo>
                  <a:cubicBezTo>
                    <a:pt x="0" y="39054"/>
                    <a:pt x="0" y="40314"/>
                    <a:pt x="0" y="41574"/>
                  </a:cubicBezTo>
                  <a:lnTo>
                    <a:pt x="0" y="41574"/>
                  </a:lnTo>
                  <a:cubicBezTo>
                    <a:pt x="0" y="44094"/>
                    <a:pt x="0" y="45354"/>
                    <a:pt x="0" y="47873"/>
                  </a:cubicBezTo>
                  <a:cubicBezTo>
                    <a:pt x="0" y="49133"/>
                    <a:pt x="0" y="50393"/>
                    <a:pt x="0" y="50393"/>
                  </a:cubicBezTo>
                  <a:lnTo>
                    <a:pt x="0" y="51653"/>
                  </a:lnTo>
                  <a:cubicBezTo>
                    <a:pt x="0" y="51653"/>
                    <a:pt x="0" y="52913"/>
                    <a:pt x="0" y="52913"/>
                  </a:cubicBezTo>
                  <a:cubicBezTo>
                    <a:pt x="0" y="55432"/>
                    <a:pt x="0" y="57952"/>
                    <a:pt x="0" y="61731"/>
                  </a:cubicBezTo>
                  <a:cubicBezTo>
                    <a:pt x="0" y="64251"/>
                    <a:pt x="0" y="68030"/>
                    <a:pt x="0" y="70550"/>
                  </a:cubicBezTo>
                  <a:cubicBezTo>
                    <a:pt x="0" y="71810"/>
                    <a:pt x="0" y="73070"/>
                    <a:pt x="0" y="74330"/>
                  </a:cubicBezTo>
                  <a:cubicBezTo>
                    <a:pt x="0" y="75589"/>
                    <a:pt x="0" y="76849"/>
                    <a:pt x="0" y="78109"/>
                  </a:cubicBezTo>
                  <a:cubicBezTo>
                    <a:pt x="0" y="80629"/>
                    <a:pt x="0" y="84408"/>
                    <a:pt x="0" y="88188"/>
                  </a:cubicBezTo>
                  <a:cubicBezTo>
                    <a:pt x="0" y="89447"/>
                    <a:pt x="0" y="90707"/>
                    <a:pt x="0" y="91967"/>
                  </a:cubicBezTo>
                  <a:lnTo>
                    <a:pt x="0" y="93227"/>
                  </a:lnTo>
                  <a:lnTo>
                    <a:pt x="0" y="94487"/>
                  </a:lnTo>
                  <a:cubicBezTo>
                    <a:pt x="0" y="95746"/>
                    <a:pt x="0" y="98266"/>
                    <a:pt x="0" y="99526"/>
                  </a:cubicBezTo>
                  <a:cubicBezTo>
                    <a:pt x="0" y="100786"/>
                    <a:pt x="0" y="103305"/>
                    <a:pt x="0" y="104565"/>
                  </a:cubicBezTo>
                  <a:lnTo>
                    <a:pt x="0" y="105825"/>
                  </a:lnTo>
                  <a:cubicBezTo>
                    <a:pt x="0" y="107085"/>
                    <a:pt x="0" y="108345"/>
                    <a:pt x="0" y="109605"/>
                  </a:cubicBezTo>
                  <a:cubicBezTo>
                    <a:pt x="0" y="110864"/>
                    <a:pt x="0" y="110864"/>
                    <a:pt x="0" y="112124"/>
                  </a:cubicBezTo>
                  <a:lnTo>
                    <a:pt x="0" y="113384"/>
                  </a:lnTo>
                  <a:cubicBezTo>
                    <a:pt x="0" y="115904"/>
                    <a:pt x="0" y="117164"/>
                    <a:pt x="0" y="119683"/>
                  </a:cubicBezTo>
                  <a:lnTo>
                    <a:pt x="0" y="119683"/>
                  </a:lnTo>
                  <a:lnTo>
                    <a:pt x="0" y="120943"/>
                  </a:lnTo>
                  <a:cubicBezTo>
                    <a:pt x="0" y="123463"/>
                    <a:pt x="0" y="125982"/>
                    <a:pt x="0" y="129762"/>
                  </a:cubicBezTo>
                  <a:lnTo>
                    <a:pt x="0" y="129762"/>
                  </a:lnTo>
                  <a:cubicBezTo>
                    <a:pt x="0" y="131022"/>
                    <a:pt x="0" y="133541"/>
                    <a:pt x="0" y="134801"/>
                  </a:cubicBezTo>
                  <a:lnTo>
                    <a:pt x="0" y="136061"/>
                  </a:lnTo>
                  <a:cubicBezTo>
                    <a:pt x="0" y="137321"/>
                    <a:pt x="0" y="138581"/>
                    <a:pt x="0" y="139840"/>
                  </a:cubicBezTo>
                  <a:cubicBezTo>
                    <a:pt x="0" y="141100"/>
                    <a:pt x="0" y="142360"/>
                    <a:pt x="0" y="143620"/>
                  </a:cubicBezTo>
                  <a:cubicBezTo>
                    <a:pt x="0" y="146139"/>
                    <a:pt x="0" y="148659"/>
                    <a:pt x="0" y="151179"/>
                  </a:cubicBezTo>
                  <a:cubicBezTo>
                    <a:pt x="0" y="151179"/>
                    <a:pt x="0" y="151179"/>
                    <a:pt x="0" y="152439"/>
                  </a:cubicBezTo>
                  <a:cubicBezTo>
                    <a:pt x="0" y="153698"/>
                    <a:pt x="1260" y="153698"/>
                    <a:pt x="1260" y="154958"/>
                  </a:cubicBezTo>
                  <a:lnTo>
                    <a:pt x="1260" y="154958"/>
                  </a:lnTo>
                  <a:cubicBezTo>
                    <a:pt x="1260" y="156218"/>
                    <a:pt x="2520" y="156218"/>
                    <a:pt x="2520" y="157478"/>
                  </a:cubicBezTo>
                  <a:cubicBezTo>
                    <a:pt x="3780" y="158738"/>
                    <a:pt x="5039" y="159998"/>
                    <a:pt x="5039" y="161257"/>
                  </a:cubicBezTo>
                  <a:lnTo>
                    <a:pt x="5039" y="161257"/>
                  </a:lnTo>
                  <a:cubicBezTo>
                    <a:pt x="6299" y="162517"/>
                    <a:pt x="6299" y="163777"/>
                    <a:pt x="7559" y="163777"/>
                  </a:cubicBezTo>
                  <a:cubicBezTo>
                    <a:pt x="8819" y="165037"/>
                    <a:pt x="10079" y="166297"/>
                    <a:pt x="11338" y="167557"/>
                  </a:cubicBezTo>
                  <a:cubicBezTo>
                    <a:pt x="11338" y="167557"/>
                    <a:pt x="12598" y="168816"/>
                    <a:pt x="12598" y="168816"/>
                  </a:cubicBezTo>
                  <a:lnTo>
                    <a:pt x="12598" y="168816"/>
                  </a:lnTo>
                  <a:cubicBezTo>
                    <a:pt x="15118" y="171336"/>
                    <a:pt x="17637" y="175115"/>
                    <a:pt x="20157" y="178895"/>
                  </a:cubicBezTo>
                  <a:cubicBezTo>
                    <a:pt x="21417" y="180155"/>
                    <a:pt x="21417" y="181414"/>
                    <a:pt x="22677" y="182674"/>
                  </a:cubicBezTo>
                  <a:cubicBezTo>
                    <a:pt x="26456" y="187714"/>
                    <a:pt x="28976" y="191493"/>
                    <a:pt x="31496" y="196532"/>
                  </a:cubicBezTo>
                  <a:cubicBezTo>
                    <a:pt x="32755" y="197792"/>
                    <a:pt x="32755" y="199052"/>
                    <a:pt x="34015" y="201572"/>
                  </a:cubicBezTo>
                  <a:cubicBezTo>
                    <a:pt x="35275" y="202831"/>
                    <a:pt x="35275" y="204091"/>
                    <a:pt x="36535" y="205351"/>
                  </a:cubicBezTo>
                  <a:lnTo>
                    <a:pt x="36535" y="206611"/>
                  </a:lnTo>
                  <a:lnTo>
                    <a:pt x="37795" y="207871"/>
                  </a:lnTo>
                  <a:lnTo>
                    <a:pt x="37795" y="207871"/>
                  </a:lnTo>
                  <a:lnTo>
                    <a:pt x="37795" y="207871"/>
                  </a:lnTo>
                  <a:cubicBezTo>
                    <a:pt x="39054" y="209131"/>
                    <a:pt x="40314" y="211650"/>
                    <a:pt x="41574" y="212910"/>
                  </a:cubicBezTo>
                  <a:cubicBezTo>
                    <a:pt x="44094" y="216690"/>
                    <a:pt x="45354" y="220469"/>
                    <a:pt x="47873" y="225508"/>
                  </a:cubicBezTo>
                  <a:lnTo>
                    <a:pt x="47873" y="225508"/>
                  </a:lnTo>
                  <a:lnTo>
                    <a:pt x="47873" y="225508"/>
                  </a:lnTo>
                  <a:lnTo>
                    <a:pt x="47873" y="225508"/>
                  </a:lnTo>
                  <a:cubicBezTo>
                    <a:pt x="49133" y="226768"/>
                    <a:pt x="49133" y="226768"/>
                    <a:pt x="50393" y="228028"/>
                  </a:cubicBezTo>
                  <a:lnTo>
                    <a:pt x="50393" y="228028"/>
                  </a:lnTo>
                  <a:lnTo>
                    <a:pt x="50393" y="228028"/>
                  </a:lnTo>
                  <a:cubicBezTo>
                    <a:pt x="50393" y="228028"/>
                    <a:pt x="51653" y="229288"/>
                    <a:pt x="51653" y="229288"/>
                  </a:cubicBezTo>
                  <a:cubicBezTo>
                    <a:pt x="52913" y="230548"/>
                    <a:pt x="54172" y="231807"/>
                    <a:pt x="55432" y="234327"/>
                  </a:cubicBezTo>
                  <a:cubicBezTo>
                    <a:pt x="55432" y="235587"/>
                    <a:pt x="56692" y="235587"/>
                    <a:pt x="56692" y="236847"/>
                  </a:cubicBezTo>
                  <a:cubicBezTo>
                    <a:pt x="57952" y="238107"/>
                    <a:pt x="59212" y="240626"/>
                    <a:pt x="60472" y="243146"/>
                  </a:cubicBezTo>
                  <a:cubicBezTo>
                    <a:pt x="60472" y="243146"/>
                    <a:pt x="60472" y="243146"/>
                    <a:pt x="60472" y="243146"/>
                  </a:cubicBezTo>
                  <a:cubicBezTo>
                    <a:pt x="61731" y="245666"/>
                    <a:pt x="62991" y="248185"/>
                    <a:pt x="64251" y="250705"/>
                  </a:cubicBezTo>
                  <a:lnTo>
                    <a:pt x="65511" y="251965"/>
                  </a:lnTo>
                  <a:lnTo>
                    <a:pt x="66771" y="254484"/>
                  </a:lnTo>
                  <a:lnTo>
                    <a:pt x="66771" y="254484"/>
                  </a:lnTo>
                  <a:lnTo>
                    <a:pt x="66771" y="255744"/>
                  </a:lnTo>
                  <a:cubicBezTo>
                    <a:pt x="68030" y="258264"/>
                    <a:pt x="69290" y="260783"/>
                    <a:pt x="70550" y="263303"/>
                  </a:cubicBezTo>
                  <a:cubicBezTo>
                    <a:pt x="71810" y="265823"/>
                    <a:pt x="73070" y="268342"/>
                    <a:pt x="74329" y="270862"/>
                  </a:cubicBezTo>
                  <a:cubicBezTo>
                    <a:pt x="75589" y="273382"/>
                    <a:pt x="76849" y="274642"/>
                    <a:pt x="78109" y="277161"/>
                  </a:cubicBezTo>
                  <a:cubicBezTo>
                    <a:pt x="80629" y="280941"/>
                    <a:pt x="81889" y="285980"/>
                    <a:pt x="84408" y="289759"/>
                  </a:cubicBezTo>
                  <a:lnTo>
                    <a:pt x="84408" y="291019"/>
                  </a:lnTo>
                  <a:cubicBezTo>
                    <a:pt x="84408" y="292279"/>
                    <a:pt x="85668" y="292279"/>
                    <a:pt x="85668" y="293539"/>
                  </a:cubicBezTo>
                  <a:cubicBezTo>
                    <a:pt x="85668" y="293539"/>
                    <a:pt x="85668" y="294799"/>
                    <a:pt x="85668" y="294799"/>
                  </a:cubicBezTo>
                  <a:cubicBezTo>
                    <a:pt x="88188" y="301098"/>
                    <a:pt x="90707" y="307397"/>
                    <a:pt x="93227" y="313696"/>
                  </a:cubicBezTo>
                  <a:cubicBezTo>
                    <a:pt x="93227" y="314956"/>
                    <a:pt x="94487" y="316216"/>
                    <a:pt x="94487" y="317475"/>
                  </a:cubicBezTo>
                  <a:cubicBezTo>
                    <a:pt x="94487" y="317475"/>
                    <a:pt x="94487" y="317475"/>
                    <a:pt x="94487" y="318735"/>
                  </a:cubicBezTo>
                  <a:cubicBezTo>
                    <a:pt x="94487" y="319995"/>
                    <a:pt x="95746" y="321255"/>
                    <a:pt x="95746" y="323775"/>
                  </a:cubicBezTo>
                  <a:lnTo>
                    <a:pt x="95746" y="323775"/>
                  </a:lnTo>
                  <a:lnTo>
                    <a:pt x="95746" y="323775"/>
                  </a:lnTo>
                  <a:cubicBezTo>
                    <a:pt x="95746" y="325034"/>
                    <a:pt x="95746" y="325034"/>
                    <a:pt x="95746" y="326294"/>
                  </a:cubicBezTo>
                  <a:cubicBezTo>
                    <a:pt x="95746" y="327554"/>
                    <a:pt x="95746" y="330074"/>
                    <a:pt x="97006" y="331334"/>
                  </a:cubicBezTo>
                  <a:cubicBezTo>
                    <a:pt x="97006" y="332593"/>
                    <a:pt x="97006" y="333853"/>
                    <a:pt x="97006" y="333853"/>
                  </a:cubicBezTo>
                  <a:cubicBezTo>
                    <a:pt x="97006" y="333853"/>
                    <a:pt x="97006" y="333853"/>
                    <a:pt x="97006" y="333853"/>
                  </a:cubicBezTo>
                  <a:cubicBezTo>
                    <a:pt x="97006" y="335113"/>
                    <a:pt x="97006" y="335113"/>
                    <a:pt x="97006" y="336373"/>
                  </a:cubicBezTo>
                  <a:cubicBezTo>
                    <a:pt x="97006" y="337633"/>
                    <a:pt x="97006" y="338892"/>
                    <a:pt x="97006" y="338892"/>
                  </a:cubicBezTo>
                  <a:cubicBezTo>
                    <a:pt x="97006" y="340152"/>
                    <a:pt x="97006" y="340152"/>
                    <a:pt x="97006" y="341412"/>
                  </a:cubicBezTo>
                  <a:lnTo>
                    <a:pt x="97006" y="342672"/>
                  </a:lnTo>
                  <a:lnTo>
                    <a:pt x="97006" y="342672"/>
                  </a:lnTo>
                  <a:cubicBezTo>
                    <a:pt x="97006" y="342672"/>
                    <a:pt x="97006" y="343932"/>
                    <a:pt x="97006" y="343932"/>
                  </a:cubicBezTo>
                  <a:lnTo>
                    <a:pt x="97006" y="343932"/>
                  </a:lnTo>
                  <a:lnTo>
                    <a:pt x="97006" y="343932"/>
                  </a:lnTo>
                  <a:cubicBezTo>
                    <a:pt x="97006" y="343932"/>
                    <a:pt x="97006" y="343932"/>
                    <a:pt x="97006" y="343932"/>
                  </a:cubicBezTo>
                  <a:cubicBezTo>
                    <a:pt x="97006" y="343932"/>
                    <a:pt x="97006" y="343932"/>
                    <a:pt x="97006" y="343932"/>
                  </a:cubicBezTo>
                  <a:cubicBezTo>
                    <a:pt x="97006" y="343932"/>
                    <a:pt x="97006" y="343932"/>
                    <a:pt x="97006" y="343932"/>
                  </a:cubicBezTo>
                  <a:cubicBezTo>
                    <a:pt x="97006" y="343932"/>
                    <a:pt x="97006" y="343932"/>
                    <a:pt x="97006" y="342672"/>
                  </a:cubicBezTo>
                  <a:cubicBezTo>
                    <a:pt x="97006" y="338892"/>
                    <a:pt x="98266" y="336373"/>
                    <a:pt x="98266" y="332593"/>
                  </a:cubicBezTo>
                  <a:cubicBezTo>
                    <a:pt x="98266" y="332593"/>
                    <a:pt x="98266" y="332593"/>
                    <a:pt x="98266" y="332593"/>
                  </a:cubicBezTo>
                  <a:cubicBezTo>
                    <a:pt x="98266" y="332593"/>
                    <a:pt x="98266" y="331334"/>
                    <a:pt x="98266" y="331334"/>
                  </a:cubicBezTo>
                  <a:cubicBezTo>
                    <a:pt x="98266" y="331334"/>
                    <a:pt x="98266" y="331334"/>
                    <a:pt x="98266" y="330074"/>
                  </a:cubicBezTo>
                  <a:cubicBezTo>
                    <a:pt x="98266" y="327554"/>
                    <a:pt x="98266" y="323775"/>
                    <a:pt x="98266" y="321255"/>
                  </a:cubicBezTo>
                  <a:cubicBezTo>
                    <a:pt x="98266" y="321255"/>
                    <a:pt x="98266" y="321255"/>
                    <a:pt x="98266" y="321255"/>
                  </a:cubicBezTo>
                  <a:cubicBezTo>
                    <a:pt x="98266" y="317475"/>
                    <a:pt x="98266" y="313696"/>
                    <a:pt x="98266" y="309916"/>
                  </a:cubicBezTo>
                  <a:cubicBezTo>
                    <a:pt x="98266" y="308657"/>
                    <a:pt x="98266" y="307397"/>
                    <a:pt x="98266" y="307397"/>
                  </a:cubicBezTo>
                  <a:cubicBezTo>
                    <a:pt x="98266" y="306137"/>
                    <a:pt x="98266" y="304877"/>
                    <a:pt x="98266" y="303617"/>
                  </a:cubicBezTo>
                  <a:cubicBezTo>
                    <a:pt x="98266" y="298578"/>
                    <a:pt x="98266" y="294799"/>
                    <a:pt x="98266" y="289759"/>
                  </a:cubicBezTo>
                  <a:cubicBezTo>
                    <a:pt x="98266" y="287240"/>
                    <a:pt x="98266" y="284720"/>
                    <a:pt x="98266" y="280941"/>
                  </a:cubicBezTo>
                  <a:cubicBezTo>
                    <a:pt x="98266" y="278421"/>
                    <a:pt x="98266" y="274642"/>
                    <a:pt x="98266" y="272122"/>
                  </a:cubicBezTo>
                  <a:cubicBezTo>
                    <a:pt x="98266" y="270862"/>
                    <a:pt x="98266" y="269602"/>
                    <a:pt x="98266" y="268342"/>
                  </a:cubicBezTo>
                  <a:cubicBezTo>
                    <a:pt x="98266" y="262043"/>
                    <a:pt x="97006" y="254484"/>
                    <a:pt x="97006" y="248185"/>
                  </a:cubicBezTo>
                  <a:cubicBezTo>
                    <a:pt x="97006" y="241886"/>
                    <a:pt x="95746" y="234327"/>
                    <a:pt x="95746" y="226768"/>
                  </a:cubicBezTo>
                  <a:cubicBezTo>
                    <a:pt x="95746" y="224249"/>
                    <a:pt x="95746" y="221729"/>
                    <a:pt x="95746" y="219209"/>
                  </a:cubicBezTo>
                  <a:cubicBezTo>
                    <a:pt x="95746" y="216690"/>
                    <a:pt x="94487" y="212910"/>
                    <a:pt x="94487" y="210390"/>
                  </a:cubicBezTo>
                  <a:cubicBezTo>
                    <a:pt x="93227" y="204091"/>
                    <a:pt x="93227" y="196532"/>
                    <a:pt x="91967" y="190233"/>
                  </a:cubicBezTo>
                  <a:cubicBezTo>
                    <a:pt x="90707" y="182674"/>
                    <a:pt x="90707" y="176375"/>
                    <a:pt x="89447" y="168816"/>
                  </a:cubicBezTo>
                  <a:cubicBezTo>
                    <a:pt x="89447" y="163777"/>
                    <a:pt x="88188" y="157478"/>
                    <a:pt x="88188" y="152439"/>
                  </a:cubicBezTo>
                  <a:cubicBezTo>
                    <a:pt x="86928" y="151179"/>
                    <a:pt x="86928" y="148659"/>
                    <a:pt x="85668" y="147399"/>
                  </a:cubicBezTo>
                  <a:lnTo>
                    <a:pt x="84408" y="144880"/>
                  </a:lnTo>
                  <a:cubicBezTo>
                    <a:pt x="83148" y="141100"/>
                    <a:pt x="81889" y="138581"/>
                    <a:pt x="80629" y="134801"/>
                  </a:cubicBezTo>
                  <a:lnTo>
                    <a:pt x="80629" y="133541"/>
                  </a:lnTo>
                  <a:cubicBezTo>
                    <a:pt x="79369" y="129762"/>
                    <a:pt x="78109" y="127242"/>
                    <a:pt x="76849" y="123463"/>
                  </a:cubicBezTo>
                  <a:cubicBezTo>
                    <a:pt x="75589" y="119683"/>
                    <a:pt x="73070" y="115904"/>
                    <a:pt x="71810" y="112124"/>
                  </a:cubicBezTo>
                  <a:cubicBezTo>
                    <a:pt x="64251" y="108345"/>
                    <a:pt x="62991" y="105825"/>
                    <a:pt x="61731" y="103305"/>
                  </a:cubicBezTo>
                  <a:cubicBezTo>
                    <a:pt x="61731" y="103305"/>
                    <a:pt x="61731" y="103305"/>
                    <a:pt x="61731" y="103305"/>
                  </a:cubicBezTo>
                  <a:lnTo>
                    <a:pt x="61731" y="103305"/>
                  </a:lnTo>
                  <a:close/>
                  <a:moveTo>
                    <a:pt x="7559" y="142360"/>
                  </a:moveTo>
                  <a:cubicBezTo>
                    <a:pt x="7559" y="142360"/>
                    <a:pt x="7559" y="142360"/>
                    <a:pt x="7559" y="142360"/>
                  </a:cubicBezTo>
                  <a:cubicBezTo>
                    <a:pt x="7559" y="142360"/>
                    <a:pt x="7559" y="142360"/>
                    <a:pt x="7559" y="142360"/>
                  </a:cubicBezTo>
                  <a:close/>
                </a:path>
              </a:pathLst>
            </a:custGeom>
            <a:solidFill>
              <a:srgbClr val="00CFF0"/>
            </a:solidFill>
            <a:ln w="12584" cap="flat">
              <a:noFill/>
              <a:prstDash val="solid"/>
              <a:miter/>
            </a:ln>
          </p:spPr>
          <p:txBody>
            <a:bodyPr rtlCol="0" anchor="ctr"/>
            <a:lstStyle/>
            <a:p>
              <a:endParaRPr lang="zh-CN" altLang="en-US"/>
            </a:p>
          </p:txBody>
        </p:sp>
        <p:sp>
          <p:nvSpPr>
            <p:cNvPr id="10142" name="任意多边形: 形状 10141"/>
            <p:cNvSpPr/>
            <p:nvPr/>
          </p:nvSpPr>
          <p:spPr>
            <a:xfrm>
              <a:off x="3310271" y="3730097"/>
              <a:ext cx="12598" cy="12598"/>
            </a:xfrm>
            <a:custGeom>
              <a:avLst/>
              <a:gdLst>
                <a:gd name="connsiteX0" fmla="*/ 1260 w 0"/>
                <a:gd name="connsiteY0" fmla="*/ 2520 h 0"/>
                <a:gd name="connsiteX1" fmla="*/ 1260 w 0"/>
                <a:gd name="connsiteY1" fmla="*/ 2520 h 0"/>
                <a:gd name="connsiteX2" fmla="*/ 0 w 0"/>
                <a:gd name="connsiteY2" fmla="*/ 6299 h 0"/>
                <a:gd name="connsiteX3" fmla="*/ 0 w 0"/>
                <a:gd name="connsiteY3" fmla="*/ 6299 h 0"/>
                <a:gd name="connsiteX4" fmla="*/ 1260 w 0"/>
                <a:gd name="connsiteY4" fmla="*/ 5039 h 0"/>
                <a:gd name="connsiteX5" fmla="*/ 1260 w 0"/>
                <a:gd name="connsiteY5" fmla="*/ 2520 h 0"/>
                <a:gd name="connsiteX6" fmla="*/ 1260 w 0"/>
                <a:gd name="connsiteY6" fmla="*/ 2520 h 0"/>
                <a:gd name="connsiteX7" fmla="*/ 1260 w 0"/>
                <a:gd name="connsiteY7" fmla="*/ 2520 h 0"/>
                <a:gd name="connsiteX8" fmla="*/ 2520 w 0"/>
                <a:gd name="connsiteY8" fmla="*/ 0 h 0"/>
                <a:gd name="connsiteX9" fmla="*/ 2520 w 0"/>
                <a:gd name="connsiteY9" fmla="*/ 0 h 0"/>
                <a:gd name="connsiteX10" fmla="*/ 2520 w 0"/>
                <a:gd name="connsiteY10" fmla="*/ 0 h 0"/>
                <a:gd name="connsiteX11" fmla="*/ 2520 w 0"/>
                <a:gd name="connsiteY11" fmla="*/ 0 h 0"/>
                <a:gd name="connsiteX12" fmla="*/ 2520 w 0"/>
                <a:gd name="connsiteY12" fmla="*/ 0 h 0"/>
                <a:gd name="connsiteX13" fmla="*/ 2520 w 0"/>
                <a:gd name="connsiteY13" fmla="*/ 0 h 0"/>
                <a:gd name="connsiteX14" fmla="*/ 1260 w 0"/>
                <a:gd name="connsiteY14" fmla="*/ 2520 h 0"/>
                <a:gd name="connsiteX15" fmla="*/ 1260 w 0"/>
                <a:gd name="connsiteY15" fmla="*/ 252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a:moveTo>
                    <a:pt x="1260" y="2520"/>
                  </a:moveTo>
                  <a:cubicBezTo>
                    <a:pt x="1260" y="2520"/>
                    <a:pt x="1260" y="3780"/>
                    <a:pt x="1260" y="2520"/>
                  </a:cubicBezTo>
                  <a:cubicBezTo>
                    <a:pt x="0" y="3780"/>
                    <a:pt x="0" y="5039"/>
                    <a:pt x="0" y="6299"/>
                  </a:cubicBezTo>
                  <a:cubicBezTo>
                    <a:pt x="0" y="6299"/>
                    <a:pt x="0" y="6299"/>
                    <a:pt x="0" y="6299"/>
                  </a:cubicBezTo>
                  <a:cubicBezTo>
                    <a:pt x="0" y="6299"/>
                    <a:pt x="1260" y="5039"/>
                    <a:pt x="1260" y="5039"/>
                  </a:cubicBezTo>
                  <a:cubicBezTo>
                    <a:pt x="1260" y="3780"/>
                    <a:pt x="1260" y="3780"/>
                    <a:pt x="1260" y="2520"/>
                  </a:cubicBezTo>
                  <a:lnTo>
                    <a:pt x="1260" y="2520"/>
                  </a:lnTo>
                  <a:cubicBezTo>
                    <a:pt x="1260" y="3780"/>
                    <a:pt x="2520" y="3780"/>
                    <a:pt x="1260" y="2520"/>
                  </a:cubicBezTo>
                  <a:cubicBezTo>
                    <a:pt x="2520" y="2520"/>
                    <a:pt x="2520" y="1260"/>
                    <a:pt x="2520" y="0"/>
                  </a:cubicBezTo>
                  <a:cubicBezTo>
                    <a:pt x="2520" y="0"/>
                    <a:pt x="2520" y="0"/>
                    <a:pt x="2520" y="0"/>
                  </a:cubicBezTo>
                  <a:cubicBezTo>
                    <a:pt x="2520" y="0"/>
                    <a:pt x="2520" y="0"/>
                    <a:pt x="2520" y="0"/>
                  </a:cubicBezTo>
                  <a:lnTo>
                    <a:pt x="2520" y="0"/>
                  </a:lnTo>
                  <a:lnTo>
                    <a:pt x="2520" y="0"/>
                  </a:lnTo>
                  <a:cubicBezTo>
                    <a:pt x="2520" y="0"/>
                    <a:pt x="2520" y="0"/>
                    <a:pt x="2520" y="0"/>
                  </a:cubicBezTo>
                  <a:cubicBezTo>
                    <a:pt x="2520" y="0"/>
                    <a:pt x="2520" y="1260"/>
                    <a:pt x="1260" y="2520"/>
                  </a:cubicBezTo>
                  <a:lnTo>
                    <a:pt x="1260" y="2520"/>
                  </a:lnTo>
                  <a:close/>
                </a:path>
              </a:pathLst>
            </a:custGeom>
            <a:solidFill>
              <a:srgbClr val="00CFF0"/>
            </a:solidFill>
            <a:ln w="12584" cap="flat">
              <a:noFill/>
              <a:prstDash val="solid"/>
              <a:miter/>
            </a:ln>
          </p:spPr>
          <p:txBody>
            <a:bodyPr rtlCol="0" anchor="ctr"/>
            <a:lstStyle/>
            <a:p>
              <a:endParaRPr lang="zh-CN" altLang="en-US"/>
            </a:p>
          </p:txBody>
        </p:sp>
        <p:sp>
          <p:nvSpPr>
            <p:cNvPr id="10143" name="任意多边形: 形状 10142"/>
            <p:cNvSpPr/>
            <p:nvPr/>
          </p:nvSpPr>
          <p:spPr>
            <a:xfrm>
              <a:off x="2840357" y="2598776"/>
              <a:ext cx="440938" cy="365349"/>
            </a:xfrm>
            <a:custGeom>
              <a:avLst/>
              <a:gdLst>
                <a:gd name="connsiteX0" fmla="*/ 449757 w 440938"/>
                <a:gd name="connsiteY0" fmla="*/ 84408 h 365348"/>
                <a:gd name="connsiteX1" fmla="*/ 447237 w 440938"/>
                <a:gd name="connsiteY1" fmla="*/ 73070 h 365348"/>
                <a:gd name="connsiteX2" fmla="*/ 442198 w 440938"/>
                <a:gd name="connsiteY2" fmla="*/ 62991 h 365348"/>
                <a:gd name="connsiteX3" fmla="*/ 442198 w 440938"/>
                <a:gd name="connsiteY3" fmla="*/ 61731 h 365348"/>
                <a:gd name="connsiteX4" fmla="*/ 437159 w 440938"/>
                <a:gd name="connsiteY4" fmla="*/ 52913 h 365348"/>
                <a:gd name="connsiteX5" fmla="*/ 430860 w 440938"/>
                <a:gd name="connsiteY5" fmla="*/ 42834 h 365348"/>
                <a:gd name="connsiteX6" fmla="*/ 415742 w 440938"/>
                <a:gd name="connsiteY6" fmla="*/ 26456 h 365348"/>
                <a:gd name="connsiteX7" fmla="*/ 395584 w 440938"/>
                <a:gd name="connsiteY7" fmla="*/ 12598 h 365348"/>
                <a:gd name="connsiteX8" fmla="*/ 385506 w 440938"/>
                <a:gd name="connsiteY8" fmla="*/ 7559 h 365348"/>
                <a:gd name="connsiteX9" fmla="*/ 380467 w 440938"/>
                <a:gd name="connsiteY9" fmla="*/ 5039 h 365348"/>
                <a:gd name="connsiteX10" fmla="*/ 372908 w 440938"/>
                <a:gd name="connsiteY10" fmla="*/ 2520 h 365348"/>
                <a:gd name="connsiteX11" fmla="*/ 360309 w 440938"/>
                <a:gd name="connsiteY11" fmla="*/ 0 h 365348"/>
                <a:gd name="connsiteX12" fmla="*/ 345192 w 440938"/>
                <a:gd name="connsiteY12" fmla="*/ 0 h 365348"/>
                <a:gd name="connsiteX13" fmla="*/ 343932 w 440938"/>
                <a:gd name="connsiteY13" fmla="*/ 0 h 365348"/>
                <a:gd name="connsiteX14" fmla="*/ 340152 w 440938"/>
                <a:gd name="connsiteY14" fmla="*/ 0 h 365348"/>
                <a:gd name="connsiteX15" fmla="*/ 332593 w 440938"/>
                <a:gd name="connsiteY15" fmla="*/ 1260 h 365348"/>
                <a:gd name="connsiteX16" fmla="*/ 322515 w 440938"/>
                <a:gd name="connsiteY16" fmla="*/ 3779 h 365348"/>
                <a:gd name="connsiteX17" fmla="*/ 312436 w 440938"/>
                <a:gd name="connsiteY17" fmla="*/ 6299 h 365348"/>
                <a:gd name="connsiteX18" fmla="*/ 309916 w 440938"/>
                <a:gd name="connsiteY18" fmla="*/ 7559 h 365348"/>
                <a:gd name="connsiteX19" fmla="*/ 302358 w 440938"/>
                <a:gd name="connsiteY19" fmla="*/ 8819 h 365348"/>
                <a:gd name="connsiteX20" fmla="*/ 282200 w 440938"/>
                <a:gd name="connsiteY20" fmla="*/ 17637 h 365348"/>
                <a:gd name="connsiteX21" fmla="*/ 273382 w 440938"/>
                <a:gd name="connsiteY21" fmla="*/ 23937 h 365348"/>
                <a:gd name="connsiteX22" fmla="*/ 272122 w 440938"/>
                <a:gd name="connsiteY22" fmla="*/ 25196 h 365348"/>
                <a:gd name="connsiteX23" fmla="*/ 269602 w 440938"/>
                <a:gd name="connsiteY23" fmla="*/ 22677 h 365348"/>
                <a:gd name="connsiteX24" fmla="*/ 259523 w 440938"/>
                <a:gd name="connsiteY24" fmla="*/ 16378 h 365348"/>
                <a:gd name="connsiteX25" fmla="*/ 236847 w 440938"/>
                <a:gd name="connsiteY25" fmla="*/ 11338 h 365348"/>
                <a:gd name="connsiteX26" fmla="*/ 210390 w 440938"/>
                <a:gd name="connsiteY26" fmla="*/ 8819 h 365348"/>
                <a:gd name="connsiteX27" fmla="*/ 186454 w 440938"/>
                <a:gd name="connsiteY27" fmla="*/ 8819 h 365348"/>
                <a:gd name="connsiteX28" fmla="*/ 185194 w 440938"/>
                <a:gd name="connsiteY28" fmla="*/ 8819 h 365348"/>
                <a:gd name="connsiteX29" fmla="*/ 167557 w 440938"/>
                <a:gd name="connsiteY29" fmla="*/ 8819 h 365348"/>
                <a:gd name="connsiteX30" fmla="*/ 162517 w 440938"/>
                <a:gd name="connsiteY30" fmla="*/ 8819 h 365348"/>
                <a:gd name="connsiteX31" fmla="*/ 138581 w 440938"/>
                <a:gd name="connsiteY31" fmla="*/ 15118 h 365348"/>
                <a:gd name="connsiteX32" fmla="*/ 128502 w 440938"/>
                <a:gd name="connsiteY32" fmla="*/ 20157 h 365348"/>
                <a:gd name="connsiteX33" fmla="*/ 119683 w 440938"/>
                <a:gd name="connsiteY33" fmla="*/ 25196 h 365348"/>
                <a:gd name="connsiteX34" fmla="*/ 118423 w 440938"/>
                <a:gd name="connsiteY34" fmla="*/ 26456 h 365348"/>
                <a:gd name="connsiteX35" fmla="*/ 113384 w 440938"/>
                <a:gd name="connsiteY35" fmla="*/ 28976 h 365348"/>
                <a:gd name="connsiteX36" fmla="*/ 108345 w 440938"/>
                <a:gd name="connsiteY36" fmla="*/ 31496 h 365348"/>
                <a:gd name="connsiteX37" fmla="*/ 98266 w 440938"/>
                <a:gd name="connsiteY37" fmla="*/ 36535 h 365348"/>
                <a:gd name="connsiteX38" fmla="*/ 93227 w 440938"/>
                <a:gd name="connsiteY38" fmla="*/ 39054 h 365348"/>
                <a:gd name="connsiteX39" fmla="*/ 86928 w 440938"/>
                <a:gd name="connsiteY39" fmla="*/ 42834 h 365348"/>
                <a:gd name="connsiteX40" fmla="*/ 78109 w 440938"/>
                <a:gd name="connsiteY40" fmla="*/ 49133 h 365348"/>
                <a:gd name="connsiteX41" fmla="*/ 61731 w 440938"/>
                <a:gd name="connsiteY41" fmla="*/ 64251 h 365348"/>
                <a:gd name="connsiteX42" fmla="*/ 46613 w 440938"/>
                <a:gd name="connsiteY42" fmla="*/ 81889 h 365348"/>
                <a:gd name="connsiteX43" fmla="*/ 44094 w 440938"/>
                <a:gd name="connsiteY43" fmla="*/ 84408 h 365348"/>
                <a:gd name="connsiteX44" fmla="*/ 42834 w 440938"/>
                <a:gd name="connsiteY44" fmla="*/ 85668 h 365348"/>
                <a:gd name="connsiteX45" fmla="*/ 39054 w 440938"/>
                <a:gd name="connsiteY45" fmla="*/ 90707 h 365348"/>
                <a:gd name="connsiteX46" fmla="*/ 34015 w 440938"/>
                <a:gd name="connsiteY46" fmla="*/ 98266 h 365348"/>
                <a:gd name="connsiteX47" fmla="*/ 32755 w 440938"/>
                <a:gd name="connsiteY47" fmla="*/ 100786 h 365348"/>
                <a:gd name="connsiteX48" fmla="*/ 32755 w 440938"/>
                <a:gd name="connsiteY48" fmla="*/ 100786 h 365348"/>
                <a:gd name="connsiteX49" fmla="*/ 31496 w 440938"/>
                <a:gd name="connsiteY49" fmla="*/ 102046 h 365348"/>
                <a:gd name="connsiteX50" fmla="*/ 30236 w 440938"/>
                <a:gd name="connsiteY50" fmla="*/ 104565 h 365348"/>
                <a:gd name="connsiteX51" fmla="*/ 25196 w 440938"/>
                <a:gd name="connsiteY51" fmla="*/ 113384 h 365348"/>
                <a:gd name="connsiteX52" fmla="*/ 21417 w 440938"/>
                <a:gd name="connsiteY52" fmla="*/ 123463 h 365348"/>
                <a:gd name="connsiteX53" fmla="*/ 18897 w 440938"/>
                <a:gd name="connsiteY53" fmla="*/ 129762 h 365348"/>
                <a:gd name="connsiteX54" fmla="*/ 17637 w 440938"/>
                <a:gd name="connsiteY54" fmla="*/ 132281 h 365348"/>
                <a:gd name="connsiteX55" fmla="*/ 16378 w 440938"/>
                <a:gd name="connsiteY55" fmla="*/ 134801 h 365348"/>
                <a:gd name="connsiteX56" fmla="*/ 12598 w 440938"/>
                <a:gd name="connsiteY56" fmla="*/ 144880 h 365348"/>
                <a:gd name="connsiteX57" fmla="*/ 11338 w 440938"/>
                <a:gd name="connsiteY57" fmla="*/ 152439 h 365348"/>
                <a:gd name="connsiteX58" fmla="*/ 11338 w 440938"/>
                <a:gd name="connsiteY58" fmla="*/ 152439 h 365348"/>
                <a:gd name="connsiteX59" fmla="*/ 11338 w 440938"/>
                <a:gd name="connsiteY59" fmla="*/ 154958 h 365348"/>
                <a:gd name="connsiteX60" fmla="*/ 8819 w 440938"/>
                <a:gd name="connsiteY60" fmla="*/ 165037 h 365348"/>
                <a:gd name="connsiteX61" fmla="*/ 8819 w 440938"/>
                <a:gd name="connsiteY61" fmla="*/ 168816 h 365348"/>
                <a:gd name="connsiteX62" fmla="*/ 8819 w 440938"/>
                <a:gd name="connsiteY62" fmla="*/ 168816 h 365348"/>
                <a:gd name="connsiteX63" fmla="*/ 7559 w 440938"/>
                <a:gd name="connsiteY63" fmla="*/ 172596 h 365348"/>
                <a:gd name="connsiteX64" fmla="*/ 3780 w 440938"/>
                <a:gd name="connsiteY64" fmla="*/ 188974 h 365348"/>
                <a:gd name="connsiteX65" fmla="*/ 2520 w 440938"/>
                <a:gd name="connsiteY65" fmla="*/ 201572 h 365348"/>
                <a:gd name="connsiteX66" fmla="*/ 2520 w 440938"/>
                <a:gd name="connsiteY66" fmla="*/ 201572 h 365348"/>
                <a:gd name="connsiteX67" fmla="*/ 2520 w 440938"/>
                <a:gd name="connsiteY67" fmla="*/ 202831 h 365348"/>
                <a:gd name="connsiteX68" fmla="*/ 1260 w 440938"/>
                <a:gd name="connsiteY68" fmla="*/ 211650 h 365348"/>
                <a:gd name="connsiteX69" fmla="*/ 0 w 440938"/>
                <a:gd name="connsiteY69" fmla="*/ 233067 h 365348"/>
                <a:gd name="connsiteX70" fmla="*/ 0 w 440938"/>
                <a:gd name="connsiteY70" fmla="*/ 244406 h 365348"/>
                <a:gd name="connsiteX71" fmla="*/ 1260 w 440938"/>
                <a:gd name="connsiteY71" fmla="*/ 254484 h 365348"/>
                <a:gd name="connsiteX72" fmla="*/ 1260 w 440938"/>
                <a:gd name="connsiteY72" fmla="*/ 255744 h 365348"/>
                <a:gd name="connsiteX73" fmla="*/ 3780 w 440938"/>
                <a:gd name="connsiteY73" fmla="*/ 267083 h 365348"/>
                <a:gd name="connsiteX74" fmla="*/ 3780 w 440938"/>
                <a:gd name="connsiteY74" fmla="*/ 268342 h 365348"/>
                <a:gd name="connsiteX75" fmla="*/ 6299 w 440938"/>
                <a:gd name="connsiteY75" fmla="*/ 277161 h 365348"/>
                <a:gd name="connsiteX76" fmla="*/ 10079 w 440938"/>
                <a:gd name="connsiteY76" fmla="*/ 287240 h 365348"/>
                <a:gd name="connsiteX77" fmla="*/ 13858 w 440938"/>
                <a:gd name="connsiteY77" fmla="*/ 296058 h 365348"/>
                <a:gd name="connsiteX78" fmla="*/ 13858 w 440938"/>
                <a:gd name="connsiteY78" fmla="*/ 297318 h 365348"/>
                <a:gd name="connsiteX79" fmla="*/ 23937 w 440938"/>
                <a:gd name="connsiteY79" fmla="*/ 316216 h 365348"/>
                <a:gd name="connsiteX80" fmla="*/ 25196 w 440938"/>
                <a:gd name="connsiteY80" fmla="*/ 317475 h 365348"/>
                <a:gd name="connsiteX81" fmla="*/ 36535 w 440938"/>
                <a:gd name="connsiteY81" fmla="*/ 335113 h 365348"/>
                <a:gd name="connsiteX82" fmla="*/ 50393 w 440938"/>
                <a:gd name="connsiteY82" fmla="*/ 352751 h 365348"/>
                <a:gd name="connsiteX83" fmla="*/ 59212 w 440938"/>
                <a:gd name="connsiteY83" fmla="*/ 361569 h 365348"/>
                <a:gd name="connsiteX84" fmla="*/ 65511 w 440938"/>
                <a:gd name="connsiteY84" fmla="*/ 366608 h 365348"/>
                <a:gd name="connsiteX85" fmla="*/ 66771 w 440938"/>
                <a:gd name="connsiteY85" fmla="*/ 367868 h 365348"/>
                <a:gd name="connsiteX86" fmla="*/ 73070 w 440938"/>
                <a:gd name="connsiteY86" fmla="*/ 372908 h 365348"/>
                <a:gd name="connsiteX87" fmla="*/ 71810 w 440938"/>
                <a:gd name="connsiteY87" fmla="*/ 369128 h 365348"/>
                <a:gd name="connsiteX88" fmla="*/ 68030 w 440938"/>
                <a:gd name="connsiteY88" fmla="*/ 348971 h 365348"/>
                <a:gd name="connsiteX89" fmla="*/ 65511 w 440938"/>
                <a:gd name="connsiteY89" fmla="*/ 331333 h 365348"/>
                <a:gd name="connsiteX90" fmla="*/ 61731 w 440938"/>
                <a:gd name="connsiteY90" fmla="*/ 294799 h 365348"/>
                <a:gd name="connsiteX91" fmla="*/ 60472 w 440938"/>
                <a:gd name="connsiteY91" fmla="*/ 277161 h 365348"/>
                <a:gd name="connsiteX92" fmla="*/ 60472 w 440938"/>
                <a:gd name="connsiteY92" fmla="*/ 260783 h 365348"/>
                <a:gd name="connsiteX93" fmla="*/ 60472 w 440938"/>
                <a:gd name="connsiteY93" fmla="*/ 257004 h 365348"/>
                <a:gd name="connsiteX94" fmla="*/ 60472 w 440938"/>
                <a:gd name="connsiteY94" fmla="*/ 255744 h 365348"/>
                <a:gd name="connsiteX95" fmla="*/ 60472 w 440938"/>
                <a:gd name="connsiteY95" fmla="*/ 255744 h 365348"/>
                <a:gd name="connsiteX96" fmla="*/ 59212 w 440938"/>
                <a:gd name="connsiteY96" fmla="*/ 245666 h 365348"/>
                <a:gd name="connsiteX97" fmla="*/ 59212 w 440938"/>
                <a:gd name="connsiteY97" fmla="*/ 238107 h 365348"/>
                <a:gd name="connsiteX98" fmla="*/ 59212 w 440938"/>
                <a:gd name="connsiteY98" fmla="*/ 234327 h 365348"/>
                <a:gd name="connsiteX99" fmla="*/ 59212 w 440938"/>
                <a:gd name="connsiteY99" fmla="*/ 234327 h 365348"/>
                <a:gd name="connsiteX100" fmla="*/ 62991 w 440938"/>
                <a:gd name="connsiteY100" fmla="*/ 233067 h 365348"/>
                <a:gd name="connsiteX101" fmla="*/ 70550 w 440938"/>
                <a:gd name="connsiteY101" fmla="*/ 230548 h 365348"/>
                <a:gd name="connsiteX102" fmla="*/ 78109 w 440938"/>
                <a:gd name="connsiteY102" fmla="*/ 228028 h 365348"/>
                <a:gd name="connsiteX103" fmla="*/ 94487 w 440938"/>
                <a:gd name="connsiteY103" fmla="*/ 221729 h 365348"/>
                <a:gd name="connsiteX104" fmla="*/ 119683 w 440938"/>
                <a:gd name="connsiteY104" fmla="*/ 212910 h 365348"/>
                <a:gd name="connsiteX105" fmla="*/ 138581 w 440938"/>
                <a:gd name="connsiteY105" fmla="*/ 200312 h 365348"/>
                <a:gd name="connsiteX106" fmla="*/ 151179 w 440938"/>
                <a:gd name="connsiteY106" fmla="*/ 190233 h 365348"/>
                <a:gd name="connsiteX107" fmla="*/ 153698 w 440938"/>
                <a:gd name="connsiteY107" fmla="*/ 186454 h 365348"/>
                <a:gd name="connsiteX108" fmla="*/ 156218 w 440938"/>
                <a:gd name="connsiteY108" fmla="*/ 181414 h 365348"/>
                <a:gd name="connsiteX109" fmla="*/ 161257 w 440938"/>
                <a:gd name="connsiteY109" fmla="*/ 170076 h 365348"/>
                <a:gd name="connsiteX110" fmla="*/ 162517 w 440938"/>
                <a:gd name="connsiteY110" fmla="*/ 167556 h 365348"/>
                <a:gd name="connsiteX111" fmla="*/ 163777 w 440938"/>
                <a:gd name="connsiteY111" fmla="*/ 166297 h 365348"/>
                <a:gd name="connsiteX112" fmla="*/ 166297 w 440938"/>
                <a:gd name="connsiteY112" fmla="*/ 161257 h 365348"/>
                <a:gd name="connsiteX113" fmla="*/ 166297 w 440938"/>
                <a:gd name="connsiteY113" fmla="*/ 161257 h 365348"/>
                <a:gd name="connsiteX114" fmla="*/ 171336 w 440938"/>
                <a:gd name="connsiteY114" fmla="*/ 166297 h 365348"/>
                <a:gd name="connsiteX115" fmla="*/ 173856 w 440938"/>
                <a:gd name="connsiteY115" fmla="*/ 168816 h 365348"/>
                <a:gd name="connsiteX116" fmla="*/ 175115 w 440938"/>
                <a:gd name="connsiteY116" fmla="*/ 170076 h 365348"/>
                <a:gd name="connsiteX117" fmla="*/ 175115 w 440938"/>
                <a:gd name="connsiteY117" fmla="*/ 170076 h 365348"/>
                <a:gd name="connsiteX118" fmla="*/ 175115 w 440938"/>
                <a:gd name="connsiteY118" fmla="*/ 170076 h 365348"/>
                <a:gd name="connsiteX119" fmla="*/ 175115 w 440938"/>
                <a:gd name="connsiteY119" fmla="*/ 170076 h 365348"/>
                <a:gd name="connsiteX120" fmla="*/ 175115 w 440938"/>
                <a:gd name="connsiteY120" fmla="*/ 170076 h 365348"/>
                <a:gd name="connsiteX121" fmla="*/ 180155 w 440938"/>
                <a:gd name="connsiteY121" fmla="*/ 175115 h 365348"/>
                <a:gd name="connsiteX122" fmla="*/ 182674 w 440938"/>
                <a:gd name="connsiteY122" fmla="*/ 177635 h 365348"/>
                <a:gd name="connsiteX123" fmla="*/ 186454 w 440938"/>
                <a:gd name="connsiteY123" fmla="*/ 181414 h 365348"/>
                <a:gd name="connsiteX124" fmla="*/ 187714 w 440938"/>
                <a:gd name="connsiteY124" fmla="*/ 182674 h 365348"/>
                <a:gd name="connsiteX125" fmla="*/ 190233 w 440938"/>
                <a:gd name="connsiteY125" fmla="*/ 183934 h 365348"/>
                <a:gd name="connsiteX126" fmla="*/ 197792 w 440938"/>
                <a:gd name="connsiteY126" fmla="*/ 188974 h 365348"/>
                <a:gd name="connsiteX127" fmla="*/ 197792 w 440938"/>
                <a:gd name="connsiteY127" fmla="*/ 188974 h 365348"/>
                <a:gd name="connsiteX128" fmla="*/ 197792 w 440938"/>
                <a:gd name="connsiteY128" fmla="*/ 188974 h 365348"/>
                <a:gd name="connsiteX129" fmla="*/ 209131 w 440938"/>
                <a:gd name="connsiteY129" fmla="*/ 194013 h 365348"/>
                <a:gd name="connsiteX130" fmla="*/ 233067 w 440938"/>
                <a:gd name="connsiteY130" fmla="*/ 202831 h 365348"/>
                <a:gd name="connsiteX131" fmla="*/ 254484 w 440938"/>
                <a:gd name="connsiteY131" fmla="*/ 209131 h 365348"/>
                <a:gd name="connsiteX132" fmla="*/ 257004 w 440938"/>
                <a:gd name="connsiteY132" fmla="*/ 209131 h 365348"/>
                <a:gd name="connsiteX133" fmla="*/ 258264 w 440938"/>
                <a:gd name="connsiteY133" fmla="*/ 209131 h 365348"/>
                <a:gd name="connsiteX134" fmla="*/ 267083 w 440938"/>
                <a:gd name="connsiteY134" fmla="*/ 210390 h 365348"/>
                <a:gd name="connsiteX135" fmla="*/ 268342 w 440938"/>
                <a:gd name="connsiteY135" fmla="*/ 210390 h 365348"/>
                <a:gd name="connsiteX136" fmla="*/ 268342 w 440938"/>
                <a:gd name="connsiteY136" fmla="*/ 210390 h 365348"/>
                <a:gd name="connsiteX137" fmla="*/ 272122 w 440938"/>
                <a:gd name="connsiteY137" fmla="*/ 210390 h 365348"/>
                <a:gd name="connsiteX138" fmla="*/ 274642 w 440938"/>
                <a:gd name="connsiteY138" fmla="*/ 210390 h 365348"/>
                <a:gd name="connsiteX139" fmla="*/ 274642 w 440938"/>
                <a:gd name="connsiteY139" fmla="*/ 210390 h 365348"/>
                <a:gd name="connsiteX140" fmla="*/ 278421 w 440938"/>
                <a:gd name="connsiteY140" fmla="*/ 210390 h 365348"/>
                <a:gd name="connsiteX141" fmla="*/ 279681 w 440938"/>
                <a:gd name="connsiteY141" fmla="*/ 210390 h 365348"/>
                <a:gd name="connsiteX142" fmla="*/ 292279 w 440938"/>
                <a:gd name="connsiteY142" fmla="*/ 211650 h 365348"/>
                <a:gd name="connsiteX143" fmla="*/ 301098 w 440938"/>
                <a:gd name="connsiteY143" fmla="*/ 211650 h 365348"/>
                <a:gd name="connsiteX144" fmla="*/ 302358 w 440938"/>
                <a:gd name="connsiteY144" fmla="*/ 211650 h 365348"/>
                <a:gd name="connsiteX145" fmla="*/ 302358 w 440938"/>
                <a:gd name="connsiteY145" fmla="*/ 211650 h 365348"/>
                <a:gd name="connsiteX146" fmla="*/ 304877 w 440938"/>
                <a:gd name="connsiteY146" fmla="*/ 211650 h 365348"/>
                <a:gd name="connsiteX147" fmla="*/ 306137 w 440938"/>
                <a:gd name="connsiteY147" fmla="*/ 211650 h 365348"/>
                <a:gd name="connsiteX148" fmla="*/ 318735 w 440938"/>
                <a:gd name="connsiteY148" fmla="*/ 211650 h 365348"/>
                <a:gd name="connsiteX149" fmla="*/ 319995 w 440938"/>
                <a:gd name="connsiteY149" fmla="*/ 211650 h 365348"/>
                <a:gd name="connsiteX150" fmla="*/ 335113 w 440938"/>
                <a:gd name="connsiteY150" fmla="*/ 209131 h 365348"/>
                <a:gd name="connsiteX151" fmla="*/ 335113 w 440938"/>
                <a:gd name="connsiteY151" fmla="*/ 209131 h 365348"/>
                <a:gd name="connsiteX152" fmla="*/ 335113 w 440938"/>
                <a:gd name="connsiteY152" fmla="*/ 209131 h 365348"/>
                <a:gd name="connsiteX153" fmla="*/ 337633 w 440938"/>
                <a:gd name="connsiteY153" fmla="*/ 207871 h 365348"/>
                <a:gd name="connsiteX154" fmla="*/ 337633 w 440938"/>
                <a:gd name="connsiteY154" fmla="*/ 207871 h 365348"/>
                <a:gd name="connsiteX155" fmla="*/ 346451 w 440938"/>
                <a:gd name="connsiteY155" fmla="*/ 205351 h 365348"/>
                <a:gd name="connsiteX156" fmla="*/ 369128 w 440938"/>
                <a:gd name="connsiteY156" fmla="*/ 197792 h 365348"/>
                <a:gd name="connsiteX157" fmla="*/ 376687 w 440938"/>
                <a:gd name="connsiteY157" fmla="*/ 195273 h 365348"/>
                <a:gd name="connsiteX158" fmla="*/ 376687 w 440938"/>
                <a:gd name="connsiteY158" fmla="*/ 195273 h 365348"/>
                <a:gd name="connsiteX159" fmla="*/ 398104 w 440938"/>
                <a:gd name="connsiteY159" fmla="*/ 185194 h 365348"/>
                <a:gd name="connsiteX160" fmla="*/ 409443 w 440938"/>
                <a:gd name="connsiteY160" fmla="*/ 176375 h 365348"/>
                <a:gd name="connsiteX161" fmla="*/ 418261 w 440938"/>
                <a:gd name="connsiteY161" fmla="*/ 163777 h 365348"/>
                <a:gd name="connsiteX162" fmla="*/ 423301 w 440938"/>
                <a:gd name="connsiteY162" fmla="*/ 153698 h 365348"/>
                <a:gd name="connsiteX163" fmla="*/ 423301 w 440938"/>
                <a:gd name="connsiteY163" fmla="*/ 153698 h 365348"/>
                <a:gd name="connsiteX164" fmla="*/ 433379 w 440938"/>
                <a:gd name="connsiteY164" fmla="*/ 133541 h 365348"/>
                <a:gd name="connsiteX165" fmla="*/ 437159 w 440938"/>
                <a:gd name="connsiteY165" fmla="*/ 123463 h 365348"/>
                <a:gd name="connsiteX166" fmla="*/ 439678 w 440938"/>
                <a:gd name="connsiteY166" fmla="*/ 114644 h 365348"/>
                <a:gd name="connsiteX167" fmla="*/ 442198 w 440938"/>
                <a:gd name="connsiteY167" fmla="*/ 103305 h 365348"/>
                <a:gd name="connsiteX168" fmla="*/ 443458 w 440938"/>
                <a:gd name="connsiteY168" fmla="*/ 91967 h 365348"/>
                <a:gd name="connsiteX169" fmla="*/ 443458 w 440938"/>
                <a:gd name="connsiteY169" fmla="*/ 81889 h 365348"/>
                <a:gd name="connsiteX170" fmla="*/ 449757 w 440938"/>
                <a:gd name="connsiteY170" fmla="*/ 84408 h 36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440938" h="365348">
                  <a:moveTo>
                    <a:pt x="449757" y="84408"/>
                  </a:moveTo>
                  <a:cubicBezTo>
                    <a:pt x="449757" y="80629"/>
                    <a:pt x="448497" y="76849"/>
                    <a:pt x="447237" y="73070"/>
                  </a:cubicBezTo>
                  <a:cubicBezTo>
                    <a:pt x="445977" y="69290"/>
                    <a:pt x="443458" y="65511"/>
                    <a:pt x="442198" y="62991"/>
                  </a:cubicBezTo>
                  <a:lnTo>
                    <a:pt x="442198" y="61731"/>
                  </a:lnTo>
                  <a:cubicBezTo>
                    <a:pt x="440938" y="59212"/>
                    <a:pt x="438419" y="55432"/>
                    <a:pt x="437159" y="52913"/>
                  </a:cubicBezTo>
                  <a:cubicBezTo>
                    <a:pt x="434639" y="49133"/>
                    <a:pt x="433379" y="46613"/>
                    <a:pt x="430860" y="42834"/>
                  </a:cubicBezTo>
                  <a:cubicBezTo>
                    <a:pt x="425820" y="36535"/>
                    <a:pt x="420781" y="31496"/>
                    <a:pt x="415742" y="26456"/>
                  </a:cubicBezTo>
                  <a:cubicBezTo>
                    <a:pt x="409443" y="21417"/>
                    <a:pt x="401884" y="16378"/>
                    <a:pt x="395584" y="12598"/>
                  </a:cubicBezTo>
                  <a:cubicBezTo>
                    <a:pt x="391805" y="11338"/>
                    <a:pt x="389285" y="8819"/>
                    <a:pt x="385506" y="7559"/>
                  </a:cubicBezTo>
                  <a:cubicBezTo>
                    <a:pt x="384246" y="6299"/>
                    <a:pt x="382986" y="6299"/>
                    <a:pt x="380467" y="5039"/>
                  </a:cubicBezTo>
                  <a:cubicBezTo>
                    <a:pt x="377947" y="3779"/>
                    <a:pt x="376687" y="3779"/>
                    <a:pt x="372908" y="2520"/>
                  </a:cubicBezTo>
                  <a:cubicBezTo>
                    <a:pt x="367868" y="1260"/>
                    <a:pt x="364089" y="0"/>
                    <a:pt x="360309" y="0"/>
                  </a:cubicBezTo>
                  <a:cubicBezTo>
                    <a:pt x="355270" y="0"/>
                    <a:pt x="350231" y="0"/>
                    <a:pt x="345192" y="0"/>
                  </a:cubicBezTo>
                  <a:lnTo>
                    <a:pt x="343932" y="0"/>
                  </a:lnTo>
                  <a:cubicBezTo>
                    <a:pt x="342672" y="0"/>
                    <a:pt x="341412" y="0"/>
                    <a:pt x="340152" y="0"/>
                  </a:cubicBezTo>
                  <a:cubicBezTo>
                    <a:pt x="337633" y="0"/>
                    <a:pt x="335113" y="0"/>
                    <a:pt x="332593" y="1260"/>
                  </a:cubicBezTo>
                  <a:cubicBezTo>
                    <a:pt x="328814" y="1260"/>
                    <a:pt x="326294" y="2520"/>
                    <a:pt x="322515" y="3779"/>
                  </a:cubicBezTo>
                  <a:cubicBezTo>
                    <a:pt x="318735" y="5039"/>
                    <a:pt x="316216" y="5039"/>
                    <a:pt x="312436" y="6299"/>
                  </a:cubicBezTo>
                  <a:cubicBezTo>
                    <a:pt x="311176" y="6299"/>
                    <a:pt x="311176" y="6299"/>
                    <a:pt x="309916" y="7559"/>
                  </a:cubicBezTo>
                  <a:cubicBezTo>
                    <a:pt x="307397" y="7559"/>
                    <a:pt x="304877" y="8819"/>
                    <a:pt x="302358" y="8819"/>
                  </a:cubicBezTo>
                  <a:cubicBezTo>
                    <a:pt x="294799" y="11338"/>
                    <a:pt x="287240" y="13858"/>
                    <a:pt x="282200" y="17637"/>
                  </a:cubicBezTo>
                  <a:cubicBezTo>
                    <a:pt x="278421" y="20157"/>
                    <a:pt x="275901" y="22677"/>
                    <a:pt x="273382" y="23937"/>
                  </a:cubicBezTo>
                  <a:cubicBezTo>
                    <a:pt x="273382" y="23937"/>
                    <a:pt x="272122" y="25196"/>
                    <a:pt x="272122" y="25196"/>
                  </a:cubicBezTo>
                  <a:cubicBezTo>
                    <a:pt x="272122" y="25196"/>
                    <a:pt x="270862" y="23937"/>
                    <a:pt x="269602" y="22677"/>
                  </a:cubicBezTo>
                  <a:cubicBezTo>
                    <a:pt x="265823" y="20157"/>
                    <a:pt x="263303" y="18897"/>
                    <a:pt x="259523" y="16378"/>
                  </a:cubicBezTo>
                  <a:cubicBezTo>
                    <a:pt x="251965" y="12598"/>
                    <a:pt x="244406" y="11338"/>
                    <a:pt x="236847" y="11338"/>
                  </a:cubicBezTo>
                  <a:cubicBezTo>
                    <a:pt x="226768" y="10078"/>
                    <a:pt x="219209" y="8819"/>
                    <a:pt x="210390" y="8819"/>
                  </a:cubicBezTo>
                  <a:cubicBezTo>
                    <a:pt x="202831" y="8819"/>
                    <a:pt x="194013" y="8819"/>
                    <a:pt x="186454" y="8819"/>
                  </a:cubicBezTo>
                  <a:lnTo>
                    <a:pt x="185194" y="8819"/>
                  </a:lnTo>
                  <a:cubicBezTo>
                    <a:pt x="178895" y="8819"/>
                    <a:pt x="173856" y="8819"/>
                    <a:pt x="167557" y="8819"/>
                  </a:cubicBezTo>
                  <a:cubicBezTo>
                    <a:pt x="166297" y="8819"/>
                    <a:pt x="163777" y="8819"/>
                    <a:pt x="162517" y="8819"/>
                  </a:cubicBezTo>
                  <a:cubicBezTo>
                    <a:pt x="154958" y="10078"/>
                    <a:pt x="147399" y="11338"/>
                    <a:pt x="138581" y="15118"/>
                  </a:cubicBezTo>
                  <a:cubicBezTo>
                    <a:pt x="134801" y="16378"/>
                    <a:pt x="131022" y="17637"/>
                    <a:pt x="128502" y="20157"/>
                  </a:cubicBezTo>
                  <a:cubicBezTo>
                    <a:pt x="125982" y="21417"/>
                    <a:pt x="122203" y="22677"/>
                    <a:pt x="119683" y="25196"/>
                  </a:cubicBezTo>
                  <a:lnTo>
                    <a:pt x="118423" y="26456"/>
                  </a:lnTo>
                  <a:cubicBezTo>
                    <a:pt x="117164" y="27716"/>
                    <a:pt x="115904" y="27716"/>
                    <a:pt x="113384" y="28976"/>
                  </a:cubicBezTo>
                  <a:cubicBezTo>
                    <a:pt x="112124" y="30236"/>
                    <a:pt x="110864" y="30236"/>
                    <a:pt x="108345" y="31496"/>
                  </a:cubicBezTo>
                  <a:cubicBezTo>
                    <a:pt x="104565" y="34015"/>
                    <a:pt x="100786" y="35275"/>
                    <a:pt x="98266" y="36535"/>
                  </a:cubicBezTo>
                  <a:cubicBezTo>
                    <a:pt x="97006" y="37795"/>
                    <a:pt x="94487" y="37795"/>
                    <a:pt x="93227" y="39054"/>
                  </a:cubicBezTo>
                  <a:cubicBezTo>
                    <a:pt x="90707" y="40314"/>
                    <a:pt x="89447" y="41574"/>
                    <a:pt x="86928" y="42834"/>
                  </a:cubicBezTo>
                  <a:cubicBezTo>
                    <a:pt x="84408" y="45354"/>
                    <a:pt x="80629" y="47873"/>
                    <a:pt x="78109" y="49133"/>
                  </a:cubicBezTo>
                  <a:cubicBezTo>
                    <a:pt x="71810" y="54172"/>
                    <a:pt x="66771" y="59212"/>
                    <a:pt x="61731" y="64251"/>
                  </a:cubicBezTo>
                  <a:cubicBezTo>
                    <a:pt x="56692" y="69290"/>
                    <a:pt x="52913" y="74330"/>
                    <a:pt x="46613" y="81889"/>
                  </a:cubicBezTo>
                  <a:lnTo>
                    <a:pt x="44094" y="84408"/>
                  </a:lnTo>
                  <a:lnTo>
                    <a:pt x="42834" y="85668"/>
                  </a:lnTo>
                  <a:cubicBezTo>
                    <a:pt x="41574" y="86928"/>
                    <a:pt x="40314" y="88188"/>
                    <a:pt x="39054" y="90707"/>
                  </a:cubicBezTo>
                  <a:cubicBezTo>
                    <a:pt x="37795" y="93227"/>
                    <a:pt x="35275" y="95746"/>
                    <a:pt x="34015" y="98266"/>
                  </a:cubicBezTo>
                  <a:cubicBezTo>
                    <a:pt x="34015" y="99526"/>
                    <a:pt x="32755" y="99526"/>
                    <a:pt x="32755" y="100786"/>
                  </a:cubicBezTo>
                  <a:lnTo>
                    <a:pt x="32755" y="100786"/>
                  </a:lnTo>
                  <a:lnTo>
                    <a:pt x="31496" y="102046"/>
                  </a:lnTo>
                  <a:lnTo>
                    <a:pt x="30236" y="104565"/>
                  </a:lnTo>
                  <a:cubicBezTo>
                    <a:pt x="28976" y="107085"/>
                    <a:pt x="26456" y="110864"/>
                    <a:pt x="25196" y="113384"/>
                  </a:cubicBezTo>
                  <a:cubicBezTo>
                    <a:pt x="23937" y="117163"/>
                    <a:pt x="22677" y="120943"/>
                    <a:pt x="21417" y="123463"/>
                  </a:cubicBezTo>
                  <a:cubicBezTo>
                    <a:pt x="20157" y="125982"/>
                    <a:pt x="20157" y="127242"/>
                    <a:pt x="18897" y="129762"/>
                  </a:cubicBezTo>
                  <a:lnTo>
                    <a:pt x="17637" y="132281"/>
                  </a:lnTo>
                  <a:lnTo>
                    <a:pt x="16378" y="134801"/>
                  </a:lnTo>
                  <a:cubicBezTo>
                    <a:pt x="15118" y="138581"/>
                    <a:pt x="13858" y="142360"/>
                    <a:pt x="12598" y="144880"/>
                  </a:cubicBezTo>
                  <a:cubicBezTo>
                    <a:pt x="11338" y="147399"/>
                    <a:pt x="11338" y="149919"/>
                    <a:pt x="11338" y="152439"/>
                  </a:cubicBezTo>
                  <a:lnTo>
                    <a:pt x="11338" y="152439"/>
                  </a:lnTo>
                  <a:lnTo>
                    <a:pt x="11338" y="154958"/>
                  </a:lnTo>
                  <a:cubicBezTo>
                    <a:pt x="10079" y="158738"/>
                    <a:pt x="10079" y="162517"/>
                    <a:pt x="8819" y="165037"/>
                  </a:cubicBezTo>
                  <a:cubicBezTo>
                    <a:pt x="8819" y="166297"/>
                    <a:pt x="8819" y="167556"/>
                    <a:pt x="8819" y="168816"/>
                  </a:cubicBezTo>
                  <a:lnTo>
                    <a:pt x="8819" y="168816"/>
                  </a:lnTo>
                  <a:lnTo>
                    <a:pt x="7559" y="172596"/>
                  </a:lnTo>
                  <a:cubicBezTo>
                    <a:pt x="6299" y="177635"/>
                    <a:pt x="5039" y="182674"/>
                    <a:pt x="3780" y="188974"/>
                  </a:cubicBezTo>
                  <a:cubicBezTo>
                    <a:pt x="2520" y="192753"/>
                    <a:pt x="2520" y="197792"/>
                    <a:pt x="2520" y="201572"/>
                  </a:cubicBezTo>
                  <a:lnTo>
                    <a:pt x="2520" y="201572"/>
                  </a:lnTo>
                  <a:lnTo>
                    <a:pt x="2520" y="202831"/>
                  </a:lnTo>
                  <a:cubicBezTo>
                    <a:pt x="2520" y="205351"/>
                    <a:pt x="1260" y="209131"/>
                    <a:pt x="1260" y="211650"/>
                  </a:cubicBezTo>
                  <a:cubicBezTo>
                    <a:pt x="1260" y="219209"/>
                    <a:pt x="0" y="226768"/>
                    <a:pt x="0" y="233067"/>
                  </a:cubicBezTo>
                  <a:cubicBezTo>
                    <a:pt x="0" y="236847"/>
                    <a:pt x="0" y="240626"/>
                    <a:pt x="0" y="244406"/>
                  </a:cubicBezTo>
                  <a:cubicBezTo>
                    <a:pt x="0" y="248185"/>
                    <a:pt x="0" y="250705"/>
                    <a:pt x="1260" y="254484"/>
                  </a:cubicBezTo>
                  <a:lnTo>
                    <a:pt x="1260" y="255744"/>
                  </a:lnTo>
                  <a:cubicBezTo>
                    <a:pt x="1260" y="259523"/>
                    <a:pt x="2520" y="263303"/>
                    <a:pt x="3780" y="267083"/>
                  </a:cubicBezTo>
                  <a:lnTo>
                    <a:pt x="3780" y="268342"/>
                  </a:lnTo>
                  <a:cubicBezTo>
                    <a:pt x="5039" y="270862"/>
                    <a:pt x="5039" y="274641"/>
                    <a:pt x="6299" y="277161"/>
                  </a:cubicBezTo>
                  <a:cubicBezTo>
                    <a:pt x="7559" y="280940"/>
                    <a:pt x="8819" y="283460"/>
                    <a:pt x="10079" y="287240"/>
                  </a:cubicBezTo>
                  <a:cubicBezTo>
                    <a:pt x="11338" y="289759"/>
                    <a:pt x="12598" y="293539"/>
                    <a:pt x="13858" y="296058"/>
                  </a:cubicBezTo>
                  <a:lnTo>
                    <a:pt x="13858" y="297318"/>
                  </a:lnTo>
                  <a:cubicBezTo>
                    <a:pt x="16378" y="303617"/>
                    <a:pt x="20157" y="309916"/>
                    <a:pt x="23937" y="316216"/>
                  </a:cubicBezTo>
                  <a:lnTo>
                    <a:pt x="25196" y="317475"/>
                  </a:lnTo>
                  <a:cubicBezTo>
                    <a:pt x="28976" y="323775"/>
                    <a:pt x="32755" y="330074"/>
                    <a:pt x="36535" y="335113"/>
                  </a:cubicBezTo>
                  <a:cubicBezTo>
                    <a:pt x="41574" y="341412"/>
                    <a:pt x="46613" y="347711"/>
                    <a:pt x="50393" y="352751"/>
                  </a:cubicBezTo>
                  <a:cubicBezTo>
                    <a:pt x="52913" y="355270"/>
                    <a:pt x="55432" y="359050"/>
                    <a:pt x="59212" y="361569"/>
                  </a:cubicBezTo>
                  <a:cubicBezTo>
                    <a:pt x="61731" y="362829"/>
                    <a:pt x="62991" y="365349"/>
                    <a:pt x="65511" y="366608"/>
                  </a:cubicBezTo>
                  <a:lnTo>
                    <a:pt x="66771" y="367868"/>
                  </a:lnTo>
                  <a:cubicBezTo>
                    <a:pt x="69290" y="369128"/>
                    <a:pt x="70550" y="371648"/>
                    <a:pt x="73070" y="372908"/>
                  </a:cubicBezTo>
                  <a:cubicBezTo>
                    <a:pt x="73070" y="371648"/>
                    <a:pt x="71810" y="370388"/>
                    <a:pt x="71810" y="369128"/>
                  </a:cubicBezTo>
                  <a:cubicBezTo>
                    <a:pt x="70550" y="362829"/>
                    <a:pt x="69290" y="356530"/>
                    <a:pt x="68030" y="348971"/>
                  </a:cubicBezTo>
                  <a:cubicBezTo>
                    <a:pt x="66771" y="342672"/>
                    <a:pt x="66771" y="337633"/>
                    <a:pt x="65511" y="331333"/>
                  </a:cubicBezTo>
                  <a:cubicBezTo>
                    <a:pt x="64251" y="318735"/>
                    <a:pt x="62991" y="307397"/>
                    <a:pt x="61731" y="294799"/>
                  </a:cubicBezTo>
                  <a:cubicBezTo>
                    <a:pt x="61731" y="288499"/>
                    <a:pt x="60472" y="283460"/>
                    <a:pt x="60472" y="277161"/>
                  </a:cubicBezTo>
                  <a:cubicBezTo>
                    <a:pt x="60472" y="272122"/>
                    <a:pt x="60472" y="265823"/>
                    <a:pt x="60472" y="260783"/>
                  </a:cubicBezTo>
                  <a:cubicBezTo>
                    <a:pt x="60472" y="259523"/>
                    <a:pt x="60472" y="258264"/>
                    <a:pt x="60472" y="257004"/>
                  </a:cubicBezTo>
                  <a:cubicBezTo>
                    <a:pt x="60472" y="257004"/>
                    <a:pt x="60472" y="255744"/>
                    <a:pt x="60472" y="255744"/>
                  </a:cubicBezTo>
                  <a:cubicBezTo>
                    <a:pt x="60472" y="255744"/>
                    <a:pt x="60472" y="255744"/>
                    <a:pt x="60472" y="255744"/>
                  </a:cubicBezTo>
                  <a:cubicBezTo>
                    <a:pt x="60472" y="251965"/>
                    <a:pt x="60472" y="249445"/>
                    <a:pt x="59212" y="245666"/>
                  </a:cubicBezTo>
                  <a:cubicBezTo>
                    <a:pt x="59212" y="243146"/>
                    <a:pt x="59212" y="240626"/>
                    <a:pt x="59212" y="238107"/>
                  </a:cubicBezTo>
                  <a:cubicBezTo>
                    <a:pt x="59212" y="236847"/>
                    <a:pt x="59212" y="235587"/>
                    <a:pt x="59212" y="234327"/>
                  </a:cubicBezTo>
                  <a:lnTo>
                    <a:pt x="59212" y="234327"/>
                  </a:lnTo>
                  <a:cubicBezTo>
                    <a:pt x="60472" y="234327"/>
                    <a:pt x="61731" y="234327"/>
                    <a:pt x="62991" y="233067"/>
                  </a:cubicBezTo>
                  <a:cubicBezTo>
                    <a:pt x="65511" y="231807"/>
                    <a:pt x="68030" y="231807"/>
                    <a:pt x="70550" y="230548"/>
                  </a:cubicBezTo>
                  <a:cubicBezTo>
                    <a:pt x="73070" y="229288"/>
                    <a:pt x="75589" y="229288"/>
                    <a:pt x="78109" y="228028"/>
                  </a:cubicBezTo>
                  <a:cubicBezTo>
                    <a:pt x="83148" y="226768"/>
                    <a:pt x="88188" y="224248"/>
                    <a:pt x="94487" y="221729"/>
                  </a:cubicBezTo>
                  <a:cubicBezTo>
                    <a:pt x="103305" y="219209"/>
                    <a:pt x="112124" y="216690"/>
                    <a:pt x="119683" y="212910"/>
                  </a:cubicBezTo>
                  <a:cubicBezTo>
                    <a:pt x="125982" y="209131"/>
                    <a:pt x="132281" y="205351"/>
                    <a:pt x="138581" y="200312"/>
                  </a:cubicBezTo>
                  <a:cubicBezTo>
                    <a:pt x="143620" y="197792"/>
                    <a:pt x="148659" y="194013"/>
                    <a:pt x="151179" y="190233"/>
                  </a:cubicBezTo>
                  <a:cubicBezTo>
                    <a:pt x="152439" y="188974"/>
                    <a:pt x="153698" y="187714"/>
                    <a:pt x="153698" y="186454"/>
                  </a:cubicBezTo>
                  <a:cubicBezTo>
                    <a:pt x="154958" y="185194"/>
                    <a:pt x="154958" y="182674"/>
                    <a:pt x="156218" y="181414"/>
                  </a:cubicBezTo>
                  <a:cubicBezTo>
                    <a:pt x="157478" y="177635"/>
                    <a:pt x="159998" y="173855"/>
                    <a:pt x="161257" y="170076"/>
                  </a:cubicBezTo>
                  <a:cubicBezTo>
                    <a:pt x="161257" y="168816"/>
                    <a:pt x="161257" y="168816"/>
                    <a:pt x="162517" y="167556"/>
                  </a:cubicBezTo>
                  <a:cubicBezTo>
                    <a:pt x="162517" y="167556"/>
                    <a:pt x="163777" y="166297"/>
                    <a:pt x="163777" y="166297"/>
                  </a:cubicBezTo>
                  <a:cubicBezTo>
                    <a:pt x="165037" y="165037"/>
                    <a:pt x="166297" y="162517"/>
                    <a:pt x="166297" y="161257"/>
                  </a:cubicBezTo>
                  <a:cubicBezTo>
                    <a:pt x="166297" y="161257"/>
                    <a:pt x="166297" y="161257"/>
                    <a:pt x="166297" y="161257"/>
                  </a:cubicBezTo>
                  <a:cubicBezTo>
                    <a:pt x="167557" y="162517"/>
                    <a:pt x="168816" y="165037"/>
                    <a:pt x="171336" y="166297"/>
                  </a:cubicBezTo>
                  <a:cubicBezTo>
                    <a:pt x="172596" y="167556"/>
                    <a:pt x="173856" y="168816"/>
                    <a:pt x="173856" y="168816"/>
                  </a:cubicBezTo>
                  <a:cubicBezTo>
                    <a:pt x="173856" y="168816"/>
                    <a:pt x="175115" y="170076"/>
                    <a:pt x="175115" y="170076"/>
                  </a:cubicBezTo>
                  <a:cubicBezTo>
                    <a:pt x="175115" y="170076"/>
                    <a:pt x="175115" y="170076"/>
                    <a:pt x="175115" y="170076"/>
                  </a:cubicBezTo>
                  <a:lnTo>
                    <a:pt x="175115" y="170076"/>
                  </a:lnTo>
                  <a:lnTo>
                    <a:pt x="175115" y="170076"/>
                  </a:lnTo>
                  <a:lnTo>
                    <a:pt x="175115" y="170076"/>
                  </a:lnTo>
                  <a:cubicBezTo>
                    <a:pt x="176375" y="171336"/>
                    <a:pt x="178895" y="173855"/>
                    <a:pt x="180155" y="175115"/>
                  </a:cubicBezTo>
                  <a:cubicBezTo>
                    <a:pt x="181414" y="176375"/>
                    <a:pt x="181414" y="176375"/>
                    <a:pt x="182674" y="177635"/>
                  </a:cubicBezTo>
                  <a:cubicBezTo>
                    <a:pt x="183934" y="178895"/>
                    <a:pt x="185194" y="180155"/>
                    <a:pt x="186454" y="181414"/>
                  </a:cubicBezTo>
                  <a:cubicBezTo>
                    <a:pt x="186454" y="181414"/>
                    <a:pt x="187714" y="182674"/>
                    <a:pt x="187714" y="182674"/>
                  </a:cubicBezTo>
                  <a:cubicBezTo>
                    <a:pt x="188973" y="182674"/>
                    <a:pt x="188973" y="183934"/>
                    <a:pt x="190233" y="183934"/>
                  </a:cubicBezTo>
                  <a:cubicBezTo>
                    <a:pt x="192753" y="185194"/>
                    <a:pt x="195273" y="187714"/>
                    <a:pt x="197792" y="188974"/>
                  </a:cubicBezTo>
                  <a:cubicBezTo>
                    <a:pt x="197792" y="188974"/>
                    <a:pt x="197792" y="188974"/>
                    <a:pt x="197792" y="188974"/>
                  </a:cubicBezTo>
                  <a:cubicBezTo>
                    <a:pt x="197792" y="188974"/>
                    <a:pt x="197792" y="188974"/>
                    <a:pt x="197792" y="188974"/>
                  </a:cubicBezTo>
                  <a:cubicBezTo>
                    <a:pt x="201572" y="191493"/>
                    <a:pt x="205351" y="192753"/>
                    <a:pt x="209131" y="194013"/>
                  </a:cubicBezTo>
                  <a:cubicBezTo>
                    <a:pt x="216690" y="196532"/>
                    <a:pt x="224249" y="200312"/>
                    <a:pt x="233067" y="202831"/>
                  </a:cubicBezTo>
                  <a:cubicBezTo>
                    <a:pt x="240626" y="205351"/>
                    <a:pt x="246925" y="207871"/>
                    <a:pt x="254484" y="209131"/>
                  </a:cubicBezTo>
                  <a:lnTo>
                    <a:pt x="257004" y="209131"/>
                  </a:lnTo>
                  <a:lnTo>
                    <a:pt x="258264" y="209131"/>
                  </a:lnTo>
                  <a:cubicBezTo>
                    <a:pt x="260783" y="209131"/>
                    <a:pt x="263303" y="210390"/>
                    <a:pt x="267083" y="210390"/>
                  </a:cubicBezTo>
                  <a:cubicBezTo>
                    <a:pt x="267083" y="210390"/>
                    <a:pt x="268342" y="210390"/>
                    <a:pt x="268342" y="210390"/>
                  </a:cubicBezTo>
                  <a:lnTo>
                    <a:pt x="268342" y="210390"/>
                  </a:lnTo>
                  <a:cubicBezTo>
                    <a:pt x="269602" y="210390"/>
                    <a:pt x="270862" y="210390"/>
                    <a:pt x="272122" y="210390"/>
                  </a:cubicBezTo>
                  <a:lnTo>
                    <a:pt x="274642" y="210390"/>
                  </a:lnTo>
                  <a:lnTo>
                    <a:pt x="274642" y="210390"/>
                  </a:lnTo>
                  <a:lnTo>
                    <a:pt x="278421" y="210390"/>
                  </a:lnTo>
                  <a:cubicBezTo>
                    <a:pt x="278421" y="210390"/>
                    <a:pt x="279681" y="210390"/>
                    <a:pt x="279681" y="210390"/>
                  </a:cubicBezTo>
                  <a:cubicBezTo>
                    <a:pt x="283460" y="210390"/>
                    <a:pt x="287240" y="211650"/>
                    <a:pt x="292279" y="211650"/>
                  </a:cubicBezTo>
                  <a:cubicBezTo>
                    <a:pt x="294799" y="211650"/>
                    <a:pt x="298578" y="211650"/>
                    <a:pt x="301098" y="211650"/>
                  </a:cubicBezTo>
                  <a:lnTo>
                    <a:pt x="302358" y="211650"/>
                  </a:lnTo>
                  <a:cubicBezTo>
                    <a:pt x="302358" y="211650"/>
                    <a:pt x="302358" y="211650"/>
                    <a:pt x="302358" y="211650"/>
                  </a:cubicBezTo>
                  <a:cubicBezTo>
                    <a:pt x="303617" y="211650"/>
                    <a:pt x="303617" y="211650"/>
                    <a:pt x="304877" y="211650"/>
                  </a:cubicBezTo>
                  <a:cubicBezTo>
                    <a:pt x="304877" y="211650"/>
                    <a:pt x="306137" y="211650"/>
                    <a:pt x="306137" y="211650"/>
                  </a:cubicBezTo>
                  <a:cubicBezTo>
                    <a:pt x="309916" y="211650"/>
                    <a:pt x="313696" y="211650"/>
                    <a:pt x="318735" y="211650"/>
                  </a:cubicBezTo>
                  <a:lnTo>
                    <a:pt x="319995" y="211650"/>
                  </a:lnTo>
                  <a:cubicBezTo>
                    <a:pt x="325034" y="211650"/>
                    <a:pt x="330074" y="210390"/>
                    <a:pt x="335113" y="209131"/>
                  </a:cubicBezTo>
                  <a:cubicBezTo>
                    <a:pt x="335113" y="209131"/>
                    <a:pt x="335113" y="209131"/>
                    <a:pt x="335113" y="209131"/>
                  </a:cubicBezTo>
                  <a:lnTo>
                    <a:pt x="335113" y="209131"/>
                  </a:lnTo>
                  <a:cubicBezTo>
                    <a:pt x="336373" y="209131"/>
                    <a:pt x="336373" y="209131"/>
                    <a:pt x="337633" y="207871"/>
                  </a:cubicBezTo>
                  <a:cubicBezTo>
                    <a:pt x="337633" y="207871"/>
                    <a:pt x="337633" y="207871"/>
                    <a:pt x="337633" y="207871"/>
                  </a:cubicBezTo>
                  <a:cubicBezTo>
                    <a:pt x="340152" y="206611"/>
                    <a:pt x="343932" y="206611"/>
                    <a:pt x="346451" y="205351"/>
                  </a:cubicBezTo>
                  <a:cubicBezTo>
                    <a:pt x="355270" y="202831"/>
                    <a:pt x="362829" y="200312"/>
                    <a:pt x="369128" y="197792"/>
                  </a:cubicBezTo>
                  <a:cubicBezTo>
                    <a:pt x="371648" y="196532"/>
                    <a:pt x="374167" y="196532"/>
                    <a:pt x="376687" y="195273"/>
                  </a:cubicBezTo>
                  <a:lnTo>
                    <a:pt x="376687" y="195273"/>
                  </a:lnTo>
                  <a:cubicBezTo>
                    <a:pt x="384246" y="192753"/>
                    <a:pt x="391805" y="190233"/>
                    <a:pt x="398104" y="185194"/>
                  </a:cubicBezTo>
                  <a:cubicBezTo>
                    <a:pt x="401884" y="182674"/>
                    <a:pt x="406923" y="180155"/>
                    <a:pt x="409443" y="176375"/>
                  </a:cubicBezTo>
                  <a:cubicBezTo>
                    <a:pt x="413222" y="172596"/>
                    <a:pt x="415742" y="167556"/>
                    <a:pt x="418261" y="163777"/>
                  </a:cubicBezTo>
                  <a:cubicBezTo>
                    <a:pt x="419521" y="161257"/>
                    <a:pt x="422041" y="157478"/>
                    <a:pt x="423301" y="153698"/>
                  </a:cubicBezTo>
                  <a:lnTo>
                    <a:pt x="423301" y="153698"/>
                  </a:lnTo>
                  <a:cubicBezTo>
                    <a:pt x="427080" y="147399"/>
                    <a:pt x="430860" y="139840"/>
                    <a:pt x="433379" y="133541"/>
                  </a:cubicBezTo>
                  <a:cubicBezTo>
                    <a:pt x="434639" y="129762"/>
                    <a:pt x="435899" y="127242"/>
                    <a:pt x="437159" y="123463"/>
                  </a:cubicBezTo>
                  <a:cubicBezTo>
                    <a:pt x="438419" y="120943"/>
                    <a:pt x="438419" y="117163"/>
                    <a:pt x="439678" y="114644"/>
                  </a:cubicBezTo>
                  <a:cubicBezTo>
                    <a:pt x="440938" y="110864"/>
                    <a:pt x="440938" y="107085"/>
                    <a:pt x="442198" y="103305"/>
                  </a:cubicBezTo>
                  <a:cubicBezTo>
                    <a:pt x="442198" y="99526"/>
                    <a:pt x="443458" y="95746"/>
                    <a:pt x="443458" y="91967"/>
                  </a:cubicBezTo>
                  <a:cubicBezTo>
                    <a:pt x="443458" y="89447"/>
                    <a:pt x="443458" y="85668"/>
                    <a:pt x="443458" y="81889"/>
                  </a:cubicBezTo>
                  <a:cubicBezTo>
                    <a:pt x="451017" y="88188"/>
                    <a:pt x="449757" y="86928"/>
                    <a:pt x="449757" y="84408"/>
                  </a:cubicBezTo>
                  <a:close/>
                </a:path>
              </a:pathLst>
            </a:custGeom>
            <a:solidFill>
              <a:srgbClr val="001675"/>
            </a:solidFill>
            <a:ln w="12584" cap="flat">
              <a:noFill/>
              <a:prstDash val="solid"/>
              <a:miter/>
            </a:ln>
          </p:spPr>
          <p:txBody>
            <a:bodyPr rtlCol="0" anchor="ctr"/>
            <a:lstStyle/>
            <a:p>
              <a:endParaRPr lang="zh-CN" altLang="en-US"/>
            </a:p>
          </p:txBody>
        </p:sp>
        <p:sp>
          <p:nvSpPr>
            <p:cNvPr id="10144" name="任意多边形: 形状 10143"/>
            <p:cNvSpPr/>
            <p:nvPr/>
          </p:nvSpPr>
          <p:spPr>
            <a:xfrm>
              <a:off x="2852955" y="3216089"/>
              <a:ext cx="340152" cy="365349"/>
            </a:xfrm>
            <a:custGeom>
              <a:avLst/>
              <a:gdLst>
                <a:gd name="connsiteX0" fmla="*/ 275901 w 340152"/>
                <a:gd name="connsiteY0" fmla="*/ 376687 h 365348"/>
                <a:gd name="connsiteX1" fmla="*/ 0 w 340152"/>
                <a:gd name="connsiteY1" fmla="*/ 332593 h 365348"/>
                <a:gd name="connsiteX2" fmla="*/ 69290 w 340152"/>
                <a:gd name="connsiteY2" fmla="*/ 0 h 365348"/>
                <a:gd name="connsiteX3" fmla="*/ 345192 w 340152"/>
                <a:gd name="connsiteY3" fmla="*/ 44094 h 365348"/>
              </a:gdLst>
              <a:ahLst/>
              <a:cxnLst>
                <a:cxn ang="0">
                  <a:pos x="connsiteX0" y="connsiteY0"/>
                </a:cxn>
                <a:cxn ang="0">
                  <a:pos x="connsiteX1" y="connsiteY1"/>
                </a:cxn>
                <a:cxn ang="0">
                  <a:pos x="connsiteX2" y="connsiteY2"/>
                </a:cxn>
                <a:cxn ang="0">
                  <a:pos x="connsiteX3" y="connsiteY3"/>
                </a:cxn>
              </a:cxnLst>
              <a:rect l="l" t="t" r="r" b="b"/>
              <a:pathLst>
                <a:path w="340152" h="365348">
                  <a:moveTo>
                    <a:pt x="275901" y="376687"/>
                  </a:moveTo>
                  <a:lnTo>
                    <a:pt x="0" y="332593"/>
                  </a:lnTo>
                  <a:lnTo>
                    <a:pt x="69290" y="0"/>
                  </a:lnTo>
                  <a:lnTo>
                    <a:pt x="345192" y="44094"/>
                  </a:lnTo>
                  <a:close/>
                </a:path>
              </a:pathLst>
            </a:custGeom>
            <a:solidFill>
              <a:srgbClr val="FFFFFF"/>
            </a:solidFill>
            <a:ln w="12584" cap="flat">
              <a:noFill/>
              <a:prstDash val="solid"/>
              <a:miter/>
            </a:ln>
          </p:spPr>
          <p:txBody>
            <a:bodyPr rtlCol="0" anchor="ctr"/>
            <a:lstStyle/>
            <a:p>
              <a:endParaRPr lang="zh-CN" altLang="en-US"/>
            </a:p>
          </p:txBody>
        </p:sp>
        <p:sp>
          <p:nvSpPr>
            <p:cNvPr id="10145" name="任意多边形: 形状 10144"/>
            <p:cNvSpPr/>
            <p:nvPr/>
          </p:nvSpPr>
          <p:spPr>
            <a:xfrm>
              <a:off x="3050748" y="3338292"/>
              <a:ext cx="264563" cy="415742"/>
            </a:xfrm>
            <a:custGeom>
              <a:avLst/>
              <a:gdLst>
                <a:gd name="connsiteX0" fmla="*/ 265823 w 264562"/>
                <a:gd name="connsiteY0" fmla="*/ 364089 h 415741"/>
                <a:gd name="connsiteX1" fmla="*/ 265823 w 264562"/>
                <a:gd name="connsiteY1" fmla="*/ 361569 h 415741"/>
                <a:gd name="connsiteX2" fmla="*/ 264563 w 264562"/>
                <a:gd name="connsiteY2" fmla="*/ 354010 h 415741"/>
                <a:gd name="connsiteX3" fmla="*/ 264563 w 264562"/>
                <a:gd name="connsiteY3" fmla="*/ 351491 h 415741"/>
                <a:gd name="connsiteX4" fmla="*/ 264563 w 264562"/>
                <a:gd name="connsiteY4" fmla="*/ 351491 h 415741"/>
                <a:gd name="connsiteX5" fmla="*/ 264563 w 264562"/>
                <a:gd name="connsiteY5" fmla="*/ 351491 h 415741"/>
                <a:gd name="connsiteX6" fmla="*/ 263303 w 264562"/>
                <a:gd name="connsiteY6" fmla="*/ 346451 h 415741"/>
                <a:gd name="connsiteX7" fmla="*/ 263303 w 264562"/>
                <a:gd name="connsiteY7" fmla="*/ 345192 h 415741"/>
                <a:gd name="connsiteX8" fmla="*/ 262043 w 264562"/>
                <a:gd name="connsiteY8" fmla="*/ 341412 h 415741"/>
                <a:gd name="connsiteX9" fmla="*/ 254484 w 264562"/>
                <a:gd name="connsiteY9" fmla="*/ 322515 h 415741"/>
                <a:gd name="connsiteX10" fmla="*/ 254484 w 264562"/>
                <a:gd name="connsiteY10" fmla="*/ 321255 h 415741"/>
                <a:gd name="connsiteX11" fmla="*/ 253225 w 264562"/>
                <a:gd name="connsiteY11" fmla="*/ 318735 h 415741"/>
                <a:gd name="connsiteX12" fmla="*/ 253225 w 264562"/>
                <a:gd name="connsiteY12" fmla="*/ 317475 h 415741"/>
                <a:gd name="connsiteX13" fmla="*/ 246925 w 264562"/>
                <a:gd name="connsiteY13" fmla="*/ 304877 h 415741"/>
                <a:gd name="connsiteX14" fmla="*/ 243146 w 264562"/>
                <a:gd name="connsiteY14" fmla="*/ 298578 h 415741"/>
                <a:gd name="connsiteX15" fmla="*/ 239366 w 264562"/>
                <a:gd name="connsiteY15" fmla="*/ 291019 h 415741"/>
                <a:gd name="connsiteX16" fmla="*/ 235587 w 264562"/>
                <a:gd name="connsiteY16" fmla="*/ 283460 h 415741"/>
                <a:gd name="connsiteX17" fmla="*/ 235587 w 264562"/>
                <a:gd name="connsiteY17" fmla="*/ 282200 h 415741"/>
                <a:gd name="connsiteX18" fmla="*/ 235587 w 264562"/>
                <a:gd name="connsiteY18" fmla="*/ 282200 h 415741"/>
                <a:gd name="connsiteX19" fmla="*/ 234327 w 264562"/>
                <a:gd name="connsiteY19" fmla="*/ 279681 h 415741"/>
                <a:gd name="connsiteX20" fmla="*/ 233067 w 264562"/>
                <a:gd name="connsiteY20" fmla="*/ 278421 h 415741"/>
                <a:gd name="connsiteX21" fmla="*/ 229288 w 264562"/>
                <a:gd name="connsiteY21" fmla="*/ 270862 h 415741"/>
                <a:gd name="connsiteX22" fmla="*/ 229288 w 264562"/>
                <a:gd name="connsiteY22" fmla="*/ 270862 h 415741"/>
                <a:gd name="connsiteX23" fmla="*/ 225508 w 264562"/>
                <a:gd name="connsiteY23" fmla="*/ 264563 h 415741"/>
                <a:gd name="connsiteX24" fmla="*/ 224249 w 264562"/>
                <a:gd name="connsiteY24" fmla="*/ 262043 h 415741"/>
                <a:gd name="connsiteX25" fmla="*/ 220469 w 264562"/>
                <a:gd name="connsiteY25" fmla="*/ 257004 h 415741"/>
                <a:gd name="connsiteX26" fmla="*/ 219209 w 264562"/>
                <a:gd name="connsiteY26" fmla="*/ 255744 h 415741"/>
                <a:gd name="connsiteX27" fmla="*/ 219209 w 264562"/>
                <a:gd name="connsiteY27" fmla="*/ 255744 h 415741"/>
                <a:gd name="connsiteX28" fmla="*/ 219209 w 264562"/>
                <a:gd name="connsiteY28" fmla="*/ 255744 h 415741"/>
                <a:gd name="connsiteX29" fmla="*/ 216690 w 264562"/>
                <a:gd name="connsiteY29" fmla="*/ 253224 h 415741"/>
                <a:gd name="connsiteX30" fmla="*/ 216690 w 264562"/>
                <a:gd name="connsiteY30" fmla="*/ 253224 h 415741"/>
                <a:gd name="connsiteX31" fmla="*/ 216690 w 264562"/>
                <a:gd name="connsiteY31" fmla="*/ 253224 h 415741"/>
                <a:gd name="connsiteX32" fmla="*/ 216690 w 264562"/>
                <a:gd name="connsiteY32" fmla="*/ 253224 h 415741"/>
                <a:gd name="connsiteX33" fmla="*/ 216690 w 264562"/>
                <a:gd name="connsiteY33" fmla="*/ 253224 h 415741"/>
                <a:gd name="connsiteX34" fmla="*/ 210390 w 264562"/>
                <a:gd name="connsiteY34" fmla="*/ 240626 h 415741"/>
                <a:gd name="connsiteX35" fmla="*/ 206611 w 264562"/>
                <a:gd name="connsiteY35" fmla="*/ 235587 h 415741"/>
                <a:gd name="connsiteX36" fmla="*/ 206611 w 264562"/>
                <a:gd name="connsiteY36" fmla="*/ 235587 h 415741"/>
                <a:gd name="connsiteX37" fmla="*/ 206611 w 264562"/>
                <a:gd name="connsiteY37" fmla="*/ 235587 h 415741"/>
                <a:gd name="connsiteX38" fmla="*/ 205351 w 264562"/>
                <a:gd name="connsiteY38" fmla="*/ 234327 h 415741"/>
                <a:gd name="connsiteX39" fmla="*/ 205351 w 264562"/>
                <a:gd name="connsiteY39" fmla="*/ 233067 h 415741"/>
                <a:gd name="connsiteX40" fmla="*/ 202832 w 264562"/>
                <a:gd name="connsiteY40" fmla="*/ 229288 h 415741"/>
                <a:gd name="connsiteX41" fmla="*/ 200312 w 264562"/>
                <a:gd name="connsiteY41" fmla="*/ 224249 h 415741"/>
                <a:gd name="connsiteX42" fmla="*/ 191493 w 264562"/>
                <a:gd name="connsiteY42" fmla="*/ 210390 h 415741"/>
                <a:gd name="connsiteX43" fmla="*/ 188973 w 264562"/>
                <a:gd name="connsiteY43" fmla="*/ 206611 h 415741"/>
                <a:gd name="connsiteX44" fmla="*/ 181414 w 264562"/>
                <a:gd name="connsiteY44" fmla="*/ 196532 h 415741"/>
                <a:gd name="connsiteX45" fmla="*/ 181414 w 264562"/>
                <a:gd name="connsiteY45" fmla="*/ 196532 h 415741"/>
                <a:gd name="connsiteX46" fmla="*/ 180155 w 264562"/>
                <a:gd name="connsiteY46" fmla="*/ 195273 h 415741"/>
                <a:gd name="connsiteX47" fmla="*/ 176375 w 264562"/>
                <a:gd name="connsiteY47" fmla="*/ 191493 h 415741"/>
                <a:gd name="connsiteX48" fmla="*/ 173856 w 264562"/>
                <a:gd name="connsiteY48" fmla="*/ 188974 h 415741"/>
                <a:gd name="connsiteX49" fmla="*/ 173856 w 264562"/>
                <a:gd name="connsiteY49" fmla="*/ 188974 h 415741"/>
                <a:gd name="connsiteX50" fmla="*/ 171336 w 264562"/>
                <a:gd name="connsiteY50" fmla="*/ 185194 h 415741"/>
                <a:gd name="connsiteX51" fmla="*/ 170076 w 264562"/>
                <a:gd name="connsiteY51" fmla="*/ 182674 h 415741"/>
                <a:gd name="connsiteX52" fmla="*/ 168816 w 264562"/>
                <a:gd name="connsiteY52" fmla="*/ 180155 h 415741"/>
                <a:gd name="connsiteX53" fmla="*/ 168816 w 264562"/>
                <a:gd name="connsiteY53" fmla="*/ 178895 h 415741"/>
                <a:gd name="connsiteX54" fmla="*/ 167557 w 264562"/>
                <a:gd name="connsiteY54" fmla="*/ 176375 h 415741"/>
                <a:gd name="connsiteX55" fmla="*/ 166297 w 264562"/>
                <a:gd name="connsiteY55" fmla="*/ 175115 h 415741"/>
                <a:gd name="connsiteX56" fmla="*/ 154958 w 264562"/>
                <a:gd name="connsiteY56" fmla="*/ 159998 h 415741"/>
                <a:gd name="connsiteX57" fmla="*/ 153698 w 264562"/>
                <a:gd name="connsiteY57" fmla="*/ 157478 h 415741"/>
                <a:gd name="connsiteX58" fmla="*/ 142360 w 264562"/>
                <a:gd name="connsiteY58" fmla="*/ 137321 h 415741"/>
                <a:gd name="connsiteX59" fmla="*/ 138581 w 264562"/>
                <a:gd name="connsiteY59" fmla="*/ 131022 h 415741"/>
                <a:gd name="connsiteX60" fmla="*/ 137321 w 264562"/>
                <a:gd name="connsiteY60" fmla="*/ 127242 h 415741"/>
                <a:gd name="connsiteX61" fmla="*/ 133541 w 264562"/>
                <a:gd name="connsiteY61" fmla="*/ 120943 h 415741"/>
                <a:gd name="connsiteX62" fmla="*/ 132281 w 264562"/>
                <a:gd name="connsiteY62" fmla="*/ 117164 h 415741"/>
                <a:gd name="connsiteX63" fmla="*/ 127242 w 264562"/>
                <a:gd name="connsiteY63" fmla="*/ 103305 h 415741"/>
                <a:gd name="connsiteX64" fmla="*/ 123463 w 264562"/>
                <a:gd name="connsiteY64" fmla="*/ 90707 h 415741"/>
                <a:gd name="connsiteX65" fmla="*/ 120943 w 264562"/>
                <a:gd name="connsiteY65" fmla="*/ 81889 h 415741"/>
                <a:gd name="connsiteX66" fmla="*/ 120943 w 264562"/>
                <a:gd name="connsiteY66" fmla="*/ 81889 h 415741"/>
                <a:gd name="connsiteX67" fmla="*/ 119683 w 264562"/>
                <a:gd name="connsiteY67" fmla="*/ 76849 h 415741"/>
                <a:gd name="connsiteX68" fmla="*/ 115904 w 264562"/>
                <a:gd name="connsiteY68" fmla="*/ 62991 h 415741"/>
                <a:gd name="connsiteX69" fmla="*/ 115904 w 264562"/>
                <a:gd name="connsiteY69" fmla="*/ 59212 h 415741"/>
                <a:gd name="connsiteX70" fmla="*/ 115904 w 264562"/>
                <a:gd name="connsiteY70" fmla="*/ 59212 h 415741"/>
                <a:gd name="connsiteX71" fmla="*/ 114644 w 264562"/>
                <a:gd name="connsiteY71" fmla="*/ 52913 h 415741"/>
                <a:gd name="connsiteX72" fmla="*/ 112124 w 264562"/>
                <a:gd name="connsiteY72" fmla="*/ 42834 h 415741"/>
                <a:gd name="connsiteX73" fmla="*/ 112124 w 264562"/>
                <a:gd name="connsiteY73" fmla="*/ 41574 h 415741"/>
                <a:gd name="connsiteX74" fmla="*/ 109605 w 264562"/>
                <a:gd name="connsiteY74" fmla="*/ 34015 h 415741"/>
                <a:gd name="connsiteX75" fmla="*/ 104565 w 264562"/>
                <a:gd name="connsiteY75" fmla="*/ 23937 h 415741"/>
                <a:gd name="connsiteX76" fmla="*/ 102046 w 264562"/>
                <a:gd name="connsiteY76" fmla="*/ 20157 h 415741"/>
                <a:gd name="connsiteX77" fmla="*/ 98266 w 264562"/>
                <a:gd name="connsiteY77" fmla="*/ 16378 h 415741"/>
                <a:gd name="connsiteX78" fmla="*/ 97006 w 264562"/>
                <a:gd name="connsiteY78" fmla="*/ 15118 h 415741"/>
                <a:gd name="connsiteX79" fmla="*/ 94487 w 264562"/>
                <a:gd name="connsiteY79" fmla="*/ 12598 h 415741"/>
                <a:gd name="connsiteX80" fmla="*/ 93227 w 264562"/>
                <a:gd name="connsiteY80" fmla="*/ 12598 h 415741"/>
                <a:gd name="connsiteX81" fmla="*/ 88188 w 264562"/>
                <a:gd name="connsiteY81" fmla="*/ 8819 h 415741"/>
                <a:gd name="connsiteX82" fmla="*/ 88188 w 264562"/>
                <a:gd name="connsiteY82" fmla="*/ 8819 h 415741"/>
                <a:gd name="connsiteX83" fmla="*/ 78109 w 264562"/>
                <a:gd name="connsiteY83" fmla="*/ 3780 h 415741"/>
                <a:gd name="connsiteX84" fmla="*/ 68030 w 264562"/>
                <a:gd name="connsiteY84" fmla="*/ 1260 h 415741"/>
                <a:gd name="connsiteX85" fmla="*/ 66771 w 264562"/>
                <a:gd name="connsiteY85" fmla="*/ 1260 h 415741"/>
                <a:gd name="connsiteX86" fmla="*/ 50393 w 264562"/>
                <a:gd name="connsiteY86" fmla="*/ 0 h 415741"/>
                <a:gd name="connsiteX87" fmla="*/ 47873 w 264562"/>
                <a:gd name="connsiteY87" fmla="*/ 0 h 415741"/>
                <a:gd name="connsiteX88" fmla="*/ 35275 w 264562"/>
                <a:gd name="connsiteY88" fmla="*/ 2520 h 415741"/>
                <a:gd name="connsiteX89" fmla="*/ 31496 w 264562"/>
                <a:gd name="connsiteY89" fmla="*/ 3780 h 415741"/>
                <a:gd name="connsiteX90" fmla="*/ 27716 w 264562"/>
                <a:gd name="connsiteY90" fmla="*/ 5039 h 415741"/>
                <a:gd name="connsiteX91" fmla="*/ 21417 w 264562"/>
                <a:gd name="connsiteY91" fmla="*/ 10079 h 415741"/>
                <a:gd name="connsiteX92" fmla="*/ 16378 w 264562"/>
                <a:gd name="connsiteY92" fmla="*/ 15118 h 415741"/>
                <a:gd name="connsiteX93" fmla="*/ 15118 w 264562"/>
                <a:gd name="connsiteY93" fmla="*/ 16378 h 415741"/>
                <a:gd name="connsiteX94" fmla="*/ 15118 w 264562"/>
                <a:gd name="connsiteY94" fmla="*/ 16378 h 415741"/>
                <a:gd name="connsiteX95" fmla="*/ 13858 w 264562"/>
                <a:gd name="connsiteY95" fmla="*/ 17637 h 415741"/>
                <a:gd name="connsiteX96" fmla="*/ 12598 w 264562"/>
                <a:gd name="connsiteY96" fmla="*/ 20157 h 415741"/>
                <a:gd name="connsiteX97" fmla="*/ 12598 w 264562"/>
                <a:gd name="connsiteY97" fmla="*/ 20157 h 415741"/>
                <a:gd name="connsiteX98" fmla="*/ 12598 w 264562"/>
                <a:gd name="connsiteY98" fmla="*/ 20157 h 415741"/>
                <a:gd name="connsiteX99" fmla="*/ 7559 w 264562"/>
                <a:gd name="connsiteY99" fmla="*/ 27716 h 415741"/>
                <a:gd name="connsiteX100" fmla="*/ 3780 w 264562"/>
                <a:gd name="connsiteY100" fmla="*/ 36535 h 415741"/>
                <a:gd name="connsiteX101" fmla="*/ 1260 w 264562"/>
                <a:gd name="connsiteY101" fmla="*/ 45354 h 415741"/>
                <a:gd name="connsiteX102" fmla="*/ 0 w 264562"/>
                <a:gd name="connsiteY102" fmla="*/ 51653 h 415741"/>
                <a:gd name="connsiteX103" fmla="*/ 0 w 264562"/>
                <a:gd name="connsiteY103" fmla="*/ 52913 h 415741"/>
                <a:gd name="connsiteX104" fmla="*/ 0 w 264562"/>
                <a:gd name="connsiteY104" fmla="*/ 55432 h 415741"/>
                <a:gd name="connsiteX105" fmla="*/ 0 w 264562"/>
                <a:gd name="connsiteY105" fmla="*/ 55432 h 415741"/>
                <a:gd name="connsiteX106" fmla="*/ 0 w 264562"/>
                <a:gd name="connsiteY106" fmla="*/ 55432 h 415741"/>
                <a:gd name="connsiteX107" fmla="*/ 0 w 264562"/>
                <a:gd name="connsiteY107" fmla="*/ 55432 h 415741"/>
                <a:gd name="connsiteX108" fmla="*/ 0 w 264562"/>
                <a:gd name="connsiteY108" fmla="*/ 55432 h 415741"/>
                <a:gd name="connsiteX109" fmla="*/ 0 w 264562"/>
                <a:gd name="connsiteY109" fmla="*/ 57952 h 415741"/>
                <a:gd name="connsiteX110" fmla="*/ 0 w 264562"/>
                <a:gd name="connsiteY110" fmla="*/ 61731 h 415741"/>
                <a:gd name="connsiteX111" fmla="*/ 0 w 264562"/>
                <a:gd name="connsiteY111" fmla="*/ 62991 h 415741"/>
                <a:gd name="connsiteX112" fmla="*/ 0 w 264562"/>
                <a:gd name="connsiteY112" fmla="*/ 66771 h 415741"/>
                <a:gd name="connsiteX113" fmla="*/ 0 w 264562"/>
                <a:gd name="connsiteY113" fmla="*/ 78109 h 415741"/>
                <a:gd name="connsiteX114" fmla="*/ 0 w 264562"/>
                <a:gd name="connsiteY114" fmla="*/ 81889 h 415741"/>
                <a:gd name="connsiteX115" fmla="*/ 0 w 264562"/>
                <a:gd name="connsiteY115" fmla="*/ 88188 h 415741"/>
                <a:gd name="connsiteX116" fmla="*/ 0 w 264562"/>
                <a:gd name="connsiteY116" fmla="*/ 93227 h 415741"/>
                <a:gd name="connsiteX117" fmla="*/ 0 w 264562"/>
                <a:gd name="connsiteY117" fmla="*/ 94487 h 415741"/>
                <a:gd name="connsiteX118" fmla="*/ 0 w 264562"/>
                <a:gd name="connsiteY118" fmla="*/ 95746 h 415741"/>
                <a:gd name="connsiteX119" fmla="*/ 0 w 264562"/>
                <a:gd name="connsiteY119" fmla="*/ 99526 h 415741"/>
                <a:gd name="connsiteX120" fmla="*/ 0 w 264562"/>
                <a:gd name="connsiteY120" fmla="*/ 100786 h 415741"/>
                <a:gd name="connsiteX121" fmla="*/ 1260 w 264562"/>
                <a:gd name="connsiteY121" fmla="*/ 109605 h 415741"/>
                <a:gd name="connsiteX122" fmla="*/ 2520 w 264562"/>
                <a:gd name="connsiteY122" fmla="*/ 114644 h 415741"/>
                <a:gd name="connsiteX123" fmla="*/ 3780 w 264562"/>
                <a:gd name="connsiteY123" fmla="*/ 119683 h 415741"/>
                <a:gd name="connsiteX124" fmla="*/ 3780 w 264562"/>
                <a:gd name="connsiteY124" fmla="*/ 120943 h 415741"/>
                <a:gd name="connsiteX125" fmla="*/ 7559 w 264562"/>
                <a:gd name="connsiteY125" fmla="*/ 141100 h 415741"/>
                <a:gd name="connsiteX126" fmla="*/ 8819 w 264562"/>
                <a:gd name="connsiteY126" fmla="*/ 143620 h 415741"/>
                <a:gd name="connsiteX127" fmla="*/ 8819 w 264562"/>
                <a:gd name="connsiteY127" fmla="*/ 143620 h 415741"/>
                <a:gd name="connsiteX128" fmla="*/ 10079 w 264562"/>
                <a:gd name="connsiteY128" fmla="*/ 149919 h 415741"/>
                <a:gd name="connsiteX129" fmla="*/ 10079 w 264562"/>
                <a:gd name="connsiteY129" fmla="*/ 151179 h 415741"/>
                <a:gd name="connsiteX130" fmla="*/ 12598 w 264562"/>
                <a:gd name="connsiteY130" fmla="*/ 159998 h 415741"/>
                <a:gd name="connsiteX131" fmla="*/ 18897 w 264562"/>
                <a:gd name="connsiteY131" fmla="*/ 180155 h 415741"/>
                <a:gd name="connsiteX132" fmla="*/ 26456 w 264562"/>
                <a:gd name="connsiteY132" fmla="*/ 200312 h 415741"/>
                <a:gd name="connsiteX133" fmla="*/ 27716 w 264562"/>
                <a:gd name="connsiteY133" fmla="*/ 202831 h 415741"/>
                <a:gd name="connsiteX134" fmla="*/ 27716 w 264562"/>
                <a:gd name="connsiteY134" fmla="*/ 202831 h 415741"/>
                <a:gd name="connsiteX135" fmla="*/ 30236 w 264562"/>
                <a:gd name="connsiteY135" fmla="*/ 209131 h 415741"/>
                <a:gd name="connsiteX136" fmla="*/ 35275 w 264562"/>
                <a:gd name="connsiteY136" fmla="*/ 219209 h 415741"/>
                <a:gd name="connsiteX137" fmla="*/ 36535 w 264562"/>
                <a:gd name="connsiteY137" fmla="*/ 221729 h 415741"/>
                <a:gd name="connsiteX138" fmla="*/ 40314 w 264562"/>
                <a:gd name="connsiteY138" fmla="*/ 229288 h 415741"/>
                <a:gd name="connsiteX139" fmla="*/ 44094 w 264562"/>
                <a:gd name="connsiteY139" fmla="*/ 236847 h 415741"/>
                <a:gd name="connsiteX140" fmla="*/ 45354 w 264562"/>
                <a:gd name="connsiteY140" fmla="*/ 239366 h 415741"/>
                <a:gd name="connsiteX141" fmla="*/ 54172 w 264562"/>
                <a:gd name="connsiteY141" fmla="*/ 258264 h 415741"/>
                <a:gd name="connsiteX142" fmla="*/ 59212 w 264562"/>
                <a:gd name="connsiteY142" fmla="*/ 268342 h 415741"/>
                <a:gd name="connsiteX143" fmla="*/ 64251 w 264562"/>
                <a:gd name="connsiteY143" fmla="*/ 275901 h 415741"/>
                <a:gd name="connsiteX144" fmla="*/ 64251 w 264562"/>
                <a:gd name="connsiteY144" fmla="*/ 275901 h 415741"/>
                <a:gd name="connsiteX145" fmla="*/ 65511 w 264562"/>
                <a:gd name="connsiteY145" fmla="*/ 277161 h 415741"/>
                <a:gd name="connsiteX146" fmla="*/ 65511 w 264562"/>
                <a:gd name="connsiteY146" fmla="*/ 278421 h 415741"/>
                <a:gd name="connsiteX147" fmla="*/ 76849 w 264562"/>
                <a:gd name="connsiteY147" fmla="*/ 296058 h 415741"/>
                <a:gd name="connsiteX148" fmla="*/ 81889 w 264562"/>
                <a:gd name="connsiteY148" fmla="*/ 303617 h 415741"/>
                <a:gd name="connsiteX149" fmla="*/ 81889 w 264562"/>
                <a:gd name="connsiteY149" fmla="*/ 303617 h 415741"/>
                <a:gd name="connsiteX150" fmla="*/ 81889 w 264562"/>
                <a:gd name="connsiteY150" fmla="*/ 303617 h 415741"/>
                <a:gd name="connsiteX151" fmla="*/ 88188 w 264562"/>
                <a:gd name="connsiteY151" fmla="*/ 313696 h 415741"/>
                <a:gd name="connsiteX152" fmla="*/ 93227 w 264562"/>
                <a:gd name="connsiteY152" fmla="*/ 321255 h 415741"/>
                <a:gd name="connsiteX153" fmla="*/ 99526 w 264562"/>
                <a:gd name="connsiteY153" fmla="*/ 330074 h 415741"/>
                <a:gd name="connsiteX154" fmla="*/ 112124 w 264562"/>
                <a:gd name="connsiteY154" fmla="*/ 346451 h 415741"/>
                <a:gd name="connsiteX155" fmla="*/ 114644 w 264562"/>
                <a:gd name="connsiteY155" fmla="*/ 350231 h 415741"/>
                <a:gd name="connsiteX156" fmla="*/ 123463 w 264562"/>
                <a:gd name="connsiteY156" fmla="*/ 362829 h 415741"/>
                <a:gd name="connsiteX157" fmla="*/ 128502 w 264562"/>
                <a:gd name="connsiteY157" fmla="*/ 370388 h 415741"/>
                <a:gd name="connsiteX158" fmla="*/ 133541 w 264562"/>
                <a:gd name="connsiteY158" fmla="*/ 376687 h 415741"/>
                <a:gd name="connsiteX159" fmla="*/ 134801 w 264562"/>
                <a:gd name="connsiteY159" fmla="*/ 377947 h 415741"/>
                <a:gd name="connsiteX160" fmla="*/ 137321 w 264562"/>
                <a:gd name="connsiteY160" fmla="*/ 381727 h 415741"/>
                <a:gd name="connsiteX161" fmla="*/ 137321 w 264562"/>
                <a:gd name="connsiteY161" fmla="*/ 381727 h 415741"/>
                <a:gd name="connsiteX162" fmla="*/ 148659 w 264562"/>
                <a:gd name="connsiteY162" fmla="*/ 394325 h 415741"/>
                <a:gd name="connsiteX163" fmla="*/ 152439 w 264562"/>
                <a:gd name="connsiteY163" fmla="*/ 398104 h 415741"/>
                <a:gd name="connsiteX164" fmla="*/ 153698 w 264562"/>
                <a:gd name="connsiteY164" fmla="*/ 399364 h 415741"/>
                <a:gd name="connsiteX165" fmla="*/ 156218 w 264562"/>
                <a:gd name="connsiteY165" fmla="*/ 401884 h 415741"/>
                <a:gd name="connsiteX166" fmla="*/ 156218 w 264562"/>
                <a:gd name="connsiteY166" fmla="*/ 401884 h 415741"/>
                <a:gd name="connsiteX167" fmla="*/ 163777 w 264562"/>
                <a:gd name="connsiteY167" fmla="*/ 406923 h 415741"/>
                <a:gd name="connsiteX168" fmla="*/ 166297 w 264562"/>
                <a:gd name="connsiteY168" fmla="*/ 409443 h 415741"/>
                <a:gd name="connsiteX169" fmla="*/ 167557 w 264562"/>
                <a:gd name="connsiteY169" fmla="*/ 410702 h 415741"/>
                <a:gd name="connsiteX170" fmla="*/ 167557 w 264562"/>
                <a:gd name="connsiteY170" fmla="*/ 410702 h 415741"/>
                <a:gd name="connsiteX171" fmla="*/ 171336 w 264562"/>
                <a:gd name="connsiteY171" fmla="*/ 413222 h 415741"/>
                <a:gd name="connsiteX172" fmla="*/ 177635 w 264562"/>
                <a:gd name="connsiteY172" fmla="*/ 415742 h 415741"/>
                <a:gd name="connsiteX173" fmla="*/ 181414 w 264562"/>
                <a:gd name="connsiteY173" fmla="*/ 417001 h 415741"/>
                <a:gd name="connsiteX174" fmla="*/ 182674 w 264562"/>
                <a:gd name="connsiteY174" fmla="*/ 417001 h 415741"/>
                <a:gd name="connsiteX175" fmla="*/ 188973 w 264562"/>
                <a:gd name="connsiteY175" fmla="*/ 419521 h 415741"/>
                <a:gd name="connsiteX176" fmla="*/ 197792 w 264562"/>
                <a:gd name="connsiteY176" fmla="*/ 422041 h 415741"/>
                <a:gd name="connsiteX177" fmla="*/ 210390 w 264562"/>
                <a:gd name="connsiteY177" fmla="*/ 423301 h 415741"/>
                <a:gd name="connsiteX178" fmla="*/ 215430 w 264562"/>
                <a:gd name="connsiteY178" fmla="*/ 423301 h 415741"/>
                <a:gd name="connsiteX179" fmla="*/ 216690 w 264562"/>
                <a:gd name="connsiteY179" fmla="*/ 423301 h 415741"/>
                <a:gd name="connsiteX180" fmla="*/ 221729 w 264562"/>
                <a:gd name="connsiteY180" fmla="*/ 423301 h 415741"/>
                <a:gd name="connsiteX181" fmla="*/ 222989 w 264562"/>
                <a:gd name="connsiteY181" fmla="*/ 423301 h 415741"/>
                <a:gd name="connsiteX182" fmla="*/ 228028 w 264562"/>
                <a:gd name="connsiteY182" fmla="*/ 422041 h 415741"/>
                <a:gd name="connsiteX183" fmla="*/ 234327 w 264562"/>
                <a:gd name="connsiteY183" fmla="*/ 419521 h 415741"/>
                <a:gd name="connsiteX184" fmla="*/ 239366 w 264562"/>
                <a:gd name="connsiteY184" fmla="*/ 417001 h 415741"/>
                <a:gd name="connsiteX185" fmla="*/ 245666 w 264562"/>
                <a:gd name="connsiteY185" fmla="*/ 411962 h 415741"/>
                <a:gd name="connsiteX186" fmla="*/ 249445 w 264562"/>
                <a:gd name="connsiteY186" fmla="*/ 406923 h 415741"/>
                <a:gd name="connsiteX187" fmla="*/ 251965 w 264562"/>
                <a:gd name="connsiteY187" fmla="*/ 403143 h 415741"/>
                <a:gd name="connsiteX188" fmla="*/ 255744 w 264562"/>
                <a:gd name="connsiteY188" fmla="*/ 395584 h 415741"/>
                <a:gd name="connsiteX189" fmla="*/ 255744 w 264562"/>
                <a:gd name="connsiteY189" fmla="*/ 394325 h 415741"/>
                <a:gd name="connsiteX190" fmla="*/ 255744 w 264562"/>
                <a:gd name="connsiteY190" fmla="*/ 393065 h 415741"/>
                <a:gd name="connsiteX191" fmla="*/ 257004 w 264562"/>
                <a:gd name="connsiteY191" fmla="*/ 390545 h 415741"/>
                <a:gd name="connsiteX192" fmla="*/ 257004 w 264562"/>
                <a:gd name="connsiteY192" fmla="*/ 390545 h 415741"/>
                <a:gd name="connsiteX193" fmla="*/ 259524 w 264562"/>
                <a:gd name="connsiteY193" fmla="*/ 376687 h 415741"/>
                <a:gd name="connsiteX194" fmla="*/ 259524 w 264562"/>
                <a:gd name="connsiteY194" fmla="*/ 371648 h 415741"/>
                <a:gd name="connsiteX195" fmla="*/ 259524 w 264562"/>
                <a:gd name="connsiteY195" fmla="*/ 370388 h 415741"/>
                <a:gd name="connsiteX196" fmla="*/ 259524 w 264562"/>
                <a:gd name="connsiteY196" fmla="*/ 369128 h 415741"/>
                <a:gd name="connsiteX197" fmla="*/ 259524 w 264562"/>
                <a:gd name="connsiteY197" fmla="*/ 366608 h 415741"/>
                <a:gd name="connsiteX198" fmla="*/ 265823 w 264562"/>
                <a:gd name="connsiteY198" fmla="*/ 364089 h 41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264562" h="415741">
                  <a:moveTo>
                    <a:pt x="265823" y="364089"/>
                  </a:moveTo>
                  <a:cubicBezTo>
                    <a:pt x="265823" y="362829"/>
                    <a:pt x="265823" y="362829"/>
                    <a:pt x="265823" y="361569"/>
                  </a:cubicBezTo>
                  <a:cubicBezTo>
                    <a:pt x="265823" y="359050"/>
                    <a:pt x="265823" y="356530"/>
                    <a:pt x="264563" y="354010"/>
                  </a:cubicBezTo>
                  <a:cubicBezTo>
                    <a:pt x="264563" y="352751"/>
                    <a:pt x="264563" y="352751"/>
                    <a:pt x="264563" y="351491"/>
                  </a:cubicBezTo>
                  <a:lnTo>
                    <a:pt x="264563" y="351491"/>
                  </a:lnTo>
                  <a:lnTo>
                    <a:pt x="264563" y="351491"/>
                  </a:lnTo>
                  <a:cubicBezTo>
                    <a:pt x="264563" y="350231"/>
                    <a:pt x="264563" y="348971"/>
                    <a:pt x="263303" y="346451"/>
                  </a:cubicBezTo>
                  <a:cubicBezTo>
                    <a:pt x="263303" y="346451"/>
                    <a:pt x="263303" y="346451"/>
                    <a:pt x="263303" y="345192"/>
                  </a:cubicBezTo>
                  <a:cubicBezTo>
                    <a:pt x="263303" y="343932"/>
                    <a:pt x="262043" y="342672"/>
                    <a:pt x="262043" y="341412"/>
                  </a:cubicBezTo>
                  <a:cubicBezTo>
                    <a:pt x="259524" y="335113"/>
                    <a:pt x="257004" y="328814"/>
                    <a:pt x="254484" y="322515"/>
                  </a:cubicBezTo>
                  <a:cubicBezTo>
                    <a:pt x="254484" y="322515"/>
                    <a:pt x="254484" y="321255"/>
                    <a:pt x="254484" y="321255"/>
                  </a:cubicBezTo>
                  <a:cubicBezTo>
                    <a:pt x="254484" y="319995"/>
                    <a:pt x="253225" y="319995"/>
                    <a:pt x="253225" y="318735"/>
                  </a:cubicBezTo>
                  <a:lnTo>
                    <a:pt x="253225" y="317475"/>
                  </a:lnTo>
                  <a:cubicBezTo>
                    <a:pt x="250705" y="313696"/>
                    <a:pt x="249445" y="308657"/>
                    <a:pt x="246925" y="304877"/>
                  </a:cubicBezTo>
                  <a:cubicBezTo>
                    <a:pt x="245666" y="302358"/>
                    <a:pt x="244406" y="301098"/>
                    <a:pt x="243146" y="298578"/>
                  </a:cubicBezTo>
                  <a:cubicBezTo>
                    <a:pt x="241886" y="296058"/>
                    <a:pt x="240626" y="293539"/>
                    <a:pt x="239366" y="291019"/>
                  </a:cubicBezTo>
                  <a:cubicBezTo>
                    <a:pt x="238107" y="288499"/>
                    <a:pt x="236847" y="285980"/>
                    <a:pt x="235587" y="283460"/>
                  </a:cubicBezTo>
                  <a:lnTo>
                    <a:pt x="235587" y="282200"/>
                  </a:lnTo>
                  <a:lnTo>
                    <a:pt x="235587" y="282200"/>
                  </a:lnTo>
                  <a:lnTo>
                    <a:pt x="234327" y="279681"/>
                  </a:lnTo>
                  <a:lnTo>
                    <a:pt x="233067" y="278421"/>
                  </a:lnTo>
                  <a:cubicBezTo>
                    <a:pt x="231807" y="275901"/>
                    <a:pt x="230548" y="273382"/>
                    <a:pt x="229288" y="270862"/>
                  </a:cubicBezTo>
                  <a:cubicBezTo>
                    <a:pt x="229288" y="270862"/>
                    <a:pt x="229288" y="270862"/>
                    <a:pt x="229288" y="270862"/>
                  </a:cubicBezTo>
                  <a:cubicBezTo>
                    <a:pt x="228028" y="268342"/>
                    <a:pt x="226768" y="267083"/>
                    <a:pt x="225508" y="264563"/>
                  </a:cubicBezTo>
                  <a:cubicBezTo>
                    <a:pt x="225508" y="263303"/>
                    <a:pt x="224249" y="263303"/>
                    <a:pt x="224249" y="262043"/>
                  </a:cubicBezTo>
                  <a:cubicBezTo>
                    <a:pt x="222989" y="260783"/>
                    <a:pt x="221729" y="258264"/>
                    <a:pt x="220469" y="257004"/>
                  </a:cubicBezTo>
                  <a:cubicBezTo>
                    <a:pt x="220469" y="257004"/>
                    <a:pt x="219209" y="255744"/>
                    <a:pt x="219209" y="255744"/>
                  </a:cubicBezTo>
                  <a:lnTo>
                    <a:pt x="219209" y="255744"/>
                  </a:lnTo>
                  <a:lnTo>
                    <a:pt x="219209" y="255744"/>
                  </a:lnTo>
                  <a:cubicBezTo>
                    <a:pt x="217949" y="254484"/>
                    <a:pt x="217949" y="254484"/>
                    <a:pt x="216690" y="253224"/>
                  </a:cubicBezTo>
                  <a:lnTo>
                    <a:pt x="216690" y="253224"/>
                  </a:lnTo>
                  <a:lnTo>
                    <a:pt x="216690" y="253224"/>
                  </a:lnTo>
                  <a:lnTo>
                    <a:pt x="216690" y="253224"/>
                  </a:lnTo>
                  <a:lnTo>
                    <a:pt x="216690" y="253224"/>
                  </a:lnTo>
                  <a:cubicBezTo>
                    <a:pt x="214170" y="248185"/>
                    <a:pt x="212910" y="244406"/>
                    <a:pt x="210390" y="240626"/>
                  </a:cubicBezTo>
                  <a:cubicBezTo>
                    <a:pt x="209131" y="239366"/>
                    <a:pt x="207871" y="236847"/>
                    <a:pt x="206611" y="235587"/>
                  </a:cubicBezTo>
                  <a:lnTo>
                    <a:pt x="206611" y="235587"/>
                  </a:lnTo>
                  <a:lnTo>
                    <a:pt x="206611" y="235587"/>
                  </a:lnTo>
                  <a:lnTo>
                    <a:pt x="205351" y="234327"/>
                  </a:lnTo>
                  <a:lnTo>
                    <a:pt x="205351" y="233067"/>
                  </a:lnTo>
                  <a:cubicBezTo>
                    <a:pt x="204091" y="231807"/>
                    <a:pt x="204091" y="230548"/>
                    <a:pt x="202832" y="229288"/>
                  </a:cubicBezTo>
                  <a:cubicBezTo>
                    <a:pt x="201572" y="228028"/>
                    <a:pt x="201572" y="226768"/>
                    <a:pt x="200312" y="224249"/>
                  </a:cubicBezTo>
                  <a:cubicBezTo>
                    <a:pt x="197792" y="220469"/>
                    <a:pt x="194013" y="215430"/>
                    <a:pt x="191493" y="210390"/>
                  </a:cubicBezTo>
                  <a:cubicBezTo>
                    <a:pt x="190233" y="209131"/>
                    <a:pt x="190233" y="207871"/>
                    <a:pt x="188973" y="206611"/>
                  </a:cubicBezTo>
                  <a:cubicBezTo>
                    <a:pt x="186454" y="202831"/>
                    <a:pt x="183934" y="200312"/>
                    <a:pt x="181414" y="196532"/>
                  </a:cubicBezTo>
                  <a:lnTo>
                    <a:pt x="181414" y="196532"/>
                  </a:lnTo>
                  <a:cubicBezTo>
                    <a:pt x="181414" y="196532"/>
                    <a:pt x="180155" y="195273"/>
                    <a:pt x="180155" y="195273"/>
                  </a:cubicBezTo>
                  <a:cubicBezTo>
                    <a:pt x="178895" y="194013"/>
                    <a:pt x="177635" y="192753"/>
                    <a:pt x="176375" y="191493"/>
                  </a:cubicBezTo>
                  <a:cubicBezTo>
                    <a:pt x="175115" y="190233"/>
                    <a:pt x="175115" y="188974"/>
                    <a:pt x="173856" y="188974"/>
                  </a:cubicBezTo>
                  <a:lnTo>
                    <a:pt x="173856" y="188974"/>
                  </a:lnTo>
                  <a:cubicBezTo>
                    <a:pt x="172596" y="187714"/>
                    <a:pt x="171336" y="186454"/>
                    <a:pt x="171336" y="185194"/>
                  </a:cubicBezTo>
                  <a:cubicBezTo>
                    <a:pt x="171336" y="183934"/>
                    <a:pt x="170076" y="183934"/>
                    <a:pt x="170076" y="182674"/>
                  </a:cubicBezTo>
                  <a:cubicBezTo>
                    <a:pt x="170076" y="181414"/>
                    <a:pt x="168816" y="181414"/>
                    <a:pt x="168816" y="180155"/>
                  </a:cubicBezTo>
                  <a:cubicBezTo>
                    <a:pt x="168816" y="180155"/>
                    <a:pt x="168816" y="180155"/>
                    <a:pt x="168816" y="178895"/>
                  </a:cubicBezTo>
                  <a:cubicBezTo>
                    <a:pt x="168816" y="177635"/>
                    <a:pt x="167557" y="177635"/>
                    <a:pt x="167557" y="176375"/>
                  </a:cubicBezTo>
                  <a:cubicBezTo>
                    <a:pt x="167557" y="176375"/>
                    <a:pt x="166297" y="175115"/>
                    <a:pt x="166297" y="175115"/>
                  </a:cubicBezTo>
                  <a:cubicBezTo>
                    <a:pt x="162517" y="170076"/>
                    <a:pt x="158738" y="165037"/>
                    <a:pt x="154958" y="159998"/>
                  </a:cubicBezTo>
                  <a:cubicBezTo>
                    <a:pt x="154958" y="158738"/>
                    <a:pt x="153698" y="158738"/>
                    <a:pt x="153698" y="157478"/>
                  </a:cubicBezTo>
                  <a:cubicBezTo>
                    <a:pt x="149919" y="151179"/>
                    <a:pt x="146140" y="143620"/>
                    <a:pt x="142360" y="137321"/>
                  </a:cubicBezTo>
                  <a:cubicBezTo>
                    <a:pt x="141100" y="134801"/>
                    <a:pt x="139840" y="132281"/>
                    <a:pt x="138581" y="131022"/>
                  </a:cubicBezTo>
                  <a:cubicBezTo>
                    <a:pt x="138581" y="129762"/>
                    <a:pt x="137321" y="128502"/>
                    <a:pt x="137321" y="127242"/>
                  </a:cubicBezTo>
                  <a:cubicBezTo>
                    <a:pt x="136061" y="124722"/>
                    <a:pt x="134801" y="123463"/>
                    <a:pt x="133541" y="120943"/>
                  </a:cubicBezTo>
                  <a:cubicBezTo>
                    <a:pt x="133541" y="119683"/>
                    <a:pt x="132281" y="118423"/>
                    <a:pt x="132281" y="117164"/>
                  </a:cubicBezTo>
                  <a:cubicBezTo>
                    <a:pt x="131022" y="113384"/>
                    <a:pt x="128502" y="108345"/>
                    <a:pt x="127242" y="103305"/>
                  </a:cubicBezTo>
                  <a:cubicBezTo>
                    <a:pt x="125982" y="99526"/>
                    <a:pt x="124722" y="94487"/>
                    <a:pt x="123463" y="90707"/>
                  </a:cubicBezTo>
                  <a:cubicBezTo>
                    <a:pt x="122203" y="88188"/>
                    <a:pt x="122203" y="84408"/>
                    <a:pt x="120943" y="81889"/>
                  </a:cubicBezTo>
                  <a:lnTo>
                    <a:pt x="120943" y="81889"/>
                  </a:lnTo>
                  <a:cubicBezTo>
                    <a:pt x="120943" y="80629"/>
                    <a:pt x="119683" y="78109"/>
                    <a:pt x="119683" y="76849"/>
                  </a:cubicBezTo>
                  <a:cubicBezTo>
                    <a:pt x="118423" y="73070"/>
                    <a:pt x="117164" y="68030"/>
                    <a:pt x="115904" y="62991"/>
                  </a:cubicBezTo>
                  <a:cubicBezTo>
                    <a:pt x="115904" y="61731"/>
                    <a:pt x="115904" y="60472"/>
                    <a:pt x="115904" y="59212"/>
                  </a:cubicBezTo>
                  <a:lnTo>
                    <a:pt x="115904" y="59212"/>
                  </a:lnTo>
                  <a:cubicBezTo>
                    <a:pt x="115904" y="56692"/>
                    <a:pt x="115904" y="55432"/>
                    <a:pt x="114644" y="52913"/>
                  </a:cubicBezTo>
                  <a:cubicBezTo>
                    <a:pt x="114644" y="49133"/>
                    <a:pt x="113384" y="46613"/>
                    <a:pt x="112124" y="42834"/>
                  </a:cubicBezTo>
                  <a:lnTo>
                    <a:pt x="112124" y="41574"/>
                  </a:lnTo>
                  <a:cubicBezTo>
                    <a:pt x="112124" y="39054"/>
                    <a:pt x="110864" y="36535"/>
                    <a:pt x="109605" y="34015"/>
                  </a:cubicBezTo>
                  <a:cubicBezTo>
                    <a:pt x="108345" y="30236"/>
                    <a:pt x="105825" y="26456"/>
                    <a:pt x="104565" y="23937"/>
                  </a:cubicBezTo>
                  <a:cubicBezTo>
                    <a:pt x="103305" y="22677"/>
                    <a:pt x="103305" y="21417"/>
                    <a:pt x="102046" y="20157"/>
                  </a:cubicBezTo>
                  <a:cubicBezTo>
                    <a:pt x="100786" y="18897"/>
                    <a:pt x="99526" y="17637"/>
                    <a:pt x="98266" y="16378"/>
                  </a:cubicBezTo>
                  <a:cubicBezTo>
                    <a:pt x="98266" y="16378"/>
                    <a:pt x="98266" y="16378"/>
                    <a:pt x="97006" y="15118"/>
                  </a:cubicBezTo>
                  <a:cubicBezTo>
                    <a:pt x="95747" y="13858"/>
                    <a:pt x="95747" y="13858"/>
                    <a:pt x="94487" y="12598"/>
                  </a:cubicBezTo>
                  <a:cubicBezTo>
                    <a:pt x="94487" y="12598"/>
                    <a:pt x="94487" y="12598"/>
                    <a:pt x="93227" y="12598"/>
                  </a:cubicBezTo>
                  <a:cubicBezTo>
                    <a:pt x="91967" y="11338"/>
                    <a:pt x="89448" y="10079"/>
                    <a:pt x="88188" y="8819"/>
                  </a:cubicBezTo>
                  <a:lnTo>
                    <a:pt x="88188" y="8819"/>
                  </a:lnTo>
                  <a:cubicBezTo>
                    <a:pt x="85668" y="7559"/>
                    <a:pt x="81889" y="5039"/>
                    <a:pt x="78109" y="3780"/>
                  </a:cubicBezTo>
                  <a:cubicBezTo>
                    <a:pt x="74329" y="2520"/>
                    <a:pt x="71810" y="1260"/>
                    <a:pt x="68030" y="1260"/>
                  </a:cubicBezTo>
                  <a:cubicBezTo>
                    <a:pt x="68030" y="1260"/>
                    <a:pt x="66771" y="1260"/>
                    <a:pt x="66771" y="1260"/>
                  </a:cubicBezTo>
                  <a:cubicBezTo>
                    <a:pt x="61731" y="0"/>
                    <a:pt x="55432" y="0"/>
                    <a:pt x="50393" y="0"/>
                  </a:cubicBezTo>
                  <a:cubicBezTo>
                    <a:pt x="49133" y="0"/>
                    <a:pt x="49133" y="0"/>
                    <a:pt x="47873" y="0"/>
                  </a:cubicBezTo>
                  <a:cubicBezTo>
                    <a:pt x="44094" y="0"/>
                    <a:pt x="39055" y="1260"/>
                    <a:pt x="35275" y="2520"/>
                  </a:cubicBezTo>
                  <a:cubicBezTo>
                    <a:pt x="34015" y="2520"/>
                    <a:pt x="32755" y="3780"/>
                    <a:pt x="31496" y="3780"/>
                  </a:cubicBezTo>
                  <a:cubicBezTo>
                    <a:pt x="30236" y="3780"/>
                    <a:pt x="28976" y="5039"/>
                    <a:pt x="27716" y="5039"/>
                  </a:cubicBezTo>
                  <a:cubicBezTo>
                    <a:pt x="25196" y="6299"/>
                    <a:pt x="22677" y="8819"/>
                    <a:pt x="21417" y="10079"/>
                  </a:cubicBezTo>
                  <a:cubicBezTo>
                    <a:pt x="20157" y="11338"/>
                    <a:pt x="18897" y="13858"/>
                    <a:pt x="16378" y="15118"/>
                  </a:cubicBezTo>
                  <a:cubicBezTo>
                    <a:pt x="16378" y="15118"/>
                    <a:pt x="16378" y="16378"/>
                    <a:pt x="15118" y="16378"/>
                  </a:cubicBezTo>
                  <a:cubicBezTo>
                    <a:pt x="15118" y="16378"/>
                    <a:pt x="15118" y="16378"/>
                    <a:pt x="15118" y="16378"/>
                  </a:cubicBezTo>
                  <a:cubicBezTo>
                    <a:pt x="15118" y="16378"/>
                    <a:pt x="13858" y="17637"/>
                    <a:pt x="13858" y="17637"/>
                  </a:cubicBezTo>
                  <a:cubicBezTo>
                    <a:pt x="13858" y="18897"/>
                    <a:pt x="12598" y="18897"/>
                    <a:pt x="12598" y="20157"/>
                  </a:cubicBezTo>
                  <a:lnTo>
                    <a:pt x="12598" y="20157"/>
                  </a:lnTo>
                  <a:cubicBezTo>
                    <a:pt x="12598" y="20157"/>
                    <a:pt x="12598" y="20157"/>
                    <a:pt x="12598" y="20157"/>
                  </a:cubicBezTo>
                  <a:cubicBezTo>
                    <a:pt x="11338" y="22677"/>
                    <a:pt x="8819" y="23937"/>
                    <a:pt x="7559" y="27716"/>
                  </a:cubicBezTo>
                  <a:cubicBezTo>
                    <a:pt x="6299" y="30236"/>
                    <a:pt x="5039" y="32755"/>
                    <a:pt x="3780" y="36535"/>
                  </a:cubicBezTo>
                  <a:cubicBezTo>
                    <a:pt x="2520" y="39054"/>
                    <a:pt x="2520" y="42834"/>
                    <a:pt x="1260" y="45354"/>
                  </a:cubicBezTo>
                  <a:cubicBezTo>
                    <a:pt x="1260" y="47873"/>
                    <a:pt x="0" y="50393"/>
                    <a:pt x="0" y="51653"/>
                  </a:cubicBezTo>
                  <a:lnTo>
                    <a:pt x="0" y="52913"/>
                  </a:lnTo>
                  <a:cubicBezTo>
                    <a:pt x="0" y="54172"/>
                    <a:pt x="0" y="54172"/>
                    <a:pt x="0" y="55432"/>
                  </a:cubicBezTo>
                  <a:lnTo>
                    <a:pt x="0" y="55432"/>
                  </a:lnTo>
                  <a:lnTo>
                    <a:pt x="0" y="55432"/>
                  </a:lnTo>
                  <a:lnTo>
                    <a:pt x="0" y="55432"/>
                  </a:lnTo>
                  <a:lnTo>
                    <a:pt x="0" y="55432"/>
                  </a:lnTo>
                  <a:cubicBezTo>
                    <a:pt x="0" y="56692"/>
                    <a:pt x="0" y="56692"/>
                    <a:pt x="0" y="57952"/>
                  </a:cubicBezTo>
                  <a:cubicBezTo>
                    <a:pt x="0" y="59212"/>
                    <a:pt x="0" y="60472"/>
                    <a:pt x="0" y="61731"/>
                  </a:cubicBezTo>
                  <a:cubicBezTo>
                    <a:pt x="0" y="61731"/>
                    <a:pt x="0" y="61731"/>
                    <a:pt x="0" y="62991"/>
                  </a:cubicBezTo>
                  <a:cubicBezTo>
                    <a:pt x="0" y="64251"/>
                    <a:pt x="0" y="65511"/>
                    <a:pt x="0" y="66771"/>
                  </a:cubicBezTo>
                  <a:cubicBezTo>
                    <a:pt x="0" y="70550"/>
                    <a:pt x="0" y="74330"/>
                    <a:pt x="0" y="78109"/>
                  </a:cubicBezTo>
                  <a:cubicBezTo>
                    <a:pt x="0" y="79369"/>
                    <a:pt x="0" y="80629"/>
                    <a:pt x="0" y="81889"/>
                  </a:cubicBezTo>
                  <a:cubicBezTo>
                    <a:pt x="0" y="84408"/>
                    <a:pt x="0" y="86928"/>
                    <a:pt x="0" y="88188"/>
                  </a:cubicBezTo>
                  <a:cubicBezTo>
                    <a:pt x="0" y="89447"/>
                    <a:pt x="0" y="90707"/>
                    <a:pt x="0" y="93227"/>
                  </a:cubicBezTo>
                  <a:lnTo>
                    <a:pt x="0" y="94487"/>
                  </a:lnTo>
                  <a:lnTo>
                    <a:pt x="0" y="95746"/>
                  </a:lnTo>
                  <a:cubicBezTo>
                    <a:pt x="0" y="97006"/>
                    <a:pt x="0" y="98266"/>
                    <a:pt x="0" y="99526"/>
                  </a:cubicBezTo>
                  <a:lnTo>
                    <a:pt x="0" y="100786"/>
                  </a:lnTo>
                  <a:cubicBezTo>
                    <a:pt x="0" y="103305"/>
                    <a:pt x="0" y="107085"/>
                    <a:pt x="1260" y="109605"/>
                  </a:cubicBezTo>
                  <a:cubicBezTo>
                    <a:pt x="1260" y="110864"/>
                    <a:pt x="1260" y="113384"/>
                    <a:pt x="2520" y="114644"/>
                  </a:cubicBezTo>
                  <a:cubicBezTo>
                    <a:pt x="2520" y="115904"/>
                    <a:pt x="2520" y="118423"/>
                    <a:pt x="3780" y="119683"/>
                  </a:cubicBezTo>
                  <a:lnTo>
                    <a:pt x="3780" y="120943"/>
                  </a:lnTo>
                  <a:cubicBezTo>
                    <a:pt x="5039" y="127242"/>
                    <a:pt x="6299" y="134801"/>
                    <a:pt x="7559" y="141100"/>
                  </a:cubicBezTo>
                  <a:cubicBezTo>
                    <a:pt x="7559" y="142360"/>
                    <a:pt x="7559" y="143620"/>
                    <a:pt x="8819" y="143620"/>
                  </a:cubicBezTo>
                  <a:lnTo>
                    <a:pt x="8819" y="143620"/>
                  </a:lnTo>
                  <a:cubicBezTo>
                    <a:pt x="8819" y="146139"/>
                    <a:pt x="10079" y="147399"/>
                    <a:pt x="10079" y="149919"/>
                  </a:cubicBezTo>
                  <a:lnTo>
                    <a:pt x="10079" y="151179"/>
                  </a:lnTo>
                  <a:cubicBezTo>
                    <a:pt x="10079" y="153698"/>
                    <a:pt x="11338" y="156218"/>
                    <a:pt x="12598" y="159998"/>
                  </a:cubicBezTo>
                  <a:cubicBezTo>
                    <a:pt x="13858" y="166297"/>
                    <a:pt x="16378" y="173856"/>
                    <a:pt x="18897" y="180155"/>
                  </a:cubicBezTo>
                  <a:cubicBezTo>
                    <a:pt x="21417" y="186454"/>
                    <a:pt x="23937" y="192753"/>
                    <a:pt x="26456" y="200312"/>
                  </a:cubicBezTo>
                  <a:cubicBezTo>
                    <a:pt x="26456" y="201572"/>
                    <a:pt x="27716" y="201572"/>
                    <a:pt x="27716" y="202831"/>
                  </a:cubicBezTo>
                  <a:lnTo>
                    <a:pt x="27716" y="202831"/>
                  </a:lnTo>
                  <a:cubicBezTo>
                    <a:pt x="28976" y="205351"/>
                    <a:pt x="28976" y="206611"/>
                    <a:pt x="30236" y="209131"/>
                  </a:cubicBezTo>
                  <a:cubicBezTo>
                    <a:pt x="31496" y="212910"/>
                    <a:pt x="34015" y="216690"/>
                    <a:pt x="35275" y="219209"/>
                  </a:cubicBezTo>
                  <a:lnTo>
                    <a:pt x="36535" y="221729"/>
                  </a:lnTo>
                  <a:cubicBezTo>
                    <a:pt x="37795" y="224249"/>
                    <a:pt x="39055" y="226768"/>
                    <a:pt x="40314" y="229288"/>
                  </a:cubicBezTo>
                  <a:cubicBezTo>
                    <a:pt x="41574" y="231807"/>
                    <a:pt x="42834" y="234327"/>
                    <a:pt x="44094" y="236847"/>
                  </a:cubicBezTo>
                  <a:lnTo>
                    <a:pt x="45354" y="239366"/>
                  </a:lnTo>
                  <a:cubicBezTo>
                    <a:pt x="47873" y="244406"/>
                    <a:pt x="50393" y="250705"/>
                    <a:pt x="54172" y="258264"/>
                  </a:cubicBezTo>
                  <a:cubicBezTo>
                    <a:pt x="55432" y="262043"/>
                    <a:pt x="57952" y="265823"/>
                    <a:pt x="59212" y="268342"/>
                  </a:cubicBezTo>
                  <a:cubicBezTo>
                    <a:pt x="60472" y="270862"/>
                    <a:pt x="61731" y="273382"/>
                    <a:pt x="64251" y="275901"/>
                  </a:cubicBezTo>
                  <a:lnTo>
                    <a:pt x="64251" y="275901"/>
                  </a:lnTo>
                  <a:lnTo>
                    <a:pt x="65511" y="277161"/>
                  </a:lnTo>
                  <a:lnTo>
                    <a:pt x="65511" y="278421"/>
                  </a:lnTo>
                  <a:cubicBezTo>
                    <a:pt x="69290" y="284720"/>
                    <a:pt x="73070" y="291019"/>
                    <a:pt x="76849" y="296058"/>
                  </a:cubicBezTo>
                  <a:cubicBezTo>
                    <a:pt x="78109" y="298578"/>
                    <a:pt x="80629" y="301098"/>
                    <a:pt x="81889" y="303617"/>
                  </a:cubicBezTo>
                  <a:lnTo>
                    <a:pt x="81889" y="303617"/>
                  </a:lnTo>
                  <a:lnTo>
                    <a:pt x="81889" y="303617"/>
                  </a:lnTo>
                  <a:cubicBezTo>
                    <a:pt x="84408" y="307397"/>
                    <a:pt x="86928" y="309916"/>
                    <a:pt x="88188" y="313696"/>
                  </a:cubicBezTo>
                  <a:cubicBezTo>
                    <a:pt x="89448" y="316216"/>
                    <a:pt x="91967" y="318735"/>
                    <a:pt x="93227" y="321255"/>
                  </a:cubicBezTo>
                  <a:cubicBezTo>
                    <a:pt x="95747" y="323775"/>
                    <a:pt x="97006" y="327554"/>
                    <a:pt x="99526" y="330074"/>
                  </a:cubicBezTo>
                  <a:cubicBezTo>
                    <a:pt x="103305" y="335113"/>
                    <a:pt x="107085" y="340152"/>
                    <a:pt x="112124" y="346451"/>
                  </a:cubicBezTo>
                  <a:cubicBezTo>
                    <a:pt x="113384" y="347711"/>
                    <a:pt x="113384" y="348971"/>
                    <a:pt x="114644" y="350231"/>
                  </a:cubicBezTo>
                  <a:cubicBezTo>
                    <a:pt x="117164" y="354010"/>
                    <a:pt x="120943" y="359050"/>
                    <a:pt x="123463" y="362829"/>
                  </a:cubicBezTo>
                  <a:cubicBezTo>
                    <a:pt x="124722" y="365349"/>
                    <a:pt x="127242" y="367868"/>
                    <a:pt x="128502" y="370388"/>
                  </a:cubicBezTo>
                  <a:cubicBezTo>
                    <a:pt x="129762" y="372908"/>
                    <a:pt x="132281" y="374167"/>
                    <a:pt x="133541" y="376687"/>
                  </a:cubicBezTo>
                  <a:lnTo>
                    <a:pt x="134801" y="377947"/>
                  </a:lnTo>
                  <a:cubicBezTo>
                    <a:pt x="136061" y="379207"/>
                    <a:pt x="137321" y="380467"/>
                    <a:pt x="137321" y="381727"/>
                  </a:cubicBezTo>
                  <a:lnTo>
                    <a:pt x="137321" y="381727"/>
                  </a:lnTo>
                  <a:cubicBezTo>
                    <a:pt x="141100" y="386766"/>
                    <a:pt x="144880" y="390545"/>
                    <a:pt x="148659" y="394325"/>
                  </a:cubicBezTo>
                  <a:cubicBezTo>
                    <a:pt x="149919" y="395584"/>
                    <a:pt x="151179" y="396844"/>
                    <a:pt x="152439" y="398104"/>
                  </a:cubicBezTo>
                  <a:cubicBezTo>
                    <a:pt x="152439" y="398104"/>
                    <a:pt x="153698" y="399364"/>
                    <a:pt x="153698" y="399364"/>
                  </a:cubicBezTo>
                  <a:cubicBezTo>
                    <a:pt x="154958" y="400624"/>
                    <a:pt x="154958" y="400624"/>
                    <a:pt x="156218" y="401884"/>
                  </a:cubicBezTo>
                  <a:cubicBezTo>
                    <a:pt x="156218" y="401884"/>
                    <a:pt x="156218" y="401884"/>
                    <a:pt x="156218" y="401884"/>
                  </a:cubicBezTo>
                  <a:cubicBezTo>
                    <a:pt x="158738" y="403143"/>
                    <a:pt x="161257" y="405663"/>
                    <a:pt x="163777" y="406923"/>
                  </a:cubicBezTo>
                  <a:cubicBezTo>
                    <a:pt x="165037" y="406923"/>
                    <a:pt x="166297" y="408183"/>
                    <a:pt x="166297" y="409443"/>
                  </a:cubicBezTo>
                  <a:lnTo>
                    <a:pt x="167557" y="410702"/>
                  </a:lnTo>
                  <a:lnTo>
                    <a:pt x="167557" y="410702"/>
                  </a:lnTo>
                  <a:cubicBezTo>
                    <a:pt x="168816" y="411962"/>
                    <a:pt x="170076" y="411962"/>
                    <a:pt x="171336" y="413222"/>
                  </a:cubicBezTo>
                  <a:cubicBezTo>
                    <a:pt x="173856" y="414482"/>
                    <a:pt x="175115" y="415742"/>
                    <a:pt x="177635" y="415742"/>
                  </a:cubicBezTo>
                  <a:cubicBezTo>
                    <a:pt x="178895" y="415742"/>
                    <a:pt x="180155" y="417001"/>
                    <a:pt x="181414" y="417001"/>
                  </a:cubicBezTo>
                  <a:lnTo>
                    <a:pt x="182674" y="417001"/>
                  </a:lnTo>
                  <a:cubicBezTo>
                    <a:pt x="185194" y="418261"/>
                    <a:pt x="186454" y="418261"/>
                    <a:pt x="188973" y="419521"/>
                  </a:cubicBezTo>
                  <a:cubicBezTo>
                    <a:pt x="191493" y="420781"/>
                    <a:pt x="194013" y="420781"/>
                    <a:pt x="197792" y="422041"/>
                  </a:cubicBezTo>
                  <a:cubicBezTo>
                    <a:pt x="201572" y="423301"/>
                    <a:pt x="206611" y="423301"/>
                    <a:pt x="210390" y="423301"/>
                  </a:cubicBezTo>
                  <a:cubicBezTo>
                    <a:pt x="211650" y="423301"/>
                    <a:pt x="214170" y="423301"/>
                    <a:pt x="215430" y="423301"/>
                  </a:cubicBezTo>
                  <a:cubicBezTo>
                    <a:pt x="215430" y="423301"/>
                    <a:pt x="216690" y="423301"/>
                    <a:pt x="216690" y="423301"/>
                  </a:cubicBezTo>
                  <a:cubicBezTo>
                    <a:pt x="217949" y="423301"/>
                    <a:pt x="219209" y="423301"/>
                    <a:pt x="221729" y="423301"/>
                  </a:cubicBezTo>
                  <a:lnTo>
                    <a:pt x="222989" y="423301"/>
                  </a:lnTo>
                  <a:cubicBezTo>
                    <a:pt x="225508" y="423301"/>
                    <a:pt x="226768" y="422041"/>
                    <a:pt x="228028" y="422041"/>
                  </a:cubicBezTo>
                  <a:cubicBezTo>
                    <a:pt x="230548" y="422041"/>
                    <a:pt x="231807" y="420781"/>
                    <a:pt x="234327" y="419521"/>
                  </a:cubicBezTo>
                  <a:cubicBezTo>
                    <a:pt x="235587" y="418261"/>
                    <a:pt x="236847" y="418261"/>
                    <a:pt x="239366" y="417001"/>
                  </a:cubicBezTo>
                  <a:cubicBezTo>
                    <a:pt x="241886" y="415742"/>
                    <a:pt x="244406" y="413222"/>
                    <a:pt x="245666" y="411962"/>
                  </a:cubicBezTo>
                  <a:cubicBezTo>
                    <a:pt x="246925" y="410702"/>
                    <a:pt x="248185" y="408183"/>
                    <a:pt x="249445" y="406923"/>
                  </a:cubicBezTo>
                  <a:cubicBezTo>
                    <a:pt x="250705" y="405663"/>
                    <a:pt x="251965" y="404403"/>
                    <a:pt x="251965" y="403143"/>
                  </a:cubicBezTo>
                  <a:cubicBezTo>
                    <a:pt x="253225" y="400624"/>
                    <a:pt x="254484" y="398104"/>
                    <a:pt x="255744" y="395584"/>
                  </a:cubicBezTo>
                  <a:cubicBezTo>
                    <a:pt x="255744" y="395584"/>
                    <a:pt x="255744" y="394325"/>
                    <a:pt x="255744" y="394325"/>
                  </a:cubicBezTo>
                  <a:lnTo>
                    <a:pt x="255744" y="393065"/>
                  </a:lnTo>
                  <a:cubicBezTo>
                    <a:pt x="255744" y="391805"/>
                    <a:pt x="255744" y="391805"/>
                    <a:pt x="257004" y="390545"/>
                  </a:cubicBezTo>
                  <a:cubicBezTo>
                    <a:pt x="257004" y="390545"/>
                    <a:pt x="257004" y="390545"/>
                    <a:pt x="257004" y="390545"/>
                  </a:cubicBezTo>
                  <a:cubicBezTo>
                    <a:pt x="258264" y="385506"/>
                    <a:pt x="259524" y="381727"/>
                    <a:pt x="259524" y="376687"/>
                  </a:cubicBezTo>
                  <a:cubicBezTo>
                    <a:pt x="259524" y="375427"/>
                    <a:pt x="259524" y="372908"/>
                    <a:pt x="259524" y="371648"/>
                  </a:cubicBezTo>
                  <a:cubicBezTo>
                    <a:pt x="259524" y="371648"/>
                    <a:pt x="259524" y="370388"/>
                    <a:pt x="259524" y="370388"/>
                  </a:cubicBezTo>
                  <a:lnTo>
                    <a:pt x="259524" y="369128"/>
                  </a:lnTo>
                  <a:cubicBezTo>
                    <a:pt x="259524" y="367868"/>
                    <a:pt x="259524" y="367868"/>
                    <a:pt x="259524" y="366608"/>
                  </a:cubicBezTo>
                  <a:cubicBezTo>
                    <a:pt x="265823" y="366608"/>
                    <a:pt x="265823" y="365349"/>
                    <a:pt x="265823" y="364089"/>
                  </a:cubicBezTo>
                  <a:close/>
                </a:path>
              </a:pathLst>
            </a:custGeom>
            <a:solidFill>
              <a:srgbClr val="F2A988"/>
            </a:solidFill>
            <a:ln w="12584" cap="flat">
              <a:noFill/>
              <a:prstDash val="solid"/>
              <a:miter/>
            </a:ln>
          </p:spPr>
          <p:txBody>
            <a:bodyPr rtlCol="0" anchor="ctr"/>
            <a:lstStyle/>
            <a:p>
              <a:endParaRPr lang="zh-CN" altLang="en-US"/>
            </a:p>
          </p:txBody>
        </p:sp>
        <p:sp>
          <p:nvSpPr>
            <p:cNvPr id="10146" name="任意多边形: 形状 10145"/>
            <p:cNvSpPr/>
            <p:nvPr/>
          </p:nvSpPr>
          <p:spPr>
            <a:xfrm>
              <a:off x="2099581" y="3747735"/>
              <a:ext cx="1763753" cy="970064"/>
            </a:xfrm>
            <a:custGeom>
              <a:avLst/>
              <a:gdLst>
                <a:gd name="connsiteX0" fmla="*/ 91967 w 1763752"/>
                <a:gd name="connsiteY0" fmla="*/ 0 h 970063"/>
                <a:gd name="connsiteX1" fmla="*/ 293539 w 1763752"/>
                <a:gd name="connsiteY1" fmla="*/ 0 h 970063"/>
                <a:gd name="connsiteX2" fmla="*/ 1472733 w 1763752"/>
                <a:gd name="connsiteY2" fmla="*/ 0 h 970063"/>
                <a:gd name="connsiteX3" fmla="*/ 1674305 w 1763752"/>
                <a:gd name="connsiteY3" fmla="*/ 0 h 970063"/>
                <a:gd name="connsiteX4" fmla="*/ 1765012 w 1763752"/>
                <a:gd name="connsiteY4" fmla="*/ 90707 h 970063"/>
                <a:gd name="connsiteX5" fmla="*/ 1765012 w 1763752"/>
                <a:gd name="connsiteY5" fmla="*/ 977623 h 970063"/>
                <a:gd name="connsiteX6" fmla="*/ 1700761 w 1763752"/>
                <a:gd name="connsiteY6" fmla="*/ 977623 h 970063"/>
                <a:gd name="connsiteX7" fmla="*/ 1700761 w 1763752"/>
                <a:gd name="connsiteY7" fmla="*/ 177635 h 970063"/>
                <a:gd name="connsiteX8" fmla="*/ 1654148 w 1763752"/>
                <a:gd name="connsiteY8" fmla="*/ 131022 h 970063"/>
                <a:gd name="connsiteX9" fmla="*/ 1470214 w 1763752"/>
                <a:gd name="connsiteY9" fmla="*/ 131022 h 970063"/>
                <a:gd name="connsiteX10" fmla="*/ 291019 w 1763752"/>
                <a:gd name="connsiteY10" fmla="*/ 131022 h 970063"/>
                <a:gd name="connsiteX11" fmla="*/ 108345 w 1763752"/>
                <a:gd name="connsiteY11" fmla="*/ 131022 h 970063"/>
                <a:gd name="connsiteX12" fmla="*/ 61731 w 1763752"/>
                <a:gd name="connsiteY12" fmla="*/ 177635 h 970063"/>
                <a:gd name="connsiteX13" fmla="*/ 61731 w 1763752"/>
                <a:gd name="connsiteY13" fmla="*/ 977623 h 970063"/>
                <a:gd name="connsiteX14" fmla="*/ 0 w 1763752"/>
                <a:gd name="connsiteY14" fmla="*/ 977623 h 970063"/>
                <a:gd name="connsiteX15" fmla="*/ 0 w 1763752"/>
                <a:gd name="connsiteY15" fmla="*/ 90707 h 970063"/>
                <a:gd name="connsiteX16" fmla="*/ 91967 w 1763752"/>
                <a:gd name="connsiteY16" fmla="*/ 0 h 97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63752" h="970063">
                  <a:moveTo>
                    <a:pt x="91967" y="0"/>
                  </a:moveTo>
                  <a:lnTo>
                    <a:pt x="293539" y="0"/>
                  </a:lnTo>
                  <a:lnTo>
                    <a:pt x="1472733" y="0"/>
                  </a:lnTo>
                  <a:lnTo>
                    <a:pt x="1674305" y="0"/>
                  </a:lnTo>
                  <a:cubicBezTo>
                    <a:pt x="1724698" y="0"/>
                    <a:pt x="1765012" y="40314"/>
                    <a:pt x="1765012" y="90707"/>
                  </a:cubicBezTo>
                  <a:lnTo>
                    <a:pt x="1765012" y="977623"/>
                  </a:lnTo>
                  <a:lnTo>
                    <a:pt x="1700761" y="977623"/>
                  </a:lnTo>
                  <a:lnTo>
                    <a:pt x="1700761" y="177635"/>
                  </a:lnTo>
                  <a:cubicBezTo>
                    <a:pt x="1700761" y="152439"/>
                    <a:pt x="1680604" y="131022"/>
                    <a:pt x="1654148" y="131022"/>
                  </a:cubicBezTo>
                  <a:lnTo>
                    <a:pt x="1470214" y="131022"/>
                  </a:lnTo>
                  <a:lnTo>
                    <a:pt x="291019" y="131022"/>
                  </a:lnTo>
                  <a:lnTo>
                    <a:pt x="108345" y="131022"/>
                  </a:lnTo>
                  <a:cubicBezTo>
                    <a:pt x="83148" y="131022"/>
                    <a:pt x="61731" y="151179"/>
                    <a:pt x="61731" y="177635"/>
                  </a:cubicBezTo>
                  <a:lnTo>
                    <a:pt x="61731" y="977623"/>
                  </a:lnTo>
                  <a:lnTo>
                    <a:pt x="0" y="977623"/>
                  </a:lnTo>
                  <a:lnTo>
                    <a:pt x="0" y="90707"/>
                  </a:lnTo>
                  <a:cubicBezTo>
                    <a:pt x="0" y="41574"/>
                    <a:pt x="41574" y="0"/>
                    <a:pt x="91967" y="0"/>
                  </a:cubicBezTo>
                  <a:close/>
                </a:path>
              </a:pathLst>
            </a:custGeom>
            <a:solidFill>
              <a:srgbClr val="FFD671"/>
            </a:solidFill>
            <a:ln w="12584" cap="flat">
              <a:noFill/>
              <a:prstDash val="solid"/>
              <a:miter/>
            </a:ln>
          </p:spPr>
          <p:txBody>
            <a:bodyPr rtlCol="0" anchor="ctr"/>
            <a:lstStyle/>
            <a:p>
              <a:endParaRPr lang="zh-CN" altLang="en-US"/>
            </a:p>
          </p:txBody>
        </p:sp>
        <p:sp>
          <p:nvSpPr>
            <p:cNvPr id="10147" name="任意多边形: 形状 10146"/>
            <p:cNvSpPr/>
            <p:nvPr/>
          </p:nvSpPr>
          <p:spPr>
            <a:xfrm>
              <a:off x="2493906" y="3689783"/>
              <a:ext cx="12598" cy="12598"/>
            </a:xfrm>
            <a:custGeom>
              <a:avLst/>
              <a:gdLst>
                <a:gd name="connsiteX0" fmla="*/ 0 w 0"/>
                <a:gd name="connsiteY0" fmla="*/ 0 h 0"/>
                <a:gd name="connsiteX1" fmla="*/ 0 w 0"/>
                <a:gd name="connsiteY1" fmla="*/ 5039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0" y="1260"/>
                    <a:pt x="0" y="3780"/>
                    <a:pt x="0" y="5039"/>
                  </a:cubicBezTo>
                  <a:cubicBezTo>
                    <a:pt x="0" y="3780"/>
                    <a:pt x="0" y="1260"/>
                    <a:pt x="0" y="0"/>
                  </a:cubicBezTo>
                  <a:close/>
                </a:path>
              </a:pathLst>
            </a:custGeom>
            <a:noFill/>
            <a:ln w="12584" cap="flat">
              <a:noFill/>
              <a:prstDash val="solid"/>
              <a:miter/>
            </a:ln>
          </p:spPr>
          <p:txBody>
            <a:bodyPr rtlCol="0" anchor="ctr"/>
            <a:lstStyle/>
            <a:p>
              <a:endParaRPr lang="zh-CN" altLang="en-US"/>
            </a:p>
          </p:txBody>
        </p:sp>
        <p:sp>
          <p:nvSpPr>
            <p:cNvPr id="10148" name="任意多边形: 形状 10147"/>
            <p:cNvSpPr/>
            <p:nvPr/>
          </p:nvSpPr>
          <p:spPr>
            <a:xfrm>
              <a:off x="2521622" y="3714979"/>
              <a:ext cx="277161" cy="12598"/>
            </a:xfrm>
            <a:custGeom>
              <a:avLst/>
              <a:gdLst>
                <a:gd name="connsiteX0" fmla="*/ 0 w 277161"/>
                <a:gd name="connsiteY0" fmla="*/ 0 h 0"/>
                <a:gd name="connsiteX1" fmla="*/ 287240 w 277161"/>
                <a:gd name="connsiteY1" fmla="*/ 0 h 0"/>
                <a:gd name="connsiteX2" fmla="*/ 287240 w 277161"/>
                <a:gd name="connsiteY2" fmla="*/ 7559 h 0"/>
                <a:gd name="connsiteX3" fmla="*/ 1260 w 277161"/>
                <a:gd name="connsiteY3" fmla="*/ 7559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7240" y="0"/>
                  </a:lnTo>
                  <a:lnTo>
                    <a:pt x="287240" y="7559"/>
                  </a:lnTo>
                  <a:lnTo>
                    <a:pt x="1260" y="7559"/>
                  </a:lnTo>
                  <a:cubicBezTo>
                    <a:pt x="0" y="5039"/>
                    <a:pt x="0" y="2520"/>
                    <a:pt x="0" y="0"/>
                  </a:cubicBezTo>
                  <a:close/>
                </a:path>
              </a:pathLst>
            </a:custGeom>
            <a:solidFill>
              <a:srgbClr val="FFFFFF"/>
            </a:solidFill>
            <a:ln w="12584" cap="flat">
              <a:noFill/>
              <a:prstDash val="solid"/>
              <a:miter/>
            </a:ln>
          </p:spPr>
          <p:txBody>
            <a:bodyPr rtlCol="0" anchor="ctr"/>
            <a:lstStyle/>
            <a:p>
              <a:endParaRPr lang="zh-CN" altLang="en-US"/>
            </a:p>
          </p:txBody>
        </p:sp>
        <p:sp>
          <p:nvSpPr>
            <p:cNvPr id="10149" name="任意多边形: 形状 10148"/>
            <p:cNvSpPr/>
            <p:nvPr/>
          </p:nvSpPr>
          <p:spPr>
            <a:xfrm>
              <a:off x="2524142" y="3725058"/>
              <a:ext cx="277161" cy="12598"/>
            </a:xfrm>
            <a:custGeom>
              <a:avLst/>
              <a:gdLst>
                <a:gd name="connsiteX0" fmla="*/ 3780 w 277161"/>
                <a:gd name="connsiteY0" fmla="*/ 10079 h 0"/>
                <a:gd name="connsiteX1" fmla="*/ 0 w 277161"/>
                <a:gd name="connsiteY1" fmla="*/ 0 h 0"/>
                <a:gd name="connsiteX2" fmla="*/ 285980 w 277161"/>
                <a:gd name="connsiteY2" fmla="*/ 0 h 0"/>
                <a:gd name="connsiteX3" fmla="*/ 285980 w 277161"/>
                <a:gd name="connsiteY3" fmla="*/ 10079 h 0"/>
                <a:gd name="connsiteX4" fmla="*/ 26456 w 277161"/>
                <a:gd name="connsiteY4" fmla="*/ 10079 h 0"/>
                <a:gd name="connsiteX5" fmla="*/ 3780 w 277161"/>
                <a:gd name="connsiteY5" fmla="*/ 1007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10079"/>
                  </a:moveTo>
                  <a:cubicBezTo>
                    <a:pt x="2520" y="7559"/>
                    <a:pt x="1260" y="3780"/>
                    <a:pt x="0" y="0"/>
                  </a:cubicBezTo>
                  <a:lnTo>
                    <a:pt x="285980" y="0"/>
                  </a:lnTo>
                  <a:lnTo>
                    <a:pt x="285980" y="10079"/>
                  </a:lnTo>
                  <a:lnTo>
                    <a:pt x="26456" y="10079"/>
                  </a:lnTo>
                  <a:lnTo>
                    <a:pt x="3780" y="10079"/>
                  </a:lnTo>
                  <a:close/>
                </a:path>
              </a:pathLst>
            </a:custGeom>
            <a:solidFill>
              <a:srgbClr val="FFFFFF"/>
            </a:solidFill>
            <a:ln w="12584" cap="flat">
              <a:noFill/>
              <a:prstDash val="solid"/>
              <a:miter/>
            </a:ln>
          </p:spPr>
          <p:txBody>
            <a:bodyPr rtlCol="0" anchor="ctr"/>
            <a:lstStyle/>
            <a:p>
              <a:endParaRPr lang="zh-CN" altLang="en-US"/>
            </a:p>
          </p:txBody>
        </p:sp>
        <p:sp>
          <p:nvSpPr>
            <p:cNvPr id="10150" name="任意多边形: 形状 10149"/>
            <p:cNvSpPr/>
            <p:nvPr/>
          </p:nvSpPr>
          <p:spPr>
            <a:xfrm>
              <a:off x="2522882" y="3680964"/>
              <a:ext cx="277161" cy="12598"/>
            </a:xfrm>
            <a:custGeom>
              <a:avLst/>
              <a:gdLst>
                <a:gd name="connsiteX0" fmla="*/ 3780 w 277161"/>
                <a:gd name="connsiteY0" fmla="*/ 0 h 0"/>
                <a:gd name="connsiteX1" fmla="*/ 42834 w 277161"/>
                <a:gd name="connsiteY1" fmla="*/ 0 h 0"/>
                <a:gd name="connsiteX2" fmla="*/ 285980 w 277161"/>
                <a:gd name="connsiteY2" fmla="*/ 0 h 0"/>
                <a:gd name="connsiteX3" fmla="*/ 285980 w 277161"/>
                <a:gd name="connsiteY3" fmla="*/ 10079 h 0"/>
                <a:gd name="connsiteX4" fmla="*/ 0 w 277161"/>
                <a:gd name="connsiteY4" fmla="*/ 10079 h 0"/>
                <a:gd name="connsiteX5" fmla="*/ 3780 w 277161"/>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0"/>
                  </a:moveTo>
                  <a:lnTo>
                    <a:pt x="42834" y="0"/>
                  </a:lnTo>
                  <a:lnTo>
                    <a:pt x="285980" y="0"/>
                  </a:lnTo>
                  <a:lnTo>
                    <a:pt x="285980" y="10079"/>
                  </a:lnTo>
                  <a:lnTo>
                    <a:pt x="0" y="10079"/>
                  </a:lnTo>
                  <a:cubicBezTo>
                    <a:pt x="1260" y="6299"/>
                    <a:pt x="2520" y="2520"/>
                    <a:pt x="3780" y="0"/>
                  </a:cubicBezTo>
                  <a:close/>
                </a:path>
              </a:pathLst>
            </a:custGeom>
            <a:solidFill>
              <a:srgbClr val="FFFFFF"/>
            </a:solidFill>
            <a:ln w="12584" cap="flat">
              <a:noFill/>
              <a:prstDash val="solid"/>
              <a:miter/>
            </a:ln>
          </p:spPr>
          <p:txBody>
            <a:bodyPr rtlCol="0" anchor="ctr"/>
            <a:lstStyle/>
            <a:p>
              <a:endParaRPr lang="zh-CN" altLang="en-US"/>
            </a:p>
          </p:txBody>
        </p:sp>
        <p:sp>
          <p:nvSpPr>
            <p:cNvPr id="10151" name="任意多边形: 形状 10150"/>
            <p:cNvSpPr/>
            <p:nvPr/>
          </p:nvSpPr>
          <p:spPr>
            <a:xfrm>
              <a:off x="2520362" y="3693562"/>
              <a:ext cx="277161" cy="12598"/>
            </a:xfrm>
            <a:custGeom>
              <a:avLst/>
              <a:gdLst>
                <a:gd name="connsiteX0" fmla="*/ 1260 w 277161"/>
                <a:gd name="connsiteY0" fmla="*/ 0 h 0"/>
                <a:gd name="connsiteX1" fmla="*/ 288500 w 277161"/>
                <a:gd name="connsiteY1" fmla="*/ 0 h 0"/>
                <a:gd name="connsiteX2" fmla="*/ 288500 w 277161"/>
                <a:gd name="connsiteY2" fmla="*/ 7559 h 0"/>
                <a:gd name="connsiteX3" fmla="*/ 0 w 277161"/>
                <a:gd name="connsiteY3" fmla="*/ 7559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8500" y="0"/>
                  </a:lnTo>
                  <a:lnTo>
                    <a:pt x="288500" y="7559"/>
                  </a:lnTo>
                  <a:lnTo>
                    <a:pt x="0" y="7559"/>
                  </a:lnTo>
                  <a:cubicBezTo>
                    <a:pt x="1260" y="5039"/>
                    <a:pt x="1260" y="2520"/>
                    <a:pt x="1260" y="0"/>
                  </a:cubicBezTo>
                  <a:close/>
                </a:path>
              </a:pathLst>
            </a:custGeom>
            <a:solidFill>
              <a:srgbClr val="FFFFFF"/>
            </a:solidFill>
            <a:ln w="12584" cap="flat">
              <a:noFill/>
              <a:prstDash val="solid"/>
              <a:miter/>
            </a:ln>
          </p:spPr>
          <p:txBody>
            <a:bodyPr rtlCol="0" anchor="ctr"/>
            <a:lstStyle/>
            <a:p>
              <a:endParaRPr lang="zh-CN" altLang="en-US"/>
            </a:p>
          </p:txBody>
        </p:sp>
        <p:sp>
          <p:nvSpPr>
            <p:cNvPr id="10152" name="任意多边形: 形状 10151"/>
            <p:cNvSpPr/>
            <p:nvPr/>
          </p:nvSpPr>
          <p:spPr>
            <a:xfrm>
              <a:off x="2521622" y="3703641"/>
              <a:ext cx="277161" cy="12598"/>
            </a:xfrm>
            <a:custGeom>
              <a:avLst/>
              <a:gdLst>
                <a:gd name="connsiteX0" fmla="*/ 0 w 277161"/>
                <a:gd name="connsiteY0" fmla="*/ 1260 h 0"/>
                <a:gd name="connsiteX1" fmla="*/ 0 w 277161"/>
                <a:gd name="connsiteY1" fmla="*/ 1260 h 0"/>
                <a:gd name="connsiteX2" fmla="*/ 288499 w 277161"/>
                <a:gd name="connsiteY2" fmla="*/ 0 h 0"/>
                <a:gd name="connsiteX3" fmla="*/ 288499 w 277161"/>
                <a:gd name="connsiteY3" fmla="*/ 7559 h 0"/>
                <a:gd name="connsiteX4" fmla="*/ 0 w 277161"/>
                <a:gd name="connsiteY4" fmla="*/ 7559 h 0"/>
                <a:gd name="connsiteX5" fmla="*/ 0 w 277161"/>
                <a:gd name="connsiteY5"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0" y="1260"/>
                  </a:moveTo>
                  <a:cubicBezTo>
                    <a:pt x="0" y="1260"/>
                    <a:pt x="0" y="1260"/>
                    <a:pt x="0" y="1260"/>
                  </a:cubicBezTo>
                  <a:lnTo>
                    <a:pt x="288499" y="0"/>
                  </a:lnTo>
                  <a:lnTo>
                    <a:pt x="288499" y="7559"/>
                  </a:lnTo>
                  <a:lnTo>
                    <a:pt x="0" y="7559"/>
                  </a:lnTo>
                  <a:cubicBezTo>
                    <a:pt x="0" y="6299"/>
                    <a:pt x="0" y="3780"/>
                    <a:pt x="0" y="1260"/>
                  </a:cubicBezTo>
                  <a:close/>
                </a:path>
              </a:pathLst>
            </a:custGeom>
            <a:solidFill>
              <a:srgbClr val="FFFFFF"/>
            </a:solidFill>
            <a:ln w="12584" cap="flat">
              <a:noFill/>
              <a:prstDash val="solid"/>
              <a:miter/>
            </a:ln>
          </p:spPr>
          <p:txBody>
            <a:bodyPr rtlCol="0" anchor="ctr"/>
            <a:lstStyle/>
            <a:p>
              <a:endParaRPr lang="zh-CN" altLang="en-US"/>
            </a:p>
          </p:txBody>
        </p:sp>
        <p:sp>
          <p:nvSpPr>
            <p:cNvPr id="10153" name="任意多边形: 形状 10152"/>
            <p:cNvSpPr/>
            <p:nvPr/>
          </p:nvSpPr>
          <p:spPr>
            <a:xfrm>
              <a:off x="2521622" y="3691043"/>
              <a:ext cx="277161" cy="12598"/>
            </a:xfrm>
            <a:custGeom>
              <a:avLst/>
              <a:gdLst>
                <a:gd name="connsiteX0" fmla="*/ 1260 w 277161"/>
                <a:gd name="connsiteY0" fmla="*/ 0 h 0"/>
                <a:gd name="connsiteX1" fmla="*/ 287240 w 277161"/>
                <a:gd name="connsiteY1" fmla="*/ 0 h 0"/>
                <a:gd name="connsiteX2" fmla="*/ 287240 w 277161"/>
                <a:gd name="connsiteY2" fmla="*/ 2520 h 0"/>
                <a:gd name="connsiteX3" fmla="*/ 0 w 277161"/>
                <a:gd name="connsiteY3" fmla="*/ 2520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7240" y="0"/>
                  </a:lnTo>
                  <a:lnTo>
                    <a:pt x="287240" y="2520"/>
                  </a:lnTo>
                  <a:lnTo>
                    <a:pt x="0" y="2520"/>
                  </a:lnTo>
                  <a:cubicBezTo>
                    <a:pt x="1260" y="2520"/>
                    <a:pt x="1260" y="1260"/>
                    <a:pt x="1260" y="0"/>
                  </a:cubicBezTo>
                  <a:close/>
                </a:path>
              </a:pathLst>
            </a:custGeom>
            <a:solidFill>
              <a:srgbClr val="E1E1E6"/>
            </a:solidFill>
            <a:ln w="12584" cap="flat">
              <a:noFill/>
              <a:prstDash val="solid"/>
              <a:miter/>
            </a:ln>
          </p:spPr>
          <p:txBody>
            <a:bodyPr rtlCol="0" anchor="ctr"/>
            <a:lstStyle/>
            <a:p>
              <a:endParaRPr lang="zh-CN" altLang="en-US"/>
            </a:p>
          </p:txBody>
        </p:sp>
        <p:sp>
          <p:nvSpPr>
            <p:cNvPr id="10154" name="任意多边形: 形状 10153"/>
            <p:cNvSpPr/>
            <p:nvPr/>
          </p:nvSpPr>
          <p:spPr>
            <a:xfrm>
              <a:off x="2521622" y="3701121"/>
              <a:ext cx="277161" cy="12598"/>
            </a:xfrm>
            <a:custGeom>
              <a:avLst/>
              <a:gdLst>
                <a:gd name="connsiteX0" fmla="*/ 0 w 277161"/>
                <a:gd name="connsiteY0" fmla="*/ 0 h 0"/>
                <a:gd name="connsiteX1" fmla="*/ 288499 w 277161"/>
                <a:gd name="connsiteY1" fmla="*/ 0 h 0"/>
                <a:gd name="connsiteX2" fmla="*/ 288499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0155" name="任意多边形: 形状 10154"/>
            <p:cNvSpPr/>
            <p:nvPr/>
          </p:nvSpPr>
          <p:spPr>
            <a:xfrm>
              <a:off x="2521622" y="3711200"/>
              <a:ext cx="277161" cy="12598"/>
            </a:xfrm>
            <a:custGeom>
              <a:avLst/>
              <a:gdLst>
                <a:gd name="connsiteX0" fmla="*/ 0 w 277161"/>
                <a:gd name="connsiteY0" fmla="*/ 0 h 0"/>
                <a:gd name="connsiteX1" fmla="*/ 288499 w 277161"/>
                <a:gd name="connsiteY1" fmla="*/ 0 h 0"/>
                <a:gd name="connsiteX2" fmla="*/ 288499 w 277161"/>
                <a:gd name="connsiteY2" fmla="*/ 2520 h 0"/>
                <a:gd name="connsiteX3" fmla="*/ 126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126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0156" name="任意多边形: 形状 10155"/>
            <p:cNvSpPr/>
            <p:nvPr/>
          </p:nvSpPr>
          <p:spPr>
            <a:xfrm>
              <a:off x="2522882" y="3722538"/>
              <a:ext cx="277161" cy="12598"/>
            </a:xfrm>
            <a:custGeom>
              <a:avLst/>
              <a:gdLst>
                <a:gd name="connsiteX0" fmla="*/ 0 w 277161"/>
                <a:gd name="connsiteY0" fmla="*/ 0 h 0"/>
                <a:gd name="connsiteX1" fmla="*/ 285980 w 277161"/>
                <a:gd name="connsiteY1" fmla="*/ 0 h 0"/>
                <a:gd name="connsiteX2" fmla="*/ 285980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5980" y="0"/>
                  </a:lnTo>
                  <a:lnTo>
                    <a:pt x="285980" y="2520"/>
                  </a:lnTo>
                  <a:lnTo>
                    <a:pt x="0" y="2520"/>
                  </a:lnTo>
                  <a:cubicBezTo>
                    <a:pt x="0" y="1260"/>
                    <a:pt x="0" y="0"/>
                    <a:pt x="0" y="0"/>
                  </a:cubicBezTo>
                  <a:close/>
                </a:path>
              </a:pathLst>
            </a:custGeom>
            <a:solidFill>
              <a:srgbClr val="E1E1E6"/>
            </a:solidFill>
            <a:ln w="12584" cap="flat">
              <a:noFill/>
              <a:prstDash val="solid"/>
              <a:miter/>
            </a:ln>
          </p:spPr>
          <p:txBody>
            <a:bodyPr rtlCol="0" anchor="ctr"/>
            <a:lstStyle/>
            <a:p>
              <a:endParaRPr lang="zh-CN" altLang="en-US"/>
            </a:p>
          </p:txBody>
        </p:sp>
        <p:sp>
          <p:nvSpPr>
            <p:cNvPr id="10157" name="任意多边形: 形状 10156"/>
            <p:cNvSpPr/>
            <p:nvPr/>
          </p:nvSpPr>
          <p:spPr>
            <a:xfrm>
              <a:off x="2190288" y="3664586"/>
              <a:ext cx="314956" cy="75589"/>
            </a:xfrm>
            <a:custGeom>
              <a:avLst/>
              <a:gdLst>
                <a:gd name="connsiteX0" fmla="*/ 303617 w 314955"/>
                <a:gd name="connsiteY0" fmla="*/ 30236 h 75589"/>
                <a:gd name="connsiteX1" fmla="*/ 303617 w 314955"/>
                <a:gd name="connsiteY1" fmla="*/ 35275 h 75589"/>
                <a:gd name="connsiteX2" fmla="*/ 306137 w 314955"/>
                <a:gd name="connsiteY2" fmla="*/ 52913 h 75589"/>
                <a:gd name="connsiteX3" fmla="*/ 313696 w 314955"/>
                <a:gd name="connsiteY3" fmla="*/ 75589 h 75589"/>
                <a:gd name="connsiteX4" fmla="*/ 318735 w 314955"/>
                <a:gd name="connsiteY4" fmla="*/ 85668 h 75589"/>
                <a:gd name="connsiteX5" fmla="*/ 42834 w 314955"/>
                <a:gd name="connsiteY5" fmla="*/ 85668 h 75589"/>
                <a:gd name="connsiteX6" fmla="*/ 0 w 314955"/>
                <a:gd name="connsiteY6" fmla="*/ 42834 h 75589"/>
                <a:gd name="connsiteX7" fmla="*/ 42834 w 314955"/>
                <a:gd name="connsiteY7" fmla="*/ 0 h 75589"/>
                <a:gd name="connsiteX8" fmla="*/ 312436 w 314955"/>
                <a:gd name="connsiteY8" fmla="*/ 0 h 75589"/>
                <a:gd name="connsiteX9" fmla="*/ 302358 w 314955"/>
                <a:gd name="connsiteY9" fmla="*/ 23937 h 75589"/>
                <a:gd name="connsiteX10" fmla="*/ 303617 w 314955"/>
                <a:gd name="connsiteY10" fmla="*/ 30236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955" h="75589">
                  <a:moveTo>
                    <a:pt x="303617" y="30236"/>
                  </a:moveTo>
                  <a:cubicBezTo>
                    <a:pt x="303617" y="31496"/>
                    <a:pt x="303617" y="34015"/>
                    <a:pt x="303617" y="35275"/>
                  </a:cubicBezTo>
                  <a:cubicBezTo>
                    <a:pt x="303617" y="40314"/>
                    <a:pt x="304877" y="46613"/>
                    <a:pt x="306137" y="52913"/>
                  </a:cubicBezTo>
                  <a:cubicBezTo>
                    <a:pt x="307397" y="60472"/>
                    <a:pt x="311176" y="68031"/>
                    <a:pt x="313696" y="75589"/>
                  </a:cubicBezTo>
                  <a:cubicBezTo>
                    <a:pt x="314956" y="79369"/>
                    <a:pt x="317476" y="83148"/>
                    <a:pt x="318735" y="85668"/>
                  </a:cubicBezTo>
                  <a:lnTo>
                    <a:pt x="42834" y="85668"/>
                  </a:lnTo>
                  <a:cubicBezTo>
                    <a:pt x="18897" y="85668"/>
                    <a:pt x="0" y="66771"/>
                    <a:pt x="0" y="42834"/>
                  </a:cubicBezTo>
                  <a:cubicBezTo>
                    <a:pt x="0" y="18897"/>
                    <a:pt x="18897" y="0"/>
                    <a:pt x="42834" y="0"/>
                  </a:cubicBezTo>
                  <a:lnTo>
                    <a:pt x="312436" y="0"/>
                  </a:lnTo>
                  <a:cubicBezTo>
                    <a:pt x="307397" y="6299"/>
                    <a:pt x="303617" y="15118"/>
                    <a:pt x="302358" y="23937"/>
                  </a:cubicBezTo>
                  <a:cubicBezTo>
                    <a:pt x="303617" y="26456"/>
                    <a:pt x="303617" y="28976"/>
                    <a:pt x="303617" y="30236"/>
                  </a:cubicBezTo>
                  <a:close/>
                </a:path>
              </a:pathLst>
            </a:custGeom>
            <a:solidFill>
              <a:srgbClr val="001675"/>
            </a:solidFill>
            <a:ln w="12584" cap="flat">
              <a:noFill/>
              <a:prstDash val="solid"/>
              <a:miter/>
            </a:ln>
          </p:spPr>
          <p:txBody>
            <a:bodyPr rtlCol="0" anchor="ctr"/>
            <a:lstStyle/>
            <a:p>
              <a:endParaRPr lang="zh-CN" altLang="en-US"/>
            </a:p>
          </p:txBody>
        </p:sp>
        <p:sp>
          <p:nvSpPr>
            <p:cNvPr id="10158" name="任意多边形: 形状 10157"/>
            <p:cNvSpPr/>
            <p:nvPr/>
          </p:nvSpPr>
          <p:spPr>
            <a:xfrm>
              <a:off x="2493906" y="3664586"/>
              <a:ext cx="314956" cy="75589"/>
            </a:xfrm>
            <a:custGeom>
              <a:avLst/>
              <a:gdLst>
                <a:gd name="connsiteX0" fmla="*/ 317475 w 314955"/>
                <a:gd name="connsiteY0" fmla="*/ 16378 h 75589"/>
                <a:gd name="connsiteX1" fmla="*/ 314956 w 314955"/>
                <a:gd name="connsiteY1" fmla="*/ 16378 h 75589"/>
                <a:gd name="connsiteX2" fmla="*/ 71810 w 314955"/>
                <a:gd name="connsiteY2" fmla="*/ 16378 h 75589"/>
                <a:gd name="connsiteX3" fmla="*/ 32755 w 314955"/>
                <a:gd name="connsiteY3" fmla="*/ 16378 h 75589"/>
                <a:gd name="connsiteX4" fmla="*/ 28976 w 314955"/>
                <a:gd name="connsiteY4" fmla="*/ 26456 h 75589"/>
                <a:gd name="connsiteX5" fmla="*/ 28976 w 314955"/>
                <a:gd name="connsiteY5" fmla="*/ 28976 h 75589"/>
                <a:gd name="connsiteX6" fmla="*/ 27716 w 314955"/>
                <a:gd name="connsiteY6" fmla="*/ 36535 h 75589"/>
                <a:gd name="connsiteX7" fmla="*/ 27716 w 314955"/>
                <a:gd name="connsiteY7" fmla="*/ 39055 h 75589"/>
                <a:gd name="connsiteX8" fmla="*/ 27716 w 314955"/>
                <a:gd name="connsiteY8" fmla="*/ 40314 h 75589"/>
                <a:gd name="connsiteX9" fmla="*/ 27716 w 314955"/>
                <a:gd name="connsiteY9" fmla="*/ 46613 h 75589"/>
                <a:gd name="connsiteX10" fmla="*/ 27716 w 314955"/>
                <a:gd name="connsiteY10" fmla="*/ 49133 h 75589"/>
                <a:gd name="connsiteX11" fmla="*/ 28976 w 314955"/>
                <a:gd name="connsiteY11" fmla="*/ 56692 h 75589"/>
                <a:gd name="connsiteX12" fmla="*/ 30236 w 314955"/>
                <a:gd name="connsiteY12" fmla="*/ 59212 h 75589"/>
                <a:gd name="connsiteX13" fmla="*/ 34015 w 314955"/>
                <a:gd name="connsiteY13" fmla="*/ 69290 h 75589"/>
                <a:gd name="connsiteX14" fmla="*/ 56692 w 314955"/>
                <a:gd name="connsiteY14" fmla="*/ 69290 h 75589"/>
                <a:gd name="connsiteX15" fmla="*/ 316216 w 314955"/>
                <a:gd name="connsiteY15" fmla="*/ 69290 h 75589"/>
                <a:gd name="connsiteX16" fmla="*/ 318735 w 314955"/>
                <a:gd name="connsiteY16" fmla="*/ 69290 h 75589"/>
                <a:gd name="connsiteX17" fmla="*/ 326294 w 314955"/>
                <a:gd name="connsiteY17" fmla="*/ 76849 h 75589"/>
                <a:gd name="connsiteX18" fmla="*/ 318735 w 314955"/>
                <a:gd name="connsiteY18" fmla="*/ 84408 h 75589"/>
                <a:gd name="connsiteX19" fmla="*/ 60471 w 314955"/>
                <a:gd name="connsiteY19" fmla="*/ 84408 h 75589"/>
                <a:gd name="connsiteX20" fmla="*/ 28976 w 314955"/>
                <a:gd name="connsiteY20" fmla="*/ 84408 h 75589"/>
                <a:gd name="connsiteX21" fmla="*/ 15118 w 314955"/>
                <a:gd name="connsiteY21" fmla="*/ 84408 h 75589"/>
                <a:gd name="connsiteX22" fmla="*/ 10079 w 314955"/>
                <a:gd name="connsiteY22" fmla="*/ 74330 h 75589"/>
                <a:gd name="connsiteX23" fmla="*/ 2520 w 314955"/>
                <a:gd name="connsiteY23" fmla="*/ 51653 h 75589"/>
                <a:gd name="connsiteX24" fmla="*/ 0 w 314955"/>
                <a:gd name="connsiteY24" fmla="*/ 34015 h 75589"/>
                <a:gd name="connsiteX25" fmla="*/ 0 w 314955"/>
                <a:gd name="connsiteY25" fmla="*/ 28976 h 75589"/>
                <a:gd name="connsiteX26" fmla="*/ 0 w 314955"/>
                <a:gd name="connsiteY26" fmla="*/ 23937 h 75589"/>
                <a:gd name="connsiteX27" fmla="*/ 10079 w 314955"/>
                <a:gd name="connsiteY27" fmla="*/ 0 h 75589"/>
                <a:gd name="connsiteX28" fmla="*/ 28976 w 314955"/>
                <a:gd name="connsiteY28" fmla="*/ 0 h 75589"/>
                <a:gd name="connsiteX29" fmla="*/ 60471 w 314955"/>
                <a:gd name="connsiteY29" fmla="*/ 0 h 75589"/>
                <a:gd name="connsiteX30" fmla="*/ 318735 w 314955"/>
                <a:gd name="connsiteY30" fmla="*/ 0 h 75589"/>
                <a:gd name="connsiteX31" fmla="*/ 326294 w 314955"/>
                <a:gd name="connsiteY31" fmla="*/ 7559 h 75589"/>
                <a:gd name="connsiteX32" fmla="*/ 317475 w 314955"/>
                <a:gd name="connsiteY32" fmla="*/ 16378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955" h="75589">
                  <a:moveTo>
                    <a:pt x="317475" y="16378"/>
                  </a:moveTo>
                  <a:lnTo>
                    <a:pt x="314956" y="16378"/>
                  </a:lnTo>
                  <a:lnTo>
                    <a:pt x="71810" y="16378"/>
                  </a:lnTo>
                  <a:lnTo>
                    <a:pt x="32755" y="16378"/>
                  </a:lnTo>
                  <a:cubicBezTo>
                    <a:pt x="31496" y="18897"/>
                    <a:pt x="30236" y="22677"/>
                    <a:pt x="28976" y="26456"/>
                  </a:cubicBezTo>
                  <a:cubicBezTo>
                    <a:pt x="28976" y="27716"/>
                    <a:pt x="28976" y="27716"/>
                    <a:pt x="28976" y="28976"/>
                  </a:cubicBezTo>
                  <a:cubicBezTo>
                    <a:pt x="28976" y="31496"/>
                    <a:pt x="27716" y="34015"/>
                    <a:pt x="27716" y="36535"/>
                  </a:cubicBezTo>
                  <a:cubicBezTo>
                    <a:pt x="27716" y="37795"/>
                    <a:pt x="27716" y="37795"/>
                    <a:pt x="27716" y="39055"/>
                  </a:cubicBezTo>
                  <a:cubicBezTo>
                    <a:pt x="27716" y="39055"/>
                    <a:pt x="27716" y="40314"/>
                    <a:pt x="27716" y="40314"/>
                  </a:cubicBezTo>
                  <a:cubicBezTo>
                    <a:pt x="27716" y="42834"/>
                    <a:pt x="27716" y="44094"/>
                    <a:pt x="27716" y="46613"/>
                  </a:cubicBezTo>
                  <a:cubicBezTo>
                    <a:pt x="27716" y="47873"/>
                    <a:pt x="27716" y="49133"/>
                    <a:pt x="27716" y="49133"/>
                  </a:cubicBezTo>
                  <a:cubicBezTo>
                    <a:pt x="27716" y="51653"/>
                    <a:pt x="27716" y="54172"/>
                    <a:pt x="28976" y="56692"/>
                  </a:cubicBezTo>
                  <a:cubicBezTo>
                    <a:pt x="28976" y="57952"/>
                    <a:pt x="28976" y="59212"/>
                    <a:pt x="30236" y="59212"/>
                  </a:cubicBezTo>
                  <a:cubicBezTo>
                    <a:pt x="31496" y="62991"/>
                    <a:pt x="32755" y="66771"/>
                    <a:pt x="34015" y="69290"/>
                  </a:cubicBezTo>
                  <a:lnTo>
                    <a:pt x="56692" y="69290"/>
                  </a:lnTo>
                  <a:lnTo>
                    <a:pt x="316216" y="69290"/>
                  </a:lnTo>
                  <a:lnTo>
                    <a:pt x="318735" y="69290"/>
                  </a:lnTo>
                  <a:cubicBezTo>
                    <a:pt x="322515" y="69290"/>
                    <a:pt x="326294" y="73070"/>
                    <a:pt x="326294" y="76849"/>
                  </a:cubicBezTo>
                  <a:cubicBezTo>
                    <a:pt x="326294" y="80629"/>
                    <a:pt x="322515" y="84408"/>
                    <a:pt x="318735" y="84408"/>
                  </a:cubicBezTo>
                  <a:lnTo>
                    <a:pt x="60471" y="84408"/>
                  </a:lnTo>
                  <a:lnTo>
                    <a:pt x="28976" y="84408"/>
                  </a:lnTo>
                  <a:lnTo>
                    <a:pt x="15118" y="84408"/>
                  </a:lnTo>
                  <a:cubicBezTo>
                    <a:pt x="13858" y="80629"/>
                    <a:pt x="11338" y="76849"/>
                    <a:pt x="10079" y="74330"/>
                  </a:cubicBezTo>
                  <a:cubicBezTo>
                    <a:pt x="6299" y="66771"/>
                    <a:pt x="3779" y="59212"/>
                    <a:pt x="2520" y="51653"/>
                  </a:cubicBezTo>
                  <a:cubicBezTo>
                    <a:pt x="1260" y="45354"/>
                    <a:pt x="0" y="40314"/>
                    <a:pt x="0" y="34015"/>
                  </a:cubicBezTo>
                  <a:cubicBezTo>
                    <a:pt x="0" y="32755"/>
                    <a:pt x="0" y="30236"/>
                    <a:pt x="0" y="28976"/>
                  </a:cubicBezTo>
                  <a:cubicBezTo>
                    <a:pt x="0" y="27716"/>
                    <a:pt x="0" y="25196"/>
                    <a:pt x="0" y="23937"/>
                  </a:cubicBezTo>
                  <a:cubicBezTo>
                    <a:pt x="1260" y="15118"/>
                    <a:pt x="3779" y="6299"/>
                    <a:pt x="10079" y="0"/>
                  </a:cubicBezTo>
                  <a:lnTo>
                    <a:pt x="28976" y="0"/>
                  </a:lnTo>
                  <a:lnTo>
                    <a:pt x="60471" y="0"/>
                  </a:lnTo>
                  <a:lnTo>
                    <a:pt x="318735" y="0"/>
                  </a:lnTo>
                  <a:cubicBezTo>
                    <a:pt x="322515" y="0"/>
                    <a:pt x="326294" y="3780"/>
                    <a:pt x="326294" y="7559"/>
                  </a:cubicBezTo>
                  <a:cubicBezTo>
                    <a:pt x="326294" y="12598"/>
                    <a:pt x="322515" y="16378"/>
                    <a:pt x="317475" y="16378"/>
                  </a:cubicBezTo>
                  <a:close/>
                </a:path>
              </a:pathLst>
            </a:custGeom>
            <a:solidFill>
              <a:srgbClr val="005CCF"/>
            </a:solidFill>
            <a:ln w="12584" cap="flat">
              <a:noFill/>
              <a:prstDash val="solid"/>
              <a:miter/>
            </a:ln>
          </p:spPr>
          <p:txBody>
            <a:bodyPr rtlCol="0" anchor="ctr"/>
            <a:lstStyle/>
            <a:p>
              <a:endParaRPr lang="zh-CN" altLang="en-US"/>
            </a:p>
          </p:txBody>
        </p:sp>
        <p:sp>
          <p:nvSpPr>
            <p:cNvPr id="10159" name="任意多边形: 形状 10158"/>
            <p:cNvSpPr/>
            <p:nvPr/>
          </p:nvSpPr>
          <p:spPr>
            <a:xfrm>
              <a:off x="2494221" y="3520967"/>
              <a:ext cx="12598" cy="12598"/>
            </a:xfrm>
            <a:custGeom>
              <a:avLst/>
              <a:gdLst>
                <a:gd name="connsiteX0" fmla="*/ 945 w 0"/>
                <a:gd name="connsiteY0" fmla="*/ 0 h 0"/>
                <a:gd name="connsiteX1" fmla="*/ 945 w 0"/>
                <a:gd name="connsiteY1" fmla="*/ 5039 h 0"/>
                <a:gd name="connsiteX2" fmla="*/ 945 w 0"/>
                <a:gd name="connsiteY2" fmla="*/ 0 h 0"/>
              </a:gdLst>
              <a:ahLst/>
              <a:cxnLst>
                <a:cxn ang="0">
                  <a:pos x="connsiteX0" y="connsiteY0"/>
                </a:cxn>
                <a:cxn ang="0">
                  <a:pos x="connsiteX1" y="connsiteY1"/>
                </a:cxn>
                <a:cxn ang="0">
                  <a:pos x="connsiteX2" y="connsiteY2"/>
                </a:cxn>
              </a:cxnLst>
              <a:rect l="l" t="t" r="r" b="b"/>
              <a:pathLst>
                <a:path>
                  <a:moveTo>
                    <a:pt x="945" y="0"/>
                  </a:moveTo>
                  <a:cubicBezTo>
                    <a:pt x="945" y="1260"/>
                    <a:pt x="945" y="3780"/>
                    <a:pt x="945" y="5039"/>
                  </a:cubicBezTo>
                  <a:cubicBezTo>
                    <a:pt x="-315" y="3780"/>
                    <a:pt x="-315" y="1260"/>
                    <a:pt x="945" y="0"/>
                  </a:cubicBezTo>
                  <a:close/>
                </a:path>
              </a:pathLst>
            </a:custGeom>
            <a:noFill/>
            <a:ln w="12584" cap="flat">
              <a:noFill/>
              <a:prstDash val="solid"/>
              <a:miter/>
            </a:ln>
          </p:spPr>
          <p:txBody>
            <a:bodyPr rtlCol="0" anchor="ctr"/>
            <a:lstStyle/>
            <a:p>
              <a:endParaRPr lang="zh-CN" altLang="en-US"/>
            </a:p>
          </p:txBody>
        </p:sp>
        <p:sp>
          <p:nvSpPr>
            <p:cNvPr id="10160" name="任意多边形: 形状 10159"/>
            <p:cNvSpPr/>
            <p:nvPr/>
          </p:nvSpPr>
          <p:spPr>
            <a:xfrm>
              <a:off x="2522882" y="3546163"/>
              <a:ext cx="277161" cy="12598"/>
            </a:xfrm>
            <a:custGeom>
              <a:avLst/>
              <a:gdLst>
                <a:gd name="connsiteX0" fmla="*/ 0 w 277161"/>
                <a:gd name="connsiteY0" fmla="*/ 0 h 0"/>
                <a:gd name="connsiteX1" fmla="*/ 287240 w 277161"/>
                <a:gd name="connsiteY1" fmla="*/ 0 h 0"/>
                <a:gd name="connsiteX2" fmla="*/ 287240 w 277161"/>
                <a:gd name="connsiteY2" fmla="*/ 7559 h 0"/>
                <a:gd name="connsiteX3" fmla="*/ 1260 w 277161"/>
                <a:gd name="connsiteY3" fmla="*/ 7559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7240" y="0"/>
                  </a:lnTo>
                  <a:lnTo>
                    <a:pt x="287240" y="7559"/>
                  </a:lnTo>
                  <a:lnTo>
                    <a:pt x="1260" y="7559"/>
                  </a:lnTo>
                  <a:cubicBezTo>
                    <a:pt x="0" y="5039"/>
                    <a:pt x="0" y="2520"/>
                    <a:pt x="0" y="0"/>
                  </a:cubicBezTo>
                  <a:close/>
                </a:path>
              </a:pathLst>
            </a:custGeom>
            <a:solidFill>
              <a:srgbClr val="FFFFFF"/>
            </a:solidFill>
            <a:ln w="12584" cap="flat">
              <a:noFill/>
              <a:prstDash val="solid"/>
              <a:miter/>
            </a:ln>
          </p:spPr>
          <p:txBody>
            <a:bodyPr rtlCol="0" anchor="ctr"/>
            <a:lstStyle/>
            <a:p>
              <a:endParaRPr lang="zh-CN" altLang="en-US"/>
            </a:p>
          </p:txBody>
        </p:sp>
        <p:sp>
          <p:nvSpPr>
            <p:cNvPr id="10161" name="任意多边形: 形状 10160"/>
            <p:cNvSpPr/>
            <p:nvPr/>
          </p:nvSpPr>
          <p:spPr>
            <a:xfrm>
              <a:off x="2524142" y="3556242"/>
              <a:ext cx="277161" cy="12598"/>
            </a:xfrm>
            <a:custGeom>
              <a:avLst/>
              <a:gdLst>
                <a:gd name="connsiteX0" fmla="*/ 3780 w 277161"/>
                <a:gd name="connsiteY0" fmla="*/ 10078 h 0"/>
                <a:gd name="connsiteX1" fmla="*/ 0 w 277161"/>
                <a:gd name="connsiteY1" fmla="*/ 0 h 0"/>
                <a:gd name="connsiteX2" fmla="*/ 285980 w 277161"/>
                <a:gd name="connsiteY2" fmla="*/ 0 h 0"/>
                <a:gd name="connsiteX3" fmla="*/ 285980 w 277161"/>
                <a:gd name="connsiteY3" fmla="*/ 10078 h 0"/>
                <a:gd name="connsiteX4" fmla="*/ 26456 w 277161"/>
                <a:gd name="connsiteY4" fmla="*/ 10078 h 0"/>
                <a:gd name="connsiteX5" fmla="*/ 3780 w 277161"/>
                <a:gd name="connsiteY5" fmla="*/ 100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10078"/>
                  </a:moveTo>
                  <a:cubicBezTo>
                    <a:pt x="2520" y="7559"/>
                    <a:pt x="1260" y="3779"/>
                    <a:pt x="0" y="0"/>
                  </a:cubicBezTo>
                  <a:lnTo>
                    <a:pt x="285980" y="0"/>
                  </a:lnTo>
                  <a:lnTo>
                    <a:pt x="285980" y="10078"/>
                  </a:lnTo>
                  <a:lnTo>
                    <a:pt x="26456" y="10078"/>
                  </a:lnTo>
                  <a:lnTo>
                    <a:pt x="3780" y="10078"/>
                  </a:lnTo>
                  <a:close/>
                </a:path>
              </a:pathLst>
            </a:custGeom>
            <a:solidFill>
              <a:srgbClr val="FFFFFF"/>
            </a:solidFill>
            <a:ln w="12584" cap="flat">
              <a:noFill/>
              <a:prstDash val="solid"/>
              <a:miter/>
            </a:ln>
          </p:spPr>
          <p:txBody>
            <a:bodyPr rtlCol="0" anchor="ctr"/>
            <a:lstStyle/>
            <a:p>
              <a:endParaRPr lang="zh-CN" altLang="en-US"/>
            </a:p>
          </p:txBody>
        </p:sp>
        <p:sp>
          <p:nvSpPr>
            <p:cNvPr id="10162" name="任意多边形: 形状 10161"/>
            <p:cNvSpPr/>
            <p:nvPr/>
          </p:nvSpPr>
          <p:spPr>
            <a:xfrm>
              <a:off x="2524142" y="3512148"/>
              <a:ext cx="277161" cy="12598"/>
            </a:xfrm>
            <a:custGeom>
              <a:avLst/>
              <a:gdLst>
                <a:gd name="connsiteX0" fmla="*/ 3780 w 277161"/>
                <a:gd name="connsiteY0" fmla="*/ 0 h 0"/>
                <a:gd name="connsiteX1" fmla="*/ 42834 w 277161"/>
                <a:gd name="connsiteY1" fmla="*/ 0 h 0"/>
                <a:gd name="connsiteX2" fmla="*/ 285980 w 277161"/>
                <a:gd name="connsiteY2" fmla="*/ 0 h 0"/>
                <a:gd name="connsiteX3" fmla="*/ 285980 w 277161"/>
                <a:gd name="connsiteY3" fmla="*/ 10078 h 0"/>
                <a:gd name="connsiteX4" fmla="*/ 0 w 277161"/>
                <a:gd name="connsiteY4" fmla="*/ 10078 h 0"/>
                <a:gd name="connsiteX5" fmla="*/ 3780 w 277161"/>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0"/>
                  </a:moveTo>
                  <a:lnTo>
                    <a:pt x="42834" y="0"/>
                  </a:lnTo>
                  <a:lnTo>
                    <a:pt x="285980" y="0"/>
                  </a:lnTo>
                  <a:lnTo>
                    <a:pt x="285980" y="10078"/>
                  </a:lnTo>
                  <a:lnTo>
                    <a:pt x="0" y="10078"/>
                  </a:lnTo>
                  <a:cubicBezTo>
                    <a:pt x="0" y="6299"/>
                    <a:pt x="1260" y="2520"/>
                    <a:pt x="3780" y="0"/>
                  </a:cubicBezTo>
                  <a:close/>
                </a:path>
              </a:pathLst>
            </a:custGeom>
            <a:solidFill>
              <a:srgbClr val="FFFFFF"/>
            </a:solidFill>
            <a:ln w="12584" cap="flat">
              <a:noFill/>
              <a:prstDash val="solid"/>
              <a:miter/>
            </a:ln>
          </p:spPr>
          <p:txBody>
            <a:bodyPr rtlCol="0" anchor="ctr"/>
            <a:lstStyle/>
            <a:p>
              <a:endParaRPr lang="zh-CN" altLang="en-US"/>
            </a:p>
          </p:txBody>
        </p:sp>
        <p:sp>
          <p:nvSpPr>
            <p:cNvPr id="10163" name="任意多边形: 形状 10162"/>
            <p:cNvSpPr/>
            <p:nvPr/>
          </p:nvSpPr>
          <p:spPr>
            <a:xfrm>
              <a:off x="2521622" y="3524746"/>
              <a:ext cx="277161" cy="12598"/>
            </a:xfrm>
            <a:custGeom>
              <a:avLst/>
              <a:gdLst>
                <a:gd name="connsiteX0" fmla="*/ 1260 w 277161"/>
                <a:gd name="connsiteY0" fmla="*/ 0 h 0"/>
                <a:gd name="connsiteX1" fmla="*/ 288499 w 277161"/>
                <a:gd name="connsiteY1" fmla="*/ 0 h 0"/>
                <a:gd name="connsiteX2" fmla="*/ 288499 w 277161"/>
                <a:gd name="connsiteY2" fmla="*/ 7559 h 0"/>
                <a:gd name="connsiteX3" fmla="*/ 0 w 277161"/>
                <a:gd name="connsiteY3" fmla="*/ 7559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8499" y="0"/>
                  </a:lnTo>
                  <a:lnTo>
                    <a:pt x="288499" y="7559"/>
                  </a:lnTo>
                  <a:lnTo>
                    <a:pt x="0" y="7559"/>
                  </a:lnTo>
                  <a:cubicBezTo>
                    <a:pt x="0" y="5039"/>
                    <a:pt x="1260" y="2520"/>
                    <a:pt x="1260" y="0"/>
                  </a:cubicBezTo>
                  <a:close/>
                </a:path>
              </a:pathLst>
            </a:custGeom>
            <a:solidFill>
              <a:srgbClr val="FFFFFF"/>
            </a:solidFill>
            <a:ln w="12584" cap="flat">
              <a:noFill/>
              <a:prstDash val="solid"/>
              <a:miter/>
            </a:ln>
          </p:spPr>
          <p:txBody>
            <a:bodyPr rtlCol="0" anchor="ctr"/>
            <a:lstStyle/>
            <a:p>
              <a:endParaRPr lang="zh-CN" altLang="en-US"/>
            </a:p>
          </p:txBody>
        </p:sp>
        <p:sp>
          <p:nvSpPr>
            <p:cNvPr id="10164" name="任意多边形: 形状 10163"/>
            <p:cNvSpPr/>
            <p:nvPr/>
          </p:nvSpPr>
          <p:spPr>
            <a:xfrm>
              <a:off x="2521622" y="3534825"/>
              <a:ext cx="277161" cy="12598"/>
            </a:xfrm>
            <a:custGeom>
              <a:avLst/>
              <a:gdLst>
                <a:gd name="connsiteX0" fmla="*/ 0 w 277161"/>
                <a:gd name="connsiteY0" fmla="*/ 1260 h 0"/>
                <a:gd name="connsiteX1" fmla="*/ 0 w 277161"/>
                <a:gd name="connsiteY1" fmla="*/ 1260 h 0"/>
                <a:gd name="connsiteX2" fmla="*/ 288499 w 277161"/>
                <a:gd name="connsiteY2" fmla="*/ 0 h 0"/>
                <a:gd name="connsiteX3" fmla="*/ 288499 w 277161"/>
                <a:gd name="connsiteY3" fmla="*/ 7559 h 0"/>
                <a:gd name="connsiteX4" fmla="*/ 0 w 277161"/>
                <a:gd name="connsiteY4" fmla="*/ 7559 h 0"/>
                <a:gd name="connsiteX5" fmla="*/ 0 w 277161"/>
                <a:gd name="connsiteY5"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0" y="1260"/>
                  </a:moveTo>
                  <a:cubicBezTo>
                    <a:pt x="0" y="1260"/>
                    <a:pt x="0" y="1260"/>
                    <a:pt x="0" y="1260"/>
                  </a:cubicBezTo>
                  <a:lnTo>
                    <a:pt x="288499" y="0"/>
                  </a:lnTo>
                  <a:lnTo>
                    <a:pt x="288499" y="7559"/>
                  </a:lnTo>
                  <a:lnTo>
                    <a:pt x="0" y="7559"/>
                  </a:lnTo>
                  <a:cubicBezTo>
                    <a:pt x="0" y="6299"/>
                    <a:pt x="0" y="3780"/>
                    <a:pt x="0" y="1260"/>
                  </a:cubicBezTo>
                  <a:close/>
                </a:path>
              </a:pathLst>
            </a:custGeom>
            <a:solidFill>
              <a:srgbClr val="FFFFFF"/>
            </a:solidFill>
            <a:ln w="12584" cap="flat">
              <a:noFill/>
              <a:prstDash val="solid"/>
              <a:miter/>
            </a:ln>
          </p:spPr>
          <p:txBody>
            <a:bodyPr rtlCol="0" anchor="ctr"/>
            <a:lstStyle/>
            <a:p>
              <a:endParaRPr lang="zh-CN" altLang="en-US"/>
            </a:p>
          </p:txBody>
        </p:sp>
        <p:sp>
          <p:nvSpPr>
            <p:cNvPr id="10165" name="任意多边形: 形状 10164"/>
            <p:cNvSpPr/>
            <p:nvPr/>
          </p:nvSpPr>
          <p:spPr>
            <a:xfrm>
              <a:off x="2521622" y="3522226"/>
              <a:ext cx="277161" cy="12598"/>
            </a:xfrm>
            <a:custGeom>
              <a:avLst/>
              <a:gdLst>
                <a:gd name="connsiteX0" fmla="*/ 1260 w 277161"/>
                <a:gd name="connsiteY0" fmla="*/ 0 h 0"/>
                <a:gd name="connsiteX1" fmla="*/ 287240 w 277161"/>
                <a:gd name="connsiteY1" fmla="*/ 0 h 0"/>
                <a:gd name="connsiteX2" fmla="*/ 287240 w 277161"/>
                <a:gd name="connsiteY2" fmla="*/ 2520 h 0"/>
                <a:gd name="connsiteX3" fmla="*/ 0 w 277161"/>
                <a:gd name="connsiteY3" fmla="*/ 2520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7240" y="0"/>
                  </a:lnTo>
                  <a:lnTo>
                    <a:pt x="287240" y="2520"/>
                  </a:lnTo>
                  <a:lnTo>
                    <a:pt x="0" y="2520"/>
                  </a:lnTo>
                  <a:cubicBezTo>
                    <a:pt x="1260" y="2520"/>
                    <a:pt x="1260" y="1260"/>
                    <a:pt x="1260" y="0"/>
                  </a:cubicBezTo>
                  <a:close/>
                </a:path>
              </a:pathLst>
            </a:custGeom>
            <a:solidFill>
              <a:srgbClr val="E1E1E6"/>
            </a:solidFill>
            <a:ln w="12584" cap="flat">
              <a:noFill/>
              <a:prstDash val="solid"/>
              <a:miter/>
            </a:ln>
          </p:spPr>
          <p:txBody>
            <a:bodyPr rtlCol="0" anchor="ctr"/>
            <a:lstStyle/>
            <a:p>
              <a:endParaRPr lang="zh-CN" altLang="en-US"/>
            </a:p>
          </p:txBody>
        </p:sp>
        <p:sp>
          <p:nvSpPr>
            <p:cNvPr id="10166" name="任意多边形: 形状 10165"/>
            <p:cNvSpPr/>
            <p:nvPr/>
          </p:nvSpPr>
          <p:spPr>
            <a:xfrm>
              <a:off x="2521622" y="3532305"/>
              <a:ext cx="277161" cy="12598"/>
            </a:xfrm>
            <a:custGeom>
              <a:avLst/>
              <a:gdLst>
                <a:gd name="connsiteX0" fmla="*/ 0 w 277161"/>
                <a:gd name="connsiteY0" fmla="*/ 0 h 0"/>
                <a:gd name="connsiteX1" fmla="*/ 288499 w 277161"/>
                <a:gd name="connsiteY1" fmla="*/ 0 h 0"/>
                <a:gd name="connsiteX2" fmla="*/ 288499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0167" name="任意多边形: 形状 10166"/>
            <p:cNvSpPr/>
            <p:nvPr/>
          </p:nvSpPr>
          <p:spPr>
            <a:xfrm>
              <a:off x="2521622" y="3542384"/>
              <a:ext cx="277161" cy="12598"/>
            </a:xfrm>
            <a:custGeom>
              <a:avLst/>
              <a:gdLst>
                <a:gd name="connsiteX0" fmla="*/ 0 w 277161"/>
                <a:gd name="connsiteY0" fmla="*/ 0 h 0"/>
                <a:gd name="connsiteX1" fmla="*/ 288499 w 277161"/>
                <a:gd name="connsiteY1" fmla="*/ 0 h 0"/>
                <a:gd name="connsiteX2" fmla="*/ 288499 w 277161"/>
                <a:gd name="connsiteY2" fmla="*/ 2520 h 0"/>
                <a:gd name="connsiteX3" fmla="*/ 126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126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0168" name="任意多边形: 形状 10167"/>
            <p:cNvSpPr/>
            <p:nvPr/>
          </p:nvSpPr>
          <p:spPr>
            <a:xfrm>
              <a:off x="2522882" y="3553722"/>
              <a:ext cx="277161" cy="12598"/>
            </a:xfrm>
            <a:custGeom>
              <a:avLst/>
              <a:gdLst>
                <a:gd name="connsiteX0" fmla="*/ 0 w 277161"/>
                <a:gd name="connsiteY0" fmla="*/ 0 h 0"/>
                <a:gd name="connsiteX1" fmla="*/ 285980 w 277161"/>
                <a:gd name="connsiteY1" fmla="*/ 0 h 0"/>
                <a:gd name="connsiteX2" fmla="*/ 285980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5980" y="0"/>
                  </a:lnTo>
                  <a:lnTo>
                    <a:pt x="285980" y="2520"/>
                  </a:lnTo>
                  <a:lnTo>
                    <a:pt x="0" y="2520"/>
                  </a:lnTo>
                  <a:cubicBezTo>
                    <a:pt x="1260" y="1260"/>
                    <a:pt x="1260" y="0"/>
                    <a:pt x="0" y="0"/>
                  </a:cubicBezTo>
                  <a:close/>
                </a:path>
              </a:pathLst>
            </a:custGeom>
            <a:solidFill>
              <a:srgbClr val="E1E1E6"/>
            </a:solidFill>
            <a:ln w="12584" cap="flat">
              <a:noFill/>
              <a:prstDash val="solid"/>
              <a:miter/>
            </a:ln>
          </p:spPr>
          <p:txBody>
            <a:bodyPr rtlCol="0" anchor="ctr"/>
            <a:lstStyle/>
            <a:p>
              <a:endParaRPr lang="zh-CN" altLang="en-US"/>
            </a:p>
          </p:txBody>
        </p:sp>
        <p:sp>
          <p:nvSpPr>
            <p:cNvPr id="10169" name="任意多边形: 形状 10168"/>
            <p:cNvSpPr/>
            <p:nvPr/>
          </p:nvSpPr>
          <p:spPr>
            <a:xfrm>
              <a:off x="2191548" y="3495770"/>
              <a:ext cx="314956" cy="75589"/>
            </a:xfrm>
            <a:custGeom>
              <a:avLst/>
              <a:gdLst>
                <a:gd name="connsiteX0" fmla="*/ 302358 w 314955"/>
                <a:gd name="connsiteY0" fmla="*/ 30236 h 75589"/>
                <a:gd name="connsiteX1" fmla="*/ 302358 w 314955"/>
                <a:gd name="connsiteY1" fmla="*/ 35275 h 75589"/>
                <a:gd name="connsiteX2" fmla="*/ 304877 w 314955"/>
                <a:gd name="connsiteY2" fmla="*/ 52913 h 75589"/>
                <a:gd name="connsiteX3" fmla="*/ 312436 w 314955"/>
                <a:gd name="connsiteY3" fmla="*/ 75589 h 75589"/>
                <a:gd name="connsiteX4" fmla="*/ 317475 w 314955"/>
                <a:gd name="connsiteY4" fmla="*/ 85668 h 75589"/>
                <a:gd name="connsiteX5" fmla="*/ 42834 w 314955"/>
                <a:gd name="connsiteY5" fmla="*/ 85668 h 75589"/>
                <a:gd name="connsiteX6" fmla="*/ 0 w 314955"/>
                <a:gd name="connsiteY6" fmla="*/ 42834 h 75589"/>
                <a:gd name="connsiteX7" fmla="*/ 42834 w 314955"/>
                <a:gd name="connsiteY7" fmla="*/ 0 h 75589"/>
                <a:gd name="connsiteX8" fmla="*/ 312436 w 314955"/>
                <a:gd name="connsiteY8" fmla="*/ 0 h 75589"/>
                <a:gd name="connsiteX9" fmla="*/ 302358 w 314955"/>
                <a:gd name="connsiteY9" fmla="*/ 23937 h 75589"/>
                <a:gd name="connsiteX10" fmla="*/ 302358 w 314955"/>
                <a:gd name="connsiteY10" fmla="*/ 30236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955" h="75589">
                  <a:moveTo>
                    <a:pt x="302358" y="30236"/>
                  </a:moveTo>
                  <a:cubicBezTo>
                    <a:pt x="302358" y="31496"/>
                    <a:pt x="302358" y="34015"/>
                    <a:pt x="302358" y="35275"/>
                  </a:cubicBezTo>
                  <a:cubicBezTo>
                    <a:pt x="302358" y="40314"/>
                    <a:pt x="303617" y="46613"/>
                    <a:pt x="304877" y="52913"/>
                  </a:cubicBezTo>
                  <a:cubicBezTo>
                    <a:pt x="306137" y="60472"/>
                    <a:pt x="309917" y="68030"/>
                    <a:pt x="312436" y="75589"/>
                  </a:cubicBezTo>
                  <a:cubicBezTo>
                    <a:pt x="313696" y="79369"/>
                    <a:pt x="316216" y="83148"/>
                    <a:pt x="317475" y="85668"/>
                  </a:cubicBezTo>
                  <a:lnTo>
                    <a:pt x="42834" y="85668"/>
                  </a:lnTo>
                  <a:cubicBezTo>
                    <a:pt x="18897" y="85668"/>
                    <a:pt x="0" y="66771"/>
                    <a:pt x="0" y="42834"/>
                  </a:cubicBezTo>
                  <a:cubicBezTo>
                    <a:pt x="0" y="18897"/>
                    <a:pt x="18897" y="0"/>
                    <a:pt x="42834" y="0"/>
                  </a:cubicBezTo>
                  <a:lnTo>
                    <a:pt x="312436" y="0"/>
                  </a:lnTo>
                  <a:cubicBezTo>
                    <a:pt x="307397" y="6299"/>
                    <a:pt x="303617" y="15118"/>
                    <a:pt x="302358" y="23937"/>
                  </a:cubicBezTo>
                  <a:cubicBezTo>
                    <a:pt x="302358" y="26456"/>
                    <a:pt x="302358" y="28976"/>
                    <a:pt x="302358" y="30236"/>
                  </a:cubicBezTo>
                  <a:close/>
                </a:path>
              </a:pathLst>
            </a:custGeom>
            <a:solidFill>
              <a:srgbClr val="001675"/>
            </a:solidFill>
            <a:ln w="12584" cap="flat">
              <a:noFill/>
              <a:prstDash val="solid"/>
              <a:miter/>
            </a:ln>
          </p:spPr>
          <p:txBody>
            <a:bodyPr rtlCol="0" anchor="ctr"/>
            <a:lstStyle/>
            <a:p>
              <a:endParaRPr lang="zh-CN" altLang="en-US"/>
            </a:p>
          </p:txBody>
        </p:sp>
        <p:sp>
          <p:nvSpPr>
            <p:cNvPr id="10170" name="任意多边形: 形状 10169"/>
            <p:cNvSpPr/>
            <p:nvPr/>
          </p:nvSpPr>
          <p:spPr>
            <a:xfrm>
              <a:off x="2495166" y="3495770"/>
              <a:ext cx="314956" cy="75589"/>
            </a:xfrm>
            <a:custGeom>
              <a:avLst/>
              <a:gdLst>
                <a:gd name="connsiteX0" fmla="*/ 317476 w 314955"/>
                <a:gd name="connsiteY0" fmla="*/ 16378 h 75589"/>
                <a:gd name="connsiteX1" fmla="*/ 314956 w 314955"/>
                <a:gd name="connsiteY1" fmla="*/ 16378 h 75589"/>
                <a:gd name="connsiteX2" fmla="*/ 71810 w 314955"/>
                <a:gd name="connsiteY2" fmla="*/ 16378 h 75589"/>
                <a:gd name="connsiteX3" fmla="*/ 32755 w 314955"/>
                <a:gd name="connsiteY3" fmla="*/ 16378 h 75589"/>
                <a:gd name="connsiteX4" fmla="*/ 28976 w 314955"/>
                <a:gd name="connsiteY4" fmla="*/ 26456 h 75589"/>
                <a:gd name="connsiteX5" fmla="*/ 28976 w 314955"/>
                <a:gd name="connsiteY5" fmla="*/ 28976 h 75589"/>
                <a:gd name="connsiteX6" fmla="*/ 27716 w 314955"/>
                <a:gd name="connsiteY6" fmla="*/ 36535 h 75589"/>
                <a:gd name="connsiteX7" fmla="*/ 27716 w 314955"/>
                <a:gd name="connsiteY7" fmla="*/ 39054 h 75589"/>
                <a:gd name="connsiteX8" fmla="*/ 27716 w 314955"/>
                <a:gd name="connsiteY8" fmla="*/ 40314 h 75589"/>
                <a:gd name="connsiteX9" fmla="*/ 27716 w 314955"/>
                <a:gd name="connsiteY9" fmla="*/ 46613 h 75589"/>
                <a:gd name="connsiteX10" fmla="*/ 27716 w 314955"/>
                <a:gd name="connsiteY10" fmla="*/ 49133 h 75589"/>
                <a:gd name="connsiteX11" fmla="*/ 28976 w 314955"/>
                <a:gd name="connsiteY11" fmla="*/ 56692 h 75589"/>
                <a:gd name="connsiteX12" fmla="*/ 30236 w 314955"/>
                <a:gd name="connsiteY12" fmla="*/ 59212 h 75589"/>
                <a:gd name="connsiteX13" fmla="*/ 34015 w 314955"/>
                <a:gd name="connsiteY13" fmla="*/ 69290 h 75589"/>
                <a:gd name="connsiteX14" fmla="*/ 56692 w 314955"/>
                <a:gd name="connsiteY14" fmla="*/ 69290 h 75589"/>
                <a:gd name="connsiteX15" fmla="*/ 316216 w 314955"/>
                <a:gd name="connsiteY15" fmla="*/ 69290 h 75589"/>
                <a:gd name="connsiteX16" fmla="*/ 318735 w 314955"/>
                <a:gd name="connsiteY16" fmla="*/ 69290 h 75589"/>
                <a:gd name="connsiteX17" fmla="*/ 326294 w 314955"/>
                <a:gd name="connsiteY17" fmla="*/ 76849 h 75589"/>
                <a:gd name="connsiteX18" fmla="*/ 318735 w 314955"/>
                <a:gd name="connsiteY18" fmla="*/ 84408 h 75589"/>
                <a:gd name="connsiteX19" fmla="*/ 60471 w 314955"/>
                <a:gd name="connsiteY19" fmla="*/ 84408 h 75589"/>
                <a:gd name="connsiteX20" fmla="*/ 28976 w 314955"/>
                <a:gd name="connsiteY20" fmla="*/ 84408 h 75589"/>
                <a:gd name="connsiteX21" fmla="*/ 15118 w 314955"/>
                <a:gd name="connsiteY21" fmla="*/ 84408 h 75589"/>
                <a:gd name="connsiteX22" fmla="*/ 10079 w 314955"/>
                <a:gd name="connsiteY22" fmla="*/ 74330 h 75589"/>
                <a:gd name="connsiteX23" fmla="*/ 2520 w 314955"/>
                <a:gd name="connsiteY23" fmla="*/ 51653 h 75589"/>
                <a:gd name="connsiteX24" fmla="*/ 0 w 314955"/>
                <a:gd name="connsiteY24" fmla="*/ 34015 h 75589"/>
                <a:gd name="connsiteX25" fmla="*/ 0 w 314955"/>
                <a:gd name="connsiteY25" fmla="*/ 28976 h 75589"/>
                <a:gd name="connsiteX26" fmla="*/ 0 w 314955"/>
                <a:gd name="connsiteY26" fmla="*/ 23937 h 75589"/>
                <a:gd name="connsiteX27" fmla="*/ 10079 w 314955"/>
                <a:gd name="connsiteY27" fmla="*/ 0 h 75589"/>
                <a:gd name="connsiteX28" fmla="*/ 28976 w 314955"/>
                <a:gd name="connsiteY28" fmla="*/ 0 h 75589"/>
                <a:gd name="connsiteX29" fmla="*/ 60471 w 314955"/>
                <a:gd name="connsiteY29" fmla="*/ 0 h 75589"/>
                <a:gd name="connsiteX30" fmla="*/ 318735 w 314955"/>
                <a:gd name="connsiteY30" fmla="*/ 0 h 75589"/>
                <a:gd name="connsiteX31" fmla="*/ 326294 w 314955"/>
                <a:gd name="connsiteY31" fmla="*/ 7559 h 75589"/>
                <a:gd name="connsiteX32" fmla="*/ 317476 w 314955"/>
                <a:gd name="connsiteY32" fmla="*/ 16378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955" h="75589">
                  <a:moveTo>
                    <a:pt x="317476" y="16378"/>
                  </a:moveTo>
                  <a:lnTo>
                    <a:pt x="314956" y="16378"/>
                  </a:lnTo>
                  <a:lnTo>
                    <a:pt x="71810" y="16378"/>
                  </a:lnTo>
                  <a:lnTo>
                    <a:pt x="32755" y="16378"/>
                  </a:lnTo>
                  <a:cubicBezTo>
                    <a:pt x="31496" y="18897"/>
                    <a:pt x="30236" y="22677"/>
                    <a:pt x="28976" y="26456"/>
                  </a:cubicBezTo>
                  <a:cubicBezTo>
                    <a:pt x="28976" y="27716"/>
                    <a:pt x="28976" y="27716"/>
                    <a:pt x="28976" y="28976"/>
                  </a:cubicBezTo>
                  <a:cubicBezTo>
                    <a:pt x="28976" y="31496"/>
                    <a:pt x="27716" y="34015"/>
                    <a:pt x="27716" y="36535"/>
                  </a:cubicBezTo>
                  <a:cubicBezTo>
                    <a:pt x="27716" y="37795"/>
                    <a:pt x="27716" y="37795"/>
                    <a:pt x="27716" y="39054"/>
                  </a:cubicBezTo>
                  <a:cubicBezTo>
                    <a:pt x="27716" y="39054"/>
                    <a:pt x="27716" y="40314"/>
                    <a:pt x="27716" y="40314"/>
                  </a:cubicBezTo>
                  <a:cubicBezTo>
                    <a:pt x="27716" y="42834"/>
                    <a:pt x="27716" y="44094"/>
                    <a:pt x="27716" y="46613"/>
                  </a:cubicBezTo>
                  <a:cubicBezTo>
                    <a:pt x="27716" y="47873"/>
                    <a:pt x="27716" y="49133"/>
                    <a:pt x="27716" y="49133"/>
                  </a:cubicBezTo>
                  <a:cubicBezTo>
                    <a:pt x="27716" y="51653"/>
                    <a:pt x="27716" y="54172"/>
                    <a:pt x="28976" y="56692"/>
                  </a:cubicBezTo>
                  <a:cubicBezTo>
                    <a:pt x="28976" y="57952"/>
                    <a:pt x="28976" y="59212"/>
                    <a:pt x="30236" y="59212"/>
                  </a:cubicBezTo>
                  <a:cubicBezTo>
                    <a:pt x="31496" y="62991"/>
                    <a:pt x="32755" y="66771"/>
                    <a:pt x="34015" y="69290"/>
                  </a:cubicBezTo>
                  <a:lnTo>
                    <a:pt x="56692" y="69290"/>
                  </a:lnTo>
                  <a:lnTo>
                    <a:pt x="316216" y="69290"/>
                  </a:lnTo>
                  <a:lnTo>
                    <a:pt x="318735" y="69290"/>
                  </a:lnTo>
                  <a:cubicBezTo>
                    <a:pt x="322515" y="69290"/>
                    <a:pt x="326294" y="73070"/>
                    <a:pt x="326294" y="76849"/>
                  </a:cubicBezTo>
                  <a:cubicBezTo>
                    <a:pt x="326294" y="80629"/>
                    <a:pt x="322515" y="84408"/>
                    <a:pt x="318735" y="84408"/>
                  </a:cubicBezTo>
                  <a:lnTo>
                    <a:pt x="60471" y="84408"/>
                  </a:lnTo>
                  <a:lnTo>
                    <a:pt x="28976" y="84408"/>
                  </a:lnTo>
                  <a:lnTo>
                    <a:pt x="15118" y="84408"/>
                  </a:lnTo>
                  <a:cubicBezTo>
                    <a:pt x="13858" y="80629"/>
                    <a:pt x="11338" y="76849"/>
                    <a:pt x="10079" y="74330"/>
                  </a:cubicBezTo>
                  <a:cubicBezTo>
                    <a:pt x="6299" y="66771"/>
                    <a:pt x="3779" y="59212"/>
                    <a:pt x="2520" y="51653"/>
                  </a:cubicBezTo>
                  <a:cubicBezTo>
                    <a:pt x="1260" y="45354"/>
                    <a:pt x="0" y="40314"/>
                    <a:pt x="0" y="34015"/>
                  </a:cubicBezTo>
                  <a:cubicBezTo>
                    <a:pt x="0" y="32755"/>
                    <a:pt x="0" y="30236"/>
                    <a:pt x="0" y="28976"/>
                  </a:cubicBezTo>
                  <a:cubicBezTo>
                    <a:pt x="0" y="27716"/>
                    <a:pt x="0" y="25196"/>
                    <a:pt x="0" y="23937"/>
                  </a:cubicBezTo>
                  <a:cubicBezTo>
                    <a:pt x="1260" y="15118"/>
                    <a:pt x="3779" y="6299"/>
                    <a:pt x="10079" y="0"/>
                  </a:cubicBezTo>
                  <a:lnTo>
                    <a:pt x="28976" y="0"/>
                  </a:lnTo>
                  <a:lnTo>
                    <a:pt x="60471" y="0"/>
                  </a:lnTo>
                  <a:lnTo>
                    <a:pt x="318735" y="0"/>
                  </a:lnTo>
                  <a:cubicBezTo>
                    <a:pt x="322515" y="0"/>
                    <a:pt x="326294" y="3780"/>
                    <a:pt x="326294" y="7559"/>
                  </a:cubicBezTo>
                  <a:cubicBezTo>
                    <a:pt x="325034" y="12598"/>
                    <a:pt x="321255" y="16378"/>
                    <a:pt x="317476" y="16378"/>
                  </a:cubicBezTo>
                  <a:close/>
                </a:path>
              </a:pathLst>
            </a:custGeom>
            <a:solidFill>
              <a:srgbClr val="005CCF"/>
            </a:solidFill>
            <a:ln w="12584" cap="flat">
              <a:noFill/>
              <a:prstDash val="solid"/>
              <a:miter/>
            </a:ln>
          </p:spPr>
          <p:txBody>
            <a:bodyPr rtlCol="0" anchor="ctr"/>
            <a:lstStyle/>
            <a:p>
              <a:endParaRPr lang="zh-CN" altLang="en-US"/>
            </a:p>
          </p:txBody>
        </p:sp>
        <p:sp>
          <p:nvSpPr>
            <p:cNvPr id="10171" name="任意多边形: 形状 10170"/>
            <p:cNvSpPr/>
            <p:nvPr/>
          </p:nvSpPr>
          <p:spPr>
            <a:xfrm>
              <a:off x="2453591" y="3604115"/>
              <a:ext cx="12598" cy="12598"/>
            </a:xfrm>
            <a:custGeom>
              <a:avLst/>
              <a:gdLst>
                <a:gd name="connsiteX0" fmla="*/ 0 w 0"/>
                <a:gd name="connsiteY0" fmla="*/ 0 h 0"/>
                <a:gd name="connsiteX1" fmla="*/ 0 w 0"/>
                <a:gd name="connsiteY1" fmla="*/ 5039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0" y="1260"/>
                    <a:pt x="0" y="3780"/>
                    <a:pt x="0" y="5039"/>
                  </a:cubicBezTo>
                  <a:cubicBezTo>
                    <a:pt x="0" y="3780"/>
                    <a:pt x="0" y="2520"/>
                    <a:pt x="0" y="0"/>
                  </a:cubicBezTo>
                  <a:close/>
                </a:path>
              </a:pathLst>
            </a:custGeom>
            <a:noFill/>
            <a:ln w="12584" cap="flat">
              <a:noFill/>
              <a:prstDash val="solid"/>
              <a:miter/>
            </a:ln>
          </p:spPr>
          <p:txBody>
            <a:bodyPr rtlCol="0" anchor="ctr"/>
            <a:lstStyle/>
            <a:p>
              <a:endParaRPr lang="zh-CN" altLang="en-US"/>
            </a:p>
          </p:txBody>
        </p:sp>
        <p:sp>
          <p:nvSpPr>
            <p:cNvPr id="10172" name="任意多边形: 形状 10171"/>
            <p:cNvSpPr/>
            <p:nvPr/>
          </p:nvSpPr>
          <p:spPr>
            <a:xfrm>
              <a:off x="2481308" y="3629311"/>
              <a:ext cx="277161" cy="12598"/>
            </a:xfrm>
            <a:custGeom>
              <a:avLst/>
              <a:gdLst>
                <a:gd name="connsiteX0" fmla="*/ 0 w 277161"/>
                <a:gd name="connsiteY0" fmla="*/ 0 h 0"/>
                <a:gd name="connsiteX1" fmla="*/ 287240 w 277161"/>
                <a:gd name="connsiteY1" fmla="*/ 0 h 0"/>
                <a:gd name="connsiteX2" fmla="*/ 287240 w 277161"/>
                <a:gd name="connsiteY2" fmla="*/ 7559 h 0"/>
                <a:gd name="connsiteX3" fmla="*/ 1260 w 277161"/>
                <a:gd name="connsiteY3" fmla="*/ 7559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7240" y="0"/>
                  </a:lnTo>
                  <a:lnTo>
                    <a:pt x="287240" y="7559"/>
                  </a:lnTo>
                  <a:lnTo>
                    <a:pt x="1260" y="7559"/>
                  </a:lnTo>
                  <a:cubicBezTo>
                    <a:pt x="1260" y="5039"/>
                    <a:pt x="0" y="2520"/>
                    <a:pt x="0" y="0"/>
                  </a:cubicBezTo>
                  <a:close/>
                </a:path>
              </a:pathLst>
            </a:custGeom>
            <a:solidFill>
              <a:srgbClr val="FFFFFF"/>
            </a:solidFill>
            <a:ln w="12584" cap="flat">
              <a:noFill/>
              <a:prstDash val="solid"/>
              <a:miter/>
            </a:ln>
          </p:spPr>
          <p:txBody>
            <a:bodyPr rtlCol="0" anchor="ctr"/>
            <a:lstStyle/>
            <a:p>
              <a:endParaRPr lang="zh-CN" altLang="en-US"/>
            </a:p>
          </p:txBody>
        </p:sp>
        <p:sp>
          <p:nvSpPr>
            <p:cNvPr id="10173" name="任意多边形: 形状 10172"/>
            <p:cNvSpPr/>
            <p:nvPr/>
          </p:nvSpPr>
          <p:spPr>
            <a:xfrm>
              <a:off x="2483827" y="3639390"/>
              <a:ext cx="277161" cy="12598"/>
            </a:xfrm>
            <a:custGeom>
              <a:avLst/>
              <a:gdLst>
                <a:gd name="connsiteX0" fmla="*/ 3780 w 277161"/>
                <a:gd name="connsiteY0" fmla="*/ 10079 h 0"/>
                <a:gd name="connsiteX1" fmla="*/ 0 w 277161"/>
                <a:gd name="connsiteY1" fmla="*/ 0 h 0"/>
                <a:gd name="connsiteX2" fmla="*/ 285980 w 277161"/>
                <a:gd name="connsiteY2" fmla="*/ 0 h 0"/>
                <a:gd name="connsiteX3" fmla="*/ 285980 w 277161"/>
                <a:gd name="connsiteY3" fmla="*/ 10079 h 0"/>
                <a:gd name="connsiteX4" fmla="*/ 26456 w 277161"/>
                <a:gd name="connsiteY4" fmla="*/ 10079 h 0"/>
                <a:gd name="connsiteX5" fmla="*/ 3780 w 277161"/>
                <a:gd name="connsiteY5" fmla="*/ 1007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10079"/>
                  </a:moveTo>
                  <a:cubicBezTo>
                    <a:pt x="2520" y="7559"/>
                    <a:pt x="1260" y="3780"/>
                    <a:pt x="0" y="0"/>
                  </a:cubicBezTo>
                  <a:lnTo>
                    <a:pt x="285980" y="0"/>
                  </a:lnTo>
                  <a:lnTo>
                    <a:pt x="285980" y="10079"/>
                  </a:lnTo>
                  <a:lnTo>
                    <a:pt x="26456" y="10079"/>
                  </a:lnTo>
                  <a:lnTo>
                    <a:pt x="3780" y="10079"/>
                  </a:lnTo>
                  <a:close/>
                </a:path>
              </a:pathLst>
            </a:custGeom>
            <a:solidFill>
              <a:srgbClr val="FFFFFF"/>
            </a:solidFill>
            <a:ln w="12584" cap="flat">
              <a:noFill/>
              <a:prstDash val="solid"/>
              <a:miter/>
            </a:ln>
          </p:spPr>
          <p:txBody>
            <a:bodyPr rtlCol="0" anchor="ctr"/>
            <a:lstStyle/>
            <a:p>
              <a:endParaRPr lang="zh-CN" altLang="en-US"/>
            </a:p>
          </p:txBody>
        </p:sp>
        <p:sp>
          <p:nvSpPr>
            <p:cNvPr id="10174" name="任意多边形: 形状 10173"/>
            <p:cNvSpPr/>
            <p:nvPr/>
          </p:nvSpPr>
          <p:spPr>
            <a:xfrm>
              <a:off x="2482567" y="3595296"/>
              <a:ext cx="277161" cy="12598"/>
            </a:xfrm>
            <a:custGeom>
              <a:avLst/>
              <a:gdLst>
                <a:gd name="connsiteX0" fmla="*/ 3779 w 277161"/>
                <a:gd name="connsiteY0" fmla="*/ 0 h 0"/>
                <a:gd name="connsiteX1" fmla="*/ 42834 w 277161"/>
                <a:gd name="connsiteY1" fmla="*/ 0 h 0"/>
                <a:gd name="connsiteX2" fmla="*/ 285980 w 277161"/>
                <a:gd name="connsiteY2" fmla="*/ 0 h 0"/>
                <a:gd name="connsiteX3" fmla="*/ 285980 w 277161"/>
                <a:gd name="connsiteY3" fmla="*/ 10079 h 0"/>
                <a:gd name="connsiteX4" fmla="*/ 0 w 277161"/>
                <a:gd name="connsiteY4" fmla="*/ 10079 h 0"/>
                <a:gd name="connsiteX5" fmla="*/ 3779 w 277161"/>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79" y="0"/>
                  </a:moveTo>
                  <a:lnTo>
                    <a:pt x="42834" y="0"/>
                  </a:lnTo>
                  <a:lnTo>
                    <a:pt x="285980" y="0"/>
                  </a:lnTo>
                  <a:lnTo>
                    <a:pt x="285980" y="10079"/>
                  </a:lnTo>
                  <a:lnTo>
                    <a:pt x="0" y="10079"/>
                  </a:lnTo>
                  <a:cubicBezTo>
                    <a:pt x="1260" y="6299"/>
                    <a:pt x="2520" y="3780"/>
                    <a:pt x="3779" y="0"/>
                  </a:cubicBezTo>
                  <a:close/>
                </a:path>
              </a:pathLst>
            </a:custGeom>
            <a:solidFill>
              <a:srgbClr val="FFFFFF"/>
            </a:solidFill>
            <a:ln w="12584" cap="flat">
              <a:noFill/>
              <a:prstDash val="solid"/>
              <a:miter/>
            </a:ln>
          </p:spPr>
          <p:txBody>
            <a:bodyPr rtlCol="0" anchor="ctr"/>
            <a:lstStyle/>
            <a:p>
              <a:endParaRPr lang="zh-CN" altLang="en-US"/>
            </a:p>
          </p:txBody>
        </p:sp>
        <p:sp>
          <p:nvSpPr>
            <p:cNvPr id="10175" name="任意多边形: 形状 10174"/>
            <p:cNvSpPr/>
            <p:nvPr/>
          </p:nvSpPr>
          <p:spPr>
            <a:xfrm>
              <a:off x="2481308" y="3609154"/>
              <a:ext cx="277161" cy="12598"/>
            </a:xfrm>
            <a:custGeom>
              <a:avLst/>
              <a:gdLst>
                <a:gd name="connsiteX0" fmla="*/ 1260 w 277161"/>
                <a:gd name="connsiteY0" fmla="*/ 0 h 0"/>
                <a:gd name="connsiteX1" fmla="*/ 288499 w 277161"/>
                <a:gd name="connsiteY1" fmla="*/ 0 h 0"/>
                <a:gd name="connsiteX2" fmla="*/ 288499 w 277161"/>
                <a:gd name="connsiteY2" fmla="*/ 7559 h 0"/>
                <a:gd name="connsiteX3" fmla="*/ 0 w 277161"/>
                <a:gd name="connsiteY3" fmla="*/ 7559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8499" y="0"/>
                  </a:lnTo>
                  <a:lnTo>
                    <a:pt x="288499" y="7559"/>
                  </a:lnTo>
                  <a:lnTo>
                    <a:pt x="0" y="7559"/>
                  </a:lnTo>
                  <a:cubicBezTo>
                    <a:pt x="0" y="5039"/>
                    <a:pt x="0" y="2520"/>
                    <a:pt x="1260" y="0"/>
                  </a:cubicBezTo>
                  <a:close/>
                </a:path>
              </a:pathLst>
            </a:custGeom>
            <a:solidFill>
              <a:srgbClr val="FFFFFF"/>
            </a:solidFill>
            <a:ln w="12584" cap="flat">
              <a:noFill/>
              <a:prstDash val="solid"/>
              <a:miter/>
            </a:ln>
          </p:spPr>
          <p:txBody>
            <a:bodyPr rtlCol="0" anchor="ctr"/>
            <a:lstStyle/>
            <a:p>
              <a:endParaRPr lang="zh-CN" altLang="en-US"/>
            </a:p>
          </p:txBody>
        </p:sp>
        <p:sp>
          <p:nvSpPr>
            <p:cNvPr id="10176" name="任意多边形: 形状 10175"/>
            <p:cNvSpPr/>
            <p:nvPr/>
          </p:nvSpPr>
          <p:spPr>
            <a:xfrm>
              <a:off x="2481308" y="3619233"/>
              <a:ext cx="277161" cy="12598"/>
            </a:xfrm>
            <a:custGeom>
              <a:avLst/>
              <a:gdLst>
                <a:gd name="connsiteX0" fmla="*/ 0 w 277161"/>
                <a:gd name="connsiteY0" fmla="*/ 1260 h 0"/>
                <a:gd name="connsiteX1" fmla="*/ 0 w 277161"/>
                <a:gd name="connsiteY1" fmla="*/ 1260 h 0"/>
                <a:gd name="connsiteX2" fmla="*/ 288499 w 277161"/>
                <a:gd name="connsiteY2" fmla="*/ 0 h 0"/>
                <a:gd name="connsiteX3" fmla="*/ 288499 w 277161"/>
                <a:gd name="connsiteY3" fmla="*/ 7559 h 0"/>
                <a:gd name="connsiteX4" fmla="*/ 0 w 277161"/>
                <a:gd name="connsiteY4" fmla="*/ 7559 h 0"/>
                <a:gd name="connsiteX5" fmla="*/ 0 w 277161"/>
                <a:gd name="connsiteY5"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0" y="1260"/>
                  </a:moveTo>
                  <a:cubicBezTo>
                    <a:pt x="0" y="0"/>
                    <a:pt x="0" y="0"/>
                    <a:pt x="0" y="1260"/>
                  </a:cubicBezTo>
                  <a:lnTo>
                    <a:pt x="288499" y="0"/>
                  </a:lnTo>
                  <a:lnTo>
                    <a:pt x="288499" y="7559"/>
                  </a:lnTo>
                  <a:lnTo>
                    <a:pt x="0" y="7559"/>
                  </a:lnTo>
                  <a:cubicBezTo>
                    <a:pt x="0" y="5039"/>
                    <a:pt x="0" y="3779"/>
                    <a:pt x="0" y="1260"/>
                  </a:cubicBezTo>
                  <a:close/>
                </a:path>
              </a:pathLst>
            </a:custGeom>
            <a:solidFill>
              <a:srgbClr val="FFFFFF"/>
            </a:solidFill>
            <a:ln w="12584" cap="flat">
              <a:noFill/>
              <a:prstDash val="solid"/>
              <a:miter/>
            </a:ln>
          </p:spPr>
          <p:txBody>
            <a:bodyPr rtlCol="0" anchor="ctr"/>
            <a:lstStyle/>
            <a:p>
              <a:endParaRPr lang="zh-CN" altLang="en-US"/>
            </a:p>
          </p:txBody>
        </p:sp>
        <p:sp>
          <p:nvSpPr>
            <p:cNvPr id="10177" name="任意多边形: 形状 10176"/>
            <p:cNvSpPr/>
            <p:nvPr/>
          </p:nvSpPr>
          <p:spPr>
            <a:xfrm>
              <a:off x="2481308" y="3606635"/>
              <a:ext cx="277161" cy="12598"/>
            </a:xfrm>
            <a:custGeom>
              <a:avLst/>
              <a:gdLst>
                <a:gd name="connsiteX0" fmla="*/ 1260 w 277161"/>
                <a:gd name="connsiteY0" fmla="*/ 0 h 0"/>
                <a:gd name="connsiteX1" fmla="*/ 287240 w 277161"/>
                <a:gd name="connsiteY1" fmla="*/ 0 h 0"/>
                <a:gd name="connsiteX2" fmla="*/ 287240 w 277161"/>
                <a:gd name="connsiteY2" fmla="*/ 2520 h 0"/>
                <a:gd name="connsiteX3" fmla="*/ 0 w 277161"/>
                <a:gd name="connsiteY3" fmla="*/ 2520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7240" y="0"/>
                  </a:lnTo>
                  <a:lnTo>
                    <a:pt x="287240" y="2520"/>
                  </a:lnTo>
                  <a:lnTo>
                    <a:pt x="0" y="2520"/>
                  </a:lnTo>
                  <a:cubicBezTo>
                    <a:pt x="1260" y="1260"/>
                    <a:pt x="1260" y="0"/>
                    <a:pt x="1260" y="0"/>
                  </a:cubicBezTo>
                  <a:close/>
                </a:path>
              </a:pathLst>
            </a:custGeom>
            <a:solidFill>
              <a:srgbClr val="E1E1E6"/>
            </a:solidFill>
            <a:ln w="12584" cap="flat">
              <a:noFill/>
              <a:prstDash val="solid"/>
              <a:miter/>
            </a:ln>
          </p:spPr>
          <p:txBody>
            <a:bodyPr rtlCol="0" anchor="ctr"/>
            <a:lstStyle/>
            <a:p>
              <a:endParaRPr lang="zh-CN" altLang="en-US"/>
            </a:p>
          </p:txBody>
        </p:sp>
        <p:sp>
          <p:nvSpPr>
            <p:cNvPr id="10178" name="任意多边形: 形状 10177"/>
            <p:cNvSpPr/>
            <p:nvPr/>
          </p:nvSpPr>
          <p:spPr>
            <a:xfrm>
              <a:off x="2481308" y="3616713"/>
              <a:ext cx="277161" cy="12598"/>
            </a:xfrm>
            <a:custGeom>
              <a:avLst/>
              <a:gdLst>
                <a:gd name="connsiteX0" fmla="*/ 0 w 277161"/>
                <a:gd name="connsiteY0" fmla="*/ 0 h 0"/>
                <a:gd name="connsiteX1" fmla="*/ 288499 w 277161"/>
                <a:gd name="connsiteY1" fmla="*/ 0 h 0"/>
                <a:gd name="connsiteX2" fmla="*/ 288499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0" y="2520"/>
                  </a:lnTo>
                  <a:cubicBezTo>
                    <a:pt x="0" y="1260"/>
                    <a:pt x="0" y="0"/>
                    <a:pt x="0" y="0"/>
                  </a:cubicBezTo>
                  <a:close/>
                </a:path>
              </a:pathLst>
            </a:custGeom>
            <a:solidFill>
              <a:srgbClr val="E1E1E6"/>
            </a:solidFill>
            <a:ln w="12584" cap="flat">
              <a:noFill/>
              <a:prstDash val="solid"/>
              <a:miter/>
            </a:ln>
          </p:spPr>
          <p:txBody>
            <a:bodyPr rtlCol="0" anchor="ctr"/>
            <a:lstStyle/>
            <a:p>
              <a:endParaRPr lang="zh-CN" altLang="en-US"/>
            </a:p>
          </p:txBody>
        </p:sp>
        <p:sp>
          <p:nvSpPr>
            <p:cNvPr id="10179" name="任意多边形: 形状 10178"/>
            <p:cNvSpPr/>
            <p:nvPr/>
          </p:nvSpPr>
          <p:spPr>
            <a:xfrm>
              <a:off x="2481308" y="3626792"/>
              <a:ext cx="277161" cy="12598"/>
            </a:xfrm>
            <a:custGeom>
              <a:avLst/>
              <a:gdLst>
                <a:gd name="connsiteX0" fmla="*/ 0 w 277161"/>
                <a:gd name="connsiteY0" fmla="*/ 0 h 0"/>
                <a:gd name="connsiteX1" fmla="*/ 288499 w 277161"/>
                <a:gd name="connsiteY1" fmla="*/ 0 h 0"/>
                <a:gd name="connsiteX2" fmla="*/ 288499 w 277161"/>
                <a:gd name="connsiteY2" fmla="*/ 2520 h 0"/>
                <a:gd name="connsiteX3" fmla="*/ 126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1260" y="2520"/>
                  </a:lnTo>
                  <a:cubicBezTo>
                    <a:pt x="0" y="126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0180" name="任意多边形: 形状 10179"/>
            <p:cNvSpPr/>
            <p:nvPr/>
          </p:nvSpPr>
          <p:spPr>
            <a:xfrm>
              <a:off x="2482567" y="3636870"/>
              <a:ext cx="277161" cy="12598"/>
            </a:xfrm>
            <a:custGeom>
              <a:avLst/>
              <a:gdLst>
                <a:gd name="connsiteX0" fmla="*/ 0 w 277161"/>
                <a:gd name="connsiteY0" fmla="*/ 0 h 0"/>
                <a:gd name="connsiteX1" fmla="*/ 285980 w 277161"/>
                <a:gd name="connsiteY1" fmla="*/ 0 h 0"/>
                <a:gd name="connsiteX2" fmla="*/ 285980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5980" y="0"/>
                  </a:lnTo>
                  <a:lnTo>
                    <a:pt x="285980" y="2520"/>
                  </a:lnTo>
                  <a:lnTo>
                    <a:pt x="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0181" name="任意多边形: 形状 10180"/>
            <p:cNvSpPr/>
            <p:nvPr/>
          </p:nvSpPr>
          <p:spPr>
            <a:xfrm>
              <a:off x="2151234" y="3578918"/>
              <a:ext cx="314956" cy="75589"/>
            </a:xfrm>
            <a:custGeom>
              <a:avLst/>
              <a:gdLst>
                <a:gd name="connsiteX0" fmla="*/ 302358 w 314955"/>
                <a:gd name="connsiteY0" fmla="*/ 30236 h 75589"/>
                <a:gd name="connsiteX1" fmla="*/ 302358 w 314955"/>
                <a:gd name="connsiteY1" fmla="*/ 35275 h 75589"/>
                <a:gd name="connsiteX2" fmla="*/ 304877 w 314955"/>
                <a:gd name="connsiteY2" fmla="*/ 52913 h 75589"/>
                <a:gd name="connsiteX3" fmla="*/ 312436 w 314955"/>
                <a:gd name="connsiteY3" fmla="*/ 75589 h 75589"/>
                <a:gd name="connsiteX4" fmla="*/ 317476 w 314955"/>
                <a:gd name="connsiteY4" fmla="*/ 85668 h 75589"/>
                <a:gd name="connsiteX5" fmla="*/ 42834 w 314955"/>
                <a:gd name="connsiteY5" fmla="*/ 85668 h 75589"/>
                <a:gd name="connsiteX6" fmla="*/ 0 w 314955"/>
                <a:gd name="connsiteY6" fmla="*/ 42834 h 75589"/>
                <a:gd name="connsiteX7" fmla="*/ 42834 w 314955"/>
                <a:gd name="connsiteY7" fmla="*/ 0 h 75589"/>
                <a:gd name="connsiteX8" fmla="*/ 312436 w 314955"/>
                <a:gd name="connsiteY8" fmla="*/ 0 h 75589"/>
                <a:gd name="connsiteX9" fmla="*/ 302358 w 314955"/>
                <a:gd name="connsiteY9" fmla="*/ 23937 h 75589"/>
                <a:gd name="connsiteX10" fmla="*/ 302358 w 314955"/>
                <a:gd name="connsiteY10" fmla="*/ 30236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955" h="75589">
                  <a:moveTo>
                    <a:pt x="302358" y="30236"/>
                  </a:moveTo>
                  <a:cubicBezTo>
                    <a:pt x="302358" y="31496"/>
                    <a:pt x="302358" y="34015"/>
                    <a:pt x="302358" y="35275"/>
                  </a:cubicBezTo>
                  <a:cubicBezTo>
                    <a:pt x="302358" y="40315"/>
                    <a:pt x="303617" y="46614"/>
                    <a:pt x="304877" y="52913"/>
                  </a:cubicBezTo>
                  <a:cubicBezTo>
                    <a:pt x="306137" y="60472"/>
                    <a:pt x="309917" y="68031"/>
                    <a:pt x="312436" y="75589"/>
                  </a:cubicBezTo>
                  <a:cubicBezTo>
                    <a:pt x="313696" y="79369"/>
                    <a:pt x="316216" y="83148"/>
                    <a:pt x="317476" y="85668"/>
                  </a:cubicBezTo>
                  <a:lnTo>
                    <a:pt x="42834" y="85668"/>
                  </a:lnTo>
                  <a:cubicBezTo>
                    <a:pt x="18897" y="85668"/>
                    <a:pt x="0" y="66771"/>
                    <a:pt x="0" y="42834"/>
                  </a:cubicBezTo>
                  <a:cubicBezTo>
                    <a:pt x="0" y="18897"/>
                    <a:pt x="18897" y="0"/>
                    <a:pt x="42834" y="0"/>
                  </a:cubicBezTo>
                  <a:lnTo>
                    <a:pt x="312436" y="0"/>
                  </a:lnTo>
                  <a:cubicBezTo>
                    <a:pt x="307397" y="6299"/>
                    <a:pt x="303617" y="15118"/>
                    <a:pt x="302358" y="23937"/>
                  </a:cubicBezTo>
                  <a:cubicBezTo>
                    <a:pt x="302358" y="27716"/>
                    <a:pt x="302358" y="28976"/>
                    <a:pt x="302358" y="30236"/>
                  </a:cubicBezTo>
                  <a:close/>
                </a:path>
              </a:pathLst>
            </a:custGeom>
            <a:solidFill>
              <a:srgbClr val="005CCF"/>
            </a:solidFill>
            <a:ln w="12584" cap="flat">
              <a:noFill/>
              <a:prstDash val="solid"/>
              <a:miter/>
            </a:ln>
          </p:spPr>
          <p:txBody>
            <a:bodyPr rtlCol="0" anchor="ctr"/>
            <a:lstStyle/>
            <a:p>
              <a:endParaRPr lang="zh-CN" altLang="en-US"/>
            </a:p>
          </p:txBody>
        </p:sp>
        <p:sp>
          <p:nvSpPr>
            <p:cNvPr id="10182" name="任意多边形: 形状 10181"/>
            <p:cNvSpPr/>
            <p:nvPr/>
          </p:nvSpPr>
          <p:spPr>
            <a:xfrm>
              <a:off x="2454851" y="3578918"/>
              <a:ext cx="314956" cy="75589"/>
            </a:xfrm>
            <a:custGeom>
              <a:avLst/>
              <a:gdLst>
                <a:gd name="connsiteX0" fmla="*/ 317475 w 314955"/>
                <a:gd name="connsiteY0" fmla="*/ 16378 h 75589"/>
                <a:gd name="connsiteX1" fmla="*/ 314956 w 314955"/>
                <a:gd name="connsiteY1" fmla="*/ 16378 h 75589"/>
                <a:gd name="connsiteX2" fmla="*/ 71810 w 314955"/>
                <a:gd name="connsiteY2" fmla="*/ 16378 h 75589"/>
                <a:gd name="connsiteX3" fmla="*/ 32755 w 314955"/>
                <a:gd name="connsiteY3" fmla="*/ 16378 h 75589"/>
                <a:gd name="connsiteX4" fmla="*/ 28976 w 314955"/>
                <a:gd name="connsiteY4" fmla="*/ 26456 h 75589"/>
                <a:gd name="connsiteX5" fmla="*/ 28976 w 314955"/>
                <a:gd name="connsiteY5" fmla="*/ 28976 h 75589"/>
                <a:gd name="connsiteX6" fmla="*/ 27716 w 314955"/>
                <a:gd name="connsiteY6" fmla="*/ 36535 h 75589"/>
                <a:gd name="connsiteX7" fmla="*/ 27716 w 314955"/>
                <a:gd name="connsiteY7" fmla="*/ 39055 h 75589"/>
                <a:gd name="connsiteX8" fmla="*/ 27716 w 314955"/>
                <a:gd name="connsiteY8" fmla="*/ 40315 h 75589"/>
                <a:gd name="connsiteX9" fmla="*/ 27716 w 314955"/>
                <a:gd name="connsiteY9" fmla="*/ 46614 h 75589"/>
                <a:gd name="connsiteX10" fmla="*/ 27716 w 314955"/>
                <a:gd name="connsiteY10" fmla="*/ 49133 h 75589"/>
                <a:gd name="connsiteX11" fmla="*/ 28976 w 314955"/>
                <a:gd name="connsiteY11" fmla="*/ 56692 h 75589"/>
                <a:gd name="connsiteX12" fmla="*/ 30236 w 314955"/>
                <a:gd name="connsiteY12" fmla="*/ 59212 h 75589"/>
                <a:gd name="connsiteX13" fmla="*/ 34015 w 314955"/>
                <a:gd name="connsiteY13" fmla="*/ 69290 h 75589"/>
                <a:gd name="connsiteX14" fmla="*/ 56692 w 314955"/>
                <a:gd name="connsiteY14" fmla="*/ 69290 h 75589"/>
                <a:gd name="connsiteX15" fmla="*/ 316216 w 314955"/>
                <a:gd name="connsiteY15" fmla="*/ 69290 h 75589"/>
                <a:gd name="connsiteX16" fmla="*/ 318735 w 314955"/>
                <a:gd name="connsiteY16" fmla="*/ 69290 h 75589"/>
                <a:gd name="connsiteX17" fmla="*/ 326294 w 314955"/>
                <a:gd name="connsiteY17" fmla="*/ 76849 h 75589"/>
                <a:gd name="connsiteX18" fmla="*/ 318735 w 314955"/>
                <a:gd name="connsiteY18" fmla="*/ 84408 h 75589"/>
                <a:gd name="connsiteX19" fmla="*/ 60472 w 314955"/>
                <a:gd name="connsiteY19" fmla="*/ 84408 h 75589"/>
                <a:gd name="connsiteX20" fmla="*/ 28976 w 314955"/>
                <a:gd name="connsiteY20" fmla="*/ 84408 h 75589"/>
                <a:gd name="connsiteX21" fmla="*/ 15118 w 314955"/>
                <a:gd name="connsiteY21" fmla="*/ 84408 h 75589"/>
                <a:gd name="connsiteX22" fmla="*/ 10079 w 314955"/>
                <a:gd name="connsiteY22" fmla="*/ 74330 h 75589"/>
                <a:gd name="connsiteX23" fmla="*/ 2520 w 314955"/>
                <a:gd name="connsiteY23" fmla="*/ 51653 h 75589"/>
                <a:gd name="connsiteX24" fmla="*/ 0 w 314955"/>
                <a:gd name="connsiteY24" fmla="*/ 34015 h 75589"/>
                <a:gd name="connsiteX25" fmla="*/ 0 w 314955"/>
                <a:gd name="connsiteY25" fmla="*/ 28976 h 75589"/>
                <a:gd name="connsiteX26" fmla="*/ 0 w 314955"/>
                <a:gd name="connsiteY26" fmla="*/ 23937 h 75589"/>
                <a:gd name="connsiteX27" fmla="*/ 10079 w 314955"/>
                <a:gd name="connsiteY27" fmla="*/ 0 h 75589"/>
                <a:gd name="connsiteX28" fmla="*/ 28976 w 314955"/>
                <a:gd name="connsiteY28" fmla="*/ 0 h 75589"/>
                <a:gd name="connsiteX29" fmla="*/ 60472 w 314955"/>
                <a:gd name="connsiteY29" fmla="*/ 0 h 75589"/>
                <a:gd name="connsiteX30" fmla="*/ 318735 w 314955"/>
                <a:gd name="connsiteY30" fmla="*/ 0 h 75589"/>
                <a:gd name="connsiteX31" fmla="*/ 326294 w 314955"/>
                <a:gd name="connsiteY31" fmla="*/ 7559 h 75589"/>
                <a:gd name="connsiteX32" fmla="*/ 317475 w 314955"/>
                <a:gd name="connsiteY32" fmla="*/ 16378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955" h="75589">
                  <a:moveTo>
                    <a:pt x="317475" y="16378"/>
                  </a:moveTo>
                  <a:lnTo>
                    <a:pt x="314956" y="16378"/>
                  </a:lnTo>
                  <a:lnTo>
                    <a:pt x="71810" y="16378"/>
                  </a:lnTo>
                  <a:lnTo>
                    <a:pt x="32755" y="16378"/>
                  </a:lnTo>
                  <a:cubicBezTo>
                    <a:pt x="31496" y="18897"/>
                    <a:pt x="30236" y="22677"/>
                    <a:pt x="28976" y="26456"/>
                  </a:cubicBezTo>
                  <a:cubicBezTo>
                    <a:pt x="28976" y="27716"/>
                    <a:pt x="28976" y="27716"/>
                    <a:pt x="28976" y="28976"/>
                  </a:cubicBezTo>
                  <a:cubicBezTo>
                    <a:pt x="28976" y="31496"/>
                    <a:pt x="27716" y="34015"/>
                    <a:pt x="27716" y="36535"/>
                  </a:cubicBezTo>
                  <a:cubicBezTo>
                    <a:pt x="27716" y="37795"/>
                    <a:pt x="27716" y="37795"/>
                    <a:pt x="27716" y="39055"/>
                  </a:cubicBezTo>
                  <a:cubicBezTo>
                    <a:pt x="27716" y="39055"/>
                    <a:pt x="27716" y="40315"/>
                    <a:pt x="27716" y="40315"/>
                  </a:cubicBezTo>
                  <a:cubicBezTo>
                    <a:pt x="27716" y="42834"/>
                    <a:pt x="27716" y="44094"/>
                    <a:pt x="27716" y="46614"/>
                  </a:cubicBezTo>
                  <a:cubicBezTo>
                    <a:pt x="27716" y="47873"/>
                    <a:pt x="27716" y="49133"/>
                    <a:pt x="27716" y="49133"/>
                  </a:cubicBezTo>
                  <a:cubicBezTo>
                    <a:pt x="27716" y="51653"/>
                    <a:pt x="27716" y="54172"/>
                    <a:pt x="28976" y="56692"/>
                  </a:cubicBezTo>
                  <a:cubicBezTo>
                    <a:pt x="28976" y="57952"/>
                    <a:pt x="28976" y="59212"/>
                    <a:pt x="30236" y="59212"/>
                  </a:cubicBezTo>
                  <a:cubicBezTo>
                    <a:pt x="31496" y="62991"/>
                    <a:pt x="32755" y="66771"/>
                    <a:pt x="34015" y="69290"/>
                  </a:cubicBezTo>
                  <a:lnTo>
                    <a:pt x="56692" y="69290"/>
                  </a:lnTo>
                  <a:lnTo>
                    <a:pt x="316216" y="69290"/>
                  </a:lnTo>
                  <a:lnTo>
                    <a:pt x="318735" y="69290"/>
                  </a:lnTo>
                  <a:cubicBezTo>
                    <a:pt x="322515" y="69290"/>
                    <a:pt x="326294" y="73070"/>
                    <a:pt x="326294" y="76849"/>
                  </a:cubicBezTo>
                  <a:cubicBezTo>
                    <a:pt x="326294" y="80629"/>
                    <a:pt x="322515" y="84408"/>
                    <a:pt x="318735" y="84408"/>
                  </a:cubicBezTo>
                  <a:lnTo>
                    <a:pt x="60472" y="84408"/>
                  </a:lnTo>
                  <a:lnTo>
                    <a:pt x="28976" y="84408"/>
                  </a:lnTo>
                  <a:lnTo>
                    <a:pt x="15118" y="84408"/>
                  </a:lnTo>
                  <a:cubicBezTo>
                    <a:pt x="13858" y="80629"/>
                    <a:pt x="11338" y="76849"/>
                    <a:pt x="10079" y="74330"/>
                  </a:cubicBezTo>
                  <a:cubicBezTo>
                    <a:pt x="6299" y="66771"/>
                    <a:pt x="3780" y="59212"/>
                    <a:pt x="2520" y="51653"/>
                  </a:cubicBezTo>
                  <a:cubicBezTo>
                    <a:pt x="1260" y="45354"/>
                    <a:pt x="0" y="40315"/>
                    <a:pt x="0" y="34015"/>
                  </a:cubicBezTo>
                  <a:cubicBezTo>
                    <a:pt x="0" y="32755"/>
                    <a:pt x="0" y="30236"/>
                    <a:pt x="0" y="28976"/>
                  </a:cubicBezTo>
                  <a:cubicBezTo>
                    <a:pt x="0" y="27716"/>
                    <a:pt x="0" y="25196"/>
                    <a:pt x="0" y="23937"/>
                  </a:cubicBezTo>
                  <a:cubicBezTo>
                    <a:pt x="1260" y="15118"/>
                    <a:pt x="3780" y="6299"/>
                    <a:pt x="10079" y="0"/>
                  </a:cubicBezTo>
                  <a:lnTo>
                    <a:pt x="28976" y="0"/>
                  </a:lnTo>
                  <a:lnTo>
                    <a:pt x="60472" y="0"/>
                  </a:lnTo>
                  <a:lnTo>
                    <a:pt x="318735" y="0"/>
                  </a:lnTo>
                  <a:cubicBezTo>
                    <a:pt x="322515" y="0"/>
                    <a:pt x="326294" y="3780"/>
                    <a:pt x="326294" y="7559"/>
                  </a:cubicBezTo>
                  <a:cubicBezTo>
                    <a:pt x="325034" y="13858"/>
                    <a:pt x="321255" y="16378"/>
                    <a:pt x="317475" y="16378"/>
                  </a:cubicBezTo>
                  <a:close/>
                </a:path>
              </a:pathLst>
            </a:custGeom>
            <a:solidFill>
              <a:srgbClr val="001675"/>
            </a:solidFill>
            <a:ln w="12584" cap="flat">
              <a:noFill/>
              <a:prstDash val="solid"/>
              <a:miter/>
            </a:ln>
          </p:spPr>
          <p:txBody>
            <a:bodyPr rtlCol="0" anchor="ctr"/>
            <a:lstStyle/>
            <a:p>
              <a:endParaRPr lang="zh-CN" altLang="en-US"/>
            </a:p>
          </p:txBody>
        </p:sp>
        <p:sp>
          <p:nvSpPr>
            <p:cNvPr id="10183" name="任意多边形: 形状 10182"/>
            <p:cNvSpPr/>
            <p:nvPr/>
          </p:nvSpPr>
          <p:spPr>
            <a:xfrm>
              <a:off x="3361924" y="4634651"/>
              <a:ext cx="289759" cy="88188"/>
            </a:xfrm>
            <a:custGeom>
              <a:avLst/>
              <a:gdLst>
                <a:gd name="connsiteX0" fmla="*/ 296058 w 289759"/>
                <a:gd name="connsiteY0" fmla="*/ 80629 h 88187"/>
                <a:gd name="connsiteX1" fmla="*/ 293539 w 289759"/>
                <a:gd name="connsiteY1" fmla="*/ 76849 h 88187"/>
                <a:gd name="connsiteX2" fmla="*/ 287240 w 289759"/>
                <a:gd name="connsiteY2" fmla="*/ 73070 h 88187"/>
                <a:gd name="connsiteX3" fmla="*/ 282201 w 289759"/>
                <a:gd name="connsiteY3" fmla="*/ 69290 h 88187"/>
                <a:gd name="connsiteX4" fmla="*/ 270862 w 289759"/>
                <a:gd name="connsiteY4" fmla="*/ 62991 h 88187"/>
                <a:gd name="connsiteX5" fmla="*/ 246925 w 289759"/>
                <a:gd name="connsiteY5" fmla="*/ 52912 h 88187"/>
                <a:gd name="connsiteX6" fmla="*/ 235587 w 289759"/>
                <a:gd name="connsiteY6" fmla="*/ 49133 h 88187"/>
                <a:gd name="connsiteX7" fmla="*/ 222989 w 289759"/>
                <a:gd name="connsiteY7" fmla="*/ 44094 h 88187"/>
                <a:gd name="connsiteX8" fmla="*/ 210390 w 289759"/>
                <a:gd name="connsiteY8" fmla="*/ 40314 h 88187"/>
                <a:gd name="connsiteX9" fmla="*/ 209131 w 289759"/>
                <a:gd name="connsiteY9" fmla="*/ 39054 h 88187"/>
                <a:gd name="connsiteX10" fmla="*/ 195273 w 289759"/>
                <a:gd name="connsiteY10" fmla="*/ 32755 h 88187"/>
                <a:gd name="connsiteX11" fmla="*/ 181415 w 289759"/>
                <a:gd name="connsiteY11" fmla="*/ 26456 h 88187"/>
                <a:gd name="connsiteX12" fmla="*/ 166297 w 289759"/>
                <a:gd name="connsiteY12" fmla="*/ 20157 h 88187"/>
                <a:gd name="connsiteX13" fmla="*/ 158738 w 289759"/>
                <a:gd name="connsiteY13" fmla="*/ 17637 h 88187"/>
                <a:gd name="connsiteX14" fmla="*/ 151179 w 289759"/>
                <a:gd name="connsiteY14" fmla="*/ 15118 h 88187"/>
                <a:gd name="connsiteX15" fmla="*/ 143620 w 289759"/>
                <a:gd name="connsiteY15" fmla="*/ 12598 h 88187"/>
                <a:gd name="connsiteX16" fmla="*/ 137321 w 289759"/>
                <a:gd name="connsiteY16" fmla="*/ 10078 h 88187"/>
                <a:gd name="connsiteX17" fmla="*/ 129762 w 289759"/>
                <a:gd name="connsiteY17" fmla="*/ 7559 h 88187"/>
                <a:gd name="connsiteX18" fmla="*/ 122203 w 289759"/>
                <a:gd name="connsiteY18" fmla="*/ 5039 h 88187"/>
                <a:gd name="connsiteX19" fmla="*/ 115904 w 289759"/>
                <a:gd name="connsiteY19" fmla="*/ 2519 h 88187"/>
                <a:gd name="connsiteX20" fmla="*/ 110864 w 289759"/>
                <a:gd name="connsiteY20" fmla="*/ 1260 h 88187"/>
                <a:gd name="connsiteX21" fmla="*/ 107085 w 289759"/>
                <a:gd name="connsiteY21" fmla="*/ 1260 h 88187"/>
                <a:gd name="connsiteX22" fmla="*/ 99526 w 289759"/>
                <a:gd name="connsiteY22" fmla="*/ 1260 h 88187"/>
                <a:gd name="connsiteX23" fmla="*/ 94487 w 289759"/>
                <a:gd name="connsiteY23" fmla="*/ 1260 h 88187"/>
                <a:gd name="connsiteX24" fmla="*/ 84408 w 289759"/>
                <a:gd name="connsiteY24" fmla="*/ 0 h 88187"/>
                <a:gd name="connsiteX25" fmla="*/ 73070 w 289759"/>
                <a:gd name="connsiteY25" fmla="*/ 0 h 88187"/>
                <a:gd name="connsiteX26" fmla="*/ 49133 w 289759"/>
                <a:gd name="connsiteY26" fmla="*/ 0 h 88187"/>
                <a:gd name="connsiteX27" fmla="*/ 40314 w 289759"/>
                <a:gd name="connsiteY27" fmla="*/ 0 h 88187"/>
                <a:gd name="connsiteX28" fmla="*/ 32755 w 289759"/>
                <a:gd name="connsiteY28" fmla="*/ 0 h 88187"/>
                <a:gd name="connsiteX29" fmla="*/ 25196 w 289759"/>
                <a:gd name="connsiteY29" fmla="*/ 0 h 88187"/>
                <a:gd name="connsiteX30" fmla="*/ 21417 w 289759"/>
                <a:gd name="connsiteY30" fmla="*/ 0 h 88187"/>
                <a:gd name="connsiteX31" fmla="*/ 17638 w 289759"/>
                <a:gd name="connsiteY31" fmla="*/ 0 h 88187"/>
                <a:gd name="connsiteX32" fmla="*/ 11339 w 289759"/>
                <a:gd name="connsiteY32" fmla="*/ 1260 h 88187"/>
                <a:gd name="connsiteX33" fmla="*/ 3780 w 289759"/>
                <a:gd name="connsiteY33" fmla="*/ 2519 h 88187"/>
                <a:gd name="connsiteX34" fmla="*/ 1260 w 289759"/>
                <a:gd name="connsiteY34" fmla="*/ 3779 h 88187"/>
                <a:gd name="connsiteX35" fmla="*/ 1260 w 289759"/>
                <a:gd name="connsiteY35" fmla="*/ 3779 h 88187"/>
                <a:gd name="connsiteX36" fmla="*/ 0 w 289759"/>
                <a:gd name="connsiteY36" fmla="*/ 6299 h 88187"/>
                <a:gd name="connsiteX37" fmla="*/ 0 w 289759"/>
                <a:gd name="connsiteY37" fmla="*/ 51652 h 88187"/>
                <a:gd name="connsiteX38" fmla="*/ 0 w 289759"/>
                <a:gd name="connsiteY38" fmla="*/ 59211 h 88187"/>
                <a:gd name="connsiteX39" fmla="*/ 0 w 289759"/>
                <a:gd name="connsiteY39" fmla="*/ 61731 h 88187"/>
                <a:gd name="connsiteX40" fmla="*/ 0 w 289759"/>
                <a:gd name="connsiteY40" fmla="*/ 66770 h 88187"/>
                <a:gd name="connsiteX41" fmla="*/ 0 w 289759"/>
                <a:gd name="connsiteY41" fmla="*/ 70550 h 88187"/>
                <a:gd name="connsiteX42" fmla="*/ 0 w 289759"/>
                <a:gd name="connsiteY42" fmla="*/ 70550 h 88187"/>
                <a:gd name="connsiteX43" fmla="*/ 0 w 289759"/>
                <a:gd name="connsiteY43" fmla="*/ 83148 h 88187"/>
                <a:gd name="connsiteX44" fmla="*/ 3780 w 289759"/>
                <a:gd name="connsiteY44" fmla="*/ 81889 h 88187"/>
                <a:gd name="connsiteX45" fmla="*/ 3780 w 289759"/>
                <a:gd name="connsiteY45" fmla="*/ 81889 h 88187"/>
                <a:gd name="connsiteX46" fmla="*/ 11339 w 289759"/>
                <a:gd name="connsiteY46" fmla="*/ 85668 h 88187"/>
                <a:gd name="connsiteX47" fmla="*/ 17638 w 289759"/>
                <a:gd name="connsiteY47" fmla="*/ 86928 h 88187"/>
                <a:gd name="connsiteX48" fmla="*/ 18897 w 289759"/>
                <a:gd name="connsiteY48" fmla="*/ 86928 h 88187"/>
                <a:gd name="connsiteX49" fmla="*/ 34015 w 289759"/>
                <a:gd name="connsiteY49" fmla="*/ 88188 h 88187"/>
                <a:gd name="connsiteX50" fmla="*/ 35275 w 289759"/>
                <a:gd name="connsiteY50" fmla="*/ 88188 h 88187"/>
                <a:gd name="connsiteX51" fmla="*/ 40314 w 289759"/>
                <a:gd name="connsiteY51" fmla="*/ 86928 h 88187"/>
                <a:gd name="connsiteX52" fmla="*/ 45354 w 289759"/>
                <a:gd name="connsiteY52" fmla="*/ 84408 h 88187"/>
                <a:gd name="connsiteX53" fmla="*/ 50393 w 289759"/>
                <a:gd name="connsiteY53" fmla="*/ 80629 h 88187"/>
                <a:gd name="connsiteX54" fmla="*/ 51653 w 289759"/>
                <a:gd name="connsiteY54" fmla="*/ 81889 h 88187"/>
                <a:gd name="connsiteX55" fmla="*/ 54172 w 289759"/>
                <a:gd name="connsiteY55" fmla="*/ 83148 h 88187"/>
                <a:gd name="connsiteX56" fmla="*/ 57952 w 289759"/>
                <a:gd name="connsiteY56" fmla="*/ 84408 h 88187"/>
                <a:gd name="connsiteX57" fmla="*/ 60472 w 289759"/>
                <a:gd name="connsiteY57" fmla="*/ 84408 h 88187"/>
                <a:gd name="connsiteX58" fmla="*/ 66771 w 289759"/>
                <a:gd name="connsiteY58" fmla="*/ 84408 h 88187"/>
                <a:gd name="connsiteX59" fmla="*/ 80629 w 289759"/>
                <a:gd name="connsiteY59" fmla="*/ 85668 h 88187"/>
                <a:gd name="connsiteX60" fmla="*/ 93227 w 289759"/>
                <a:gd name="connsiteY60" fmla="*/ 85668 h 88187"/>
                <a:gd name="connsiteX61" fmla="*/ 118424 w 289759"/>
                <a:gd name="connsiteY61" fmla="*/ 85668 h 88187"/>
                <a:gd name="connsiteX62" fmla="*/ 124723 w 289759"/>
                <a:gd name="connsiteY62" fmla="*/ 85668 h 88187"/>
                <a:gd name="connsiteX63" fmla="*/ 131022 w 289759"/>
                <a:gd name="connsiteY63" fmla="*/ 85668 h 88187"/>
                <a:gd name="connsiteX64" fmla="*/ 143620 w 289759"/>
                <a:gd name="connsiteY64" fmla="*/ 85668 h 88187"/>
                <a:gd name="connsiteX65" fmla="*/ 153698 w 289759"/>
                <a:gd name="connsiteY65" fmla="*/ 85668 h 88187"/>
                <a:gd name="connsiteX66" fmla="*/ 165037 w 289759"/>
                <a:gd name="connsiteY66" fmla="*/ 86928 h 88187"/>
                <a:gd name="connsiteX67" fmla="*/ 176375 w 289759"/>
                <a:gd name="connsiteY67" fmla="*/ 86928 h 88187"/>
                <a:gd name="connsiteX68" fmla="*/ 186454 w 289759"/>
                <a:gd name="connsiteY68" fmla="*/ 86928 h 88187"/>
                <a:gd name="connsiteX69" fmla="*/ 185194 w 289759"/>
                <a:gd name="connsiteY69" fmla="*/ 86928 h 88187"/>
                <a:gd name="connsiteX70" fmla="*/ 196533 w 289759"/>
                <a:gd name="connsiteY70" fmla="*/ 86928 h 88187"/>
                <a:gd name="connsiteX71" fmla="*/ 204091 w 289759"/>
                <a:gd name="connsiteY71" fmla="*/ 86928 h 88187"/>
                <a:gd name="connsiteX72" fmla="*/ 205351 w 289759"/>
                <a:gd name="connsiteY72" fmla="*/ 86928 h 88187"/>
                <a:gd name="connsiteX73" fmla="*/ 205351 w 289759"/>
                <a:gd name="connsiteY73" fmla="*/ 86928 h 88187"/>
                <a:gd name="connsiteX74" fmla="*/ 220469 w 289759"/>
                <a:gd name="connsiteY74" fmla="*/ 88188 h 88187"/>
                <a:gd name="connsiteX75" fmla="*/ 235587 w 289759"/>
                <a:gd name="connsiteY75" fmla="*/ 88188 h 88187"/>
                <a:gd name="connsiteX76" fmla="*/ 235587 w 289759"/>
                <a:gd name="connsiteY76" fmla="*/ 88188 h 88187"/>
                <a:gd name="connsiteX77" fmla="*/ 241886 w 289759"/>
                <a:gd name="connsiteY77" fmla="*/ 88188 h 88187"/>
                <a:gd name="connsiteX78" fmla="*/ 243146 w 289759"/>
                <a:gd name="connsiteY78" fmla="*/ 88188 h 88187"/>
                <a:gd name="connsiteX79" fmla="*/ 248185 w 289759"/>
                <a:gd name="connsiteY79" fmla="*/ 88188 h 88187"/>
                <a:gd name="connsiteX80" fmla="*/ 254484 w 289759"/>
                <a:gd name="connsiteY80" fmla="*/ 88188 h 88187"/>
                <a:gd name="connsiteX81" fmla="*/ 265823 w 289759"/>
                <a:gd name="connsiteY81" fmla="*/ 88188 h 88187"/>
                <a:gd name="connsiteX82" fmla="*/ 275901 w 289759"/>
                <a:gd name="connsiteY82" fmla="*/ 88188 h 88187"/>
                <a:gd name="connsiteX83" fmla="*/ 274642 w 289759"/>
                <a:gd name="connsiteY83" fmla="*/ 88188 h 88187"/>
                <a:gd name="connsiteX84" fmla="*/ 288500 w 289759"/>
                <a:gd name="connsiteY84" fmla="*/ 88188 h 88187"/>
                <a:gd name="connsiteX85" fmla="*/ 294799 w 289759"/>
                <a:gd name="connsiteY85" fmla="*/ 86928 h 88187"/>
                <a:gd name="connsiteX86" fmla="*/ 299838 w 289759"/>
                <a:gd name="connsiteY86" fmla="*/ 83148 h 88187"/>
                <a:gd name="connsiteX87" fmla="*/ 299838 w 289759"/>
                <a:gd name="connsiteY87" fmla="*/ 81889 h 88187"/>
                <a:gd name="connsiteX88" fmla="*/ 296058 w 289759"/>
                <a:gd name="connsiteY88" fmla="*/ 80629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89759" h="88187">
                  <a:moveTo>
                    <a:pt x="296058" y="80629"/>
                  </a:moveTo>
                  <a:cubicBezTo>
                    <a:pt x="296058" y="79369"/>
                    <a:pt x="294799" y="78109"/>
                    <a:pt x="293539" y="76849"/>
                  </a:cubicBezTo>
                  <a:cubicBezTo>
                    <a:pt x="292279" y="75589"/>
                    <a:pt x="289759" y="74330"/>
                    <a:pt x="287240" y="73070"/>
                  </a:cubicBezTo>
                  <a:cubicBezTo>
                    <a:pt x="285980" y="71810"/>
                    <a:pt x="283460" y="70550"/>
                    <a:pt x="282201" y="69290"/>
                  </a:cubicBezTo>
                  <a:cubicBezTo>
                    <a:pt x="278421" y="66770"/>
                    <a:pt x="274642" y="65511"/>
                    <a:pt x="270862" y="62991"/>
                  </a:cubicBezTo>
                  <a:cubicBezTo>
                    <a:pt x="263303" y="59211"/>
                    <a:pt x="254484" y="55432"/>
                    <a:pt x="246925" y="52912"/>
                  </a:cubicBezTo>
                  <a:cubicBezTo>
                    <a:pt x="243146" y="51652"/>
                    <a:pt x="239366" y="50393"/>
                    <a:pt x="235587" y="49133"/>
                  </a:cubicBezTo>
                  <a:cubicBezTo>
                    <a:pt x="231808" y="47873"/>
                    <a:pt x="228028" y="46613"/>
                    <a:pt x="222989" y="44094"/>
                  </a:cubicBezTo>
                  <a:cubicBezTo>
                    <a:pt x="219209" y="42834"/>
                    <a:pt x="215430" y="41574"/>
                    <a:pt x="210390" y="40314"/>
                  </a:cubicBezTo>
                  <a:cubicBezTo>
                    <a:pt x="210390" y="40314"/>
                    <a:pt x="209131" y="40314"/>
                    <a:pt x="209131" y="39054"/>
                  </a:cubicBezTo>
                  <a:cubicBezTo>
                    <a:pt x="204091" y="36535"/>
                    <a:pt x="199052" y="34015"/>
                    <a:pt x="195273" y="32755"/>
                  </a:cubicBezTo>
                  <a:cubicBezTo>
                    <a:pt x="190233" y="30236"/>
                    <a:pt x="185194" y="28976"/>
                    <a:pt x="181415" y="26456"/>
                  </a:cubicBezTo>
                  <a:cubicBezTo>
                    <a:pt x="176375" y="23937"/>
                    <a:pt x="171336" y="22677"/>
                    <a:pt x="166297" y="20157"/>
                  </a:cubicBezTo>
                  <a:cubicBezTo>
                    <a:pt x="163777" y="18897"/>
                    <a:pt x="161257" y="17637"/>
                    <a:pt x="158738" y="17637"/>
                  </a:cubicBezTo>
                  <a:cubicBezTo>
                    <a:pt x="156218" y="16378"/>
                    <a:pt x="153698" y="16378"/>
                    <a:pt x="151179" y="15118"/>
                  </a:cubicBezTo>
                  <a:cubicBezTo>
                    <a:pt x="148659" y="13858"/>
                    <a:pt x="146140" y="13858"/>
                    <a:pt x="143620" y="12598"/>
                  </a:cubicBezTo>
                  <a:cubicBezTo>
                    <a:pt x="141100" y="11338"/>
                    <a:pt x="138581" y="11338"/>
                    <a:pt x="137321" y="10078"/>
                  </a:cubicBezTo>
                  <a:cubicBezTo>
                    <a:pt x="134801" y="8819"/>
                    <a:pt x="132281" y="8819"/>
                    <a:pt x="129762" y="7559"/>
                  </a:cubicBezTo>
                  <a:cubicBezTo>
                    <a:pt x="127242" y="6299"/>
                    <a:pt x="124723" y="6299"/>
                    <a:pt x="122203" y="5039"/>
                  </a:cubicBezTo>
                  <a:cubicBezTo>
                    <a:pt x="119683" y="3779"/>
                    <a:pt x="117164" y="3779"/>
                    <a:pt x="115904" y="2519"/>
                  </a:cubicBezTo>
                  <a:cubicBezTo>
                    <a:pt x="114644" y="2519"/>
                    <a:pt x="112124" y="1260"/>
                    <a:pt x="110864" y="1260"/>
                  </a:cubicBezTo>
                  <a:cubicBezTo>
                    <a:pt x="109605" y="1260"/>
                    <a:pt x="108345" y="1260"/>
                    <a:pt x="107085" y="1260"/>
                  </a:cubicBezTo>
                  <a:cubicBezTo>
                    <a:pt x="104565" y="1260"/>
                    <a:pt x="102046" y="1260"/>
                    <a:pt x="99526" y="1260"/>
                  </a:cubicBezTo>
                  <a:cubicBezTo>
                    <a:pt x="98266" y="1260"/>
                    <a:pt x="95747" y="1260"/>
                    <a:pt x="94487" y="1260"/>
                  </a:cubicBezTo>
                  <a:cubicBezTo>
                    <a:pt x="90707" y="1260"/>
                    <a:pt x="88188" y="1260"/>
                    <a:pt x="84408" y="0"/>
                  </a:cubicBezTo>
                  <a:cubicBezTo>
                    <a:pt x="80629" y="0"/>
                    <a:pt x="76849" y="0"/>
                    <a:pt x="73070" y="0"/>
                  </a:cubicBezTo>
                  <a:cubicBezTo>
                    <a:pt x="65511" y="0"/>
                    <a:pt x="56692" y="0"/>
                    <a:pt x="49133" y="0"/>
                  </a:cubicBezTo>
                  <a:cubicBezTo>
                    <a:pt x="46613" y="0"/>
                    <a:pt x="44094" y="0"/>
                    <a:pt x="40314" y="0"/>
                  </a:cubicBezTo>
                  <a:cubicBezTo>
                    <a:pt x="37795" y="0"/>
                    <a:pt x="35275" y="0"/>
                    <a:pt x="32755" y="0"/>
                  </a:cubicBezTo>
                  <a:cubicBezTo>
                    <a:pt x="30236" y="0"/>
                    <a:pt x="27716" y="0"/>
                    <a:pt x="25196" y="0"/>
                  </a:cubicBezTo>
                  <a:cubicBezTo>
                    <a:pt x="23937" y="0"/>
                    <a:pt x="22677" y="0"/>
                    <a:pt x="21417" y="0"/>
                  </a:cubicBezTo>
                  <a:cubicBezTo>
                    <a:pt x="20157" y="0"/>
                    <a:pt x="18897" y="0"/>
                    <a:pt x="17638" y="0"/>
                  </a:cubicBezTo>
                  <a:cubicBezTo>
                    <a:pt x="15118" y="0"/>
                    <a:pt x="12598" y="0"/>
                    <a:pt x="11339" y="1260"/>
                  </a:cubicBezTo>
                  <a:cubicBezTo>
                    <a:pt x="8819" y="1260"/>
                    <a:pt x="6299" y="1260"/>
                    <a:pt x="3780" y="2519"/>
                  </a:cubicBezTo>
                  <a:cubicBezTo>
                    <a:pt x="2520" y="2519"/>
                    <a:pt x="1260" y="2519"/>
                    <a:pt x="1260" y="3779"/>
                  </a:cubicBezTo>
                  <a:cubicBezTo>
                    <a:pt x="1260" y="3779"/>
                    <a:pt x="1260" y="3779"/>
                    <a:pt x="1260" y="3779"/>
                  </a:cubicBezTo>
                  <a:cubicBezTo>
                    <a:pt x="0" y="5039"/>
                    <a:pt x="0" y="5039"/>
                    <a:pt x="0" y="6299"/>
                  </a:cubicBezTo>
                  <a:lnTo>
                    <a:pt x="0" y="51652"/>
                  </a:lnTo>
                  <a:cubicBezTo>
                    <a:pt x="0" y="54172"/>
                    <a:pt x="0" y="56692"/>
                    <a:pt x="0" y="59211"/>
                  </a:cubicBezTo>
                  <a:cubicBezTo>
                    <a:pt x="0" y="60471"/>
                    <a:pt x="0" y="60471"/>
                    <a:pt x="0" y="61731"/>
                  </a:cubicBezTo>
                  <a:cubicBezTo>
                    <a:pt x="0" y="62991"/>
                    <a:pt x="0" y="64251"/>
                    <a:pt x="0" y="66770"/>
                  </a:cubicBezTo>
                  <a:cubicBezTo>
                    <a:pt x="0" y="68030"/>
                    <a:pt x="0" y="69290"/>
                    <a:pt x="0" y="70550"/>
                  </a:cubicBezTo>
                  <a:cubicBezTo>
                    <a:pt x="0" y="70550"/>
                    <a:pt x="0" y="70550"/>
                    <a:pt x="0" y="70550"/>
                  </a:cubicBezTo>
                  <a:lnTo>
                    <a:pt x="0" y="83148"/>
                  </a:lnTo>
                  <a:cubicBezTo>
                    <a:pt x="1260" y="83148"/>
                    <a:pt x="2520" y="81889"/>
                    <a:pt x="3780" y="81889"/>
                  </a:cubicBezTo>
                  <a:cubicBezTo>
                    <a:pt x="3780" y="81889"/>
                    <a:pt x="3780" y="81889"/>
                    <a:pt x="3780" y="81889"/>
                  </a:cubicBezTo>
                  <a:cubicBezTo>
                    <a:pt x="6299" y="84408"/>
                    <a:pt x="8819" y="84408"/>
                    <a:pt x="11339" y="85668"/>
                  </a:cubicBezTo>
                  <a:cubicBezTo>
                    <a:pt x="12598" y="85668"/>
                    <a:pt x="15118" y="86928"/>
                    <a:pt x="17638" y="86928"/>
                  </a:cubicBezTo>
                  <a:lnTo>
                    <a:pt x="18897" y="86928"/>
                  </a:lnTo>
                  <a:cubicBezTo>
                    <a:pt x="23937" y="88188"/>
                    <a:pt x="28976" y="88188"/>
                    <a:pt x="34015" y="88188"/>
                  </a:cubicBezTo>
                  <a:cubicBezTo>
                    <a:pt x="34015" y="88188"/>
                    <a:pt x="34015" y="88188"/>
                    <a:pt x="35275" y="88188"/>
                  </a:cubicBezTo>
                  <a:cubicBezTo>
                    <a:pt x="36535" y="88188"/>
                    <a:pt x="37795" y="88188"/>
                    <a:pt x="40314" y="86928"/>
                  </a:cubicBezTo>
                  <a:cubicBezTo>
                    <a:pt x="41574" y="86928"/>
                    <a:pt x="44094" y="85668"/>
                    <a:pt x="45354" y="84408"/>
                  </a:cubicBezTo>
                  <a:cubicBezTo>
                    <a:pt x="46613" y="83148"/>
                    <a:pt x="49133" y="81889"/>
                    <a:pt x="50393" y="80629"/>
                  </a:cubicBezTo>
                  <a:cubicBezTo>
                    <a:pt x="50393" y="80629"/>
                    <a:pt x="50393" y="80629"/>
                    <a:pt x="51653" y="81889"/>
                  </a:cubicBezTo>
                  <a:cubicBezTo>
                    <a:pt x="52913" y="81889"/>
                    <a:pt x="52913" y="83148"/>
                    <a:pt x="54172" y="83148"/>
                  </a:cubicBezTo>
                  <a:cubicBezTo>
                    <a:pt x="55432" y="83148"/>
                    <a:pt x="56692" y="84408"/>
                    <a:pt x="57952" y="84408"/>
                  </a:cubicBezTo>
                  <a:cubicBezTo>
                    <a:pt x="59212" y="84408"/>
                    <a:pt x="59212" y="84408"/>
                    <a:pt x="60472" y="84408"/>
                  </a:cubicBezTo>
                  <a:cubicBezTo>
                    <a:pt x="62991" y="84408"/>
                    <a:pt x="64251" y="84408"/>
                    <a:pt x="66771" y="84408"/>
                  </a:cubicBezTo>
                  <a:cubicBezTo>
                    <a:pt x="71810" y="84408"/>
                    <a:pt x="75589" y="84408"/>
                    <a:pt x="80629" y="85668"/>
                  </a:cubicBezTo>
                  <a:cubicBezTo>
                    <a:pt x="84408" y="85668"/>
                    <a:pt x="89448" y="85668"/>
                    <a:pt x="93227" y="85668"/>
                  </a:cubicBezTo>
                  <a:cubicBezTo>
                    <a:pt x="102046" y="85668"/>
                    <a:pt x="109605" y="85668"/>
                    <a:pt x="118424" y="85668"/>
                  </a:cubicBezTo>
                  <a:cubicBezTo>
                    <a:pt x="120943" y="85668"/>
                    <a:pt x="122203" y="85668"/>
                    <a:pt x="124723" y="85668"/>
                  </a:cubicBezTo>
                  <a:cubicBezTo>
                    <a:pt x="127242" y="85668"/>
                    <a:pt x="128502" y="85668"/>
                    <a:pt x="131022" y="85668"/>
                  </a:cubicBezTo>
                  <a:cubicBezTo>
                    <a:pt x="134801" y="85668"/>
                    <a:pt x="138581" y="85668"/>
                    <a:pt x="143620" y="85668"/>
                  </a:cubicBezTo>
                  <a:cubicBezTo>
                    <a:pt x="147399" y="85668"/>
                    <a:pt x="151179" y="85668"/>
                    <a:pt x="153698" y="85668"/>
                  </a:cubicBezTo>
                  <a:cubicBezTo>
                    <a:pt x="157478" y="85668"/>
                    <a:pt x="161257" y="85668"/>
                    <a:pt x="165037" y="86928"/>
                  </a:cubicBezTo>
                  <a:cubicBezTo>
                    <a:pt x="168816" y="86928"/>
                    <a:pt x="172596" y="86928"/>
                    <a:pt x="176375" y="86928"/>
                  </a:cubicBezTo>
                  <a:cubicBezTo>
                    <a:pt x="180155" y="86928"/>
                    <a:pt x="183934" y="86928"/>
                    <a:pt x="186454" y="86928"/>
                  </a:cubicBezTo>
                  <a:lnTo>
                    <a:pt x="185194" y="86928"/>
                  </a:lnTo>
                  <a:cubicBezTo>
                    <a:pt x="188973" y="86928"/>
                    <a:pt x="192753" y="86928"/>
                    <a:pt x="196533" y="86928"/>
                  </a:cubicBezTo>
                  <a:cubicBezTo>
                    <a:pt x="199052" y="86928"/>
                    <a:pt x="201572" y="86928"/>
                    <a:pt x="204091" y="86928"/>
                  </a:cubicBezTo>
                  <a:cubicBezTo>
                    <a:pt x="204091" y="86928"/>
                    <a:pt x="205351" y="86928"/>
                    <a:pt x="205351" y="86928"/>
                  </a:cubicBezTo>
                  <a:lnTo>
                    <a:pt x="205351" y="86928"/>
                  </a:lnTo>
                  <a:cubicBezTo>
                    <a:pt x="210390" y="86928"/>
                    <a:pt x="215430" y="88188"/>
                    <a:pt x="220469" y="88188"/>
                  </a:cubicBezTo>
                  <a:cubicBezTo>
                    <a:pt x="225508" y="88188"/>
                    <a:pt x="230548" y="88188"/>
                    <a:pt x="235587" y="88188"/>
                  </a:cubicBezTo>
                  <a:lnTo>
                    <a:pt x="235587" y="88188"/>
                  </a:lnTo>
                  <a:cubicBezTo>
                    <a:pt x="238107" y="88188"/>
                    <a:pt x="239366" y="88188"/>
                    <a:pt x="241886" y="88188"/>
                  </a:cubicBezTo>
                  <a:lnTo>
                    <a:pt x="243146" y="88188"/>
                  </a:lnTo>
                  <a:cubicBezTo>
                    <a:pt x="244406" y="88188"/>
                    <a:pt x="246925" y="88188"/>
                    <a:pt x="248185" y="88188"/>
                  </a:cubicBezTo>
                  <a:cubicBezTo>
                    <a:pt x="250705" y="88188"/>
                    <a:pt x="253225" y="88188"/>
                    <a:pt x="254484" y="88188"/>
                  </a:cubicBezTo>
                  <a:cubicBezTo>
                    <a:pt x="258264" y="88188"/>
                    <a:pt x="262043" y="88188"/>
                    <a:pt x="265823" y="88188"/>
                  </a:cubicBezTo>
                  <a:cubicBezTo>
                    <a:pt x="269602" y="88188"/>
                    <a:pt x="272122" y="88188"/>
                    <a:pt x="275901" y="88188"/>
                  </a:cubicBezTo>
                  <a:cubicBezTo>
                    <a:pt x="275901" y="88188"/>
                    <a:pt x="274642" y="88188"/>
                    <a:pt x="274642" y="88188"/>
                  </a:cubicBezTo>
                  <a:cubicBezTo>
                    <a:pt x="279681" y="88188"/>
                    <a:pt x="283460" y="88188"/>
                    <a:pt x="288500" y="88188"/>
                  </a:cubicBezTo>
                  <a:cubicBezTo>
                    <a:pt x="291019" y="88188"/>
                    <a:pt x="292279" y="88188"/>
                    <a:pt x="294799" y="86928"/>
                  </a:cubicBezTo>
                  <a:cubicBezTo>
                    <a:pt x="297318" y="86928"/>
                    <a:pt x="298578" y="85668"/>
                    <a:pt x="299838" y="83148"/>
                  </a:cubicBezTo>
                  <a:cubicBezTo>
                    <a:pt x="299838" y="83148"/>
                    <a:pt x="299838" y="81889"/>
                    <a:pt x="299838" y="81889"/>
                  </a:cubicBezTo>
                  <a:cubicBezTo>
                    <a:pt x="296058" y="81889"/>
                    <a:pt x="296058" y="81889"/>
                    <a:pt x="296058" y="80629"/>
                  </a:cubicBezTo>
                  <a:close/>
                </a:path>
              </a:pathLst>
            </a:custGeom>
            <a:solidFill>
              <a:srgbClr val="021021"/>
            </a:solidFill>
            <a:ln w="12584" cap="flat">
              <a:noFill/>
              <a:prstDash val="solid"/>
              <a:miter/>
            </a:ln>
          </p:spPr>
          <p:txBody>
            <a:bodyPr rtlCol="0" anchor="ctr"/>
            <a:lstStyle/>
            <a:p>
              <a:endParaRPr lang="zh-CN" altLang="en-US"/>
            </a:p>
          </p:txBody>
        </p:sp>
        <p:sp>
          <p:nvSpPr>
            <p:cNvPr id="10184" name="任意多边形: 形状 10183"/>
            <p:cNvSpPr/>
            <p:nvPr/>
          </p:nvSpPr>
          <p:spPr>
            <a:xfrm>
              <a:off x="3063346" y="4559061"/>
              <a:ext cx="277161" cy="176375"/>
            </a:xfrm>
            <a:custGeom>
              <a:avLst/>
              <a:gdLst>
                <a:gd name="connsiteX0" fmla="*/ 279681 w 277161"/>
                <a:gd name="connsiteY0" fmla="*/ 167556 h 176375"/>
                <a:gd name="connsiteX1" fmla="*/ 278421 w 277161"/>
                <a:gd name="connsiteY1" fmla="*/ 163777 h 176375"/>
                <a:gd name="connsiteX2" fmla="*/ 274642 w 277161"/>
                <a:gd name="connsiteY2" fmla="*/ 158737 h 176375"/>
                <a:gd name="connsiteX3" fmla="*/ 270862 w 277161"/>
                <a:gd name="connsiteY3" fmla="*/ 153698 h 176375"/>
                <a:gd name="connsiteX4" fmla="*/ 262043 w 277161"/>
                <a:gd name="connsiteY4" fmla="*/ 143620 h 176375"/>
                <a:gd name="connsiteX5" fmla="*/ 243146 w 277161"/>
                <a:gd name="connsiteY5" fmla="*/ 125982 h 176375"/>
                <a:gd name="connsiteX6" fmla="*/ 234327 w 277161"/>
                <a:gd name="connsiteY6" fmla="*/ 118423 h 176375"/>
                <a:gd name="connsiteX7" fmla="*/ 224249 w 277161"/>
                <a:gd name="connsiteY7" fmla="*/ 109604 h 176375"/>
                <a:gd name="connsiteX8" fmla="*/ 214170 w 277161"/>
                <a:gd name="connsiteY8" fmla="*/ 102045 h 176375"/>
                <a:gd name="connsiteX9" fmla="*/ 212910 w 277161"/>
                <a:gd name="connsiteY9" fmla="*/ 100786 h 176375"/>
                <a:gd name="connsiteX10" fmla="*/ 201572 w 277161"/>
                <a:gd name="connsiteY10" fmla="*/ 89447 h 176375"/>
                <a:gd name="connsiteX11" fmla="*/ 190233 w 277161"/>
                <a:gd name="connsiteY11" fmla="*/ 78109 h 176375"/>
                <a:gd name="connsiteX12" fmla="*/ 178895 w 277161"/>
                <a:gd name="connsiteY12" fmla="*/ 68030 h 176375"/>
                <a:gd name="connsiteX13" fmla="*/ 172596 w 277161"/>
                <a:gd name="connsiteY13" fmla="*/ 62991 h 176375"/>
                <a:gd name="connsiteX14" fmla="*/ 166297 w 277161"/>
                <a:gd name="connsiteY14" fmla="*/ 57952 h 176375"/>
                <a:gd name="connsiteX15" fmla="*/ 159998 w 277161"/>
                <a:gd name="connsiteY15" fmla="*/ 52912 h 176375"/>
                <a:gd name="connsiteX16" fmla="*/ 153698 w 277161"/>
                <a:gd name="connsiteY16" fmla="*/ 49133 h 176375"/>
                <a:gd name="connsiteX17" fmla="*/ 147399 w 277161"/>
                <a:gd name="connsiteY17" fmla="*/ 44094 h 176375"/>
                <a:gd name="connsiteX18" fmla="*/ 141100 w 277161"/>
                <a:gd name="connsiteY18" fmla="*/ 39054 h 176375"/>
                <a:gd name="connsiteX19" fmla="*/ 134801 w 277161"/>
                <a:gd name="connsiteY19" fmla="*/ 35275 h 176375"/>
                <a:gd name="connsiteX20" fmla="*/ 131022 w 277161"/>
                <a:gd name="connsiteY20" fmla="*/ 32755 h 176375"/>
                <a:gd name="connsiteX21" fmla="*/ 128502 w 277161"/>
                <a:gd name="connsiteY21" fmla="*/ 31496 h 176375"/>
                <a:gd name="connsiteX22" fmla="*/ 120943 w 277161"/>
                <a:gd name="connsiteY22" fmla="*/ 28976 h 176375"/>
                <a:gd name="connsiteX23" fmla="*/ 115904 w 277161"/>
                <a:gd name="connsiteY23" fmla="*/ 27716 h 176375"/>
                <a:gd name="connsiteX24" fmla="*/ 107085 w 277161"/>
                <a:gd name="connsiteY24" fmla="*/ 23937 h 176375"/>
                <a:gd name="connsiteX25" fmla="*/ 97006 w 277161"/>
                <a:gd name="connsiteY25" fmla="*/ 20157 h 176375"/>
                <a:gd name="connsiteX26" fmla="*/ 74329 w 277161"/>
                <a:gd name="connsiteY26" fmla="*/ 12598 h 176375"/>
                <a:gd name="connsiteX27" fmla="*/ 66771 w 277161"/>
                <a:gd name="connsiteY27" fmla="*/ 10078 h 176375"/>
                <a:gd name="connsiteX28" fmla="*/ 59212 w 277161"/>
                <a:gd name="connsiteY28" fmla="*/ 7559 h 176375"/>
                <a:gd name="connsiteX29" fmla="*/ 51653 w 277161"/>
                <a:gd name="connsiteY29" fmla="*/ 5039 h 176375"/>
                <a:gd name="connsiteX30" fmla="*/ 49133 w 277161"/>
                <a:gd name="connsiteY30" fmla="*/ 3779 h 176375"/>
                <a:gd name="connsiteX31" fmla="*/ 45354 w 277161"/>
                <a:gd name="connsiteY31" fmla="*/ 2519 h 176375"/>
                <a:gd name="connsiteX32" fmla="*/ 39055 w 277161"/>
                <a:gd name="connsiteY32" fmla="*/ 1260 h 176375"/>
                <a:gd name="connsiteX33" fmla="*/ 31496 w 277161"/>
                <a:gd name="connsiteY33" fmla="*/ 0 h 176375"/>
                <a:gd name="connsiteX34" fmla="*/ 27716 w 277161"/>
                <a:gd name="connsiteY34" fmla="*/ 0 h 176375"/>
                <a:gd name="connsiteX35" fmla="*/ 27716 w 277161"/>
                <a:gd name="connsiteY35" fmla="*/ 0 h 176375"/>
                <a:gd name="connsiteX36" fmla="*/ 25196 w 277161"/>
                <a:gd name="connsiteY36" fmla="*/ 1260 h 176375"/>
                <a:gd name="connsiteX37" fmla="*/ 10079 w 277161"/>
                <a:gd name="connsiteY37" fmla="*/ 44094 h 176375"/>
                <a:gd name="connsiteX38" fmla="*/ 7559 w 277161"/>
                <a:gd name="connsiteY38" fmla="*/ 51652 h 176375"/>
                <a:gd name="connsiteX39" fmla="*/ 6299 w 277161"/>
                <a:gd name="connsiteY39" fmla="*/ 54172 h 176375"/>
                <a:gd name="connsiteX40" fmla="*/ 5039 w 277161"/>
                <a:gd name="connsiteY40" fmla="*/ 59211 h 176375"/>
                <a:gd name="connsiteX41" fmla="*/ 3780 w 277161"/>
                <a:gd name="connsiteY41" fmla="*/ 62991 h 176375"/>
                <a:gd name="connsiteX42" fmla="*/ 3780 w 277161"/>
                <a:gd name="connsiteY42" fmla="*/ 62991 h 176375"/>
                <a:gd name="connsiteX43" fmla="*/ 0 w 277161"/>
                <a:gd name="connsiteY43" fmla="*/ 74330 h 176375"/>
                <a:gd name="connsiteX44" fmla="*/ 3780 w 277161"/>
                <a:gd name="connsiteY44" fmla="*/ 74330 h 176375"/>
                <a:gd name="connsiteX45" fmla="*/ 3780 w 277161"/>
                <a:gd name="connsiteY45" fmla="*/ 74330 h 176375"/>
                <a:gd name="connsiteX46" fmla="*/ 8819 w 277161"/>
                <a:gd name="connsiteY46" fmla="*/ 79369 h 176375"/>
                <a:gd name="connsiteX47" fmla="*/ 13858 w 277161"/>
                <a:gd name="connsiteY47" fmla="*/ 81889 h 176375"/>
                <a:gd name="connsiteX48" fmla="*/ 15118 w 277161"/>
                <a:gd name="connsiteY48" fmla="*/ 83148 h 176375"/>
                <a:gd name="connsiteX49" fmla="*/ 27716 w 277161"/>
                <a:gd name="connsiteY49" fmla="*/ 89447 h 176375"/>
                <a:gd name="connsiteX50" fmla="*/ 28976 w 277161"/>
                <a:gd name="connsiteY50" fmla="*/ 89447 h 176375"/>
                <a:gd name="connsiteX51" fmla="*/ 34015 w 277161"/>
                <a:gd name="connsiteY51" fmla="*/ 90707 h 176375"/>
                <a:gd name="connsiteX52" fmla="*/ 39055 w 277161"/>
                <a:gd name="connsiteY52" fmla="*/ 89447 h 176375"/>
                <a:gd name="connsiteX53" fmla="*/ 45354 w 277161"/>
                <a:gd name="connsiteY53" fmla="*/ 88188 h 176375"/>
                <a:gd name="connsiteX54" fmla="*/ 45354 w 277161"/>
                <a:gd name="connsiteY54" fmla="*/ 89447 h 176375"/>
                <a:gd name="connsiteX55" fmla="*/ 47873 w 277161"/>
                <a:gd name="connsiteY55" fmla="*/ 91967 h 176375"/>
                <a:gd name="connsiteX56" fmla="*/ 50393 w 277161"/>
                <a:gd name="connsiteY56" fmla="*/ 94487 h 176375"/>
                <a:gd name="connsiteX57" fmla="*/ 52913 w 277161"/>
                <a:gd name="connsiteY57" fmla="*/ 95746 h 176375"/>
                <a:gd name="connsiteX58" fmla="*/ 57952 w 277161"/>
                <a:gd name="connsiteY58" fmla="*/ 98266 h 176375"/>
                <a:gd name="connsiteX59" fmla="*/ 70550 w 277161"/>
                <a:gd name="connsiteY59" fmla="*/ 103305 h 176375"/>
                <a:gd name="connsiteX60" fmla="*/ 81889 w 277161"/>
                <a:gd name="connsiteY60" fmla="*/ 108344 h 176375"/>
                <a:gd name="connsiteX61" fmla="*/ 105825 w 277161"/>
                <a:gd name="connsiteY61" fmla="*/ 115904 h 176375"/>
                <a:gd name="connsiteX62" fmla="*/ 110864 w 277161"/>
                <a:gd name="connsiteY62" fmla="*/ 117163 h 176375"/>
                <a:gd name="connsiteX63" fmla="*/ 117164 w 277161"/>
                <a:gd name="connsiteY63" fmla="*/ 119683 h 176375"/>
                <a:gd name="connsiteX64" fmla="*/ 128502 w 277161"/>
                <a:gd name="connsiteY64" fmla="*/ 123463 h 176375"/>
                <a:gd name="connsiteX65" fmla="*/ 138581 w 277161"/>
                <a:gd name="connsiteY65" fmla="*/ 127242 h 176375"/>
                <a:gd name="connsiteX66" fmla="*/ 148659 w 277161"/>
                <a:gd name="connsiteY66" fmla="*/ 132281 h 176375"/>
                <a:gd name="connsiteX67" fmla="*/ 158738 w 277161"/>
                <a:gd name="connsiteY67" fmla="*/ 136061 h 176375"/>
                <a:gd name="connsiteX68" fmla="*/ 168816 w 277161"/>
                <a:gd name="connsiteY68" fmla="*/ 139840 h 176375"/>
                <a:gd name="connsiteX69" fmla="*/ 167557 w 277161"/>
                <a:gd name="connsiteY69" fmla="*/ 139840 h 176375"/>
                <a:gd name="connsiteX70" fmla="*/ 178895 w 277161"/>
                <a:gd name="connsiteY70" fmla="*/ 143620 h 176375"/>
                <a:gd name="connsiteX71" fmla="*/ 186454 w 277161"/>
                <a:gd name="connsiteY71" fmla="*/ 146139 h 176375"/>
                <a:gd name="connsiteX72" fmla="*/ 187714 w 277161"/>
                <a:gd name="connsiteY72" fmla="*/ 147399 h 176375"/>
                <a:gd name="connsiteX73" fmla="*/ 187714 w 277161"/>
                <a:gd name="connsiteY73" fmla="*/ 147399 h 176375"/>
                <a:gd name="connsiteX74" fmla="*/ 201572 w 277161"/>
                <a:gd name="connsiteY74" fmla="*/ 153698 h 176375"/>
                <a:gd name="connsiteX75" fmla="*/ 215430 w 277161"/>
                <a:gd name="connsiteY75" fmla="*/ 158737 h 176375"/>
                <a:gd name="connsiteX76" fmla="*/ 215430 w 277161"/>
                <a:gd name="connsiteY76" fmla="*/ 158737 h 176375"/>
                <a:gd name="connsiteX77" fmla="*/ 221729 w 277161"/>
                <a:gd name="connsiteY77" fmla="*/ 161257 h 176375"/>
                <a:gd name="connsiteX78" fmla="*/ 222989 w 277161"/>
                <a:gd name="connsiteY78" fmla="*/ 161257 h 176375"/>
                <a:gd name="connsiteX79" fmla="*/ 228028 w 277161"/>
                <a:gd name="connsiteY79" fmla="*/ 162517 h 176375"/>
                <a:gd name="connsiteX80" fmla="*/ 234327 w 277161"/>
                <a:gd name="connsiteY80" fmla="*/ 165037 h 176375"/>
                <a:gd name="connsiteX81" fmla="*/ 244406 w 277161"/>
                <a:gd name="connsiteY81" fmla="*/ 168816 h 176375"/>
                <a:gd name="connsiteX82" fmla="*/ 254484 w 277161"/>
                <a:gd name="connsiteY82" fmla="*/ 172596 h 176375"/>
                <a:gd name="connsiteX83" fmla="*/ 253225 w 277161"/>
                <a:gd name="connsiteY83" fmla="*/ 172596 h 176375"/>
                <a:gd name="connsiteX84" fmla="*/ 265823 w 277161"/>
                <a:gd name="connsiteY84" fmla="*/ 176375 h 176375"/>
                <a:gd name="connsiteX85" fmla="*/ 272122 w 277161"/>
                <a:gd name="connsiteY85" fmla="*/ 177635 h 176375"/>
                <a:gd name="connsiteX86" fmla="*/ 278421 w 277161"/>
                <a:gd name="connsiteY86" fmla="*/ 176375 h 176375"/>
                <a:gd name="connsiteX87" fmla="*/ 279681 w 277161"/>
                <a:gd name="connsiteY87" fmla="*/ 175115 h 176375"/>
                <a:gd name="connsiteX88" fmla="*/ 279681 w 277161"/>
                <a:gd name="connsiteY88" fmla="*/ 167556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77161" h="176375">
                  <a:moveTo>
                    <a:pt x="279681" y="167556"/>
                  </a:moveTo>
                  <a:cubicBezTo>
                    <a:pt x="279681" y="166296"/>
                    <a:pt x="278421" y="165037"/>
                    <a:pt x="278421" y="163777"/>
                  </a:cubicBezTo>
                  <a:cubicBezTo>
                    <a:pt x="277161" y="161257"/>
                    <a:pt x="275901" y="159997"/>
                    <a:pt x="274642" y="158737"/>
                  </a:cubicBezTo>
                  <a:cubicBezTo>
                    <a:pt x="273382" y="157478"/>
                    <a:pt x="272122" y="154958"/>
                    <a:pt x="270862" y="153698"/>
                  </a:cubicBezTo>
                  <a:cubicBezTo>
                    <a:pt x="268342" y="149919"/>
                    <a:pt x="264563" y="147399"/>
                    <a:pt x="262043" y="143620"/>
                  </a:cubicBezTo>
                  <a:cubicBezTo>
                    <a:pt x="255744" y="137321"/>
                    <a:pt x="249445" y="131022"/>
                    <a:pt x="243146" y="125982"/>
                  </a:cubicBezTo>
                  <a:cubicBezTo>
                    <a:pt x="240626" y="123463"/>
                    <a:pt x="236847" y="120943"/>
                    <a:pt x="234327" y="118423"/>
                  </a:cubicBezTo>
                  <a:cubicBezTo>
                    <a:pt x="230548" y="115904"/>
                    <a:pt x="228028" y="113384"/>
                    <a:pt x="224249" y="109604"/>
                  </a:cubicBezTo>
                  <a:cubicBezTo>
                    <a:pt x="220469" y="107085"/>
                    <a:pt x="217949" y="104565"/>
                    <a:pt x="214170" y="102045"/>
                  </a:cubicBezTo>
                  <a:cubicBezTo>
                    <a:pt x="214170" y="102045"/>
                    <a:pt x="212910" y="100786"/>
                    <a:pt x="212910" y="100786"/>
                  </a:cubicBezTo>
                  <a:cubicBezTo>
                    <a:pt x="209131" y="97006"/>
                    <a:pt x="205351" y="93227"/>
                    <a:pt x="201572" y="89447"/>
                  </a:cubicBezTo>
                  <a:cubicBezTo>
                    <a:pt x="197792" y="85668"/>
                    <a:pt x="194013" y="81889"/>
                    <a:pt x="190233" y="78109"/>
                  </a:cubicBezTo>
                  <a:cubicBezTo>
                    <a:pt x="186454" y="74330"/>
                    <a:pt x="182674" y="70550"/>
                    <a:pt x="178895" y="68030"/>
                  </a:cubicBezTo>
                  <a:cubicBezTo>
                    <a:pt x="176375" y="66770"/>
                    <a:pt x="175115" y="64251"/>
                    <a:pt x="172596" y="62991"/>
                  </a:cubicBezTo>
                  <a:cubicBezTo>
                    <a:pt x="170076" y="61731"/>
                    <a:pt x="168816" y="59211"/>
                    <a:pt x="166297" y="57952"/>
                  </a:cubicBezTo>
                  <a:cubicBezTo>
                    <a:pt x="163777" y="56692"/>
                    <a:pt x="162517" y="54172"/>
                    <a:pt x="159998" y="52912"/>
                  </a:cubicBezTo>
                  <a:cubicBezTo>
                    <a:pt x="157478" y="51652"/>
                    <a:pt x="156218" y="50393"/>
                    <a:pt x="153698" y="49133"/>
                  </a:cubicBezTo>
                  <a:cubicBezTo>
                    <a:pt x="151179" y="47873"/>
                    <a:pt x="149919" y="45353"/>
                    <a:pt x="147399" y="44094"/>
                  </a:cubicBezTo>
                  <a:cubicBezTo>
                    <a:pt x="144880" y="42834"/>
                    <a:pt x="143620" y="41574"/>
                    <a:pt x="141100" y="39054"/>
                  </a:cubicBezTo>
                  <a:cubicBezTo>
                    <a:pt x="138581" y="37795"/>
                    <a:pt x="137321" y="36535"/>
                    <a:pt x="134801" y="35275"/>
                  </a:cubicBezTo>
                  <a:cubicBezTo>
                    <a:pt x="133541" y="34015"/>
                    <a:pt x="132281" y="34015"/>
                    <a:pt x="131022" y="32755"/>
                  </a:cubicBezTo>
                  <a:cubicBezTo>
                    <a:pt x="129762" y="32755"/>
                    <a:pt x="129762" y="31496"/>
                    <a:pt x="128502" y="31496"/>
                  </a:cubicBezTo>
                  <a:cubicBezTo>
                    <a:pt x="125982" y="30236"/>
                    <a:pt x="123463" y="30236"/>
                    <a:pt x="120943" y="28976"/>
                  </a:cubicBezTo>
                  <a:cubicBezTo>
                    <a:pt x="119683" y="28976"/>
                    <a:pt x="117164" y="27716"/>
                    <a:pt x="115904" y="27716"/>
                  </a:cubicBezTo>
                  <a:cubicBezTo>
                    <a:pt x="113384" y="26456"/>
                    <a:pt x="109605" y="25196"/>
                    <a:pt x="107085" y="23937"/>
                  </a:cubicBezTo>
                  <a:cubicBezTo>
                    <a:pt x="103305" y="22677"/>
                    <a:pt x="99526" y="21417"/>
                    <a:pt x="97006" y="20157"/>
                  </a:cubicBezTo>
                  <a:cubicBezTo>
                    <a:pt x="89448" y="17637"/>
                    <a:pt x="81889" y="15118"/>
                    <a:pt x="74329" y="12598"/>
                  </a:cubicBezTo>
                  <a:cubicBezTo>
                    <a:pt x="71810" y="11338"/>
                    <a:pt x="69290" y="10078"/>
                    <a:pt x="66771" y="10078"/>
                  </a:cubicBezTo>
                  <a:cubicBezTo>
                    <a:pt x="64251" y="8819"/>
                    <a:pt x="61731" y="8819"/>
                    <a:pt x="59212" y="7559"/>
                  </a:cubicBezTo>
                  <a:cubicBezTo>
                    <a:pt x="56692" y="6299"/>
                    <a:pt x="54172" y="6299"/>
                    <a:pt x="51653" y="5039"/>
                  </a:cubicBezTo>
                  <a:cubicBezTo>
                    <a:pt x="50393" y="5039"/>
                    <a:pt x="49133" y="3779"/>
                    <a:pt x="49133" y="3779"/>
                  </a:cubicBezTo>
                  <a:cubicBezTo>
                    <a:pt x="47873" y="3779"/>
                    <a:pt x="46613" y="2519"/>
                    <a:pt x="45354" y="2519"/>
                  </a:cubicBezTo>
                  <a:cubicBezTo>
                    <a:pt x="42834" y="2519"/>
                    <a:pt x="40314" y="1260"/>
                    <a:pt x="39055" y="1260"/>
                  </a:cubicBezTo>
                  <a:cubicBezTo>
                    <a:pt x="36535" y="1260"/>
                    <a:pt x="34015" y="0"/>
                    <a:pt x="31496" y="0"/>
                  </a:cubicBezTo>
                  <a:cubicBezTo>
                    <a:pt x="30236" y="0"/>
                    <a:pt x="28976" y="0"/>
                    <a:pt x="27716" y="0"/>
                  </a:cubicBezTo>
                  <a:cubicBezTo>
                    <a:pt x="27716" y="0"/>
                    <a:pt x="27716" y="0"/>
                    <a:pt x="27716" y="0"/>
                  </a:cubicBezTo>
                  <a:cubicBezTo>
                    <a:pt x="26456" y="0"/>
                    <a:pt x="26456" y="1260"/>
                    <a:pt x="25196" y="1260"/>
                  </a:cubicBezTo>
                  <a:lnTo>
                    <a:pt x="10079" y="44094"/>
                  </a:lnTo>
                  <a:cubicBezTo>
                    <a:pt x="8819" y="46613"/>
                    <a:pt x="8819" y="49133"/>
                    <a:pt x="7559" y="51652"/>
                  </a:cubicBezTo>
                  <a:cubicBezTo>
                    <a:pt x="7559" y="52912"/>
                    <a:pt x="7559" y="52912"/>
                    <a:pt x="6299" y="54172"/>
                  </a:cubicBezTo>
                  <a:cubicBezTo>
                    <a:pt x="6299" y="55432"/>
                    <a:pt x="5039" y="56692"/>
                    <a:pt x="5039" y="59211"/>
                  </a:cubicBezTo>
                  <a:cubicBezTo>
                    <a:pt x="5039" y="60471"/>
                    <a:pt x="3780" y="61731"/>
                    <a:pt x="3780" y="62991"/>
                  </a:cubicBezTo>
                  <a:cubicBezTo>
                    <a:pt x="3780" y="62991"/>
                    <a:pt x="3780" y="62991"/>
                    <a:pt x="3780" y="62991"/>
                  </a:cubicBezTo>
                  <a:lnTo>
                    <a:pt x="0" y="74330"/>
                  </a:lnTo>
                  <a:cubicBezTo>
                    <a:pt x="1260" y="74330"/>
                    <a:pt x="2520" y="74330"/>
                    <a:pt x="3780" y="74330"/>
                  </a:cubicBezTo>
                  <a:cubicBezTo>
                    <a:pt x="3780" y="74330"/>
                    <a:pt x="3780" y="74330"/>
                    <a:pt x="3780" y="74330"/>
                  </a:cubicBezTo>
                  <a:cubicBezTo>
                    <a:pt x="5039" y="76849"/>
                    <a:pt x="7559" y="79369"/>
                    <a:pt x="8819" y="79369"/>
                  </a:cubicBezTo>
                  <a:cubicBezTo>
                    <a:pt x="10079" y="80629"/>
                    <a:pt x="12598" y="81889"/>
                    <a:pt x="13858" y="81889"/>
                  </a:cubicBezTo>
                  <a:lnTo>
                    <a:pt x="15118" y="83148"/>
                  </a:lnTo>
                  <a:cubicBezTo>
                    <a:pt x="18897" y="85668"/>
                    <a:pt x="23937" y="88188"/>
                    <a:pt x="27716" y="89447"/>
                  </a:cubicBezTo>
                  <a:cubicBezTo>
                    <a:pt x="27716" y="89447"/>
                    <a:pt x="27716" y="89447"/>
                    <a:pt x="28976" y="89447"/>
                  </a:cubicBezTo>
                  <a:cubicBezTo>
                    <a:pt x="30236" y="89447"/>
                    <a:pt x="31496" y="90707"/>
                    <a:pt x="34015" y="90707"/>
                  </a:cubicBezTo>
                  <a:cubicBezTo>
                    <a:pt x="36535" y="90707"/>
                    <a:pt x="37795" y="90707"/>
                    <a:pt x="39055" y="89447"/>
                  </a:cubicBezTo>
                  <a:cubicBezTo>
                    <a:pt x="41574" y="89447"/>
                    <a:pt x="42834" y="88188"/>
                    <a:pt x="45354" y="88188"/>
                  </a:cubicBezTo>
                  <a:cubicBezTo>
                    <a:pt x="45354" y="88188"/>
                    <a:pt x="45354" y="89447"/>
                    <a:pt x="45354" y="89447"/>
                  </a:cubicBezTo>
                  <a:cubicBezTo>
                    <a:pt x="45354" y="90707"/>
                    <a:pt x="46613" y="90707"/>
                    <a:pt x="47873" y="91967"/>
                  </a:cubicBezTo>
                  <a:cubicBezTo>
                    <a:pt x="49133" y="93227"/>
                    <a:pt x="49133" y="93227"/>
                    <a:pt x="50393" y="94487"/>
                  </a:cubicBezTo>
                  <a:cubicBezTo>
                    <a:pt x="51653" y="94487"/>
                    <a:pt x="51653" y="95746"/>
                    <a:pt x="52913" y="95746"/>
                  </a:cubicBezTo>
                  <a:cubicBezTo>
                    <a:pt x="54172" y="97006"/>
                    <a:pt x="56692" y="97006"/>
                    <a:pt x="57952" y="98266"/>
                  </a:cubicBezTo>
                  <a:cubicBezTo>
                    <a:pt x="61731" y="99526"/>
                    <a:pt x="66771" y="102045"/>
                    <a:pt x="70550" y="103305"/>
                  </a:cubicBezTo>
                  <a:cubicBezTo>
                    <a:pt x="74329" y="104565"/>
                    <a:pt x="78109" y="107085"/>
                    <a:pt x="81889" y="108344"/>
                  </a:cubicBezTo>
                  <a:cubicBezTo>
                    <a:pt x="89448" y="110864"/>
                    <a:pt x="98266" y="113384"/>
                    <a:pt x="105825" y="115904"/>
                  </a:cubicBezTo>
                  <a:cubicBezTo>
                    <a:pt x="107085" y="115904"/>
                    <a:pt x="109605" y="117163"/>
                    <a:pt x="110864" y="117163"/>
                  </a:cubicBezTo>
                  <a:cubicBezTo>
                    <a:pt x="113384" y="117163"/>
                    <a:pt x="114644" y="118423"/>
                    <a:pt x="117164" y="119683"/>
                  </a:cubicBezTo>
                  <a:cubicBezTo>
                    <a:pt x="120943" y="120943"/>
                    <a:pt x="124722" y="122203"/>
                    <a:pt x="128502" y="123463"/>
                  </a:cubicBezTo>
                  <a:cubicBezTo>
                    <a:pt x="132281" y="124722"/>
                    <a:pt x="134801" y="125982"/>
                    <a:pt x="138581" y="127242"/>
                  </a:cubicBezTo>
                  <a:cubicBezTo>
                    <a:pt x="142360" y="128502"/>
                    <a:pt x="144880" y="129762"/>
                    <a:pt x="148659" y="132281"/>
                  </a:cubicBezTo>
                  <a:cubicBezTo>
                    <a:pt x="152439" y="133541"/>
                    <a:pt x="156218" y="134801"/>
                    <a:pt x="158738" y="136061"/>
                  </a:cubicBezTo>
                  <a:cubicBezTo>
                    <a:pt x="162517" y="137321"/>
                    <a:pt x="165037" y="138581"/>
                    <a:pt x="168816" y="139840"/>
                  </a:cubicBezTo>
                  <a:lnTo>
                    <a:pt x="167557" y="139840"/>
                  </a:lnTo>
                  <a:cubicBezTo>
                    <a:pt x="171336" y="141100"/>
                    <a:pt x="175115" y="142360"/>
                    <a:pt x="178895" y="143620"/>
                  </a:cubicBezTo>
                  <a:cubicBezTo>
                    <a:pt x="181414" y="144880"/>
                    <a:pt x="183934" y="144880"/>
                    <a:pt x="186454" y="146139"/>
                  </a:cubicBezTo>
                  <a:cubicBezTo>
                    <a:pt x="186454" y="146139"/>
                    <a:pt x="187714" y="146139"/>
                    <a:pt x="187714" y="147399"/>
                  </a:cubicBezTo>
                  <a:lnTo>
                    <a:pt x="187714" y="147399"/>
                  </a:lnTo>
                  <a:cubicBezTo>
                    <a:pt x="192753" y="149919"/>
                    <a:pt x="196533" y="151179"/>
                    <a:pt x="201572" y="153698"/>
                  </a:cubicBezTo>
                  <a:cubicBezTo>
                    <a:pt x="206611" y="156218"/>
                    <a:pt x="210390" y="157478"/>
                    <a:pt x="215430" y="158737"/>
                  </a:cubicBezTo>
                  <a:lnTo>
                    <a:pt x="215430" y="158737"/>
                  </a:lnTo>
                  <a:cubicBezTo>
                    <a:pt x="217949" y="159997"/>
                    <a:pt x="219209" y="159997"/>
                    <a:pt x="221729" y="161257"/>
                  </a:cubicBezTo>
                  <a:lnTo>
                    <a:pt x="222989" y="161257"/>
                  </a:lnTo>
                  <a:cubicBezTo>
                    <a:pt x="224249" y="161257"/>
                    <a:pt x="225508" y="162517"/>
                    <a:pt x="228028" y="162517"/>
                  </a:cubicBezTo>
                  <a:cubicBezTo>
                    <a:pt x="230548" y="163777"/>
                    <a:pt x="231807" y="163777"/>
                    <a:pt x="234327" y="165037"/>
                  </a:cubicBezTo>
                  <a:cubicBezTo>
                    <a:pt x="238107" y="166296"/>
                    <a:pt x="241886" y="167556"/>
                    <a:pt x="244406" y="168816"/>
                  </a:cubicBezTo>
                  <a:cubicBezTo>
                    <a:pt x="248185" y="170076"/>
                    <a:pt x="250705" y="171336"/>
                    <a:pt x="254484" y="172596"/>
                  </a:cubicBezTo>
                  <a:cubicBezTo>
                    <a:pt x="254484" y="172596"/>
                    <a:pt x="253225" y="172596"/>
                    <a:pt x="253225" y="172596"/>
                  </a:cubicBezTo>
                  <a:cubicBezTo>
                    <a:pt x="257004" y="173855"/>
                    <a:pt x="262043" y="175115"/>
                    <a:pt x="265823" y="176375"/>
                  </a:cubicBezTo>
                  <a:cubicBezTo>
                    <a:pt x="268342" y="176375"/>
                    <a:pt x="269602" y="177635"/>
                    <a:pt x="272122" y="177635"/>
                  </a:cubicBezTo>
                  <a:cubicBezTo>
                    <a:pt x="274642" y="177635"/>
                    <a:pt x="275901" y="177635"/>
                    <a:pt x="278421" y="176375"/>
                  </a:cubicBezTo>
                  <a:cubicBezTo>
                    <a:pt x="278421" y="176375"/>
                    <a:pt x="279681" y="175115"/>
                    <a:pt x="279681" y="175115"/>
                  </a:cubicBezTo>
                  <a:cubicBezTo>
                    <a:pt x="279681" y="168816"/>
                    <a:pt x="279681" y="167556"/>
                    <a:pt x="279681" y="167556"/>
                  </a:cubicBezTo>
                  <a:close/>
                </a:path>
              </a:pathLst>
            </a:custGeom>
            <a:solidFill>
              <a:srgbClr val="021021"/>
            </a:solidFill>
            <a:ln w="12584" cap="flat">
              <a:noFill/>
              <a:prstDash val="solid"/>
              <a:miter/>
            </a:ln>
          </p:spPr>
          <p:txBody>
            <a:bodyPr rtlCol="0" anchor="ctr"/>
            <a:lstStyle/>
            <a:p>
              <a:endParaRPr lang="zh-CN" altLang="en-US"/>
            </a:p>
          </p:txBody>
        </p:sp>
        <p:sp>
          <p:nvSpPr>
            <p:cNvPr id="10185" name="任意多边形: 形状 10184"/>
            <p:cNvSpPr/>
            <p:nvPr/>
          </p:nvSpPr>
          <p:spPr>
            <a:xfrm>
              <a:off x="2646272" y="858628"/>
              <a:ext cx="2406262" cy="1637770"/>
            </a:xfrm>
            <a:custGeom>
              <a:avLst/>
              <a:gdLst>
                <a:gd name="connsiteX0" fmla="*/ 2397516 w 2406262"/>
                <a:gd name="connsiteY0" fmla="*/ 131354 h 1637770"/>
                <a:gd name="connsiteX1" fmla="*/ 2397516 w 2406262"/>
                <a:gd name="connsiteY1" fmla="*/ 131354 h 1637770"/>
                <a:gd name="connsiteX2" fmla="*/ 2349643 w 2406262"/>
                <a:gd name="connsiteY2" fmla="*/ 70882 h 1637770"/>
                <a:gd name="connsiteX3" fmla="*/ 1622725 w 2406262"/>
                <a:gd name="connsiteY3" fmla="*/ 46946 h 1637770"/>
                <a:gd name="connsiteX4" fmla="*/ 1200684 w 2406262"/>
                <a:gd name="connsiteY4" fmla="*/ 301430 h 1637770"/>
                <a:gd name="connsiteX5" fmla="*/ 773604 w 2406262"/>
                <a:gd name="connsiteY5" fmla="*/ 54505 h 1637770"/>
                <a:gd name="connsiteX6" fmla="*/ 46686 w 2406262"/>
                <a:gd name="connsiteY6" fmla="*/ 92299 h 1637770"/>
                <a:gd name="connsiteX7" fmla="*/ 73 w 2406262"/>
                <a:gd name="connsiteY7" fmla="*/ 160330 h 1637770"/>
                <a:gd name="connsiteX8" fmla="*/ 12671 w 2406262"/>
                <a:gd name="connsiteY8" fmla="*/ 1282833 h 1637770"/>
                <a:gd name="connsiteX9" fmla="*/ 12671 w 2406262"/>
                <a:gd name="connsiteY9" fmla="*/ 1290391 h 1637770"/>
                <a:gd name="connsiteX10" fmla="*/ 12671 w 2406262"/>
                <a:gd name="connsiteY10" fmla="*/ 1291651 h 1637770"/>
                <a:gd name="connsiteX11" fmla="*/ 12671 w 2406262"/>
                <a:gd name="connsiteY11" fmla="*/ 1291651 h 1637770"/>
                <a:gd name="connsiteX12" fmla="*/ 24009 w 2406262"/>
                <a:gd name="connsiteY12" fmla="*/ 1321887 h 1637770"/>
                <a:gd name="connsiteX13" fmla="*/ 151251 w 2406262"/>
                <a:gd name="connsiteY13" fmla="*/ 1349603 h 1637770"/>
                <a:gd name="connsiteX14" fmla="*/ 734550 w 2406262"/>
                <a:gd name="connsiteY14" fmla="*/ 1325666 h 1637770"/>
                <a:gd name="connsiteX15" fmla="*/ 1135173 w 2406262"/>
                <a:gd name="connsiteY15" fmla="*/ 1607867 h 1637770"/>
                <a:gd name="connsiteX16" fmla="*/ 1215802 w 2406262"/>
                <a:gd name="connsiteY16" fmla="*/ 1644402 h 1637770"/>
                <a:gd name="connsiteX17" fmla="*/ 1295171 w 2406262"/>
                <a:gd name="connsiteY17" fmla="*/ 1606607 h 1637770"/>
                <a:gd name="connsiteX18" fmla="*/ 1690756 w 2406262"/>
                <a:gd name="connsiteY18" fmla="*/ 1316848 h 1637770"/>
                <a:gd name="connsiteX19" fmla="*/ 2274054 w 2406262"/>
                <a:gd name="connsiteY19" fmla="*/ 1330706 h 1637770"/>
                <a:gd name="connsiteX20" fmla="*/ 2400036 w 2406262"/>
                <a:gd name="connsiteY20" fmla="*/ 1300470 h 1637770"/>
                <a:gd name="connsiteX21" fmla="*/ 2410115 w 2406262"/>
                <a:gd name="connsiteY21" fmla="*/ 1261415 h 1637770"/>
                <a:gd name="connsiteX22" fmla="*/ 2410115 w 2406262"/>
                <a:gd name="connsiteY22" fmla="*/ 1261415 h 1637770"/>
                <a:gd name="connsiteX23" fmla="*/ 2397516 w 2406262"/>
                <a:gd name="connsiteY23" fmla="*/ 131354 h 163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6262" h="1637770">
                  <a:moveTo>
                    <a:pt x="2397516" y="131354"/>
                  </a:moveTo>
                  <a:lnTo>
                    <a:pt x="2397516" y="131354"/>
                  </a:lnTo>
                  <a:cubicBezTo>
                    <a:pt x="2394997" y="106157"/>
                    <a:pt x="2378619" y="82221"/>
                    <a:pt x="2349643" y="70882"/>
                  </a:cubicBezTo>
                  <a:cubicBezTo>
                    <a:pt x="2124135" y="-12266"/>
                    <a:pt x="1857052" y="-24864"/>
                    <a:pt x="1622725" y="46946"/>
                  </a:cubicBezTo>
                  <a:cubicBezTo>
                    <a:pt x="1453909" y="98599"/>
                    <a:pt x="1306509" y="186786"/>
                    <a:pt x="1200684" y="301430"/>
                  </a:cubicBezTo>
                  <a:cubicBezTo>
                    <a:pt x="1092339" y="189306"/>
                    <a:pt x="942420" y="102378"/>
                    <a:pt x="773604" y="54505"/>
                  </a:cubicBezTo>
                  <a:cubicBezTo>
                    <a:pt x="538017" y="-12266"/>
                    <a:pt x="270935" y="5372"/>
                    <a:pt x="46686" y="92299"/>
                  </a:cubicBezTo>
                  <a:cubicBezTo>
                    <a:pt x="13931" y="104898"/>
                    <a:pt x="-1187" y="133874"/>
                    <a:pt x="73" y="160330"/>
                  </a:cubicBezTo>
                  <a:lnTo>
                    <a:pt x="12671" y="1282833"/>
                  </a:lnTo>
                  <a:cubicBezTo>
                    <a:pt x="12671" y="1285352"/>
                    <a:pt x="12671" y="1287872"/>
                    <a:pt x="12671" y="1290391"/>
                  </a:cubicBezTo>
                  <a:lnTo>
                    <a:pt x="12671" y="1291651"/>
                  </a:lnTo>
                  <a:lnTo>
                    <a:pt x="12671" y="1291651"/>
                  </a:lnTo>
                  <a:cubicBezTo>
                    <a:pt x="13931" y="1301730"/>
                    <a:pt x="17710" y="1313068"/>
                    <a:pt x="24009" y="1321887"/>
                  </a:cubicBezTo>
                  <a:cubicBezTo>
                    <a:pt x="50466" y="1358422"/>
                    <a:pt x="105898" y="1367241"/>
                    <a:pt x="151251" y="1349603"/>
                  </a:cubicBezTo>
                  <a:cubicBezTo>
                    <a:pt x="332666" y="1279053"/>
                    <a:pt x="545576" y="1271494"/>
                    <a:pt x="734550" y="1325666"/>
                  </a:cubicBezTo>
                  <a:cubicBezTo>
                    <a:pt x="908405" y="1374800"/>
                    <a:pt x="1050765" y="1479365"/>
                    <a:pt x="1135173" y="1607867"/>
                  </a:cubicBezTo>
                  <a:cubicBezTo>
                    <a:pt x="1154071" y="1636843"/>
                    <a:pt x="1185566" y="1646921"/>
                    <a:pt x="1215802" y="1644402"/>
                  </a:cubicBezTo>
                  <a:cubicBezTo>
                    <a:pt x="1246038" y="1645662"/>
                    <a:pt x="1277533" y="1634323"/>
                    <a:pt x="1295171" y="1606607"/>
                  </a:cubicBezTo>
                  <a:cubicBezTo>
                    <a:pt x="1377059" y="1476845"/>
                    <a:pt x="1516900" y="1369760"/>
                    <a:pt x="1690756" y="1316848"/>
                  </a:cubicBezTo>
                  <a:cubicBezTo>
                    <a:pt x="1878469" y="1260156"/>
                    <a:pt x="2091379" y="1263935"/>
                    <a:pt x="2274054" y="1330706"/>
                  </a:cubicBezTo>
                  <a:cubicBezTo>
                    <a:pt x="2319407" y="1347083"/>
                    <a:pt x="2374839" y="1337005"/>
                    <a:pt x="2400036" y="1300470"/>
                  </a:cubicBezTo>
                  <a:cubicBezTo>
                    <a:pt x="2407595" y="1289132"/>
                    <a:pt x="2411374" y="1275274"/>
                    <a:pt x="2410115" y="1261415"/>
                  </a:cubicBezTo>
                  <a:lnTo>
                    <a:pt x="2410115" y="1261415"/>
                  </a:lnTo>
                  <a:lnTo>
                    <a:pt x="2397516" y="131354"/>
                  </a:lnTo>
                  <a:close/>
                </a:path>
              </a:pathLst>
            </a:custGeom>
            <a:solidFill>
              <a:srgbClr val="0066F1"/>
            </a:solidFill>
            <a:ln w="12584" cap="flat">
              <a:noFill/>
              <a:prstDash val="solid"/>
              <a:miter/>
            </a:ln>
          </p:spPr>
          <p:txBody>
            <a:bodyPr rtlCol="0" anchor="ctr"/>
            <a:lstStyle/>
            <a:p>
              <a:endParaRPr lang="zh-CN" altLang="en-US"/>
            </a:p>
          </p:txBody>
        </p:sp>
        <p:sp>
          <p:nvSpPr>
            <p:cNvPr id="10186" name="任意多边形: 形状 10185"/>
            <p:cNvSpPr/>
            <p:nvPr/>
          </p:nvSpPr>
          <p:spPr>
            <a:xfrm>
              <a:off x="2730482" y="1139307"/>
              <a:ext cx="2242485" cy="1196832"/>
            </a:xfrm>
            <a:custGeom>
              <a:avLst/>
              <a:gdLst>
                <a:gd name="connsiteX0" fmla="*/ 2235197 w 2242485"/>
                <a:gd name="connsiteY0" fmla="*/ 101379 h 1196832"/>
                <a:gd name="connsiteX1" fmla="*/ 2235197 w 2242485"/>
                <a:gd name="connsiteY1" fmla="*/ 101379 h 1196832"/>
                <a:gd name="connsiteX2" fmla="*/ 2191104 w 2242485"/>
                <a:gd name="connsiteY2" fmla="*/ 54765 h 1196832"/>
                <a:gd name="connsiteX3" fmla="*/ 1513319 w 2242485"/>
                <a:gd name="connsiteY3" fmla="*/ 37128 h 1196832"/>
                <a:gd name="connsiteX4" fmla="*/ 1118994 w 2242485"/>
                <a:gd name="connsiteY4" fmla="*/ 237440 h 1196832"/>
                <a:gd name="connsiteX5" fmla="*/ 720890 w 2242485"/>
                <a:gd name="connsiteY5" fmla="*/ 44687 h 1196832"/>
                <a:gd name="connsiteX6" fmla="*/ 43105 w 2242485"/>
                <a:gd name="connsiteY6" fmla="*/ 74923 h 1196832"/>
                <a:gd name="connsiteX7" fmla="*/ 271 w 2242485"/>
                <a:gd name="connsiteY7" fmla="*/ 129095 h 1196832"/>
                <a:gd name="connsiteX8" fmla="*/ 9090 w 2242485"/>
                <a:gd name="connsiteY8" fmla="*/ 915225 h 1196832"/>
                <a:gd name="connsiteX9" fmla="*/ 9090 w 2242485"/>
                <a:gd name="connsiteY9" fmla="*/ 921524 h 1196832"/>
                <a:gd name="connsiteX10" fmla="*/ 9090 w 2242485"/>
                <a:gd name="connsiteY10" fmla="*/ 922784 h 1196832"/>
                <a:gd name="connsiteX11" fmla="*/ 9090 w 2242485"/>
                <a:gd name="connsiteY11" fmla="*/ 922784 h 1196832"/>
                <a:gd name="connsiteX12" fmla="*/ 19168 w 2242485"/>
                <a:gd name="connsiteY12" fmla="*/ 946720 h 1196832"/>
                <a:gd name="connsiteX13" fmla="*/ 137592 w 2242485"/>
                <a:gd name="connsiteY13" fmla="*/ 968137 h 1196832"/>
                <a:gd name="connsiteX14" fmla="*/ 680575 w 2242485"/>
                <a:gd name="connsiteY14" fmla="*/ 947980 h 1196832"/>
                <a:gd name="connsiteX15" fmla="*/ 1129072 w 2242485"/>
                <a:gd name="connsiteY15" fmla="*/ 1197425 h 1196832"/>
                <a:gd name="connsiteX16" fmla="*/ 1572530 w 2242485"/>
                <a:gd name="connsiteY16" fmla="*/ 939162 h 1196832"/>
                <a:gd name="connsiteX17" fmla="*/ 2116774 w 2242485"/>
                <a:gd name="connsiteY17" fmla="*/ 949240 h 1196832"/>
                <a:gd name="connsiteX18" fmla="*/ 2233937 w 2242485"/>
                <a:gd name="connsiteY18" fmla="*/ 925303 h 1196832"/>
                <a:gd name="connsiteX19" fmla="*/ 2244016 w 2242485"/>
                <a:gd name="connsiteY19" fmla="*/ 893808 h 1196832"/>
                <a:gd name="connsiteX20" fmla="*/ 2244016 w 2242485"/>
                <a:gd name="connsiteY20" fmla="*/ 893808 h 1196832"/>
                <a:gd name="connsiteX21" fmla="*/ 2235197 w 2242485"/>
                <a:gd name="connsiteY21" fmla="*/ 101379 h 119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42485" h="1196832">
                  <a:moveTo>
                    <a:pt x="2235197" y="101379"/>
                  </a:moveTo>
                  <a:lnTo>
                    <a:pt x="2235197" y="101379"/>
                  </a:lnTo>
                  <a:cubicBezTo>
                    <a:pt x="2233937" y="81222"/>
                    <a:pt x="2217560" y="62324"/>
                    <a:pt x="2191104" y="54765"/>
                  </a:cubicBezTo>
                  <a:cubicBezTo>
                    <a:pt x="1980713" y="-9485"/>
                    <a:pt x="1732528" y="-19564"/>
                    <a:pt x="1513319" y="37128"/>
                  </a:cubicBezTo>
                  <a:cubicBezTo>
                    <a:pt x="1355841" y="77442"/>
                    <a:pt x="1218520" y="147992"/>
                    <a:pt x="1118994" y="237440"/>
                  </a:cubicBezTo>
                  <a:cubicBezTo>
                    <a:pt x="1018208" y="149252"/>
                    <a:pt x="878368" y="82482"/>
                    <a:pt x="720890" y="44687"/>
                  </a:cubicBezTo>
                  <a:cubicBezTo>
                    <a:pt x="500421" y="-8226"/>
                    <a:pt x="252236" y="6892"/>
                    <a:pt x="43105" y="74923"/>
                  </a:cubicBezTo>
                  <a:cubicBezTo>
                    <a:pt x="12869" y="85001"/>
                    <a:pt x="-2249" y="107678"/>
                    <a:pt x="271" y="129095"/>
                  </a:cubicBezTo>
                  <a:lnTo>
                    <a:pt x="9090" y="915225"/>
                  </a:lnTo>
                  <a:cubicBezTo>
                    <a:pt x="9090" y="917744"/>
                    <a:pt x="9090" y="919004"/>
                    <a:pt x="9090" y="921524"/>
                  </a:cubicBezTo>
                  <a:lnTo>
                    <a:pt x="9090" y="922784"/>
                  </a:lnTo>
                  <a:lnTo>
                    <a:pt x="9090" y="922784"/>
                  </a:lnTo>
                  <a:cubicBezTo>
                    <a:pt x="10349" y="931603"/>
                    <a:pt x="12869" y="939162"/>
                    <a:pt x="19168" y="946720"/>
                  </a:cubicBezTo>
                  <a:cubicBezTo>
                    <a:pt x="43105" y="974437"/>
                    <a:pt x="94758" y="981995"/>
                    <a:pt x="137592" y="968137"/>
                  </a:cubicBezTo>
                  <a:cubicBezTo>
                    <a:pt x="306408" y="912705"/>
                    <a:pt x="506720" y="903886"/>
                    <a:pt x="680575" y="947980"/>
                  </a:cubicBezTo>
                  <a:cubicBezTo>
                    <a:pt x="964036" y="1019790"/>
                    <a:pt x="1100096" y="1199945"/>
                    <a:pt x="1129072" y="1197425"/>
                  </a:cubicBezTo>
                  <a:cubicBezTo>
                    <a:pt x="1158048" y="1198685"/>
                    <a:pt x="1297889" y="1008452"/>
                    <a:pt x="1572530" y="939162"/>
                  </a:cubicBezTo>
                  <a:cubicBezTo>
                    <a:pt x="1747646" y="895068"/>
                    <a:pt x="1946698" y="896328"/>
                    <a:pt x="2116774" y="949240"/>
                  </a:cubicBezTo>
                  <a:cubicBezTo>
                    <a:pt x="2159608" y="961838"/>
                    <a:pt x="2211261" y="954279"/>
                    <a:pt x="2233937" y="925303"/>
                  </a:cubicBezTo>
                  <a:cubicBezTo>
                    <a:pt x="2241496" y="916485"/>
                    <a:pt x="2245276" y="905146"/>
                    <a:pt x="2244016" y="893808"/>
                  </a:cubicBezTo>
                  <a:lnTo>
                    <a:pt x="2244016" y="893808"/>
                  </a:lnTo>
                  <a:lnTo>
                    <a:pt x="2235197" y="101379"/>
                  </a:lnTo>
                  <a:close/>
                </a:path>
              </a:pathLst>
            </a:custGeom>
            <a:solidFill>
              <a:srgbClr val="001675"/>
            </a:solidFill>
            <a:ln w="12584" cap="flat">
              <a:noFill/>
              <a:prstDash val="solid"/>
              <a:miter/>
            </a:ln>
          </p:spPr>
          <p:txBody>
            <a:bodyPr rtlCol="0" anchor="ctr"/>
            <a:lstStyle/>
            <a:p>
              <a:endParaRPr lang="zh-CN" altLang="en-US"/>
            </a:p>
          </p:txBody>
        </p:sp>
        <p:sp>
          <p:nvSpPr>
            <p:cNvPr id="10187" name="任意多边形: 形状 10186"/>
            <p:cNvSpPr/>
            <p:nvPr/>
          </p:nvSpPr>
          <p:spPr>
            <a:xfrm>
              <a:off x="2725442" y="751970"/>
              <a:ext cx="2242485" cy="1574779"/>
            </a:xfrm>
            <a:custGeom>
              <a:avLst/>
              <a:gdLst>
                <a:gd name="connsiteX0" fmla="*/ 2236457 w 2242485"/>
                <a:gd name="connsiteY0" fmla="*/ 137226 h 1574779"/>
                <a:gd name="connsiteX1" fmla="*/ 2236457 w 2242485"/>
                <a:gd name="connsiteY1" fmla="*/ 137226 h 1574779"/>
                <a:gd name="connsiteX2" fmla="*/ 2191104 w 2242485"/>
                <a:gd name="connsiteY2" fmla="*/ 74235 h 1574779"/>
                <a:gd name="connsiteX3" fmla="*/ 1513319 w 2242485"/>
                <a:gd name="connsiteY3" fmla="*/ 47779 h 1574779"/>
                <a:gd name="connsiteX4" fmla="*/ 1120254 w 2242485"/>
                <a:gd name="connsiteY4" fmla="*/ 312341 h 1574779"/>
                <a:gd name="connsiteX5" fmla="*/ 720890 w 2242485"/>
                <a:gd name="connsiteY5" fmla="*/ 55338 h 1574779"/>
                <a:gd name="connsiteX6" fmla="*/ 43105 w 2242485"/>
                <a:gd name="connsiteY6" fmla="*/ 94392 h 1574779"/>
                <a:gd name="connsiteX7" fmla="*/ 271 w 2242485"/>
                <a:gd name="connsiteY7" fmla="*/ 166202 h 1574779"/>
                <a:gd name="connsiteX8" fmla="*/ 11609 w 2242485"/>
                <a:gd name="connsiteY8" fmla="*/ 1208076 h 1574779"/>
                <a:gd name="connsiteX9" fmla="*/ 11609 w 2242485"/>
                <a:gd name="connsiteY9" fmla="*/ 1216895 h 1574779"/>
                <a:gd name="connsiteX10" fmla="*/ 11609 w 2242485"/>
                <a:gd name="connsiteY10" fmla="*/ 1218154 h 1574779"/>
                <a:gd name="connsiteX11" fmla="*/ 11609 w 2242485"/>
                <a:gd name="connsiteY11" fmla="*/ 1218154 h 1574779"/>
                <a:gd name="connsiteX12" fmla="*/ 21688 w 2242485"/>
                <a:gd name="connsiteY12" fmla="*/ 1249650 h 1574779"/>
                <a:gd name="connsiteX13" fmla="*/ 140111 w 2242485"/>
                <a:gd name="connsiteY13" fmla="*/ 1278626 h 1574779"/>
                <a:gd name="connsiteX14" fmla="*/ 683095 w 2242485"/>
                <a:gd name="connsiteY14" fmla="*/ 1253430 h 1574779"/>
                <a:gd name="connsiteX15" fmla="*/ 1132852 w 2242485"/>
                <a:gd name="connsiteY15" fmla="*/ 1586023 h 1574779"/>
                <a:gd name="connsiteX16" fmla="*/ 1575050 w 2242485"/>
                <a:gd name="connsiteY16" fmla="*/ 1244611 h 1574779"/>
                <a:gd name="connsiteX17" fmla="*/ 2119294 w 2242485"/>
                <a:gd name="connsiteY17" fmla="*/ 1259729 h 1574779"/>
                <a:gd name="connsiteX18" fmla="*/ 2236457 w 2242485"/>
                <a:gd name="connsiteY18" fmla="*/ 1229493 h 1574779"/>
                <a:gd name="connsiteX19" fmla="*/ 2246536 w 2242485"/>
                <a:gd name="connsiteY19" fmla="*/ 1187919 h 1574779"/>
                <a:gd name="connsiteX20" fmla="*/ 2246536 w 2242485"/>
                <a:gd name="connsiteY20" fmla="*/ 1187919 h 1574779"/>
                <a:gd name="connsiteX21" fmla="*/ 2236457 w 2242485"/>
                <a:gd name="connsiteY21" fmla="*/ 137226 h 1574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42485" h="1574779">
                  <a:moveTo>
                    <a:pt x="2236457" y="137226"/>
                  </a:moveTo>
                  <a:lnTo>
                    <a:pt x="2236457" y="137226"/>
                  </a:lnTo>
                  <a:cubicBezTo>
                    <a:pt x="2235198" y="110770"/>
                    <a:pt x="2218820" y="85573"/>
                    <a:pt x="2191104" y="74235"/>
                  </a:cubicBezTo>
                  <a:cubicBezTo>
                    <a:pt x="1980713" y="-11433"/>
                    <a:pt x="1731268" y="-26551"/>
                    <a:pt x="1513319" y="47779"/>
                  </a:cubicBezTo>
                  <a:cubicBezTo>
                    <a:pt x="1355841" y="100691"/>
                    <a:pt x="1218520" y="193918"/>
                    <a:pt x="1120254" y="312341"/>
                  </a:cubicBezTo>
                  <a:cubicBezTo>
                    <a:pt x="1019468" y="195178"/>
                    <a:pt x="879628" y="105730"/>
                    <a:pt x="720890" y="55338"/>
                  </a:cubicBezTo>
                  <a:cubicBezTo>
                    <a:pt x="500421" y="-15213"/>
                    <a:pt x="252236" y="3685"/>
                    <a:pt x="43105" y="94392"/>
                  </a:cubicBezTo>
                  <a:cubicBezTo>
                    <a:pt x="12869" y="106990"/>
                    <a:pt x="-2249" y="137226"/>
                    <a:pt x="271" y="166202"/>
                  </a:cubicBezTo>
                  <a:lnTo>
                    <a:pt x="11609" y="1208076"/>
                  </a:lnTo>
                  <a:cubicBezTo>
                    <a:pt x="11609" y="1210596"/>
                    <a:pt x="11609" y="1213115"/>
                    <a:pt x="11609" y="1216895"/>
                  </a:cubicBezTo>
                  <a:lnTo>
                    <a:pt x="11609" y="1218154"/>
                  </a:lnTo>
                  <a:lnTo>
                    <a:pt x="11609" y="1218154"/>
                  </a:lnTo>
                  <a:cubicBezTo>
                    <a:pt x="12869" y="1229493"/>
                    <a:pt x="15389" y="1239571"/>
                    <a:pt x="21688" y="1249650"/>
                  </a:cubicBezTo>
                  <a:cubicBezTo>
                    <a:pt x="45625" y="1287445"/>
                    <a:pt x="97277" y="1296264"/>
                    <a:pt x="140111" y="1278626"/>
                  </a:cubicBezTo>
                  <a:cubicBezTo>
                    <a:pt x="308928" y="1205556"/>
                    <a:pt x="507980" y="1194218"/>
                    <a:pt x="683095" y="1253430"/>
                  </a:cubicBezTo>
                  <a:cubicBezTo>
                    <a:pt x="966555" y="1349176"/>
                    <a:pt x="1103876" y="1588543"/>
                    <a:pt x="1132852" y="1586023"/>
                  </a:cubicBezTo>
                  <a:cubicBezTo>
                    <a:pt x="1161828" y="1587283"/>
                    <a:pt x="1300408" y="1336578"/>
                    <a:pt x="1575050" y="1244611"/>
                  </a:cubicBezTo>
                  <a:cubicBezTo>
                    <a:pt x="1750166" y="1186659"/>
                    <a:pt x="1949217" y="1189179"/>
                    <a:pt x="2119294" y="1259729"/>
                  </a:cubicBezTo>
                  <a:cubicBezTo>
                    <a:pt x="2162128" y="1277366"/>
                    <a:pt x="2213780" y="1267288"/>
                    <a:pt x="2236457" y="1229493"/>
                  </a:cubicBezTo>
                  <a:cubicBezTo>
                    <a:pt x="2244016" y="1216895"/>
                    <a:pt x="2246536" y="1203037"/>
                    <a:pt x="2246536" y="1187919"/>
                  </a:cubicBezTo>
                  <a:lnTo>
                    <a:pt x="2246536" y="1187919"/>
                  </a:lnTo>
                  <a:lnTo>
                    <a:pt x="2236457" y="137226"/>
                  </a:lnTo>
                  <a:close/>
                </a:path>
              </a:pathLst>
            </a:custGeom>
            <a:solidFill>
              <a:srgbClr val="FFFFFF"/>
            </a:solidFill>
            <a:ln w="12584" cap="flat">
              <a:noFill/>
              <a:prstDash val="solid"/>
              <a:miter/>
            </a:ln>
          </p:spPr>
          <p:txBody>
            <a:bodyPr rtlCol="0" anchor="ctr"/>
            <a:lstStyle/>
            <a:p>
              <a:endParaRPr lang="zh-CN" altLang="en-US"/>
            </a:p>
          </p:txBody>
        </p:sp>
        <p:sp>
          <p:nvSpPr>
            <p:cNvPr id="10188" name="任意多边形: 形状 10187"/>
            <p:cNvSpPr/>
            <p:nvPr/>
          </p:nvSpPr>
          <p:spPr>
            <a:xfrm>
              <a:off x="2726702" y="764423"/>
              <a:ext cx="1121243" cy="1562181"/>
            </a:xfrm>
            <a:custGeom>
              <a:avLst/>
              <a:gdLst>
                <a:gd name="connsiteX0" fmla="*/ 1115215 w 1121242"/>
                <a:gd name="connsiteY0" fmla="*/ 294849 h 1562180"/>
                <a:gd name="connsiteX1" fmla="*/ 720890 w 1121242"/>
                <a:gd name="connsiteY1" fmla="*/ 42884 h 1562180"/>
                <a:gd name="connsiteX2" fmla="*/ 43105 w 1121242"/>
                <a:gd name="connsiteY2" fmla="*/ 81939 h 1562180"/>
                <a:gd name="connsiteX3" fmla="*/ 271 w 1121242"/>
                <a:gd name="connsiteY3" fmla="*/ 153749 h 1562180"/>
                <a:gd name="connsiteX4" fmla="*/ 11609 w 1121242"/>
                <a:gd name="connsiteY4" fmla="*/ 1195623 h 1562180"/>
                <a:gd name="connsiteX5" fmla="*/ 11609 w 1121242"/>
                <a:gd name="connsiteY5" fmla="*/ 1204441 h 1562180"/>
                <a:gd name="connsiteX6" fmla="*/ 11609 w 1121242"/>
                <a:gd name="connsiteY6" fmla="*/ 1205701 h 1562180"/>
                <a:gd name="connsiteX7" fmla="*/ 11609 w 1121242"/>
                <a:gd name="connsiteY7" fmla="*/ 1205701 h 1562180"/>
                <a:gd name="connsiteX8" fmla="*/ 21688 w 1121242"/>
                <a:gd name="connsiteY8" fmla="*/ 1237197 h 1562180"/>
                <a:gd name="connsiteX9" fmla="*/ 140111 w 1121242"/>
                <a:gd name="connsiteY9" fmla="*/ 1266173 h 1562180"/>
                <a:gd name="connsiteX10" fmla="*/ 683095 w 1121242"/>
                <a:gd name="connsiteY10" fmla="*/ 1240976 h 1562180"/>
                <a:gd name="connsiteX11" fmla="*/ 1127813 w 1121242"/>
                <a:gd name="connsiteY11" fmla="*/ 1572310 h 1562180"/>
                <a:gd name="connsiteX12" fmla="*/ 1115215 w 1121242"/>
                <a:gd name="connsiteY12" fmla="*/ 294849 h 1562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1242" h="1562180">
                  <a:moveTo>
                    <a:pt x="1115215" y="294849"/>
                  </a:moveTo>
                  <a:cubicBezTo>
                    <a:pt x="1014429" y="180205"/>
                    <a:pt x="877108" y="92017"/>
                    <a:pt x="720890" y="42884"/>
                  </a:cubicBezTo>
                  <a:cubicBezTo>
                    <a:pt x="500421" y="-27666"/>
                    <a:pt x="252236" y="-8769"/>
                    <a:pt x="43105" y="81939"/>
                  </a:cubicBezTo>
                  <a:cubicBezTo>
                    <a:pt x="12869" y="94537"/>
                    <a:pt x="-2249" y="124773"/>
                    <a:pt x="271" y="153749"/>
                  </a:cubicBezTo>
                  <a:lnTo>
                    <a:pt x="11609" y="1195623"/>
                  </a:lnTo>
                  <a:cubicBezTo>
                    <a:pt x="11609" y="1198142"/>
                    <a:pt x="11609" y="1200662"/>
                    <a:pt x="11609" y="1204441"/>
                  </a:cubicBezTo>
                  <a:lnTo>
                    <a:pt x="11609" y="1205701"/>
                  </a:lnTo>
                  <a:lnTo>
                    <a:pt x="11609" y="1205701"/>
                  </a:lnTo>
                  <a:cubicBezTo>
                    <a:pt x="12869" y="1217039"/>
                    <a:pt x="15389" y="1227118"/>
                    <a:pt x="21688" y="1237197"/>
                  </a:cubicBezTo>
                  <a:cubicBezTo>
                    <a:pt x="45624" y="1274991"/>
                    <a:pt x="97277" y="1283810"/>
                    <a:pt x="140111" y="1266173"/>
                  </a:cubicBezTo>
                  <a:cubicBezTo>
                    <a:pt x="308928" y="1193103"/>
                    <a:pt x="507980" y="1181764"/>
                    <a:pt x="683095" y="1240976"/>
                  </a:cubicBezTo>
                  <a:cubicBezTo>
                    <a:pt x="953957" y="1331683"/>
                    <a:pt x="1091278" y="1554672"/>
                    <a:pt x="1127813" y="1572310"/>
                  </a:cubicBezTo>
                  <a:lnTo>
                    <a:pt x="1115215" y="294849"/>
                  </a:lnTo>
                  <a:close/>
                </a:path>
              </a:pathLst>
            </a:custGeom>
            <a:solidFill>
              <a:srgbClr val="FFFFFF"/>
            </a:solidFill>
            <a:ln w="12584" cap="flat">
              <a:noFill/>
              <a:prstDash val="solid"/>
              <a:miter/>
            </a:ln>
          </p:spPr>
          <p:txBody>
            <a:bodyPr rtlCol="0" anchor="ctr"/>
            <a:lstStyle/>
            <a:p>
              <a:endParaRPr lang="zh-CN" altLang="en-US"/>
            </a:p>
          </p:txBody>
        </p:sp>
        <p:sp>
          <p:nvSpPr>
            <p:cNvPr id="10189" name="任意多边形: 形状 10188"/>
            <p:cNvSpPr/>
            <p:nvPr/>
          </p:nvSpPr>
          <p:spPr>
            <a:xfrm>
              <a:off x="3921638" y="926840"/>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3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79" y="-56541"/>
                    <a:pt x="255391" y="21568"/>
                    <a:pt x="2167" y="267233"/>
                  </a:cubicBezTo>
                  <a:cubicBezTo>
                    <a:pt x="-4132" y="273532"/>
                    <a:pt x="4687" y="282351"/>
                    <a:pt x="10986" y="277312"/>
                  </a:cubicBezTo>
                  <a:cubicBezTo>
                    <a:pt x="261691" y="34166"/>
                    <a:pt x="627039" y="-42683"/>
                    <a:pt x="954593"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0190" name="任意多边形: 形状 10189"/>
            <p:cNvSpPr/>
            <p:nvPr/>
          </p:nvSpPr>
          <p:spPr>
            <a:xfrm>
              <a:off x="3922898" y="1046523"/>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0191" name="任意多边形: 形状 10190"/>
            <p:cNvSpPr/>
            <p:nvPr/>
          </p:nvSpPr>
          <p:spPr>
            <a:xfrm>
              <a:off x="3924158" y="1166206"/>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0192" name="任意多边形: 形状 10191"/>
            <p:cNvSpPr/>
            <p:nvPr/>
          </p:nvSpPr>
          <p:spPr>
            <a:xfrm>
              <a:off x="3925418" y="1285889"/>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1"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0193" name="任意多边形: 形状 10192"/>
            <p:cNvSpPr/>
            <p:nvPr/>
          </p:nvSpPr>
          <p:spPr>
            <a:xfrm>
              <a:off x="3926677" y="1406832"/>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3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3" y="53063"/>
                  </a:cubicBezTo>
                  <a:cubicBezTo>
                    <a:pt x="963412" y="55583"/>
                    <a:pt x="967192" y="4172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0194" name="任意多边形: 形状 10193"/>
            <p:cNvSpPr/>
            <p:nvPr/>
          </p:nvSpPr>
          <p:spPr>
            <a:xfrm>
              <a:off x="3929197" y="1526157"/>
              <a:ext cx="957466" cy="277161"/>
            </a:xfrm>
            <a:custGeom>
              <a:avLst/>
              <a:gdLst>
                <a:gd name="connsiteX0" fmla="*/ 411610 w 957465"/>
                <a:gd name="connsiteY0" fmla="*/ 35784 h 277161"/>
                <a:gd name="connsiteX1" fmla="*/ 2167 w 957465"/>
                <a:gd name="connsiteY1" fmla="*/ 268851 h 277161"/>
                <a:gd name="connsiteX2" fmla="*/ 10986 w 957465"/>
                <a:gd name="connsiteY2" fmla="*/ 278930 h 277161"/>
                <a:gd name="connsiteX3" fmla="*/ 954594 w 957465"/>
                <a:gd name="connsiteY3" fmla="*/ 53421 h 277161"/>
                <a:gd name="connsiteX4" fmla="*/ 958373 w 957465"/>
                <a:gd name="connsiteY4" fmla="*/ 40823 h 277161"/>
                <a:gd name="connsiteX5" fmla="*/ 411610 w 957465"/>
                <a:gd name="connsiteY5" fmla="*/ 35784 h 27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7465" h="277161">
                  <a:moveTo>
                    <a:pt x="411610" y="35784"/>
                  </a:moveTo>
                  <a:cubicBezTo>
                    <a:pt x="260431" y="77358"/>
                    <a:pt x="118071" y="155467"/>
                    <a:pt x="2167" y="268851"/>
                  </a:cubicBezTo>
                  <a:cubicBezTo>
                    <a:pt x="-4132" y="275150"/>
                    <a:pt x="4687" y="283969"/>
                    <a:pt x="10986" y="278930"/>
                  </a:cubicBezTo>
                  <a:cubicBezTo>
                    <a:pt x="260431" y="34524"/>
                    <a:pt x="627039" y="-42325"/>
                    <a:pt x="954594" y="53421"/>
                  </a:cubicBezTo>
                  <a:cubicBezTo>
                    <a:pt x="962153" y="55941"/>
                    <a:pt x="965932" y="43343"/>
                    <a:pt x="958373" y="40823"/>
                  </a:cubicBezTo>
                  <a:cubicBezTo>
                    <a:pt x="778218" y="-12089"/>
                    <a:pt x="587985" y="-13349"/>
                    <a:pt x="411610" y="35784"/>
                  </a:cubicBezTo>
                </a:path>
              </a:pathLst>
            </a:custGeom>
            <a:solidFill>
              <a:srgbClr val="DAE8F3"/>
            </a:solidFill>
            <a:ln w="12584" cap="flat">
              <a:noFill/>
              <a:prstDash val="solid"/>
              <a:miter/>
            </a:ln>
          </p:spPr>
          <p:txBody>
            <a:bodyPr rtlCol="0" anchor="ctr"/>
            <a:lstStyle/>
            <a:p>
              <a:endParaRPr lang="zh-CN" altLang="en-US"/>
            </a:p>
          </p:txBody>
        </p:sp>
        <p:sp>
          <p:nvSpPr>
            <p:cNvPr id="10195" name="任意多边形: 形状 10194"/>
            <p:cNvSpPr/>
            <p:nvPr/>
          </p:nvSpPr>
          <p:spPr>
            <a:xfrm>
              <a:off x="3929197" y="1646199"/>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0196" name="任意多边形: 形状 10195"/>
            <p:cNvSpPr/>
            <p:nvPr/>
          </p:nvSpPr>
          <p:spPr>
            <a:xfrm>
              <a:off x="3930457" y="1765882"/>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0197" name="任意多边形: 形状 10196"/>
            <p:cNvSpPr/>
            <p:nvPr/>
          </p:nvSpPr>
          <p:spPr>
            <a:xfrm>
              <a:off x="2806001" y="940098"/>
              <a:ext cx="957466" cy="264563"/>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2"/>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0198" name="任意多边形: 形状 10197"/>
            <p:cNvSpPr/>
            <p:nvPr/>
          </p:nvSpPr>
          <p:spPr>
            <a:xfrm>
              <a:off x="2807261" y="1059781"/>
              <a:ext cx="957466" cy="264563"/>
            </a:xfrm>
            <a:custGeom>
              <a:avLst/>
              <a:gdLst>
                <a:gd name="connsiteX0" fmla="*/ 4120 w 957465"/>
                <a:gd name="connsiteY0" fmla="*/ 46105 h 264562"/>
                <a:gd name="connsiteX1" fmla="*/ 965366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6" y="255235"/>
                  </a:cubicBezTo>
                  <a:cubicBezTo>
                    <a:pt x="971665" y="261534"/>
                    <a:pt x="962846" y="270353"/>
                    <a:pt x="956547" y="265314"/>
                  </a:cubicBezTo>
                  <a:cubicBezTo>
                    <a:pt x="700803" y="27207"/>
                    <a:pt x="332934" y="-43343"/>
                    <a:pt x="7900" y="58703"/>
                  </a:cubicBezTo>
                  <a:cubicBezTo>
                    <a:pt x="341" y="61222"/>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0199" name="任意多边形: 形状 10198"/>
            <p:cNvSpPr/>
            <p:nvPr/>
          </p:nvSpPr>
          <p:spPr>
            <a:xfrm>
              <a:off x="2808521" y="1180724"/>
              <a:ext cx="957466" cy="264563"/>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0200" name="任意多边形: 形状 10199"/>
            <p:cNvSpPr/>
            <p:nvPr/>
          </p:nvSpPr>
          <p:spPr>
            <a:xfrm>
              <a:off x="2809781" y="1300407"/>
              <a:ext cx="957466" cy="264563"/>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5" y="261534"/>
                    <a:pt x="962846" y="270353"/>
                    <a:pt x="956547" y="265314"/>
                  </a:cubicBezTo>
                  <a:cubicBezTo>
                    <a:pt x="700803" y="25947"/>
                    <a:pt x="33419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0201" name="任意多边形: 形状 10200"/>
            <p:cNvSpPr/>
            <p:nvPr/>
          </p:nvSpPr>
          <p:spPr>
            <a:xfrm>
              <a:off x="2811040" y="1420090"/>
              <a:ext cx="957466" cy="264563"/>
            </a:xfrm>
            <a:custGeom>
              <a:avLst/>
              <a:gdLst>
                <a:gd name="connsiteX0" fmla="*/ 4120 w 957465"/>
                <a:gd name="connsiteY0" fmla="*/ 46105 h 264562"/>
                <a:gd name="connsiteX1" fmla="*/ 965366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6" y="255235"/>
                  </a:cubicBezTo>
                  <a:cubicBezTo>
                    <a:pt x="971665" y="261534"/>
                    <a:pt x="962846" y="270353"/>
                    <a:pt x="956547" y="265314"/>
                  </a:cubicBezTo>
                  <a:cubicBezTo>
                    <a:pt x="700803"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0202" name="任意多边形: 形状 10201"/>
            <p:cNvSpPr/>
            <p:nvPr/>
          </p:nvSpPr>
          <p:spPr>
            <a:xfrm>
              <a:off x="2812300" y="1539773"/>
              <a:ext cx="957466" cy="264563"/>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0203" name="任意多边形: 形状 10202"/>
            <p:cNvSpPr/>
            <p:nvPr/>
          </p:nvSpPr>
          <p:spPr>
            <a:xfrm>
              <a:off x="2813560" y="1659457"/>
              <a:ext cx="957466" cy="264563"/>
            </a:xfrm>
            <a:custGeom>
              <a:avLst/>
              <a:gdLst>
                <a:gd name="connsiteX0" fmla="*/ 4120 w 957465"/>
                <a:gd name="connsiteY0" fmla="*/ 46105 h 264562"/>
                <a:gd name="connsiteX1" fmla="*/ 965366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6" y="255235"/>
                  </a:cubicBezTo>
                  <a:cubicBezTo>
                    <a:pt x="971665" y="261534"/>
                    <a:pt x="962846" y="270353"/>
                    <a:pt x="956547" y="265314"/>
                  </a:cubicBezTo>
                  <a:cubicBezTo>
                    <a:pt x="700803"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0204" name="任意多边形: 形状 10203"/>
            <p:cNvSpPr/>
            <p:nvPr/>
          </p:nvSpPr>
          <p:spPr>
            <a:xfrm>
              <a:off x="2814820" y="1779140"/>
              <a:ext cx="957466" cy="264563"/>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0205" name="任意多边形: 形状 10204"/>
            <p:cNvSpPr/>
            <p:nvPr/>
          </p:nvSpPr>
          <p:spPr>
            <a:xfrm>
              <a:off x="1920686" y="4953386"/>
              <a:ext cx="2141699" cy="88188"/>
            </a:xfrm>
            <a:custGeom>
              <a:avLst/>
              <a:gdLst>
                <a:gd name="connsiteX0" fmla="*/ 2139180 w 2141699"/>
                <a:gd name="connsiteY0" fmla="*/ 89448 h 88187"/>
                <a:gd name="connsiteX1" fmla="*/ 2153038 w 2141699"/>
                <a:gd name="connsiteY1" fmla="*/ 3779 h 88187"/>
                <a:gd name="connsiteX2" fmla="*/ 2520 w 2141699"/>
                <a:gd name="connsiteY2" fmla="*/ 0 h 88187"/>
                <a:gd name="connsiteX3" fmla="*/ 0 w 2141699"/>
                <a:gd name="connsiteY3" fmla="*/ 99526 h 88187"/>
                <a:gd name="connsiteX4" fmla="*/ 2139180 w 2141699"/>
                <a:gd name="connsiteY4" fmla="*/ 89448 h 88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1699" h="88187">
                  <a:moveTo>
                    <a:pt x="2139180" y="89448"/>
                  </a:moveTo>
                  <a:cubicBezTo>
                    <a:pt x="2141700" y="60471"/>
                    <a:pt x="2146739" y="31496"/>
                    <a:pt x="2153038" y="3779"/>
                  </a:cubicBezTo>
                  <a:cubicBezTo>
                    <a:pt x="2092566" y="3779"/>
                    <a:pt x="165037" y="6299"/>
                    <a:pt x="2520" y="0"/>
                  </a:cubicBezTo>
                  <a:cubicBezTo>
                    <a:pt x="2520" y="32755"/>
                    <a:pt x="1260" y="66770"/>
                    <a:pt x="0" y="99526"/>
                  </a:cubicBezTo>
                  <a:cubicBezTo>
                    <a:pt x="113384" y="99526"/>
                    <a:pt x="2025796" y="90707"/>
                    <a:pt x="2139180" y="89448"/>
                  </a:cubicBezTo>
                  <a:close/>
                </a:path>
              </a:pathLst>
            </a:custGeom>
            <a:solidFill>
              <a:srgbClr val="F3B04B"/>
            </a:solidFill>
            <a:ln w="12584" cap="flat">
              <a:noFill/>
              <a:prstDash val="solid"/>
              <a:miter/>
            </a:ln>
          </p:spPr>
          <p:txBody>
            <a:bodyPr rtlCol="0" anchor="ctr"/>
            <a:lstStyle/>
            <a:p>
              <a:endParaRPr lang="zh-CN" altLang="en-US"/>
            </a:p>
          </p:txBody>
        </p:sp>
        <p:sp>
          <p:nvSpPr>
            <p:cNvPr id="10206" name="任意多边形: 形状 10205"/>
            <p:cNvSpPr/>
            <p:nvPr/>
          </p:nvSpPr>
          <p:spPr>
            <a:xfrm>
              <a:off x="1915647" y="5145439"/>
              <a:ext cx="2154298" cy="88188"/>
            </a:xfrm>
            <a:custGeom>
              <a:avLst/>
              <a:gdLst>
                <a:gd name="connsiteX0" fmla="*/ 2158077 w 2154297"/>
                <a:gd name="connsiteY0" fmla="*/ 86368 h 88187"/>
                <a:gd name="connsiteX1" fmla="*/ 2144219 w 2154297"/>
                <a:gd name="connsiteY1" fmla="*/ 700 h 88187"/>
                <a:gd name="connsiteX2" fmla="*/ 2520 w 2154297"/>
                <a:gd name="connsiteY2" fmla="*/ 4479 h 88187"/>
                <a:gd name="connsiteX3" fmla="*/ 0 w 2154297"/>
                <a:gd name="connsiteY3" fmla="*/ 95186 h 88187"/>
                <a:gd name="connsiteX4" fmla="*/ 2158077 w 2154297"/>
                <a:gd name="connsiteY4" fmla="*/ 86368 h 88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4297" h="88187">
                  <a:moveTo>
                    <a:pt x="2158077" y="86368"/>
                  </a:moveTo>
                  <a:cubicBezTo>
                    <a:pt x="2150518" y="58652"/>
                    <a:pt x="2146739" y="29676"/>
                    <a:pt x="2144219" y="700"/>
                  </a:cubicBezTo>
                  <a:cubicBezTo>
                    <a:pt x="2030835" y="-560"/>
                    <a:pt x="115904" y="-560"/>
                    <a:pt x="2520" y="4479"/>
                  </a:cubicBezTo>
                  <a:cubicBezTo>
                    <a:pt x="1260" y="34715"/>
                    <a:pt x="1260" y="64951"/>
                    <a:pt x="0" y="95186"/>
                  </a:cubicBezTo>
                  <a:cubicBezTo>
                    <a:pt x="166297" y="88887"/>
                    <a:pt x="2097606" y="86368"/>
                    <a:pt x="2158077" y="86368"/>
                  </a:cubicBezTo>
                  <a:close/>
                </a:path>
              </a:pathLst>
            </a:custGeom>
            <a:solidFill>
              <a:srgbClr val="F3B04B"/>
            </a:solidFill>
            <a:ln w="12584" cap="flat">
              <a:noFill/>
              <a:prstDash val="solid"/>
              <a:miter/>
            </a:ln>
          </p:spPr>
          <p:txBody>
            <a:bodyPr rtlCol="0" anchor="ctr"/>
            <a:lstStyle/>
            <a:p>
              <a:endParaRPr lang="zh-CN" altLang="en-US"/>
            </a:p>
          </p:txBody>
        </p:sp>
        <p:sp>
          <p:nvSpPr>
            <p:cNvPr id="10207" name="任意多边形: 形状 10206"/>
            <p:cNvSpPr/>
            <p:nvPr/>
          </p:nvSpPr>
          <p:spPr>
            <a:xfrm>
              <a:off x="1919426" y="5042833"/>
              <a:ext cx="2129101" cy="100786"/>
            </a:xfrm>
            <a:custGeom>
              <a:avLst/>
              <a:gdLst>
                <a:gd name="connsiteX0" fmla="*/ 2140440 w 2129101"/>
                <a:gd name="connsiteY0" fmla="*/ 103305 h 100785"/>
                <a:gd name="connsiteX1" fmla="*/ 2141700 w 2129101"/>
                <a:gd name="connsiteY1" fmla="*/ 0 h 100785"/>
                <a:gd name="connsiteX2" fmla="*/ 2520 w 2129101"/>
                <a:gd name="connsiteY2" fmla="*/ 8819 h 100785"/>
                <a:gd name="connsiteX3" fmla="*/ 0 w 2129101"/>
                <a:gd name="connsiteY3" fmla="*/ 105825 h 100785"/>
                <a:gd name="connsiteX4" fmla="*/ 2140440 w 2129101"/>
                <a:gd name="connsiteY4" fmla="*/ 103305 h 100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9101" h="100785">
                  <a:moveTo>
                    <a:pt x="2140440" y="103305"/>
                  </a:moveTo>
                  <a:cubicBezTo>
                    <a:pt x="2137920" y="69290"/>
                    <a:pt x="2137920" y="35275"/>
                    <a:pt x="2141700" y="0"/>
                  </a:cubicBezTo>
                  <a:cubicBezTo>
                    <a:pt x="2028315" y="1260"/>
                    <a:pt x="115904" y="10078"/>
                    <a:pt x="2520" y="8819"/>
                  </a:cubicBezTo>
                  <a:cubicBezTo>
                    <a:pt x="1260" y="41574"/>
                    <a:pt x="0" y="74330"/>
                    <a:pt x="0" y="105825"/>
                  </a:cubicBezTo>
                  <a:cubicBezTo>
                    <a:pt x="112124" y="102046"/>
                    <a:pt x="2025796" y="102046"/>
                    <a:pt x="2140440" y="103305"/>
                  </a:cubicBezTo>
                  <a:close/>
                </a:path>
              </a:pathLst>
            </a:custGeom>
            <a:solidFill>
              <a:srgbClr val="FFD671"/>
            </a:solidFill>
            <a:ln w="12584" cap="flat">
              <a:noFill/>
              <a:prstDash val="solid"/>
              <a:miter/>
            </a:ln>
          </p:spPr>
          <p:txBody>
            <a:bodyPr rtlCol="0" anchor="ctr"/>
            <a:lstStyle/>
            <a:p>
              <a:endParaRPr lang="zh-CN" altLang="en-US"/>
            </a:p>
          </p:txBody>
        </p:sp>
        <p:sp>
          <p:nvSpPr>
            <p:cNvPr id="10208" name="任意多边形: 形状 10207"/>
            <p:cNvSpPr/>
            <p:nvPr/>
          </p:nvSpPr>
          <p:spPr>
            <a:xfrm>
              <a:off x="4231896" y="5034014"/>
              <a:ext cx="62991" cy="113384"/>
            </a:xfrm>
            <a:custGeom>
              <a:avLst/>
              <a:gdLst>
                <a:gd name="connsiteX0" fmla="*/ 8124 w 62991"/>
                <a:gd name="connsiteY0" fmla="*/ 124722 h 113384"/>
                <a:gd name="connsiteX1" fmla="*/ 67336 w 62991"/>
                <a:gd name="connsiteY1" fmla="*/ 60472 h 113384"/>
                <a:gd name="connsiteX2" fmla="*/ 14424 w 62991"/>
                <a:gd name="connsiteY2" fmla="*/ 0 h 113384"/>
                <a:gd name="connsiteX3" fmla="*/ 8124 w 62991"/>
                <a:gd name="connsiteY3" fmla="*/ 124722 h 113384"/>
              </a:gdLst>
              <a:ahLst/>
              <a:cxnLst>
                <a:cxn ang="0">
                  <a:pos x="connsiteX0" y="connsiteY0"/>
                </a:cxn>
                <a:cxn ang="0">
                  <a:pos x="connsiteX1" y="connsiteY1"/>
                </a:cxn>
                <a:cxn ang="0">
                  <a:pos x="connsiteX2" y="connsiteY2"/>
                </a:cxn>
                <a:cxn ang="0">
                  <a:pos x="connsiteX3" y="connsiteY3"/>
                </a:cxn>
              </a:cxnLst>
              <a:rect l="l" t="t" r="r" b="b"/>
              <a:pathLst>
                <a:path w="62991" h="113384">
                  <a:moveTo>
                    <a:pt x="8124" y="124722"/>
                  </a:moveTo>
                  <a:cubicBezTo>
                    <a:pt x="42140" y="100786"/>
                    <a:pt x="67336" y="75589"/>
                    <a:pt x="67336" y="60472"/>
                  </a:cubicBezTo>
                  <a:cubicBezTo>
                    <a:pt x="67336" y="46614"/>
                    <a:pt x="44659" y="23937"/>
                    <a:pt x="14424" y="0"/>
                  </a:cubicBezTo>
                  <a:cubicBezTo>
                    <a:pt x="-694" y="41574"/>
                    <a:pt x="-5734" y="84408"/>
                    <a:pt x="8124" y="124722"/>
                  </a:cubicBezTo>
                  <a:close/>
                </a:path>
              </a:pathLst>
            </a:custGeom>
            <a:solidFill>
              <a:srgbClr val="001675"/>
            </a:solidFill>
            <a:ln w="12584" cap="flat">
              <a:noFill/>
              <a:prstDash val="solid"/>
              <a:miter/>
            </a:ln>
          </p:spPr>
          <p:txBody>
            <a:bodyPr rtlCol="0" anchor="ctr"/>
            <a:lstStyle/>
            <a:p>
              <a:endParaRPr lang="zh-CN" altLang="en-US"/>
            </a:p>
          </p:txBody>
        </p:sp>
        <p:sp>
          <p:nvSpPr>
            <p:cNvPr id="10209" name="任意多边形: 形状 10208"/>
            <p:cNvSpPr/>
            <p:nvPr/>
          </p:nvSpPr>
          <p:spPr>
            <a:xfrm>
              <a:off x="4057648" y="4957165"/>
              <a:ext cx="176375" cy="264563"/>
            </a:xfrm>
            <a:custGeom>
              <a:avLst/>
              <a:gdLst>
                <a:gd name="connsiteX0" fmla="*/ 182373 w 176375"/>
                <a:gd name="connsiteY0" fmla="*/ 201572 h 264562"/>
                <a:gd name="connsiteX1" fmla="*/ 188672 w 176375"/>
                <a:gd name="connsiteY1" fmla="*/ 78109 h 264562"/>
                <a:gd name="connsiteX2" fmla="*/ 18596 w 176375"/>
                <a:gd name="connsiteY2" fmla="*/ 0 h 264562"/>
                <a:gd name="connsiteX3" fmla="*/ 16077 w 176375"/>
                <a:gd name="connsiteY3" fmla="*/ 0 h 264562"/>
                <a:gd name="connsiteX4" fmla="*/ 16077 w 176375"/>
                <a:gd name="connsiteY4" fmla="*/ 274642 h 264562"/>
                <a:gd name="connsiteX5" fmla="*/ 17336 w 176375"/>
                <a:gd name="connsiteY5" fmla="*/ 274642 h 264562"/>
                <a:gd name="connsiteX6" fmla="*/ 182373 w 176375"/>
                <a:gd name="connsiteY6" fmla="*/ 201572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75" h="264562">
                  <a:moveTo>
                    <a:pt x="182373" y="201572"/>
                  </a:moveTo>
                  <a:cubicBezTo>
                    <a:pt x="168515" y="161258"/>
                    <a:pt x="173555" y="117164"/>
                    <a:pt x="188672" y="78109"/>
                  </a:cubicBezTo>
                  <a:cubicBezTo>
                    <a:pt x="137020" y="39055"/>
                    <a:pt x="60170" y="0"/>
                    <a:pt x="18596" y="0"/>
                  </a:cubicBezTo>
                  <a:cubicBezTo>
                    <a:pt x="17336" y="0"/>
                    <a:pt x="17336" y="0"/>
                    <a:pt x="16077" y="0"/>
                  </a:cubicBezTo>
                  <a:cubicBezTo>
                    <a:pt x="-4080" y="91967"/>
                    <a:pt x="-6600" y="185194"/>
                    <a:pt x="16077" y="274642"/>
                  </a:cubicBezTo>
                  <a:cubicBezTo>
                    <a:pt x="16077" y="274642"/>
                    <a:pt x="17336" y="274642"/>
                    <a:pt x="17336" y="274642"/>
                  </a:cubicBezTo>
                  <a:cubicBezTo>
                    <a:pt x="56391" y="274642"/>
                    <a:pt x="129461" y="239366"/>
                    <a:pt x="182373" y="201572"/>
                  </a:cubicBezTo>
                  <a:close/>
                </a:path>
              </a:pathLst>
            </a:custGeom>
            <a:solidFill>
              <a:srgbClr val="FFFFFB"/>
            </a:solidFill>
            <a:ln w="12584" cap="flat">
              <a:noFill/>
              <a:prstDash val="solid"/>
              <a:miter/>
            </a:ln>
          </p:spPr>
          <p:txBody>
            <a:bodyPr rtlCol="0" anchor="ctr"/>
            <a:lstStyle/>
            <a:p>
              <a:endParaRPr lang="zh-CN" altLang="en-US"/>
            </a:p>
          </p:txBody>
        </p:sp>
        <p:sp>
          <p:nvSpPr>
            <p:cNvPr id="10210" name="任意多边形: 形状 10209"/>
            <p:cNvSpPr/>
            <p:nvPr/>
          </p:nvSpPr>
          <p:spPr>
            <a:xfrm>
              <a:off x="1790924" y="4950372"/>
              <a:ext cx="125982" cy="289759"/>
            </a:xfrm>
            <a:custGeom>
              <a:avLst/>
              <a:gdLst>
                <a:gd name="connsiteX0" fmla="*/ 75589 w 125982"/>
                <a:gd name="connsiteY0" fmla="*/ 494 h 289759"/>
                <a:gd name="connsiteX1" fmla="*/ 74330 w 125982"/>
                <a:gd name="connsiteY1" fmla="*/ 494 h 289759"/>
                <a:gd name="connsiteX2" fmla="*/ 0 w 125982"/>
                <a:gd name="connsiteY2" fmla="*/ 3014 h 289759"/>
                <a:gd name="connsiteX3" fmla="*/ 5039 w 125982"/>
                <a:gd name="connsiteY3" fmla="*/ 290253 h 289759"/>
                <a:gd name="connsiteX4" fmla="*/ 66771 w 125982"/>
                <a:gd name="connsiteY4" fmla="*/ 292773 h 289759"/>
                <a:gd name="connsiteX5" fmla="*/ 71810 w 125982"/>
                <a:gd name="connsiteY5" fmla="*/ 292773 h 289759"/>
                <a:gd name="connsiteX6" fmla="*/ 123463 w 125982"/>
                <a:gd name="connsiteY6" fmla="*/ 290253 h 289759"/>
                <a:gd name="connsiteX7" fmla="*/ 131022 w 125982"/>
                <a:gd name="connsiteY7" fmla="*/ 3014 h 289759"/>
                <a:gd name="connsiteX8" fmla="*/ 75589 w 125982"/>
                <a:gd name="connsiteY8" fmla="*/ 494 h 289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82" h="289759">
                  <a:moveTo>
                    <a:pt x="75589" y="494"/>
                  </a:moveTo>
                  <a:cubicBezTo>
                    <a:pt x="75589" y="494"/>
                    <a:pt x="74330" y="494"/>
                    <a:pt x="74330" y="494"/>
                  </a:cubicBezTo>
                  <a:cubicBezTo>
                    <a:pt x="46613" y="-765"/>
                    <a:pt x="21417" y="494"/>
                    <a:pt x="0" y="3014"/>
                  </a:cubicBezTo>
                  <a:cubicBezTo>
                    <a:pt x="2520" y="98761"/>
                    <a:pt x="1260" y="194507"/>
                    <a:pt x="5039" y="290253"/>
                  </a:cubicBezTo>
                  <a:cubicBezTo>
                    <a:pt x="22677" y="292773"/>
                    <a:pt x="44094" y="292773"/>
                    <a:pt x="66771" y="292773"/>
                  </a:cubicBezTo>
                  <a:cubicBezTo>
                    <a:pt x="69290" y="292773"/>
                    <a:pt x="70550" y="292773"/>
                    <a:pt x="71810" y="292773"/>
                  </a:cubicBezTo>
                  <a:cubicBezTo>
                    <a:pt x="89447" y="291513"/>
                    <a:pt x="107085" y="291513"/>
                    <a:pt x="123463" y="290253"/>
                  </a:cubicBezTo>
                  <a:cubicBezTo>
                    <a:pt x="124723" y="193247"/>
                    <a:pt x="129762" y="98761"/>
                    <a:pt x="131022" y="3014"/>
                  </a:cubicBezTo>
                  <a:cubicBezTo>
                    <a:pt x="114644" y="1754"/>
                    <a:pt x="94487" y="494"/>
                    <a:pt x="75589" y="494"/>
                  </a:cubicBezTo>
                  <a:close/>
                </a:path>
              </a:pathLst>
            </a:custGeom>
            <a:solidFill>
              <a:srgbClr val="001675"/>
            </a:solidFill>
            <a:ln w="12584" cap="flat">
              <a:noFill/>
              <a:prstDash val="solid"/>
              <a:miter/>
            </a:ln>
          </p:spPr>
          <p:txBody>
            <a:bodyPr rtlCol="0" anchor="ctr"/>
            <a:lstStyle/>
            <a:p>
              <a:endParaRPr lang="zh-CN" altLang="en-US"/>
            </a:p>
          </p:txBody>
        </p:sp>
        <p:sp>
          <p:nvSpPr>
            <p:cNvPr id="10211" name="任意多边形: 形状 10210"/>
            <p:cNvSpPr/>
            <p:nvPr/>
          </p:nvSpPr>
          <p:spPr>
            <a:xfrm>
              <a:off x="1664942" y="4954646"/>
              <a:ext cx="138581" cy="277161"/>
            </a:xfrm>
            <a:custGeom>
              <a:avLst/>
              <a:gdLst>
                <a:gd name="connsiteX0" fmla="*/ 138581 w 138580"/>
                <a:gd name="connsiteY0" fmla="*/ 0 h 277161"/>
                <a:gd name="connsiteX1" fmla="*/ 0 w 138580"/>
                <a:gd name="connsiteY1" fmla="*/ 142360 h 277161"/>
                <a:gd name="connsiteX2" fmla="*/ 144880 w 138580"/>
                <a:gd name="connsiteY2" fmla="*/ 287240 h 277161"/>
                <a:gd name="connsiteX3" fmla="*/ 138581 w 138580"/>
                <a:gd name="connsiteY3" fmla="*/ 0 h 277161"/>
              </a:gdLst>
              <a:ahLst/>
              <a:cxnLst>
                <a:cxn ang="0">
                  <a:pos x="connsiteX0" y="connsiteY0"/>
                </a:cxn>
                <a:cxn ang="0">
                  <a:pos x="connsiteX1" y="connsiteY1"/>
                </a:cxn>
                <a:cxn ang="0">
                  <a:pos x="connsiteX2" y="connsiteY2"/>
                </a:cxn>
                <a:cxn ang="0">
                  <a:pos x="connsiteX3" y="connsiteY3"/>
                </a:cxn>
              </a:cxnLst>
              <a:rect l="l" t="t" r="r" b="b"/>
              <a:pathLst>
                <a:path w="138580" h="277161">
                  <a:moveTo>
                    <a:pt x="138581" y="0"/>
                  </a:moveTo>
                  <a:cubicBezTo>
                    <a:pt x="15118" y="16378"/>
                    <a:pt x="0" y="95747"/>
                    <a:pt x="0" y="142360"/>
                  </a:cubicBezTo>
                  <a:cubicBezTo>
                    <a:pt x="0" y="190233"/>
                    <a:pt x="15118" y="270862"/>
                    <a:pt x="144880" y="287240"/>
                  </a:cubicBezTo>
                  <a:cubicBezTo>
                    <a:pt x="139840" y="191493"/>
                    <a:pt x="139840" y="95747"/>
                    <a:pt x="138581" y="0"/>
                  </a:cubicBezTo>
                  <a:close/>
                </a:path>
              </a:pathLst>
            </a:custGeom>
            <a:solidFill>
              <a:srgbClr val="FFFFFB"/>
            </a:solidFill>
            <a:ln w="12584" cap="flat">
              <a:noFill/>
              <a:prstDash val="solid"/>
              <a:miter/>
            </a:ln>
          </p:spPr>
          <p:txBody>
            <a:bodyPr rtlCol="0" anchor="ctr"/>
            <a:lstStyle/>
            <a:p>
              <a:endParaRPr lang="zh-CN" altLang="en-US"/>
            </a:p>
          </p:txBody>
        </p:sp>
        <p:sp>
          <p:nvSpPr>
            <p:cNvPr id="10212" name="任意多边形: 形状 10211"/>
            <p:cNvSpPr/>
            <p:nvPr/>
          </p:nvSpPr>
          <p:spPr>
            <a:xfrm>
              <a:off x="4844736" y="3364748"/>
              <a:ext cx="365349" cy="1310216"/>
            </a:xfrm>
            <a:custGeom>
              <a:avLst/>
              <a:gdLst>
                <a:gd name="connsiteX0" fmla="*/ 365349 w 365348"/>
                <a:gd name="connsiteY0" fmla="*/ 88188 h 1310216"/>
                <a:gd name="connsiteX1" fmla="*/ 365349 w 365348"/>
                <a:gd name="connsiteY1" fmla="*/ 0 h 1310216"/>
                <a:gd name="connsiteX2" fmla="*/ 357790 w 365348"/>
                <a:gd name="connsiteY2" fmla="*/ 7559 h 1310216"/>
                <a:gd name="connsiteX3" fmla="*/ 355270 w 365348"/>
                <a:gd name="connsiteY3" fmla="*/ 10079 h 1310216"/>
                <a:gd name="connsiteX4" fmla="*/ 352751 w 365348"/>
                <a:gd name="connsiteY4" fmla="*/ 12598 h 1310216"/>
                <a:gd name="connsiteX5" fmla="*/ 352751 w 365348"/>
                <a:gd name="connsiteY5" fmla="*/ 13858 h 1310216"/>
                <a:gd name="connsiteX6" fmla="*/ 352751 w 365348"/>
                <a:gd name="connsiteY6" fmla="*/ 12598 h 1310216"/>
                <a:gd name="connsiteX7" fmla="*/ 336373 w 365348"/>
                <a:gd name="connsiteY7" fmla="*/ 32755 h 1310216"/>
                <a:gd name="connsiteX8" fmla="*/ 325035 w 365348"/>
                <a:gd name="connsiteY8" fmla="*/ 47873 h 1310216"/>
                <a:gd name="connsiteX9" fmla="*/ 314956 w 365348"/>
                <a:gd name="connsiteY9" fmla="*/ 62991 h 1310216"/>
                <a:gd name="connsiteX10" fmla="*/ 307397 w 365348"/>
                <a:gd name="connsiteY10" fmla="*/ 76849 h 1310216"/>
                <a:gd name="connsiteX11" fmla="*/ 307397 w 365348"/>
                <a:gd name="connsiteY11" fmla="*/ 76849 h 1310216"/>
                <a:gd name="connsiteX12" fmla="*/ 302358 w 365348"/>
                <a:gd name="connsiteY12" fmla="*/ 85668 h 1310216"/>
                <a:gd name="connsiteX13" fmla="*/ 299838 w 365348"/>
                <a:gd name="connsiteY13" fmla="*/ 90707 h 1310216"/>
                <a:gd name="connsiteX14" fmla="*/ 299838 w 365348"/>
                <a:gd name="connsiteY14" fmla="*/ 90707 h 1310216"/>
                <a:gd name="connsiteX15" fmla="*/ 298578 w 365348"/>
                <a:gd name="connsiteY15" fmla="*/ 93227 h 1310216"/>
                <a:gd name="connsiteX16" fmla="*/ 292279 w 365348"/>
                <a:gd name="connsiteY16" fmla="*/ 107085 h 1310216"/>
                <a:gd name="connsiteX17" fmla="*/ 292279 w 365348"/>
                <a:gd name="connsiteY17" fmla="*/ 107085 h 1310216"/>
                <a:gd name="connsiteX18" fmla="*/ 292279 w 365348"/>
                <a:gd name="connsiteY18" fmla="*/ 108345 h 1310216"/>
                <a:gd name="connsiteX19" fmla="*/ 289759 w 365348"/>
                <a:gd name="connsiteY19" fmla="*/ 117164 h 1310216"/>
                <a:gd name="connsiteX20" fmla="*/ 289759 w 365348"/>
                <a:gd name="connsiteY20" fmla="*/ 118424 h 1310216"/>
                <a:gd name="connsiteX21" fmla="*/ 289759 w 365348"/>
                <a:gd name="connsiteY21" fmla="*/ 118424 h 1310216"/>
                <a:gd name="connsiteX22" fmla="*/ 287240 w 365348"/>
                <a:gd name="connsiteY22" fmla="*/ 125982 h 1310216"/>
                <a:gd name="connsiteX23" fmla="*/ 287240 w 365348"/>
                <a:gd name="connsiteY23" fmla="*/ 131022 h 1310216"/>
                <a:gd name="connsiteX24" fmla="*/ 287240 w 365348"/>
                <a:gd name="connsiteY24" fmla="*/ 133541 h 1310216"/>
                <a:gd name="connsiteX25" fmla="*/ 287240 w 365348"/>
                <a:gd name="connsiteY25" fmla="*/ 136061 h 1310216"/>
                <a:gd name="connsiteX26" fmla="*/ 287240 w 365348"/>
                <a:gd name="connsiteY26" fmla="*/ 141100 h 1310216"/>
                <a:gd name="connsiteX27" fmla="*/ 287240 w 365348"/>
                <a:gd name="connsiteY27" fmla="*/ 141100 h 1310216"/>
                <a:gd name="connsiteX28" fmla="*/ 287240 w 365348"/>
                <a:gd name="connsiteY28" fmla="*/ 141100 h 1310216"/>
                <a:gd name="connsiteX29" fmla="*/ 287240 w 365348"/>
                <a:gd name="connsiteY29" fmla="*/ 143620 h 1310216"/>
                <a:gd name="connsiteX30" fmla="*/ 287240 w 365348"/>
                <a:gd name="connsiteY30" fmla="*/ 149919 h 1310216"/>
                <a:gd name="connsiteX31" fmla="*/ 287240 w 365348"/>
                <a:gd name="connsiteY31" fmla="*/ 152439 h 1310216"/>
                <a:gd name="connsiteX32" fmla="*/ 287240 w 365348"/>
                <a:gd name="connsiteY32" fmla="*/ 159998 h 1310216"/>
                <a:gd name="connsiteX33" fmla="*/ 291019 w 365348"/>
                <a:gd name="connsiteY33" fmla="*/ 177635 h 1310216"/>
                <a:gd name="connsiteX34" fmla="*/ 291019 w 365348"/>
                <a:gd name="connsiteY34" fmla="*/ 178895 h 1310216"/>
                <a:gd name="connsiteX35" fmla="*/ 294799 w 365348"/>
                <a:gd name="connsiteY35" fmla="*/ 188974 h 1310216"/>
                <a:gd name="connsiteX36" fmla="*/ 298578 w 365348"/>
                <a:gd name="connsiteY36" fmla="*/ 197792 h 1310216"/>
                <a:gd name="connsiteX37" fmla="*/ 301098 w 365348"/>
                <a:gd name="connsiteY37" fmla="*/ 201572 h 1310216"/>
                <a:gd name="connsiteX38" fmla="*/ 302358 w 365348"/>
                <a:gd name="connsiteY38" fmla="*/ 204092 h 1310216"/>
                <a:gd name="connsiteX39" fmla="*/ 302358 w 365348"/>
                <a:gd name="connsiteY39" fmla="*/ 205351 h 1310216"/>
                <a:gd name="connsiteX40" fmla="*/ 308657 w 365348"/>
                <a:gd name="connsiteY40" fmla="*/ 212910 h 1310216"/>
                <a:gd name="connsiteX41" fmla="*/ 308657 w 365348"/>
                <a:gd name="connsiteY41" fmla="*/ 212910 h 1310216"/>
                <a:gd name="connsiteX42" fmla="*/ 311177 w 365348"/>
                <a:gd name="connsiteY42" fmla="*/ 215430 h 1310216"/>
                <a:gd name="connsiteX43" fmla="*/ 314956 w 365348"/>
                <a:gd name="connsiteY43" fmla="*/ 217949 h 1310216"/>
                <a:gd name="connsiteX44" fmla="*/ 316216 w 365348"/>
                <a:gd name="connsiteY44" fmla="*/ 217949 h 1310216"/>
                <a:gd name="connsiteX45" fmla="*/ 318736 w 365348"/>
                <a:gd name="connsiteY45" fmla="*/ 219209 h 1310216"/>
                <a:gd name="connsiteX46" fmla="*/ 326294 w 365348"/>
                <a:gd name="connsiteY46" fmla="*/ 222989 h 1310216"/>
                <a:gd name="connsiteX47" fmla="*/ 326294 w 365348"/>
                <a:gd name="connsiteY47" fmla="*/ 222989 h 1310216"/>
                <a:gd name="connsiteX48" fmla="*/ 335113 w 365348"/>
                <a:gd name="connsiteY48" fmla="*/ 225508 h 1310216"/>
                <a:gd name="connsiteX49" fmla="*/ 335113 w 365348"/>
                <a:gd name="connsiteY49" fmla="*/ 225508 h 1310216"/>
                <a:gd name="connsiteX50" fmla="*/ 335113 w 365348"/>
                <a:gd name="connsiteY50" fmla="*/ 225508 h 1310216"/>
                <a:gd name="connsiteX51" fmla="*/ 335113 w 365348"/>
                <a:gd name="connsiteY51" fmla="*/ 225508 h 1310216"/>
                <a:gd name="connsiteX52" fmla="*/ 335113 w 365348"/>
                <a:gd name="connsiteY52" fmla="*/ 225508 h 1310216"/>
                <a:gd name="connsiteX53" fmla="*/ 335113 w 365348"/>
                <a:gd name="connsiteY53" fmla="*/ 225508 h 1310216"/>
                <a:gd name="connsiteX54" fmla="*/ 335113 w 365348"/>
                <a:gd name="connsiteY54" fmla="*/ 225508 h 1310216"/>
                <a:gd name="connsiteX55" fmla="*/ 335113 w 365348"/>
                <a:gd name="connsiteY55" fmla="*/ 225508 h 1310216"/>
                <a:gd name="connsiteX56" fmla="*/ 335113 w 365348"/>
                <a:gd name="connsiteY56" fmla="*/ 225508 h 1310216"/>
                <a:gd name="connsiteX57" fmla="*/ 335113 w 365348"/>
                <a:gd name="connsiteY57" fmla="*/ 225508 h 1310216"/>
                <a:gd name="connsiteX58" fmla="*/ 333853 w 365348"/>
                <a:gd name="connsiteY58" fmla="*/ 225508 h 1310216"/>
                <a:gd name="connsiteX59" fmla="*/ 332593 w 365348"/>
                <a:gd name="connsiteY59" fmla="*/ 225508 h 1310216"/>
                <a:gd name="connsiteX60" fmla="*/ 328814 w 365348"/>
                <a:gd name="connsiteY60" fmla="*/ 225508 h 1310216"/>
                <a:gd name="connsiteX61" fmla="*/ 323775 w 365348"/>
                <a:gd name="connsiteY61" fmla="*/ 225508 h 1310216"/>
                <a:gd name="connsiteX62" fmla="*/ 303617 w 365348"/>
                <a:gd name="connsiteY62" fmla="*/ 226768 h 1310216"/>
                <a:gd name="connsiteX63" fmla="*/ 275901 w 365348"/>
                <a:gd name="connsiteY63" fmla="*/ 226768 h 1310216"/>
                <a:gd name="connsiteX64" fmla="*/ 268343 w 365348"/>
                <a:gd name="connsiteY64" fmla="*/ 226768 h 1310216"/>
                <a:gd name="connsiteX65" fmla="*/ 265823 w 365348"/>
                <a:gd name="connsiteY65" fmla="*/ 226768 h 1310216"/>
                <a:gd name="connsiteX66" fmla="*/ 265823 w 365348"/>
                <a:gd name="connsiteY66" fmla="*/ 226768 h 1310216"/>
                <a:gd name="connsiteX67" fmla="*/ 259524 w 365348"/>
                <a:gd name="connsiteY67" fmla="*/ 226768 h 1310216"/>
                <a:gd name="connsiteX68" fmla="*/ 250705 w 365348"/>
                <a:gd name="connsiteY68" fmla="*/ 226768 h 1310216"/>
                <a:gd name="connsiteX69" fmla="*/ 245666 w 365348"/>
                <a:gd name="connsiteY69" fmla="*/ 226768 h 1310216"/>
                <a:gd name="connsiteX70" fmla="*/ 245666 w 365348"/>
                <a:gd name="connsiteY70" fmla="*/ 226768 h 1310216"/>
                <a:gd name="connsiteX71" fmla="*/ 245666 w 365348"/>
                <a:gd name="connsiteY71" fmla="*/ 226768 h 1310216"/>
                <a:gd name="connsiteX72" fmla="*/ 233067 w 365348"/>
                <a:gd name="connsiteY72" fmla="*/ 226768 h 1310216"/>
                <a:gd name="connsiteX73" fmla="*/ 226768 w 365348"/>
                <a:gd name="connsiteY73" fmla="*/ 226768 h 1310216"/>
                <a:gd name="connsiteX74" fmla="*/ 225508 w 365348"/>
                <a:gd name="connsiteY74" fmla="*/ 226768 h 1310216"/>
                <a:gd name="connsiteX75" fmla="*/ 214170 w 365348"/>
                <a:gd name="connsiteY75" fmla="*/ 226768 h 1310216"/>
                <a:gd name="connsiteX76" fmla="*/ 209131 w 365348"/>
                <a:gd name="connsiteY76" fmla="*/ 226768 h 1310216"/>
                <a:gd name="connsiteX77" fmla="*/ 207871 w 365348"/>
                <a:gd name="connsiteY77" fmla="*/ 226768 h 1310216"/>
                <a:gd name="connsiteX78" fmla="*/ 207871 w 365348"/>
                <a:gd name="connsiteY78" fmla="*/ 226768 h 1310216"/>
                <a:gd name="connsiteX79" fmla="*/ 207871 w 365348"/>
                <a:gd name="connsiteY79" fmla="*/ 226768 h 1310216"/>
                <a:gd name="connsiteX80" fmla="*/ 196533 w 365348"/>
                <a:gd name="connsiteY80" fmla="*/ 226768 h 1310216"/>
                <a:gd name="connsiteX81" fmla="*/ 188973 w 365348"/>
                <a:gd name="connsiteY81" fmla="*/ 226768 h 1310216"/>
                <a:gd name="connsiteX82" fmla="*/ 178895 w 365348"/>
                <a:gd name="connsiteY82" fmla="*/ 226768 h 1310216"/>
                <a:gd name="connsiteX83" fmla="*/ 161258 w 365348"/>
                <a:gd name="connsiteY83" fmla="*/ 225508 h 1310216"/>
                <a:gd name="connsiteX84" fmla="*/ 159998 w 365348"/>
                <a:gd name="connsiteY84" fmla="*/ 225508 h 1310216"/>
                <a:gd name="connsiteX85" fmla="*/ 151179 w 365348"/>
                <a:gd name="connsiteY85" fmla="*/ 224249 h 1310216"/>
                <a:gd name="connsiteX86" fmla="*/ 149919 w 365348"/>
                <a:gd name="connsiteY86" fmla="*/ 224249 h 1310216"/>
                <a:gd name="connsiteX87" fmla="*/ 149919 w 365348"/>
                <a:gd name="connsiteY87" fmla="*/ 224249 h 1310216"/>
                <a:gd name="connsiteX88" fmla="*/ 143620 w 365348"/>
                <a:gd name="connsiteY88" fmla="*/ 222989 h 1310216"/>
                <a:gd name="connsiteX89" fmla="*/ 141100 w 365348"/>
                <a:gd name="connsiteY89" fmla="*/ 222989 h 1310216"/>
                <a:gd name="connsiteX90" fmla="*/ 133541 w 365348"/>
                <a:gd name="connsiteY90" fmla="*/ 222989 h 1310216"/>
                <a:gd name="connsiteX91" fmla="*/ 127242 w 365348"/>
                <a:gd name="connsiteY91" fmla="*/ 222989 h 1310216"/>
                <a:gd name="connsiteX92" fmla="*/ 125982 w 365348"/>
                <a:gd name="connsiteY92" fmla="*/ 222989 h 1310216"/>
                <a:gd name="connsiteX93" fmla="*/ 124722 w 365348"/>
                <a:gd name="connsiteY93" fmla="*/ 222989 h 1310216"/>
                <a:gd name="connsiteX94" fmla="*/ 120943 w 365348"/>
                <a:gd name="connsiteY94" fmla="*/ 222989 h 1310216"/>
                <a:gd name="connsiteX95" fmla="*/ 120943 w 365348"/>
                <a:gd name="connsiteY95" fmla="*/ 222989 h 1310216"/>
                <a:gd name="connsiteX96" fmla="*/ 115904 w 365348"/>
                <a:gd name="connsiteY96" fmla="*/ 222989 h 1310216"/>
                <a:gd name="connsiteX97" fmla="*/ 109605 w 365348"/>
                <a:gd name="connsiteY97" fmla="*/ 222989 h 1310216"/>
                <a:gd name="connsiteX98" fmla="*/ 107085 w 365348"/>
                <a:gd name="connsiteY98" fmla="*/ 222989 h 1310216"/>
                <a:gd name="connsiteX99" fmla="*/ 107085 w 365348"/>
                <a:gd name="connsiteY99" fmla="*/ 222989 h 1310216"/>
                <a:gd name="connsiteX100" fmla="*/ 105825 w 365348"/>
                <a:gd name="connsiteY100" fmla="*/ 222989 h 1310216"/>
                <a:gd name="connsiteX101" fmla="*/ 95747 w 365348"/>
                <a:gd name="connsiteY101" fmla="*/ 222989 h 1310216"/>
                <a:gd name="connsiteX102" fmla="*/ 86928 w 365348"/>
                <a:gd name="connsiteY102" fmla="*/ 222989 h 1310216"/>
                <a:gd name="connsiteX103" fmla="*/ 86928 w 365348"/>
                <a:gd name="connsiteY103" fmla="*/ 222989 h 1310216"/>
                <a:gd name="connsiteX104" fmla="*/ 85668 w 365348"/>
                <a:gd name="connsiteY104" fmla="*/ 222989 h 1310216"/>
                <a:gd name="connsiteX105" fmla="*/ 78109 w 365348"/>
                <a:gd name="connsiteY105" fmla="*/ 222989 h 1310216"/>
                <a:gd name="connsiteX106" fmla="*/ 78109 w 365348"/>
                <a:gd name="connsiteY106" fmla="*/ 222989 h 1310216"/>
                <a:gd name="connsiteX107" fmla="*/ 78109 w 365348"/>
                <a:gd name="connsiteY107" fmla="*/ 222989 h 1310216"/>
                <a:gd name="connsiteX108" fmla="*/ 49133 w 365348"/>
                <a:gd name="connsiteY108" fmla="*/ 224249 h 1310216"/>
                <a:gd name="connsiteX109" fmla="*/ 31496 w 365348"/>
                <a:gd name="connsiteY109" fmla="*/ 224249 h 1310216"/>
                <a:gd name="connsiteX110" fmla="*/ 30236 w 365348"/>
                <a:gd name="connsiteY110" fmla="*/ 224249 h 1310216"/>
                <a:gd name="connsiteX111" fmla="*/ 28976 w 365348"/>
                <a:gd name="connsiteY111" fmla="*/ 224249 h 1310216"/>
                <a:gd name="connsiteX112" fmla="*/ 28976 w 365348"/>
                <a:gd name="connsiteY112" fmla="*/ 224249 h 1310216"/>
                <a:gd name="connsiteX113" fmla="*/ 27716 w 365348"/>
                <a:gd name="connsiteY113" fmla="*/ 224249 h 1310216"/>
                <a:gd name="connsiteX114" fmla="*/ 22677 w 365348"/>
                <a:gd name="connsiteY114" fmla="*/ 224249 h 1310216"/>
                <a:gd name="connsiteX115" fmla="*/ 18897 w 365348"/>
                <a:gd name="connsiteY115" fmla="*/ 224249 h 1310216"/>
                <a:gd name="connsiteX116" fmla="*/ 15118 w 365348"/>
                <a:gd name="connsiteY116" fmla="*/ 224249 h 1310216"/>
                <a:gd name="connsiteX117" fmla="*/ 15118 w 365348"/>
                <a:gd name="connsiteY117" fmla="*/ 224249 h 1310216"/>
                <a:gd name="connsiteX118" fmla="*/ 12598 w 365348"/>
                <a:gd name="connsiteY118" fmla="*/ 222989 h 1310216"/>
                <a:gd name="connsiteX119" fmla="*/ 10079 w 365348"/>
                <a:gd name="connsiteY119" fmla="*/ 221729 h 1310216"/>
                <a:gd name="connsiteX120" fmla="*/ 7559 w 365348"/>
                <a:gd name="connsiteY120" fmla="*/ 219209 h 1310216"/>
                <a:gd name="connsiteX121" fmla="*/ 7559 w 365348"/>
                <a:gd name="connsiteY121" fmla="*/ 248185 h 1310216"/>
                <a:gd name="connsiteX122" fmla="*/ 7559 w 365348"/>
                <a:gd name="connsiteY122" fmla="*/ 275901 h 1310216"/>
                <a:gd name="connsiteX123" fmla="*/ 7559 w 365348"/>
                <a:gd name="connsiteY123" fmla="*/ 288500 h 1310216"/>
                <a:gd name="connsiteX124" fmla="*/ 7559 w 365348"/>
                <a:gd name="connsiteY124" fmla="*/ 328814 h 1310216"/>
                <a:gd name="connsiteX125" fmla="*/ 7559 w 365348"/>
                <a:gd name="connsiteY125" fmla="*/ 369128 h 1310216"/>
                <a:gd name="connsiteX126" fmla="*/ 7559 w 365348"/>
                <a:gd name="connsiteY126" fmla="*/ 385506 h 1310216"/>
                <a:gd name="connsiteX127" fmla="*/ 7559 w 365348"/>
                <a:gd name="connsiteY127" fmla="*/ 411962 h 1310216"/>
                <a:gd name="connsiteX128" fmla="*/ 7559 w 365348"/>
                <a:gd name="connsiteY128" fmla="*/ 414482 h 1310216"/>
                <a:gd name="connsiteX129" fmla="*/ 7559 w 365348"/>
                <a:gd name="connsiteY129" fmla="*/ 432119 h 1310216"/>
                <a:gd name="connsiteX130" fmla="*/ 6299 w 365348"/>
                <a:gd name="connsiteY130" fmla="*/ 454796 h 1310216"/>
                <a:gd name="connsiteX131" fmla="*/ 6299 w 365348"/>
                <a:gd name="connsiteY131" fmla="*/ 459836 h 1310216"/>
                <a:gd name="connsiteX132" fmla="*/ 6299 w 365348"/>
                <a:gd name="connsiteY132" fmla="*/ 473694 h 1310216"/>
                <a:gd name="connsiteX133" fmla="*/ 6299 w 365348"/>
                <a:gd name="connsiteY133" fmla="*/ 482512 h 1310216"/>
                <a:gd name="connsiteX134" fmla="*/ 6299 w 365348"/>
                <a:gd name="connsiteY134" fmla="*/ 495111 h 1310216"/>
                <a:gd name="connsiteX135" fmla="*/ 5039 w 365348"/>
                <a:gd name="connsiteY135" fmla="*/ 536685 h 1310216"/>
                <a:gd name="connsiteX136" fmla="*/ 3780 w 365348"/>
                <a:gd name="connsiteY136" fmla="*/ 569440 h 1310216"/>
                <a:gd name="connsiteX137" fmla="*/ 3780 w 365348"/>
                <a:gd name="connsiteY137" fmla="*/ 578259 h 1310216"/>
                <a:gd name="connsiteX138" fmla="*/ 2520 w 365348"/>
                <a:gd name="connsiteY138" fmla="*/ 599676 h 1310216"/>
                <a:gd name="connsiteX139" fmla="*/ 1260 w 365348"/>
                <a:gd name="connsiteY139" fmla="*/ 621093 h 1310216"/>
                <a:gd name="connsiteX140" fmla="*/ 1260 w 365348"/>
                <a:gd name="connsiteY140" fmla="*/ 637471 h 1310216"/>
                <a:gd name="connsiteX141" fmla="*/ 0 w 365348"/>
                <a:gd name="connsiteY141" fmla="*/ 660147 h 1310216"/>
                <a:gd name="connsiteX142" fmla="*/ 0 w 365348"/>
                <a:gd name="connsiteY142" fmla="*/ 702982 h 1310216"/>
                <a:gd name="connsiteX143" fmla="*/ 0 w 365348"/>
                <a:gd name="connsiteY143" fmla="*/ 735737 h 1310216"/>
                <a:gd name="connsiteX144" fmla="*/ 0 w 365348"/>
                <a:gd name="connsiteY144" fmla="*/ 745816 h 1310216"/>
                <a:gd name="connsiteX145" fmla="*/ 1260 w 365348"/>
                <a:gd name="connsiteY145" fmla="*/ 825184 h 1310216"/>
                <a:gd name="connsiteX146" fmla="*/ 1260 w 365348"/>
                <a:gd name="connsiteY146" fmla="*/ 832743 h 1310216"/>
                <a:gd name="connsiteX147" fmla="*/ 1260 w 365348"/>
                <a:gd name="connsiteY147" fmla="*/ 846601 h 1310216"/>
                <a:gd name="connsiteX148" fmla="*/ 1260 w 365348"/>
                <a:gd name="connsiteY148" fmla="*/ 850381 h 1310216"/>
                <a:gd name="connsiteX149" fmla="*/ 1260 w 365348"/>
                <a:gd name="connsiteY149" fmla="*/ 865499 h 1310216"/>
                <a:gd name="connsiteX150" fmla="*/ 1260 w 365348"/>
                <a:gd name="connsiteY150" fmla="*/ 870538 h 1310216"/>
                <a:gd name="connsiteX151" fmla="*/ 0 w 365348"/>
                <a:gd name="connsiteY151" fmla="*/ 908333 h 1310216"/>
                <a:gd name="connsiteX152" fmla="*/ 0 w 365348"/>
                <a:gd name="connsiteY152" fmla="*/ 942348 h 1310216"/>
                <a:gd name="connsiteX153" fmla="*/ 0 w 365348"/>
                <a:gd name="connsiteY153" fmla="*/ 947387 h 1310216"/>
                <a:gd name="connsiteX154" fmla="*/ 0 w 365348"/>
                <a:gd name="connsiteY154" fmla="*/ 987701 h 1310216"/>
                <a:gd name="connsiteX155" fmla="*/ 1260 w 365348"/>
                <a:gd name="connsiteY155" fmla="*/ 1021717 h 1310216"/>
                <a:gd name="connsiteX156" fmla="*/ 2520 w 365348"/>
                <a:gd name="connsiteY156" fmla="*/ 1068330 h 1310216"/>
                <a:gd name="connsiteX157" fmla="*/ 3780 w 365348"/>
                <a:gd name="connsiteY157" fmla="*/ 1159037 h 1310216"/>
                <a:gd name="connsiteX158" fmla="*/ 5039 w 365348"/>
                <a:gd name="connsiteY158" fmla="*/ 1227068 h 1310216"/>
                <a:gd name="connsiteX159" fmla="*/ 6299 w 365348"/>
                <a:gd name="connsiteY159" fmla="*/ 1245965 h 1310216"/>
                <a:gd name="connsiteX160" fmla="*/ 7559 w 365348"/>
                <a:gd name="connsiteY160" fmla="*/ 1256044 h 1310216"/>
                <a:gd name="connsiteX161" fmla="*/ 8819 w 365348"/>
                <a:gd name="connsiteY161" fmla="*/ 1264863 h 1310216"/>
                <a:gd name="connsiteX162" fmla="*/ 11338 w 365348"/>
                <a:gd name="connsiteY162" fmla="*/ 1283760 h 1310216"/>
                <a:gd name="connsiteX163" fmla="*/ 11338 w 365348"/>
                <a:gd name="connsiteY163" fmla="*/ 1283760 h 1310216"/>
                <a:gd name="connsiteX164" fmla="*/ 11338 w 365348"/>
                <a:gd name="connsiteY164" fmla="*/ 1287540 h 1310216"/>
                <a:gd name="connsiteX165" fmla="*/ 12598 w 365348"/>
                <a:gd name="connsiteY165" fmla="*/ 1291319 h 1310216"/>
                <a:gd name="connsiteX166" fmla="*/ 12598 w 365348"/>
                <a:gd name="connsiteY166" fmla="*/ 1292579 h 1310216"/>
                <a:gd name="connsiteX167" fmla="*/ 12598 w 365348"/>
                <a:gd name="connsiteY167" fmla="*/ 1293839 h 1310216"/>
                <a:gd name="connsiteX168" fmla="*/ 15118 w 365348"/>
                <a:gd name="connsiteY168" fmla="*/ 1297618 h 1310216"/>
                <a:gd name="connsiteX169" fmla="*/ 15118 w 365348"/>
                <a:gd name="connsiteY169" fmla="*/ 1298878 h 1310216"/>
                <a:gd name="connsiteX170" fmla="*/ 15118 w 365348"/>
                <a:gd name="connsiteY170" fmla="*/ 1300138 h 1310216"/>
                <a:gd name="connsiteX171" fmla="*/ 17637 w 365348"/>
                <a:gd name="connsiteY171" fmla="*/ 1302657 h 1310216"/>
                <a:gd name="connsiteX172" fmla="*/ 18897 w 365348"/>
                <a:gd name="connsiteY172" fmla="*/ 1303917 h 1310216"/>
                <a:gd name="connsiteX173" fmla="*/ 20157 w 365348"/>
                <a:gd name="connsiteY173" fmla="*/ 1303917 h 1310216"/>
                <a:gd name="connsiteX174" fmla="*/ 22677 w 365348"/>
                <a:gd name="connsiteY174" fmla="*/ 1305177 h 1310216"/>
                <a:gd name="connsiteX175" fmla="*/ 22677 w 365348"/>
                <a:gd name="connsiteY175" fmla="*/ 1305177 h 1310216"/>
                <a:gd name="connsiteX176" fmla="*/ 23937 w 365348"/>
                <a:gd name="connsiteY176" fmla="*/ 1305177 h 1310216"/>
                <a:gd name="connsiteX177" fmla="*/ 27716 w 365348"/>
                <a:gd name="connsiteY177" fmla="*/ 1306437 h 1310216"/>
                <a:gd name="connsiteX178" fmla="*/ 28976 w 365348"/>
                <a:gd name="connsiteY178" fmla="*/ 1306437 h 1310216"/>
                <a:gd name="connsiteX179" fmla="*/ 32755 w 365348"/>
                <a:gd name="connsiteY179" fmla="*/ 1306437 h 1310216"/>
                <a:gd name="connsiteX180" fmla="*/ 42834 w 365348"/>
                <a:gd name="connsiteY180" fmla="*/ 1307697 h 1310216"/>
                <a:gd name="connsiteX181" fmla="*/ 49133 w 365348"/>
                <a:gd name="connsiteY181" fmla="*/ 1307697 h 1310216"/>
                <a:gd name="connsiteX182" fmla="*/ 51653 w 365348"/>
                <a:gd name="connsiteY182" fmla="*/ 1307697 h 1310216"/>
                <a:gd name="connsiteX183" fmla="*/ 68030 w 365348"/>
                <a:gd name="connsiteY183" fmla="*/ 1307697 h 1310216"/>
                <a:gd name="connsiteX184" fmla="*/ 84408 w 365348"/>
                <a:gd name="connsiteY184" fmla="*/ 1306437 h 1310216"/>
                <a:gd name="connsiteX185" fmla="*/ 86928 w 365348"/>
                <a:gd name="connsiteY185" fmla="*/ 1306437 h 1310216"/>
                <a:gd name="connsiteX186" fmla="*/ 86928 w 365348"/>
                <a:gd name="connsiteY186" fmla="*/ 1306437 h 1310216"/>
                <a:gd name="connsiteX187" fmla="*/ 90707 w 365348"/>
                <a:gd name="connsiteY187" fmla="*/ 1305177 h 1310216"/>
                <a:gd name="connsiteX188" fmla="*/ 93227 w 365348"/>
                <a:gd name="connsiteY188" fmla="*/ 1303917 h 1310216"/>
                <a:gd name="connsiteX189" fmla="*/ 94487 w 365348"/>
                <a:gd name="connsiteY189" fmla="*/ 1302657 h 1310216"/>
                <a:gd name="connsiteX190" fmla="*/ 98266 w 365348"/>
                <a:gd name="connsiteY190" fmla="*/ 1298878 h 1310216"/>
                <a:gd name="connsiteX191" fmla="*/ 100786 w 365348"/>
                <a:gd name="connsiteY191" fmla="*/ 1295099 h 1310216"/>
                <a:gd name="connsiteX192" fmla="*/ 102046 w 365348"/>
                <a:gd name="connsiteY192" fmla="*/ 1290059 h 1310216"/>
                <a:gd name="connsiteX193" fmla="*/ 102046 w 365348"/>
                <a:gd name="connsiteY193" fmla="*/ 1288800 h 1310216"/>
                <a:gd name="connsiteX194" fmla="*/ 103306 w 365348"/>
                <a:gd name="connsiteY194" fmla="*/ 1283760 h 1310216"/>
                <a:gd name="connsiteX195" fmla="*/ 104566 w 365348"/>
                <a:gd name="connsiteY195" fmla="*/ 1272422 h 1310216"/>
                <a:gd name="connsiteX196" fmla="*/ 104566 w 365348"/>
                <a:gd name="connsiteY196" fmla="*/ 1269902 h 1310216"/>
                <a:gd name="connsiteX197" fmla="*/ 105825 w 365348"/>
                <a:gd name="connsiteY197" fmla="*/ 1261083 h 1310216"/>
                <a:gd name="connsiteX198" fmla="*/ 108345 w 365348"/>
                <a:gd name="connsiteY198" fmla="*/ 1238407 h 1310216"/>
                <a:gd name="connsiteX199" fmla="*/ 108345 w 365348"/>
                <a:gd name="connsiteY199" fmla="*/ 1230848 h 1310216"/>
                <a:gd name="connsiteX200" fmla="*/ 109605 w 365348"/>
                <a:gd name="connsiteY200" fmla="*/ 1219509 h 1310216"/>
                <a:gd name="connsiteX201" fmla="*/ 109605 w 365348"/>
                <a:gd name="connsiteY201" fmla="*/ 1211950 h 1310216"/>
                <a:gd name="connsiteX202" fmla="*/ 110865 w 365348"/>
                <a:gd name="connsiteY202" fmla="*/ 1200612 h 1310216"/>
                <a:gd name="connsiteX203" fmla="*/ 110865 w 365348"/>
                <a:gd name="connsiteY203" fmla="*/ 1198092 h 1310216"/>
                <a:gd name="connsiteX204" fmla="*/ 112124 w 365348"/>
                <a:gd name="connsiteY204" fmla="*/ 1180455 h 1310216"/>
                <a:gd name="connsiteX205" fmla="*/ 113384 w 365348"/>
                <a:gd name="connsiteY205" fmla="*/ 1170376 h 1310216"/>
                <a:gd name="connsiteX206" fmla="*/ 114644 w 365348"/>
                <a:gd name="connsiteY206" fmla="*/ 1161557 h 1310216"/>
                <a:gd name="connsiteX207" fmla="*/ 115904 w 365348"/>
                <a:gd name="connsiteY207" fmla="*/ 1148959 h 1310216"/>
                <a:gd name="connsiteX208" fmla="*/ 118423 w 365348"/>
                <a:gd name="connsiteY208" fmla="*/ 1123763 h 1310216"/>
                <a:gd name="connsiteX209" fmla="*/ 120943 w 365348"/>
                <a:gd name="connsiteY209" fmla="*/ 1107385 h 1310216"/>
                <a:gd name="connsiteX210" fmla="*/ 122203 w 365348"/>
                <a:gd name="connsiteY210" fmla="*/ 1094786 h 1310216"/>
                <a:gd name="connsiteX211" fmla="*/ 122203 w 365348"/>
                <a:gd name="connsiteY211" fmla="*/ 1091007 h 1310216"/>
                <a:gd name="connsiteX212" fmla="*/ 123463 w 365348"/>
                <a:gd name="connsiteY212" fmla="*/ 1079669 h 1310216"/>
                <a:gd name="connsiteX213" fmla="*/ 124722 w 365348"/>
                <a:gd name="connsiteY213" fmla="*/ 1072110 h 1310216"/>
                <a:gd name="connsiteX214" fmla="*/ 125982 w 365348"/>
                <a:gd name="connsiteY214" fmla="*/ 1064551 h 1310216"/>
                <a:gd name="connsiteX215" fmla="*/ 128502 w 365348"/>
                <a:gd name="connsiteY215" fmla="*/ 1044393 h 1310216"/>
                <a:gd name="connsiteX216" fmla="*/ 129762 w 365348"/>
                <a:gd name="connsiteY216" fmla="*/ 1035575 h 1310216"/>
                <a:gd name="connsiteX217" fmla="*/ 129762 w 365348"/>
                <a:gd name="connsiteY217" fmla="*/ 1033055 h 1310216"/>
                <a:gd name="connsiteX218" fmla="*/ 132281 w 365348"/>
                <a:gd name="connsiteY218" fmla="*/ 1004079 h 1310216"/>
                <a:gd name="connsiteX219" fmla="*/ 133541 w 365348"/>
                <a:gd name="connsiteY219" fmla="*/ 992741 h 1310216"/>
                <a:gd name="connsiteX220" fmla="*/ 133541 w 365348"/>
                <a:gd name="connsiteY220" fmla="*/ 985182 h 1310216"/>
                <a:gd name="connsiteX221" fmla="*/ 134801 w 365348"/>
                <a:gd name="connsiteY221" fmla="*/ 973844 h 1310216"/>
                <a:gd name="connsiteX222" fmla="*/ 136061 w 365348"/>
                <a:gd name="connsiteY222" fmla="*/ 966285 h 1310216"/>
                <a:gd name="connsiteX223" fmla="*/ 137321 w 365348"/>
                <a:gd name="connsiteY223" fmla="*/ 957466 h 1310216"/>
                <a:gd name="connsiteX224" fmla="*/ 138581 w 365348"/>
                <a:gd name="connsiteY224" fmla="*/ 944868 h 1310216"/>
                <a:gd name="connsiteX225" fmla="*/ 138581 w 365348"/>
                <a:gd name="connsiteY225" fmla="*/ 938568 h 1310216"/>
                <a:gd name="connsiteX226" fmla="*/ 139840 w 365348"/>
                <a:gd name="connsiteY226" fmla="*/ 927230 h 1310216"/>
                <a:gd name="connsiteX227" fmla="*/ 141100 w 365348"/>
                <a:gd name="connsiteY227" fmla="*/ 914632 h 1310216"/>
                <a:gd name="connsiteX228" fmla="*/ 141100 w 365348"/>
                <a:gd name="connsiteY228" fmla="*/ 907073 h 1310216"/>
                <a:gd name="connsiteX229" fmla="*/ 142360 w 365348"/>
                <a:gd name="connsiteY229" fmla="*/ 888175 h 1310216"/>
                <a:gd name="connsiteX230" fmla="*/ 143620 w 365348"/>
                <a:gd name="connsiteY230" fmla="*/ 871798 h 1310216"/>
                <a:gd name="connsiteX231" fmla="*/ 146140 w 365348"/>
                <a:gd name="connsiteY231" fmla="*/ 849121 h 1310216"/>
                <a:gd name="connsiteX232" fmla="*/ 149919 w 365348"/>
                <a:gd name="connsiteY232" fmla="*/ 808807 h 1310216"/>
                <a:gd name="connsiteX233" fmla="*/ 151179 w 365348"/>
                <a:gd name="connsiteY233" fmla="*/ 796209 h 1310216"/>
                <a:gd name="connsiteX234" fmla="*/ 153699 w 365348"/>
                <a:gd name="connsiteY234" fmla="*/ 769752 h 1310216"/>
                <a:gd name="connsiteX235" fmla="*/ 153699 w 365348"/>
                <a:gd name="connsiteY235" fmla="*/ 760933 h 1310216"/>
                <a:gd name="connsiteX236" fmla="*/ 154958 w 365348"/>
                <a:gd name="connsiteY236" fmla="*/ 750855 h 1310216"/>
                <a:gd name="connsiteX237" fmla="*/ 156218 w 365348"/>
                <a:gd name="connsiteY237" fmla="*/ 730698 h 1310216"/>
                <a:gd name="connsiteX238" fmla="*/ 158738 w 365348"/>
                <a:gd name="connsiteY238" fmla="*/ 706761 h 1310216"/>
                <a:gd name="connsiteX239" fmla="*/ 159998 w 365348"/>
                <a:gd name="connsiteY239" fmla="*/ 690383 h 1310216"/>
                <a:gd name="connsiteX240" fmla="*/ 161258 w 365348"/>
                <a:gd name="connsiteY240" fmla="*/ 672746 h 1310216"/>
                <a:gd name="connsiteX241" fmla="*/ 162517 w 365348"/>
                <a:gd name="connsiteY241" fmla="*/ 652589 h 1310216"/>
                <a:gd name="connsiteX242" fmla="*/ 163777 w 365348"/>
                <a:gd name="connsiteY242" fmla="*/ 631172 h 1310216"/>
                <a:gd name="connsiteX243" fmla="*/ 165037 w 365348"/>
                <a:gd name="connsiteY243" fmla="*/ 613534 h 1310216"/>
                <a:gd name="connsiteX244" fmla="*/ 166297 w 365348"/>
                <a:gd name="connsiteY244" fmla="*/ 594637 h 1310216"/>
                <a:gd name="connsiteX245" fmla="*/ 167557 w 365348"/>
                <a:gd name="connsiteY245" fmla="*/ 573220 h 1310216"/>
                <a:gd name="connsiteX246" fmla="*/ 171336 w 365348"/>
                <a:gd name="connsiteY246" fmla="*/ 534165 h 1310216"/>
                <a:gd name="connsiteX247" fmla="*/ 172596 w 365348"/>
                <a:gd name="connsiteY247" fmla="*/ 517787 h 1310216"/>
                <a:gd name="connsiteX248" fmla="*/ 172596 w 365348"/>
                <a:gd name="connsiteY248" fmla="*/ 517787 h 1310216"/>
                <a:gd name="connsiteX249" fmla="*/ 176375 w 365348"/>
                <a:gd name="connsiteY249" fmla="*/ 479993 h 1310216"/>
                <a:gd name="connsiteX250" fmla="*/ 176375 w 365348"/>
                <a:gd name="connsiteY250" fmla="*/ 479993 h 1310216"/>
                <a:gd name="connsiteX251" fmla="*/ 176375 w 365348"/>
                <a:gd name="connsiteY251" fmla="*/ 477473 h 1310216"/>
                <a:gd name="connsiteX252" fmla="*/ 176375 w 365348"/>
                <a:gd name="connsiteY252" fmla="*/ 471174 h 1310216"/>
                <a:gd name="connsiteX253" fmla="*/ 176375 w 365348"/>
                <a:gd name="connsiteY253" fmla="*/ 467395 h 1310216"/>
                <a:gd name="connsiteX254" fmla="*/ 176375 w 365348"/>
                <a:gd name="connsiteY254" fmla="*/ 471174 h 1310216"/>
                <a:gd name="connsiteX255" fmla="*/ 177635 w 365348"/>
                <a:gd name="connsiteY255" fmla="*/ 481253 h 1310216"/>
                <a:gd name="connsiteX256" fmla="*/ 180155 w 365348"/>
                <a:gd name="connsiteY256" fmla="*/ 503929 h 1310216"/>
                <a:gd name="connsiteX257" fmla="*/ 181414 w 365348"/>
                <a:gd name="connsiteY257" fmla="*/ 522827 h 1310216"/>
                <a:gd name="connsiteX258" fmla="*/ 181414 w 365348"/>
                <a:gd name="connsiteY258" fmla="*/ 525346 h 1310216"/>
                <a:gd name="connsiteX259" fmla="*/ 181414 w 365348"/>
                <a:gd name="connsiteY259" fmla="*/ 529126 h 1310216"/>
                <a:gd name="connsiteX260" fmla="*/ 182674 w 365348"/>
                <a:gd name="connsiteY260" fmla="*/ 545504 h 1310216"/>
                <a:gd name="connsiteX261" fmla="*/ 183934 w 365348"/>
                <a:gd name="connsiteY261" fmla="*/ 568180 h 1310216"/>
                <a:gd name="connsiteX262" fmla="*/ 185194 w 365348"/>
                <a:gd name="connsiteY262" fmla="*/ 582039 h 1310216"/>
                <a:gd name="connsiteX263" fmla="*/ 185194 w 365348"/>
                <a:gd name="connsiteY263" fmla="*/ 588338 h 1310216"/>
                <a:gd name="connsiteX264" fmla="*/ 186454 w 365348"/>
                <a:gd name="connsiteY264" fmla="*/ 599676 h 1310216"/>
                <a:gd name="connsiteX265" fmla="*/ 186454 w 365348"/>
                <a:gd name="connsiteY265" fmla="*/ 608495 h 1310216"/>
                <a:gd name="connsiteX266" fmla="*/ 187714 w 365348"/>
                <a:gd name="connsiteY266" fmla="*/ 628652 h 1310216"/>
                <a:gd name="connsiteX267" fmla="*/ 187714 w 365348"/>
                <a:gd name="connsiteY267" fmla="*/ 629912 h 1310216"/>
                <a:gd name="connsiteX268" fmla="*/ 188973 w 365348"/>
                <a:gd name="connsiteY268" fmla="*/ 648809 h 1310216"/>
                <a:gd name="connsiteX269" fmla="*/ 188973 w 365348"/>
                <a:gd name="connsiteY269" fmla="*/ 653848 h 1310216"/>
                <a:gd name="connsiteX270" fmla="*/ 190233 w 365348"/>
                <a:gd name="connsiteY270" fmla="*/ 668966 h 1310216"/>
                <a:gd name="connsiteX271" fmla="*/ 192753 w 365348"/>
                <a:gd name="connsiteY271" fmla="*/ 696683 h 1310216"/>
                <a:gd name="connsiteX272" fmla="*/ 194013 w 365348"/>
                <a:gd name="connsiteY272" fmla="*/ 710540 h 1310216"/>
                <a:gd name="connsiteX273" fmla="*/ 195273 w 365348"/>
                <a:gd name="connsiteY273" fmla="*/ 720619 h 1310216"/>
                <a:gd name="connsiteX274" fmla="*/ 196533 w 365348"/>
                <a:gd name="connsiteY274" fmla="*/ 730698 h 1310216"/>
                <a:gd name="connsiteX275" fmla="*/ 196533 w 365348"/>
                <a:gd name="connsiteY275" fmla="*/ 731957 h 1310216"/>
                <a:gd name="connsiteX276" fmla="*/ 197792 w 365348"/>
                <a:gd name="connsiteY276" fmla="*/ 750855 h 1310216"/>
                <a:gd name="connsiteX277" fmla="*/ 199052 w 365348"/>
                <a:gd name="connsiteY277" fmla="*/ 759674 h 1310216"/>
                <a:gd name="connsiteX278" fmla="*/ 200312 w 365348"/>
                <a:gd name="connsiteY278" fmla="*/ 772272 h 1310216"/>
                <a:gd name="connsiteX279" fmla="*/ 201572 w 365348"/>
                <a:gd name="connsiteY279" fmla="*/ 783610 h 1310216"/>
                <a:gd name="connsiteX280" fmla="*/ 202832 w 365348"/>
                <a:gd name="connsiteY280" fmla="*/ 793689 h 1310216"/>
                <a:gd name="connsiteX281" fmla="*/ 204092 w 365348"/>
                <a:gd name="connsiteY281" fmla="*/ 805027 h 1310216"/>
                <a:gd name="connsiteX282" fmla="*/ 205351 w 365348"/>
                <a:gd name="connsiteY282" fmla="*/ 813846 h 1310216"/>
                <a:gd name="connsiteX283" fmla="*/ 207871 w 365348"/>
                <a:gd name="connsiteY283" fmla="*/ 834003 h 1310216"/>
                <a:gd name="connsiteX284" fmla="*/ 207871 w 365348"/>
                <a:gd name="connsiteY284" fmla="*/ 834003 h 1310216"/>
                <a:gd name="connsiteX285" fmla="*/ 209131 w 365348"/>
                <a:gd name="connsiteY285" fmla="*/ 844082 h 1310216"/>
                <a:gd name="connsiteX286" fmla="*/ 210391 w 365348"/>
                <a:gd name="connsiteY286" fmla="*/ 854160 h 1310216"/>
                <a:gd name="connsiteX287" fmla="*/ 210391 w 365348"/>
                <a:gd name="connsiteY287" fmla="*/ 854160 h 1310216"/>
                <a:gd name="connsiteX288" fmla="*/ 212910 w 365348"/>
                <a:gd name="connsiteY288" fmla="*/ 875577 h 1310216"/>
                <a:gd name="connsiteX289" fmla="*/ 215430 w 365348"/>
                <a:gd name="connsiteY289" fmla="*/ 898254 h 1310216"/>
                <a:gd name="connsiteX290" fmla="*/ 215430 w 365348"/>
                <a:gd name="connsiteY290" fmla="*/ 902034 h 1310216"/>
                <a:gd name="connsiteX291" fmla="*/ 215430 w 365348"/>
                <a:gd name="connsiteY291" fmla="*/ 907073 h 1310216"/>
                <a:gd name="connsiteX292" fmla="*/ 215430 w 365348"/>
                <a:gd name="connsiteY292" fmla="*/ 910853 h 1310216"/>
                <a:gd name="connsiteX293" fmla="*/ 216690 w 365348"/>
                <a:gd name="connsiteY293" fmla="*/ 918411 h 1310216"/>
                <a:gd name="connsiteX294" fmla="*/ 219209 w 365348"/>
                <a:gd name="connsiteY294" fmla="*/ 938568 h 1310216"/>
                <a:gd name="connsiteX295" fmla="*/ 220469 w 365348"/>
                <a:gd name="connsiteY295" fmla="*/ 947387 h 1310216"/>
                <a:gd name="connsiteX296" fmla="*/ 221729 w 365348"/>
                <a:gd name="connsiteY296" fmla="*/ 958726 h 1310216"/>
                <a:gd name="connsiteX297" fmla="*/ 222989 w 365348"/>
                <a:gd name="connsiteY297" fmla="*/ 970064 h 1310216"/>
                <a:gd name="connsiteX298" fmla="*/ 224249 w 365348"/>
                <a:gd name="connsiteY298" fmla="*/ 980143 h 1310216"/>
                <a:gd name="connsiteX299" fmla="*/ 225508 w 365348"/>
                <a:gd name="connsiteY299" fmla="*/ 990221 h 1310216"/>
                <a:gd name="connsiteX300" fmla="*/ 225508 w 365348"/>
                <a:gd name="connsiteY300" fmla="*/ 991481 h 1310216"/>
                <a:gd name="connsiteX301" fmla="*/ 225508 w 365348"/>
                <a:gd name="connsiteY301" fmla="*/ 996520 h 1310216"/>
                <a:gd name="connsiteX302" fmla="*/ 225508 w 365348"/>
                <a:gd name="connsiteY302" fmla="*/ 1000300 h 1310216"/>
                <a:gd name="connsiteX303" fmla="*/ 226768 w 365348"/>
                <a:gd name="connsiteY303" fmla="*/ 1009119 h 1310216"/>
                <a:gd name="connsiteX304" fmla="*/ 228028 w 365348"/>
                <a:gd name="connsiteY304" fmla="*/ 1020457 h 1310216"/>
                <a:gd name="connsiteX305" fmla="*/ 229288 w 365348"/>
                <a:gd name="connsiteY305" fmla="*/ 1033055 h 1310216"/>
                <a:gd name="connsiteX306" fmla="*/ 230548 w 365348"/>
                <a:gd name="connsiteY306" fmla="*/ 1040614 h 1310216"/>
                <a:gd name="connsiteX307" fmla="*/ 235587 w 365348"/>
                <a:gd name="connsiteY307" fmla="*/ 1082188 h 1310216"/>
                <a:gd name="connsiteX308" fmla="*/ 235587 w 365348"/>
                <a:gd name="connsiteY308" fmla="*/ 1087228 h 1310216"/>
                <a:gd name="connsiteX309" fmla="*/ 236847 w 365348"/>
                <a:gd name="connsiteY309" fmla="*/ 1099826 h 1310216"/>
                <a:gd name="connsiteX310" fmla="*/ 239366 w 365348"/>
                <a:gd name="connsiteY310" fmla="*/ 1117463 h 1310216"/>
                <a:gd name="connsiteX311" fmla="*/ 240626 w 365348"/>
                <a:gd name="connsiteY311" fmla="*/ 1125022 h 1310216"/>
                <a:gd name="connsiteX312" fmla="*/ 244406 w 365348"/>
                <a:gd name="connsiteY312" fmla="*/ 1152738 h 1310216"/>
                <a:gd name="connsiteX313" fmla="*/ 245666 w 365348"/>
                <a:gd name="connsiteY313" fmla="*/ 1159037 h 1310216"/>
                <a:gd name="connsiteX314" fmla="*/ 246925 w 365348"/>
                <a:gd name="connsiteY314" fmla="*/ 1170376 h 1310216"/>
                <a:gd name="connsiteX315" fmla="*/ 249445 w 365348"/>
                <a:gd name="connsiteY315" fmla="*/ 1188014 h 1310216"/>
                <a:gd name="connsiteX316" fmla="*/ 254484 w 365348"/>
                <a:gd name="connsiteY316" fmla="*/ 1220769 h 1310216"/>
                <a:gd name="connsiteX317" fmla="*/ 255744 w 365348"/>
                <a:gd name="connsiteY317" fmla="*/ 1233367 h 1310216"/>
                <a:gd name="connsiteX318" fmla="*/ 258264 w 365348"/>
                <a:gd name="connsiteY318" fmla="*/ 1247225 h 1310216"/>
                <a:gd name="connsiteX319" fmla="*/ 260784 w 365348"/>
                <a:gd name="connsiteY319" fmla="*/ 1258563 h 1310216"/>
                <a:gd name="connsiteX320" fmla="*/ 260784 w 365348"/>
                <a:gd name="connsiteY320" fmla="*/ 1261083 h 1310216"/>
                <a:gd name="connsiteX321" fmla="*/ 264563 w 365348"/>
                <a:gd name="connsiteY321" fmla="*/ 1285020 h 1310216"/>
                <a:gd name="connsiteX322" fmla="*/ 264563 w 365348"/>
                <a:gd name="connsiteY322" fmla="*/ 1290059 h 1310216"/>
                <a:gd name="connsiteX323" fmla="*/ 265823 w 365348"/>
                <a:gd name="connsiteY323" fmla="*/ 1298878 h 1310216"/>
                <a:gd name="connsiteX324" fmla="*/ 267083 w 365348"/>
                <a:gd name="connsiteY324" fmla="*/ 1305177 h 1310216"/>
                <a:gd name="connsiteX325" fmla="*/ 267083 w 365348"/>
                <a:gd name="connsiteY325" fmla="*/ 1305177 h 1310216"/>
                <a:gd name="connsiteX326" fmla="*/ 268343 w 365348"/>
                <a:gd name="connsiteY326" fmla="*/ 1312736 h 1310216"/>
                <a:gd name="connsiteX327" fmla="*/ 269602 w 365348"/>
                <a:gd name="connsiteY327" fmla="*/ 1315256 h 1310216"/>
                <a:gd name="connsiteX328" fmla="*/ 270862 w 365348"/>
                <a:gd name="connsiteY328" fmla="*/ 1317775 h 1310216"/>
                <a:gd name="connsiteX329" fmla="*/ 279681 w 365348"/>
                <a:gd name="connsiteY329" fmla="*/ 1320295 h 1310216"/>
                <a:gd name="connsiteX330" fmla="*/ 280941 w 365348"/>
                <a:gd name="connsiteY330" fmla="*/ 1320295 h 1310216"/>
                <a:gd name="connsiteX331" fmla="*/ 285980 w 365348"/>
                <a:gd name="connsiteY331" fmla="*/ 1320295 h 1310216"/>
                <a:gd name="connsiteX332" fmla="*/ 289759 w 365348"/>
                <a:gd name="connsiteY332" fmla="*/ 1320295 h 1310216"/>
                <a:gd name="connsiteX333" fmla="*/ 298578 w 365348"/>
                <a:gd name="connsiteY333" fmla="*/ 1320295 h 1310216"/>
                <a:gd name="connsiteX334" fmla="*/ 301098 w 365348"/>
                <a:gd name="connsiteY334" fmla="*/ 1320295 h 1310216"/>
                <a:gd name="connsiteX335" fmla="*/ 306137 w 365348"/>
                <a:gd name="connsiteY335" fmla="*/ 1320295 h 1310216"/>
                <a:gd name="connsiteX336" fmla="*/ 312436 w 365348"/>
                <a:gd name="connsiteY336" fmla="*/ 1320295 h 1310216"/>
                <a:gd name="connsiteX337" fmla="*/ 318736 w 365348"/>
                <a:gd name="connsiteY337" fmla="*/ 1320295 h 1310216"/>
                <a:gd name="connsiteX338" fmla="*/ 325035 w 365348"/>
                <a:gd name="connsiteY338" fmla="*/ 1320295 h 1310216"/>
                <a:gd name="connsiteX339" fmla="*/ 327554 w 365348"/>
                <a:gd name="connsiteY339" fmla="*/ 1320295 h 1310216"/>
                <a:gd name="connsiteX340" fmla="*/ 332593 w 365348"/>
                <a:gd name="connsiteY340" fmla="*/ 1320295 h 1310216"/>
                <a:gd name="connsiteX341" fmla="*/ 337633 w 365348"/>
                <a:gd name="connsiteY341" fmla="*/ 1320295 h 1310216"/>
                <a:gd name="connsiteX342" fmla="*/ 342672 w 365348"/>
                <a:gd name="connsiteY342" fmla="*/ 1320295 h 1310216"/>
                <a:gd name="connsiteX343" fmla="*/ 347711 w 365348"/>
                <a:gd name="connsiteY343" fmla="*/ 1320295 h 1310216"/>
                <a:gd name="connsiteX344" fmla="*/ 348971 w 365348"/>
                <a:gd name="connsiteY344" fmla="*/ 1320295 h 1310216"/>
                <a:gd name="connsiteX345" fmla="*/ 357790 w 365348"/>
                <a:gd name="connsiteY345" fmla="*/ 1320295 h 1310216"/>
                <a:gd name="connsiteX346" fmla="*/ 365349 w 365348"/>
                <a:gd name="connsiteY346" fmla="*/ 1319035 h 1310216"/>
                <a:gd name="connsiteX347" fmla="*/ 367869 w 365348"/>
                <a:gd name="connsiteY347" fmla="*/ 1317775 h 1310216"/>
                <a:gd name="connsiteX348" fmla="*/ 369128 w 365348"/>
                <a:gd name="connsiteY348" fmla="*/ 1316515 h 1310216"/>
                <a:gd name="connsiteX349" fmla="*/ 370388 w 365348"/>
                <a:gd name="connsiteY349" fmla="*/ 1315256 h 1310216"/>
                <a:gd name="connsiteX350" fmla="*/ 371648 w 365348"/>
                <a:gd name="connsiteY350" fmla="*/ 1311476 h 1310216"/>
                <a:gd name="connsiteX351" fmla="*/ 371648 w 365348"/>
                <a:gd name="connsiteY351" fmla="*/ 1307697 h 1310216"/>
                <a:gd name="connsiteX352" fmla="*/ 371648 w 365348"/>
                <a:gd name="connsiteY352" fmla="*/ 1307697 h 1310216"/>
                <a:gd name="connsiteX353" fmla="*/ 371648 w 365348"/>
                <a:gd name="connsiteY353" fmla="*/ 1302657 h 1310216"/>
                <a:gd name="connsiteX354" fmla="*/ 371648 w 365348"/>
                <a:gd name="connsiteY354" fmla="*/ 1287540 h 1310216"/>
                <a:gd name="connsiteX355" fmla="*/ 371648 w 365348"/>
                <a:gd name="connsiteY355" fmla="*/ 1283760 h 1310216"/>
                <a:gd name="connsiteX356" fmla="*/ 371648 w 365348"/>
                <a:gd name="connsiteY356" fmla="*/ 1263603 h 1310216"/>
                <a:gd name="connsiteX357" fmla="*/ 371648 w 365348"/>
                <a:gd name="connsiteY357" fmla="*/ 1258563 h 1310216"/>
                <a:gd name="connsiteX358" fmla="*/ 371648 w 365348"/>
                <a:gd name="connsiteY358" fmla="*/ 1244706 h 1310216"/>
                <a:gd name="connsiteX359" fmla="*/ 372908 w 365348"/>
                <a:gd name="connsiteY359" fmla="*/ 1224548 h 1310216"/>
                <a:gd name="connsiteX360" fmla="*/ 372908 w 365348"/>
                <a:gd name="connsiteY360" fmla="*/ 1219509 h 1310216"/>
                <a:gd name="connsiteX361" fmla="*/ 374168 w 365348"/>
                <a:gd name="connsiteY361" fmla="*/ 1203131 h 1310216"/>
                <a:gd name="connsiteX362" fmla="*/ 375428 w 365348"/>
                <a:gd name="connsiteY362" fmla="*/ 1182974 h 1310216"/>
                <a:gd name="connsiteX363" fmla="*/ 375428 w 365348"/>
                <a:gd name="connsiteY363" fmla="*/ 1167856 h 1310216"/>
                <a:gd name="connsiteX364" fmla="*/ 375428 w 365348"/>
                <a:gd name="connsiteY364" fmla="*/ 1162817 h 1310216"/>
                <a:gd name="connsiteX365" fmla="*/ 375428 w 365348"/>
                <a:gd name="connsiteY365" fmla="*/ 1159037 h 1310216"/>
                <a:gd name="connsiteX366" fmla="*/ 375428 w 365348"/>
                <a:gd name="connsiteY366" fmla="*/ 1142660 h 1310216"/>
                <a:gd name="connsiteX367" fmla="*/ 375428 w 365348"/>
                <a:gd name="connsiteY367" fmla="*/ 1123763 h 1310216"/>
                <a:gd name="connsiteX368" fmla="*/ 375428 w 365348"/>
                <a:gd name="connsiteY368" fmla="*/ 1098566 h 1310216"/>
                <a:gd name="connsiteX369" fmla="*/ 375428 w 365348"/>
                <a:gd name="connsiteY369" fmla="*/ 1084708 h 1310216"/>
                <a:gd name="connsiteX370" fmla="*/ 374168 w 365348"/>
                <a:gd name="connsiteY370" fmla="*/ 1016678 h 1310216"/>
                <a:gd name="connsiteX371" fmla="*/ 372908 w 365348"/>
                <a:gd name="connsiteY371" fmla="*/ 973844 h 1310216"/>
                <a:gd name="connsiteX372" fmla="*/ 371648 w 365348"/>
                <a:gd name="connsiteY372" fmla="*/ 933529 h 1310216"/>
                <a:gd name="connsiteX373" fmla="*/ 370388 w 365348"/>
                <a:gd name="connsiteY373" fmla="*/ 912112 h 1310216"/>
                <a:gd name="connsiteX374" fmla="*/ 369128 w 365348"/>
                <a:gd name="connsiteY374" fmla="*/ 890695 h 1310216"/>
                <a:gd name="connsiteX375" fmla="*/ 369128 w 365348"/>
                <a:gd name="connsiteY375" fmla="*/ 879357 h 1310216"/>
                <a:gd name="connsiteX376" fmla="*/ 367869 w 365348"/>
                <a:gd name="connsiteY376" fmla="*/ 849121 h 1310216"/>
                <a:gd name="connsiteX377" fmla="*/ 365349 w 365348"/>
                <a:gd name="connsiteY377" fmla="*/ 806287 h 1310216"/>
                <a:gd name="connsiteX378" fmla="*/ 364089 w 365348"/>
                <a:gd name="connsiteY378" fmla="*/ 769752 h 1310216"/>
                <a:gd name="connsiteX379" fmla="*/ 364089 w 365348"/>
                <a:gd name="connsiteY379" fmla="*/ 764713 h 1310216"/>
                <a:gd name="connsiteX380" fmla="*/ 364089 w 365348"/>
                <a:gd name="connsiteY380" fmla="*/ 744556 h 1310216"/>
                <a:gd name="connsiteX381" fmla="*/ 362829 w 365348"/>
                <a:gd name="connsiteY381" fmla="*/ 681565 h 1310216"/>
                <a:gd name="connsiteX382" fmla="*/ 362829 w 365348"/>
                <a:gd name="connsiteY382" fmla="*/ 639990 h 1310216"/>
                <a:gd name="connsiteX383" fmla="*/ 362829 w 365348"/>
                <a:gd name="connsiteY383" fmla="*/ 613534 h 1310216"/>
                <a:gd name="connsiteX384" fmla="*/ 362829 w 365348"/>
                <a:gd name="connsiteY384" fmla="*/ 599676 h 1310216"/>
                <a:gd name="connsiteX385" fmla="*/ 361569 w 365348"/>
                <a:gd name="connsiteY385" fmla="*/ 515268 h 1310216"/>
                <a:gd name="connsiteX386" fmla="*/ 361569 w 365348"/>
                <a:gd name="connsiteY386" fmla="*/ 482512 h 1310216"/>
                <a:gd name="connsiteX387" fmla="*/ 361569 w 365348"/>
                <a:gd name="connsiteY387" fmla="*/ 430860 h 1310216"/>
                <a:gd name="connsiteX388" fmla="*/ 361569 w 365348"/>
                <a:gd name="connsiteY388" fmla="*/ 420781 h 1310216"/>
                <a:gd name="connsiteX389" fmla="*/ 361569 w 365348"/>
                <a:gd name="connsiteY389" fmla="*/ 386766 h 1310216"/>
                <a:gd name="connsiteX390" fmla="*/ 361569 w 365348"/>
                <a:gd name="connsiteY390" fmla="*/ 384246 h 1310216"/>
                <a:gd name="connsiteX391" fmla="*/ 362829 w 365348"/>
                <a:gd name="connsiteY391" fmla="*/ 345192 h 1310216"/>
                <a:gd name="connsiteX392" fmla="*/ 362829 w 365348"/>
                <a:gd name="connsiteY392" fmla="*/ 335113 h 1310216"/>
                <a:gd name="connsiteX393" fmla="*/ 362829 w 365348"/>
                <a:gd name="connsiteY393" fmla="*/ 331334 h 1310216"/>
                <a:gd name="connsiteX394" fmla="*/ 362829 w 365348"/>
                <a:gd name="connsiteY394" fmla="*/ 323775 h 1310216"/>
                <a:gd name="connsiteX395" fmla="*/ 362829 w 365348"/>
                <a:gd name="connsiteY395" fmla="*/ 301098 h 1310216"/>
                <a:gd name="connsiteX396" fmla="*/ 362829 w 365348"/>
                <a:gd name="connsiteY396" fmla="*/ 262043 h 1310216"/>
                <a:gd name="connsiteX397" fmla="*/ 362829 w 365348"/>
                <a:gd name="connsiteY397" fmla="*/ 259524 h 1310216"/>
                <a:gd name="connsiteX398" fmla="*/ 362829 w 365348"/>
                <a:gd name="connsiteY398" fmla="*/ 240626 h 1310216"/>
                <a:gd name="connsiteX399" fmla="*/ 362829 w 365348"/>
                <a:gd name="connsiteY399" fmla="*/ 217949 h 1310216"/>
                <a:gd name="connsiteX400" fmla="*/ 362829 w 365348"/>
                <a:gd name="connsiteY400" fmla="*/ 212910 h 1310216"/>
                <a:gd name="connsiteX401" fmla="*/ 362829 w 365348"/>
                <a:gd name="connsiteY401" fmla="*/ 197792 h 1310216"/>
                <a:gd name="connsiteX402" fmla="*/ 362829 w 365348"/>
                <a:gd name="connsiteY402" fmla="*/ 192753 h 1310216"/>
                <a:gd name="connsiteX403" fmla="*/ 362829 w 365348"/>
                <a:gd name="connsiteY403" fmla="*/ 176375 h 1310216"/>
                <a:gd name="connsiteX404" fmla="*/ 362829 w 365348"/>
                <a:gd name="connsiteY404" fmla="*/ 132281 h 1310216"/>
                <a:gd name="connsiteX405" fmla="*/ 365349 w 365348"/>
                <a:gd name="connsiteY405" fmla="*/ 88188 h 1310216"/>
                <a:gd name="connsiteX406" fmla="*/ 88188 w 365348"/>
                <a:gd name="connsiteY406" fmla="*/ 1286280 h 1310216"/>
                <a:gd name="connsiteX407" fmla="*/ 88188 w 365348"/>
                <a:gd name="connsiteY407" fmla="*/ 1286280 h 1310216"/>
                <a:gd name="connsiteX408" fmla="*/ 88188 w 365348"/>
                <a:gd name="connsiteY408" fmla="*/ 1286280 h 131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Lst>
              <a:rect l="l" t="t" r="r" b="b"/>
              <a:pathLst>
                <a:path w="365348" h="1310216">
                  <a:moveTo>
                    <a:pt x="365349" y="88188"/>
                  </a:moveTo>
                  <a:cubicBezTo>
                    <a:pt x="365349" y="59212"/>
                    <a:pt x="365349" y="28976"/>
                    <a:pt x="365349" y="0"/>
                  </a:cubicBezTo>
                  <a:cubicBezTo>
                    <a:pt x="362829" y="2520"/>
                    <a:pt x="360310" y="5039"/>
                    <a:pt x="357790" y="7559"/>
                  </a:cubicBezTo>
                  <a:lnTo>
                    <a:pt x="355270" y="10079"/>
                  </a:lnTo>
                  <a:cubicBezTo>
                    <a:pt x="354010" y="11339"/>
                    <a:pt x="354010" y="12598"/>
                    <a:pt x="352751" y="12598"/>
                  </a:cubicBezTo>
                  <a:cubicBezTo>
                    <a:pt x="352751" y="12598"/>
                    <a:pt x="352751" y="13858"/>
                    <a:pt x="352751" y="13858"/>
                  </a:cubicBezTo>
                  <a:cubicBezTo>
                    <a:pt x="352751" y="13858"/>
                    <a:pt x="352751" y="13858"/>
                    <a:pt x="352751" y="12598"/>
                  </a:cubicBezTo>
                  <a:cubicBezTo>
                    <a:pt x="347711" y="18897"/>
                    <a:pt x="341412" y="25196"/>
                    <a:pt x="336373" y="32755"/>
                  </a:cubicBezTo>
                  <a:cubicBezTo>
                    <a:pt x="333853" y="36535"/>
                    <a:pt x="328814" y="42834"/>
                    <a:pt x="325035" y="47873"/>
                  </a:cubicBezTo>
                  <a:cubicBezTo>
                    <a:pt x="321255" y="52913"/>
                    <a:pt x="318736" y="59212"/>
                    <a:pt x="314956" y="62991"/>
                  </a:cubicBezTo>
                  <a:cubicBezTo>
                    <a:pt x="312436" y="68031"/>
                    <a:pt x="309917" y="71810"/>
                    <a:pt x="307397" y="76849"/>
                  </a:cubicBezTo>
                  <a:lnTo>
                    <a:pt x="307397" y="76849"/>
                  </a:lnTo>
                  <a:cubicBezTo>
                    <a:pt x="306137" y="79369"/>
                    <a:pt x="304877" y="81889"/>
                    <a:pt x="302358" y="85668"/>
                  </a:cubicBezTo>
                  <a:cubicBezTo>
                    <a:pt x="301098" y="86928"/>
                    <a:pt x="301098" y="89448"/>
                    <a:pt x="299838" y="90707"/>
                  </a:cubicBezTo>
                  <a:lnTo>
                    <a:pt x="299838" y="90707"/>
                  </a:lnTo>
                  <a:cubicBezTo>
                    <a:pt x="299838" y="91967"/>
                    <a:pt x="298578" y="91967"/>
                    <a:pt x="298578" y="93227"/>
                  </a:cubicBezTo>
                  <a:cubicBezTo>
                    <a:pt x="296058" y="98266"/>
                    <a:pt x="294799" y="103306"/>
                    <a:pt x="292279" y="107085"/>
                  </a:cubicBezTo>
                  <a:lnTo>
                    <a:pt x="292279" y="107085"/>
                  </a:lnTo>
                  <a:lnTo>
                    <a:pt x="292279" y="108345"/>
                  </a:lnTo>
                  <a:cubicBezTo>
                    <a:pt x="291019" y="110864"/>
                    <a:pt x="289759" y="114644"/>
                    <a:pt x="289759" y="117164"/>
                  </a:cubicBezTo>
                  <a:lnTo>
                    <a:pt x="289759" y="118424"/>
                  </a:lnTo>
                  <a:lnTo>
                    <a:pt x="289759" y="118424"/>
                  </a:lnTo>
                  <a:cubicBezTo>
                    <a:pt x="288499" y="120943"/>
                    <a:pt x="288499" y="123463"/>
                    <a:pt x="287240" y="125982"/>
                  </a:cubicBezTo>
                  <a:cubicBezTo>
                    <a:pt x="287240" y="127242"/>
                    <a:pt x="287240" y="128502"/>
                    <a:pt x="287240" y="131022"/>
                  </a:cubicBezTo>
                  <a:lnTo>
                    <a:pt x="287240" y="133541"/>
                  </a:lnTo>
                  <a:lnTo>
                    <a:pt x="287240" y="136061"/>
                  </a:lnTo>
                  <a:cubicBezTo>
                    <a:pt x="287240" y="137321"/>
                    <a:pt x="287240" y="139840"/>
                    <a:pt x="287240" y="141100"/>
                  </a:cubicBezTo>
                  <a:lnTo>
                    <a:pt x="287240" y="141100"/>
                  </a:lnTo>
                  <a:lnTo>
                    <a:pt x="287240" y="141100"/>
                  </a:lnTo>
                  <a:lnTo>
                    <a:pt x="287240" y="143620"/>
                  </a:lnTo>
                  <a:cubicBezTo>
                    <a:pt x="287240" y="146140"/>
                    <a:pt x="287240" y="147399"/>
                    <a:pt x="287240" y="149919"/>
                  </a:cubicBezTo>
                  <a:lnTo>
                    <a:pt x="287240" y="152439"/>
                  </a:lnTo>
                  <a:cubicBezTo>
                    <a:pt x="287240" y="154958"/>
                    <a:pt x="287240" y="157478"/>
                    <a:pt x="287240" y="159998"/>
                  </a:cubicBezTo>
                  <a:cubicBezTo>
                    <a:pt x="288499" y="167557"/>
                    <a:pt x="288499" y="172596"/>
                    <a:pt x="291019" y="177635"/>
                  </a:cubicBezTo>
                  <a:lnTo>
                    <a:pt x="291019" y="178895"/>
                  </a:lnTo>
                  <a:cubicBezTo>
                    <a:pt x="292279" y="182674"/>
                    <a:pt x="292279" y="185194"/>
                    <a:pt x="294799" y="188974"/>
                  </a:cubicBezTo>
                  <a:cubicBezTo>
                    <a:pt x="296058" y="191493"/>
                    <a:pt x="297318" y="195273"/>
                    <a:pt x="298578" y="197792"/>
                  </a:cubicBezTo>
                  <a:cubicBezTo>
                    <a:pt x="298578" y="199052"/>
                    <a:pt x="299838" y="200312"/>
                    <a:pt x="301098" y="201572"/>
                  </a:cubicBezTo>
                  <a:cubicBezTo>
                    <a:pt x="301098" y="202832"/>
                    <a:pt x="302358" y="202832"/>
                    <a:pt x="302358" y="204092"/>
                  </a:cubicBezTo>
                  <a:lnTo>
                    <a:pt x="302358" y="205351"/>
                  </a:lnTo>
                  <a:cubicBezTo>
                    <a:pt x="304877" y="207871"/>
                    <a:pt x="306137" y="210391"/>
                    <a:pt x="308657" y="212910"/>
                  </a:cubicBezTo>
                  <a:lnTo>
                    <a:pt x="308657" y="212910"/>
                  </a:lnTo>
                  <a:cubicBezTo>
                    <a:pt x="309917" y="214170"/>
                    <a:pt x="309917" y="214170"/>
                    <a:pt x="311177" y="215430"/>
                  </a:cubicBezTo>
                  <a:cubicBezTo>
                    <a:pt x="312436" y="216690"/>
                    <a:pt x="313696" y="217949"/>
                    <a:pt x="314956" y="217949"/>
                  </a:cubicBezTo>
                  <a:lnTo>
                    <a:pt x="316216" y="217949"/>
                  </a:lnTo>
                  <a:cubicBezTo>
                    <a:pt x="317476" y="217949"/>
                    <a:pt x="318736" y="219209"/>
                    <a:pt x="318736" y="219209"/>
                  </a:cubicBezTo>
                  <a:cubicBezTo>
                    <a:pt x="321255" y="220469"/>
                    <a:pt x="323775" y="221729"/>
                    <a:pt x="326294" y="222989"/>
                  </a:cubicBezTo>
                  <a:lnTo>
                    <a:pt x="326294" y="222989"/>
                  </a:lnTo>
                  <a:cubicBezTo>
                    <a:pt x="328814" y="224249"/>
                    <a:pt x="332593" y="225508"/>
                    <a:pt x="335113" y="225508"/>
                  </a:cubicBezTo>
                  <a:cubicBezTo>
                    <a:pt x="335113" y="225508"/>
                    <a:pt x="335113" y="225508"/>
                    <a:pt x="335113" y="225508"/>
                  </a:cubicBezTo>
                  <a:lnTo>
                    <a:pt x="335113" y="225508"/>
                  </a:lnTo>
                  <a:lnTo>
                    <a:pt x="335113" y="225508"/>
                  </a:lnTo>
                  <a:cubicBezTo>
                    <a:pt x="335113" y="225508"/>
                    <a:pt x="335113" y="225508"/>
                    <a:pt x="335113" y="225508"/>
                  </a:cubicBezTo>
                  <a:cubicBezTo>
                    <a:pt x="335113" y="225508"/>
                    <a:pt x="335113" y="225508"/>
                    <a:pt x="335113" y="225508"/>
                  </a:cubicBezTo>
                  <a:cubicBezTo>
                    <a:pt x="335113" y="225508"/>
                    <a:pt x="335113" y="225508"/>
                    <a:pt x="335113" y="225508"/>
                  </a:cubicBezTo>
                  <a:lnTo>
                    <a:pt x="335113" y="225508"/>
                  </a:lnTo>
                  <a:lnTo>
                    <a:pt x="335113" y="225508"/>
                  </a:lnTo>
                  <a:lnTo>
                    <a:pt x="335113" y="225508"/>
                  </a:lnTo>
                  <a:cubicBezTo>
                    <a:pt x="335113" y="225508"/>
                    <a:pt x="333853" y="225508"/>
                    <a:pt x="333853" y="225508"/>
                  </a:cubicBezTo>
                  <a:lnTo>
                    <a:pt x="332593" y="225508"/>
                  </a:lnTo>
                  <a:cubicBezTo>
                    <a:pt x="331334" y="225508"/>
                    <a:pt x="330074" y="225508"/>
                    <a:pt x="328814" y="225508"/>
                  </a:cubicBezTo>
                  <a:cubicBezTo>
                    <a:pt x="327554" y="225508"/>
                    <a:pt x="325035" y="225508"/>
                    <a:pt x="323775" y="225508"/>
                  </a:cubicBezTo>
                  <a:cubicBezTo>
                    <a:pt x="317476" y="225508"/>
                    <a:pt x="311177" y="226768"/>
                    <a:pt x="303617" y="226768"/>
                  </a:cubicBezTo>
                  <a:cubicBezTo>
                    <a:pt x="294799" y="226768"/>
                    <a:pt x="284720" y="226768"/>
                    <a:pt x="275901" y="226768"/>
                  </a:cubicBezTo>
                  <a:cubicBezTo>
                    <a:pt x="273382" y="226768"/>
                    <a:pt x="270862" y="226768"/>
                    <a:pt x="268343" y="226768"/>
                  </a:cubicBezTo>
                  <a:lnTo>
                    <a:pt x="265823" y="226768"/>
                  </a:lnTo>
                  <a:lnTo>
                    <a:pt x="265823" y="226768"/>
                  </a:lnTo>
                  <a:cubicBezTo>
                    <a:pt x="263303" y="226768"/>
                    <a:pt x="262043" y="226768"/>
                    <a:pt x="259524" y="226768"/>
                  </a:cubicBezTo>
                  <a:cubicBezTo>
                    <a:pt x="257004" y="226768"/>
                    <a:pt x="253225" y="226768"/>
                    <a:pt x="250705" y="226768"/>
                  </a:cubicBezTo>
                  <a:cubicBezTo>
                    <a:pt x="249445" y="226768"/>
                    <a:pt x="248185" y="226768"/>
                    <a:pt x="245666" y="226768"/>
                  </a:cubicBezTo>
                  <a:lnTo>
                    <a:pt x="245666" y="226768"/>
                  </a:lnTo>
                  <a:lnTo>
                    <a:pt x="245666" y="226768"/>
                  </a:lnTo>
                  <a:cubicBezTo>
                    <a:pt x="241886" y="226768"/>
                    <a:pt x="236847" y="226768"/>
                    <a:pt x="233067" y="226768"/>
                  </a:cubicBezTo>
                  <a:cubicBezTo>
                    <a:pt x="230548" y="226768"/>
                    <a:pt x="229288" y="226768"/>
                    <a:pt x="226768" y="226768"/>
                  </a:cubicBezTo>
                  <a:lnTo>
                    <a:pt x="225508" y="226768"/>
                  </a:lnTo>
                  <a:cubicBezTo>
                    <a:pt x="222989" y="226768"/>
                    <a:pt x="217950" y="226768"/>
                    <a:pt x="214170" y="226768"/>
                  </a:cubicBezTo>
                  <a:lnTo>
                    <a:pt x="209131" y="226768"/>
                  </a:lnTo>
                  <a:lnTo>
                    <a:pt x="207871" y="226768"/>
                  </a:lnTo>
                  <a:lnTo>
                    <a:pt x="207871" y="226768"/>
                  </a:lnTo>
                  <a:lnTo>
                    <a:pt x="207871" y="226768"/>
                  </a:lnTo>
                  <a:cubicBezTo>
                    <a:pt x="204092" y="226768"/>
                    <a:pt x="200312" y="226768"/>
                    <a:pt x="196533" y="226768"/>
                  </a:cubicBezTo>
                  <a:cubicBezTo>
                    <a:pt x="194013" y="226768"/>
                    <a:pt x="191493" y="226768"/>
                    <a:pt x="188973" y="226768"/>
                  </a:cubicBezTo>
                  <a:cubicBezTo>
                    <a:pt x="185194" y="226768"/>
                    <a:pt x="182674" y="226768"/>
                    <a:pt x="178895" y="226768"/>
                  </a:cubicBezTo>
                  <a:cubicBezTo>
                    <a:pt x="173856" y="226768"/>
                    <a:pt x="167557" y="226768"/>
                    <a:pt x="161258" y="225508"/>
                  </a:cubicBezTo>
                  <a:cubicBezTo>
                    <a:pt x="161258" y="225508"/>
                    <a:pt x="159998" y="225508"/>
                    <a:pt x="159998" y="225508"/>
                  </a:cubicBezTo>
                  <a:cubicBezTo>
                    <a:pt x="157478" y="225508"/>
                    <a:pt x="153699" y="225508"/>
                    <a:pt x="151179" y="224249"/>
                  </a:cubicBezTo>
                  <a:lnTo>
                    <a:pt x="149919" y="224249"/>
                  </a:lnTo>
                  <a:lnTo>
                    <a:pt x="149919" y="224249"/>
                  </a:lnTo>
                  <a:cubicBezTo>
                    <a:pt x="147399" y="224249"/>
                    <a:pt x="144880" y="224249"/>
                    <a:pt x="143620" y="222989"/>
                  </a:cubicBezTo>
                  <a:cubicBezTo>
                    <a:pt x="142360" y="222989"/>
                    <a:pt x="142360" y="222989"/>
                    <a:pt x="141100" y="222989"/>
                  </a:cubicBezTo>
                  <a:cubicBezTo>
                    <a:pt x="138581" y="222989"/>
                    <a:pt x="136061" y="222989"/>
                    <a:pt x="133541" y="222989"/>
                  </a:cubicBezTo>
                  <a:cubicBezTo>
                    <a:pt x="131022" y="222989"/>
                    <a:pt x="128502" y="222989"/>
                    <a:pt x="127242" y="222989"/>
                  </a:cubicBezTo>
                  <a:lnTo>
                    <a:pt x="125982" y="222989"/>
                  </a:lnTo>
                  <a:lnTo>
                    <a:pt x="124722" y="222989"/>
                  </a:lnTo>
                  <a:cubicBezTo>
                    <a:pt x="123463" y="222989"/>
                    <a:pt x="122203" y="222989"/>
                    <a:pt x="120943" y="222989"/>
                  </a:cubicBezTo>
                  <a:lnTo>
                    <a:pt x="120943" y="222989"/>
                  </a:lnTo>
                  <a:cubicBezTo>
                    <a:pt x="119683" y="222989"/>
                    <a:pt x="117164" y="222989"/>
                    <a:pt x="115904" y="222989"/>
                  </a:cubicBezTo>
                  <a:cubicBezTo>
                    <a:pt x="113384" y="222989"/>
                    <a:pt x="112124" y="222989"/>
                    <a:pt x="109605" y="222989"/>
                  </a:cubicBezTo>
                  <a:cubicBezTo>
                    <a:pt x="108345" y="222989"/>
                    <a:pt x="108345" y="222989"/>
                    <a:pt x="107085" y="222989"/>
                  </a:cubicBezTo>
                  <a:lnTo>
                    <a:pt x="107085" y="222989"/>
                  </a:lnTo>
                  <a:cubicBezTo>
                    <a:pt x="107085" y="222989"/>
                    <a:pt x="105825" y="222989"/>
                    <a:pt x="105825" y="222989"/>
                  </a:cubicBezTo>
                  <a:cubicBezTo>
                    <a:pt x="103306" y="222989"/>
                    <a:pt x="99526" y="222989"/>
                    <a:pt x="95747" y="222989"/>
                  </a:cubicBezTo>
                  <a:cubicBezTo>
                    <a:pt x="93227" y="222989"/>
                    <a:pt x="89448" y="222989"/>
                    <a:pt x="86928" y="222989"/>
                  </a:cubicBezTo>
                  <a:lnTo>
                    <a:pt x="86928" y="222989"/>
                  </a:lnTo>
                  <a:lnTo>
                    <a:pt x="85668" y="222989"/>
                  </a:lnTo>
                  <a:cubicBezTo>
                    <a:pt x="83148" y="222989"/>
                    <a:pt x="80629" y="222989"/>
                    <a:pt x="78109" y="222989"/>
                  </a:cubicBezTo>
                  <a:lnTo>
                    <a:pt x="78109" y="222989"/>
                  </a:lnTo>
                  <a:lnTo>
                    <a:pt x="78109" y="222989"/>
                  </a:lnTo>
                  <a:cubicBezTo>
                    <a:pt x="69290" y="224249"/>
                    <a:pt x="59212" y="224249"/>
                    <a:pt x="49133" y="224249"/>
                  </a:cubicBezTo>
                  <a:cubicBezTo>
                    <a:pt x="42834" y="224249"/>
                    <a:pt x="36535" y="224249"/>
                    <a:pt x="31496" y="224249"/>
                  </a:cubicBezTo>
                  <a:cubicBezTo>
                    <a:pt x="31496" y="224249"/>
                    <a:pt x="30236" y="224249"/>
                    <a:pt x="30236" y="224249"/>
                  </a:cubicBezTo>
                  <a:lnTo>
                    <a:pt x="28976" y="224249"/>
                  </a:lnTo>
                  <a:lnTo>
                    <a:pt x="28976" y="224249"/>
                  </a:lnTo>
                  <a:lnTo>
                    <a:pt x="27716" y="224249"/>
                  </a:lnTo>
                  <a:cubicBezTo>
                    <a:pt x="26456" y="224249"/>
                    <a:pt x="23937" y="224249"/>
                    <a:pt x="22677" y="224249"/>
                  </a:cubicBezTo>
                  <a:cubicBezTo>
                    <a:pt x="21417" y="224249"/>
                    <a:pt x="20157" y="224249"/>
                    <a:pt x="18897" y="224249"/>
                  </a:cubicBezTo>
                  <a:cubicBezTo>
                    <a:pt x="17637" y="224249"/>
                    <a:pt x="16378" y="224249"/>
                    <a:pt x="15118" y="224249"/>
                  </a:cubicBezTo>
                  <a:lnTo>
                    <a:pt x="15118" y="224249"/>
                  </a:lnTo>
                  <a:cubicBezTo>
                    <a:pt x="13858" y="224249"/>
                    <a:pt x="12598" y="224249"/>
                    <a:pt x="12598" y="222989"/>
                  </a:cubicBezTo>
                  <a:cubicBezTo>
                    <a:pt x="11338" y="222989"/>
                    <a:pt x="11338" y="221729"/>
                    <a:pt x="10079" y="221729"/>
                  </a:cubicBezTo>
                  <a:cubicBezTo>
                    <a:pt x="8819" y="221729"/>
                    <a:pt x="8819" y="220469"/>
                    <a:pt x="7559" y="219209"/>
                  </a:cubicBezTo>
                  <a:cubicBezTo>
                    <a:pt x="7559" y="229288"/>
                    <a:pt x="7559" y="238107"/>
                    <a:pt x="7559" y="248185"/>
                  </a:cubicBezTo>
                  <a:cubicBezTo>
                    <a:pt x="7559" y="257004"/>
                    <a:pt x="7559" y="267083"/>
                    <a:pt x="7559" y="275901"/>
                  </a:cubicBezTo>
                  <a:cubicBezTo>
                    <a:pt x="7559" y="279681"/>
                    <a:pt x="7559" y="284720"/>
                    <a:pt x="7559" y="288500"/>
                  </a:cubicBezTo>
                  <a:cubicBezTo>
                    <a:pt x="7559" y="299838"/>
                    <a:pt x="7559" y="313696"/>
                    <a:pt x="7559" y="328814"/>
                  </a:cubicBezTo>
                  <a:cubicBezTo>
                    <a:pt x="7559" y="341412"/>
                    <a:pt x="7559" y="355270"/>
                    <a:pt x="7559" y="369128"/>
                  </a:cubicBezTo>
                  <a:cubicBezTo>
                    <a:pt x="7559" y="374168"/>
                    <a:pt x="7559" y="379207"/>
                    <a:pt x="7559" y="385506"/>
                  </a:cubicBezTo>
                  <a:cubicBezTo>
                    <a:pt x="7559" y="394325"/>
                    <a:pt x="7559" y="403143"/>
                    <a:pt x="7559" y="411962"/>
                  </a:cubicBezTo>
                  <a:lnTo>
                    <a:pt x="7559" y="414482"/>
                  </a:lnTo>
                  <a:cubicBezTo>
                    <a:pt x="7559" y="420781"/>
                    <a:pt x="7559" y="427080"/>
                    <a:pt x="7559" y="432119"/>
                  </a:cubicBezTo>
                  <a:cubicBezTo>
                    <a:pt x="7559" y="439678"/>
                    <a:pt x="7559" y="447237"/>
                    <a:pt x="6299" y="454796"/>
                  </a:cubicBezTo>
                  <a:lnTo>
                    <a:pt x="6299" y="459836"/>
                  </a:lnTo>
                  <a:cubicBezTo>
                    <a:pt x="6299" y="464875"/>
                    <a:pt x="6299" y="468654"/>
                    <a:pt x="6299" y="473694"/>
                  </a:cubicBezTo>
                  <a:cubicBezTo>
                    <a:pt x="6299" y="476213"/>
                    <a:pt x="6299" y="478733"/>
                    <a:pt x="6299" y="482512"/>
                  </a:cubicBezTo>
                  <a:cubicBezTo>
                    <a:pt x="6299" y="486292"/>
                    <a:pt x="6299" y="490071"/>
                    <a:pt x="6299" y="495111"/>
                  </a:cubicBezTo>
                  <a:cubicBezTo>
                    <a:pt x="5039" y="511488"/>
                    <a:pt x="5039" y="524087"/>
                    <a:pt x="5039" y="536685"/>
                  </a:cubicBezTo>
                  <a:cubicBezTo>
                    <a:pt x="5039" y="548023"/>
                    <a:pt x="5039" y="558102"/>
                    <a:pt x="3780" y="569440"/>
                  </a:cubicBezTo>
                  <a:lnTo>
                    <a:pt x="3780" y="578259"/>
                  </a:lnTo>
                  <a:cubicBezTo>
                    <a:pt x="3780" y="585818"/>
                    <a:pt x="3780" y="593377"/>
                    <a:pt x="2520" y="599676"/>
                  </a:cubicBezTo>
                  <a:cubicBezTo>
                    <a:pt x="2520" y="605975"/>
                    <a:pt x="2520" y="613534"/>
                    <a:pt x="1260" y="621093"/>
                  </a:cubicBezTo>
                  <a:cubicBezTo>
                    <a:pt x="1260" y="626132"/>
                    <a:pt x="1260" y="632431"/>
                    <a:pt x="1260" y="637471"/>
                  </a:cubicBezTo>
                  <a:cubicBezTo>
                    <a:pt x="1260" y="645030"/>
                    <a:pt x="0" y="652589"/>
                    <a:pt x="0" y="660147"/>
                  </a:cubicBezTo>
                  <a:cubicBezTo>
                    <a:pt x="0" y="674005"/>
                    <a:pt x="0" y="687864"/>
                    <a:pt x="0" y="702982"/>
                  </a:cubicBezTo>
                  <a:cubicBezTo>
                    <a:pt x="0" y="714320"/>
                    <a:pt x="0" y="724398"/>
                    <a:pt x="0" y="735737"/>
                  </a:cubicBezTo>
                  <a:lnTo>
                    <a:pt x="0" y="745816"/>
                  </a:lnTo>
                  <a:cubicBezTo>
                    <a:pt x="0" y="768492"/>
                    <a:pt x="1260" y="793689"/>
                    <a:pt x="1260" y="825184"/>
                  </a:cubicBezTo>
                  <a:lnTo>
                    <a:pt x="1260" y="832743"/>
                  </a:lnTo>
                  <a:cubicBezTo>
                    <a:pt x="1260" y="837783"/>
                    <a:pt x="1260" y="841562"/>
                    <a:pt x="1260" y="846601"/>
                  </a:cubicBezTo>
                  <a:lnTo>
                    <a:pt x="1260" y="850381"/>
                  </a:lnTo>
                  <a:cubicBezTo>
                    <a:pt x="1260" y="855420"/>
                    <a:pt x="1260" y="860460"/>
                    <a:pt x="1260" y="865499"/>
                  </a:cubicBezTo>
                  <a:lnTo>
                    <a:pt x="1260" y="870538"/>
                  </a:lnTo>
                  <a:cubicBezTo>
                    <a:pt x="1260" y="883136"/>
                    <a:pt x="1260" y="895734"/>
                    <a:pt x="0" y="908333"/>
                  </a:cubicBezTo>
                  <a:cubicBezTo>
                    <a:pt x="0" y="919671"/>
                    <a:pt x="0" y="931009"/>
                    <a:pt x="0" y="942348"/>
                  </a:cubicBezTo>
                  <a:lnTo>
                    <a:pt x="0" y="947387"/>
                  </a:lnTo>
                  <a:cubicBezTo>
                    <a:pt x="0" y="959986"/>
                    <a:pt x="0" y="973844"/>
                    <a:pt x="0" y="987701"/>
                  </a:cubicBezTo>
                  <a:cubicBezTo>
                    <a:pt x="0" y="999040"/>
                    <a:pt x="0" y="1010378"/>
                    <a:pt x="1260" y="1021717"/>
                  </a:cubicBezTo>
                  <a:cubicBezTo>
                    <a:pt x="1260" y="1036835"/>
                    <a:pt x="1260" y="1053212"/>
                    <a:pt x="2520" y="1068330"/>
                  </a:cubicBezTo>
                  <a:cubicBezTo>
                    <a:pt x="2520" y="1098566"/>
                    <a:pt x="3780" y="1128802"/>
                    <a:pt x="3780" y="1159037"/>
                  </a:cubicBezTo>
                  <a:cubicBezTo>
                    <a:pt x="3780" y="1181715"/>
                    <a:pt x="3780" y="1204391"/>
                    <a:pt x="5039" y="1227068"/>
                  </a:cubicBezTo>
                  <a:cubicBezTo>
                    <a:pt x="5039" y="1233367"/>
                    <a:pt x="5039" y="1239666"/>
                    <a:pt x="6299" y="1245965"/>
                  </a:cubicBezTo>
                  <a:cubicBezTo>
                    <a:pt x="6299" y="1249745"/>
                    <a:pt x="7559" y="1253524"/>
                    <a:pt x="7559" y="1256044"/>
                  </a:cubicBezTo>
                  <a:cubicBezTo>
                    <a:pt x="7559" y="1258563"/>
                    <a:pt x="8819" y="1262343"/>
                    <a:pt x="8819" y="1264863"/>
                  </a:cubicBezTo>
                  <a:cubicBezTo>
                    <a:pt x="8819" y="1269902"/>
                    <a:pt x="10079" y="1276201"/>
                    <a:pt x="11338" y="1283760"/>
                  </a:cubicBezTo>
                  <a:lnTo>
                    <a:pt x="11338" y="1283760"/>
                  </a:lnTo>
                  <a:cubicBezTo>
                    <a:pt x="11338" y="1285020"/>
                    <a:pt x="11338" y="1286280"/>
                    <a:pt x="11338" y="1287540"/>
                  </a:cubicBezTo>
                  <a:cubicBezTo>
                    <a:pt x="11338" y="1288800"/>
                    <a:pt x="11338" y="1290059"/>
                    <a:pt x="12598" y="1291319"/>
                  </a:cubicBezTo>
                  <a:lnTo>
                    <a:pt x="12598" y="1292579"/>
                  </a:lnTo>
                  <a:lnTo>
                    <a:pt x="12598" y="1293839"/>
                  </a:lnTo>
                  <a:cubicBezTo>
                    <a:pt x="13858" y="1295099"/>
                    <a:pt x="13858" y="1296358"/>
                    <a:pt x="15118" y="1297618"/>
                  </a:cubicBezTo>
                  <a:lnTo>
                    <a:pt x="15118" y="1298878"/>
                  </a:lnTo>
                  <a:lnTo>
                    <a:pt x="15118" y="1300138"/>
                  </a:lnTo>
                  <a:cubicBezTo>
                    <a:pt x="16378" y="1301398"/>
                    <a:pt x="16378" y="1301398"/>
                    <a:pt x="17637" y="1302657"/>
                  </a:cubicBezTo>
                  <a:lnTo>
                    <a:pt x="18897" y="1303917"/>
                  </a:lnTo>
                  <a:lnTo>
                    <a:pt x="20157" y="1303917"/>
                  </a:lnTo>
                  <a:lnTo>
                    <a:pt x="22677" y="1305177"/>
                  </a:lnTo>
                  <a:lnTo>
                    <a:pt x="22677" y="1305177"/>
                  </a:lnTo>
                  <a:lnTo>
                    <a:pt x="23937" y="1305177"/>
                  </a:lnTo>
                  <a:cubicBezTo>
                    <a:pt x="25196" y="1305177"/>
                    <a:pt x="26456" y="1306437"/>
                    <a:pt x="27716" y="1306437"/>
                  </a:cubicBezTo>
                  <a:lnTo>
                    <a:pt x="28976" y="1306437"/>
                  </a:lnTo>
                  <a:cubicBezTo>
                    <a:pt x="30236" y="1306437"/>
                    <a:pt x="31496" y="1306437"/>
                    <a:pt x="32755" y="1306437"/>
                  </a:cubicBezTo>
                  <a:cubicBezTo>
                    <a:pt x="36535" y="1306437"/>
                    <a:pt x="39055" y="1307697"/>
                    <a:pt x="42834" y="1307697"/>
                  </a:cubicBezTo>
                  <a:cubicBezTo>
                    <a:pt x="45354" y="1307697"/>
                    <a:pt x="46614" y="1307697"/>
                    <a:pt x="49133" y="1307697"/>
                  </a:cubicBezTo>
                  <a:lnTo>
                    <a:pt x="51653" y="1307697"/>
                  </a:lnTo>
                  <a:cubicBezTo>
                    <a:pt x="57952" y="1307697"/>
                    <a:pt x="62991" y="1307697"/>
                    <a:pt x="68030" y="1307697"/>
                  </a:cubicBezTo>
                  <a:cubicBezTo>
                    <a:pt x="73070" y="1307697"/>
                    <a:pt x="78109" y="1307697"/>
                    <a:pt x="84408" y="1306437"/>
                  </a:cubicBezTo>
                  <a:cubicBezTo>
                    <a:pt x="85668" y="1306437"/>
                    <a:pt x="86928" y="1306437"/>
                    <a:pt x="86928" y="1306437"/>
                  </a:cubicBezTo>
                  <a:lnTo>
                    <a:pt x="86928" y="1306437"/>
                  </a:lnTo>
                  <a:cubicBezTo>
                    <a:pt x="88188" y="1306437"/>
                    <a:pt x="89448" y="1306437"/>
                    <a:pt x="90707" y="1305177"/>
                  </a:cubicBezTo>
                  <a:cubicBezTo>
                    <a:pt x="91967" y="1305177"/>
                    <a:pt x="93227" y="1305177"/>
                    <a:pt x="93227" y="1303917"/>
                  </a:cubicBezTo>
                  <a:lnTo>
                    <a:pt x="94487" y="1302657"/>
                  </a:lnTo>
                  <a:cubicBezTo>
                    <a:pt x="95747" y="1301398"/>
                    <a:pt x="97007" y="1300138"/>
                    <a:pt x="98266" y="1298878"/>
                  </a:cubicBezTo>
                  <a:cubicBezTo>
                    <a:pt x="99526" y="1297618"/>
                    <a:pt x="99526" y="1296358"/>
                    <a:pt x="100786" y="1295099"/>
                  </a:cubicBezTo>
                  <a:cubicBezTo>
                    <a:pt x="100786" y="1293839"/>
                    <a:pt x="102046" y="1291319"/>
                    <a:pt x="102046" y="1290059"/>
                  </a:cubicBezTo>
                  <a:cubicBezTo>
                    <a:pt x="102046" y="1290059"/>
                    <a:pt x="102046" y="1288800"/>
                    <a:pt x="102046" y="1288800"/>
                  </a:cubicBezTo>
                  <a:cubicBezTo>
                    <a:pt x="102046" y="1287540"/>
                    <a:pt x="103306" y="1286280"/>
                    <a:pt x="103306" y="1283760"/>
                  </a:cubicBezTo>
                  <a:cubicBezTo>
                    <a:pt x="104566" y="1279981"/>
                    <a:pt x="104566" y="1276201"/>
                    <a:pt x="104566" y="1272422"/>
                  </a:cubicBezTo>
                  <a:lnTo>
                    <a:pt x="104566" y="1269902"/>
                  </a:lnTo>
                  <a:cubicBezTo>
                    <a:pt x="104566" y="1267382"/>
                    <a:pt x="105825" y="1263603"/>
                    <a:pt x="105825" y="1261083"/>
                  </a:cubicBezTo>
                  <a:cubicBezTo>
                    <a:pt x="107085" y="1253524"/>
                    <a:pt x="107085" y="1244706"/>
                    <a:pt x="108345" y="1238407"/>
                  </a:cubicBezTo>
                  <a:cubicBezTo>
                    <a:pt x="108345" y="1235887"/>
                    <a:pt x="108345" y="1233367"/>
                    <a:pt x="108345" y="1230848"/>
                  </a:cubicBezTo>
                  <a:cubicBezTo>
                    <a:pt x="108345" y="1227068"/>
                    <a:pt x="109605" y="1223289"/>
                    <a:pt x="109605" y="1219509"/>
                  </a:cubicBezTo>
                  <a:cubicBezTo>
                    <a:pt x="109605" y="1216989"/>
                    <a:pt x="109605" y="1214470"/>
                    <a:pt x="109605" y="1211950"/>
                  </a:cubicBezTo>
                  <a:cubicBezTo>
                    <a:pt x="109605" y="1208171"/>
                    <a:pt x="109605" y="1204391"/>
                    <a:pt x="110865" y="1200612"/>
                  </a:cubicBezTo>
                  <a:lnTo>
                    <a:pt x="110865" y="1198092"/>
                  </a:lnTo>
                  <a:cubicBezTo>
                    <a:pt x="110865" y="1191793"/>
                    <a:pt x="112124" y="1186754"/>
                    <a:pt x="112124" y="1180455"/>
                  </a:cubicBezTo>
                  <a:cubicBezTo>
                    <a:pt x="112124" y="1176675"/>
                    <a:pt x="112124" y="1174156"/>
                    <a:pt x="113384" y="1170376"/>
                  </a:cubicBezTo>
                  <a:cubicBezTo>
                    <a:pt x="113384" y="1167856"/>
                    <a:pt x="113384" y="1164077"/>
                    <a:pt x="114644" y="1161557"/>
                  </a:cubicBezTo>
                  <a:cubicBezTo>
                    <a:pt x="114644" y="1157778"/>
                    <a:pt x="115904" y="1152738"/>
                    <a:pt x="115904" y="1148959"/>
                  </a:cubicBezTo>
                  <a:cubicBezTo>
                    <a:pt x="115904" y="1140140"/>
                    <a:pt x="117164" y="1131322"/>
                    <a:pt x="118423" y="1123763"/>
                  </a:cubicBezTo>
                  <a:cubicBezTo>
                    <a:pt x="119683" y="1117463"/>
                    <a:pt x="119683" y="1112424"/>
                    <a:pt x="120943" y="1107385"/>
                  </a:cubicBezTo>
                  <a:cubicBezTo>
                    <a:pt x="120943" y="1103605"/>
                    <a:pt x="122203" y="1098566"/>
                    <a:pt x="122203" y="1094786"/>
                  </a:cubicBezTo>
                  <a:lnTo>
                    <a:pt x="122203" y="1091007"/>
                  </a:lnTo>
                  <a:cubicBezTo>
                    <a:pt x="122203" y="1087228"/>
                    <a:pt x="123463" y="1083448"/>
                    <a:pt x="123463" y="1079669"/>
                  </a:cubicBezTo>
                  <a:cubicBezTo>
                    <a:pt x="123463" y="1077149"/>
                    <a:pt x="124722" y="1074630"/>
                    <a:pt x="124722" y="1072110"/>
                  </a:cubicBezTo>
                  <a:cubicBezTo>
                    <a:pt x="124722" y="1069590"/>
                    <a:pt x="124722" y="1067071"/>
                    <a:pt x="125982" y="1064551"/>
                  </a:cubicBezTo>
                  <a:cubicBezTo>
                    <a:pt x="127242" y="1058252"/>
                    <a:pt x="127242" y="1050693"/>
                    <a:pt x="128502" y="1044393"/>
                  </a:cubicBezTo>
                  <a:lnTo>
                    <a:pt x="129762" y="1035575"/>
                  </a:lnTo>
                  <a:lnTo>
                    <a:pt x="129762" y="1033055"/>
                  </a:lnTo>
                  <a:cubicBezTo>
                    <a:pt x="131022" y="1024237"/>
                    <a:pt x="132281" y="1014158"/>
                    <a:pt x="132281" y="1004079"/>
                  </a:cubicBezTo>
                  <a:cubicBezTo>
                    <a:pt x="132281" y="1000300"/>
                    <a:pt x="133541" y="996520"/>
                    <a:pt x="133541" y="992741"/>
                  </a:cubicBezTo>
                  <a:cubicBezTo>
                    <a:pt x="133541" y="990221"/>
                    <a:pt x="133541" y="987701"/>
                    <a:pt x="133541" y="985182"/>
                  </a:cubicBezTo>
                  <a:cubicBezTo>
                    <a:pt x="133541" y="981402"/>
                    <a:pt x="133541" y="977623"/>
                    <a:pt x="134801" y="973844"/>
                  </a:cubicBezTo>
                  <a:cubicBezTo>
                    <a:pt x="134801" y="971324"/>
                    <a:pt x="134801" y="968804"/>
                    <a:pt x="136061" y="966285"/>
                  </a:cubicBezTo>
                  <a:cubicBezTo>
                    <a:pt x="136061" y="963765"/>
                    <a:pt x="136061" y="959986"/>
                    <a:pt x="137321" y="957466"/>
                  </a:cubicBezTo>
                  <a:cubicBezTo>
                    <a:pt x="137321" y="953686"/>
                    <a:pt x="138581" y="949907"/>
                    <a:pt x="138581" y="944868"/>
                  </a:cubicBezTo>
                  <a:cubicBezTo>
                    <a:pt x="138581" y="942348"/>
                    <a:pt x="138581" y="939828"/>
                    <a:pt x="138581" y="938568"/>
                  </a:cubicBezTo>
                  <a:cubicBezTo>
                    <a:pt x="138581" y="934789"/>
                    <a:pt x="139840" y="931009"/>
                    <a:pt x="139840" y="927230"/>
                  </a:cubicBezTo>
                  <a:cubicBezTo>
                    <a:pt x="139840" y="923451"/>
                    <a:pt x="139840" y="918411"/>
                    <a:pt x="141100" y="914632"/>
                  </a:cubicBezTo>
                  <a:cubicBezTo>
                    <a:pt x="141100" y="912112"/>
                    <a:pt x="141100" y="909593"/>
                    <a:pt x="141100" y="907073"/>
                  </a:cubicBezTo>
                  <a:cubicBezTo>
                    <a:pt x="141100" y="900774"/>
                    <a:pt x="142360" y="894475"/>
                    <a:pt x="142360" y="888175"/>
                  </a:cubicBezTo>
                  <a:cubicBezTo>
                    <a:pt x="142360" y="883136"/>
                    <a:pt x="143620" y="876837"/>
                    <a:pt x="143620" y="871798"/>
                  </a:cubicBezTo>
                  <a:cubicBezTo>
                    <a:pt x="144880" y="864239"/>
                    <a:pt x="144880" y="856680"/>
                    <a:pt x="146140" y="849121"/>
                  </a:cubicBezTo>
                  <a:cubicBezTo>
                    <a:pt x="147399" y="835263"/>
                    <a:pt x="148659" y="821405"/>
                    <a:pt x="149919" y="808807"/>
                  </a:cubicBezTo>
                  <a:cubicBezTo>
                    <a:pt x="149919" y="805027"/>
                    <a:pt x="151179" y="799988"/>
                    <a:pt x="151179" y="796209"/>
                  </a:cubicBezTo>
                  <a:cubicBezTo>
                    <a:pt x="152439" y="787390"/>
                    <a:pt x="152439" y="778571"/>
                    <a:pt x="153699" y="769752"/>
                  </a:cubicBezTo>
                  <a:cubicBezTo>
                    <a:pt x="153699" y="767232"/>
                    <a:pt x="153699" y="763453"/>
                    <a:pt x="153699" y="760933"/>
                  </a:cubicBezTo>
                  <a:cubicBezTo>
                    <a:pt x="153699" y="757154"/>
                    <a:pt x="153699" y="754634"/>
                    <a:pt x="154958" y="750855"/>
                  </a:cubicBezTo>
                  <a:cubicBezTo>
                    <a:pt x="154958" y="744556"/>
                    <a:pt x="156218" y="738257"/>
                    <a:pt x="156218" y="730698"/>
                  </a:cubicBezTo>
                  <a:cubicBezTo>
                    <a:pt x="156218" y="723139"/>
                    <a:pt x="157478" y="714320"/>
                    <a:pt x="158738" y="706761"/>
                  </a:cubicBezTo>
                  <a:cubicBezTo>
                    <a:pt x="158738" y="701722"/>
                    <a:pt x="159998" y="695423"/>
                    <a:pt x="159998" y="690383"/>
                  </a:cubicBezTo>
                  <a:cubicBezTo>
                    <a:pt x="159998" y="684084"/>
                    <a:pt x="161258" y="677785"/>
                    <a:pt x="161258" y="672746"/>
                  </a:cubicBezTo>
                  <a:cubicBezTo>
                    <a:pt x="161258" y="666446"/>
                    <a:pt x="162517" y="658888"/>
                    <a:pt x="162517" y="652589"/>
                  </a:cubicBezTo>
                  <a:cubicBezTo>
                    <a:pt x="162517" y="645030"/>
                    <a:pt x="163777" y="638731"/>
                    <a:pt x="163777" y="631172"/>
                  </a:cubicBezTo>
                  <a:cubicBezTo>
                    <a:pt x="163777" y="624872"/>
                    <a:pt x="165037" y="618573"/>
                    <a:pt x="165037" y="613534"/>
                  </a:cubicBezTo>
                  <a:cubicBezTo>
                    <a:pt x="165037" y="607235"/>
                    <a:pt x="166297" y="600936"/>
                    <a:pt x="166297" y="594637"/>
                  </a:cubicBezTo>
                  <a:cubicBezTo>
                    <a:pt x="167557" y="587078"/>
                    <a:pt x="167557" y="580779"/>
                    <a:pt x="167557" y="573220"/>
                  </a:cubicBezTo>
                  <a:cubicBezTo>
                    <a:pt x="168816" y="560621"/>
                    <a:pt x="170076" y="548023"/>
                    <a:pt x="171336" y="534165"/>
                  </a:cubicBezTo>
                  <a:cubicBezTo>
                    <a:pt x="171336" y="529126"/>
                    <a:pt x="172596" y="522827"/>
                    <a:pt x="172596" y="517787"/>
                  </a:cubicBezTo>
                  <a:cubicBezTo>
                    <a:pt x="172596" y="517787"/>
                    <a:pt x="172596" y="517787"/>
                    <a:pt x="172596" y="517787"/>
                  </a:cubicBezTo>
                  <a:cubicBezTo>
                    <a:pt x="173856" y="505189"/>
                    <a:pt x="175115" y="492591"/>
                    <a:pt x="176375" y="479993"/>
                  </a:cubicBezTo>
                  <a:lnTo>
                    <a:pt x="176375" y="479993"/>
                  </a:lnTo>
                  <a:cubicBezTo>
                    <a:pt x="176375" y="478733"/>
                    <a:pt x="176375" y="477473"/>
                    <a:pt x="176375" y="477473"/>
                  </a:cubicBezTo>
                  <a:lnTo>
                    <a:pt x="176375" y="471174"/>
                  </a:lnTo>
                  <a:cubicBezTo>
                    <a:pt x="176375" y="469914"/>
                    <a:pt x="176375" y="468654"/>
                    <a:pt x="176375" y="467395"/>
                  </a:cubicBezTo>
                  <a:lnTo>
                    <a:pt x="176375" y="471174"/>
                  </a:lnTo>
                  <a:cubicBezTo>
                    <a:pt x="176375" y="474954"/>
                    <a:pt x="176375" y="477473"/>
                    <a:pt x="177635" y="481253"/>
                  </a:cubicBezTo>
                  <a:cubicBezTo>
                    <a:pt x="178895" y="488811"/>
                    <a:pt x="178895" y="496371"/>
                    <a:pt x="180155" y="503929"/>
                  </a:cubicBezTo>
                  <a:cubicBezTo>
                    <a:pt x="180155" y="510228"/>
                    <a:pt x="181414" y="516528"/>
                    <a:pt x="181414" y="522827"/>
                  </a:cubicBezTo>
                  <a:lnTo>
                    <a:pt x="181414" y="525346"/>
                  </a:lnTo>
                  <a:lnTo>
                    <a:pt x="181414" y="529126"/>
                  </a:lnTo>
                  <a:cubicBezTo>
                    <a:pt x="181414" y="534165"/>
                    <a:pt x="182674" y="540464"/>
                    <a:pt x="182674" y="545504"/>
                  </a:cubicBezTo>
                  <a:cubicBezTo>
                    <a:pt x="182674" y="553063"/>
                    <a:pt x="183934" y="560621"/>
                    <a:pt x="183934" y="568180"/>
                  </a:cubicBezTo>
                  <a:cubicBezTo>
                    <a:pt x="183934" y="573220"/>
                    <a:pt x="185194" y="578259"/>
                    <a:pt x="185194" y="582039"/>
                  </a:cubicBezTo>
                  <a:cubicBezTo>
                    <a:pt x="185194" y="584558"/>
                    <a:pt x="185194" y="585818"/>
                    <a:pt x="185194" y="588338"/>
                  </a:cubicBezTo>
                  <a:cubicBezTo>
                    <a:pt x="185194" y="592117"/>
                    <a:pt x="185194" y="595896"/>
                    <a:pt x="186454" y="599676"/>
                  </a:cubicBezTo>
                  <a:cubicBezTo>
                    <a:pt x="186454" y="602196"/>
                    <a:pt x="186454" y="604715"/>
                    <a:pt x="186454" y="608495"/>
                  </a:cubicBezTo>
                  <a:cubicBezTo>
                    <a:pt x="186454" y="614794"/>
                    <a:pt x="187714" y="619833"/>
                    <a:pt x="187714" y="628652"/>
                  </a:cubicBezTo>
                  <a:lnTo>
                    <a:pt x="187714" y="629912"/>
                  </a:lnTo>
                  <a:cubicBezTo>
                    <a:pt x="187714" y="636211"/>
                    <a:pt x="188973" y="642510"/>
                    <a:pt x="188973" y="648809"/>
                  </a:cubicBezTo>
                  <a:lnTo>
                    <a:pt x="188973" y="653848"/>
                  </a:lnTo>
                  <a:cubicBezTo>
                    <a:pt x="188973" y="658888"/>
                    <a:pt x="190233" y="663927"/>
                    <a:pt x="190233" y="668966"/>
                  </a:cubicBezTo>
                  <a:cubicBezTo>
                    <a:pt x="191493" y="677785"/>
                    <a:pt x="191493" y="687864"/>
                    <a:pt x="192753" y="696683"/>
                  </a:cubicBezTo>
                  <a:cubicBezTo>
                    <a:pt x="192753" y="700462"/>
                    <a:pt x="194013" y="705501"/>
                    <a:pt x="194013" y="710540"/>
                  </a:cubicBezTo>
                  <a:cubicBezTo>
                    <a:pt x="194013" y="714320"/>
                    <a:pt x="194013" y="716839"/>
                    <a:pt x="195273" y="720619"/>
                  </a:cubicBezTo>
                  <a:cubicBezTo>
                    <a:pt x="195273" y="724398"/>
                    <a:pt x="195273" y="726918"/>
                    <a:pt x="196533" y="730698"/>
                  </a:cubicBezTo>
                  <a:lnTo>
                    <a:pt x="196533" y="731957"/>
                  </a:lnTo>
                  <a:cubicBezTo>
                    <a:pt x="196533" y="738257"/>
                    <a:pt x="197792" y="744556"/>
                    <a:pt x="197792" y="750855"/>
                  </a:cubicBezTo>
                  <a:cubicBezTo>
                    <a:pt x="197792" y="753375"/>
                    <a:pt x="197792" y="757154"/>
                    <a:pt x="199052" y="759674"/>
                  </a:cubicBezTo>
                  <a:cubicBezTo>
                    <a:pt x="199052" y="763453"/>
                    <a:pt x="200312" y="768492"/>
                    <a:pt x="200312" y="772272"/>
                  </a:cubicBezTo>
                  <a:cubicBezTo>
                    <a:pt x="200312" y="776051"/>
                    <a:pt x="201572" y="779831"/>
                    <a:pt x="201572" y="783610"/>
                  </a:cubicBezTo>
                  <a:cubicBezTo>
                    <a:pt x="201572" y="787390"/>
                    <a:pt x="202832" y="789909"/>
                    <a:pt x="202832" y="793689"/>
                  </a:cubicBezTo>
                  <a:cubicBezTo>
                    <a:pt x="202832" y="797468"/>
                    <a:pt x="204092" y="801248"/>
                    <a:pt x="204092" y="805027"/>
                  </a:cubicBezTo>
                  <a:cubicBezTo>
                    <a:pt x="204092" y="807547"/>
                    <a:pt x="204092" y="810067"/>
                    <a:pt x="205351" y="813846"/>
                  </a:cubicBezTo>
                  <a:cubicBezTo>
                    <a:pt x="206611" y="820145"/>
                    <a:pt x="206611" y="827704"/>
                    <a:pt x="207871" y="834003"/>
                  </a:cubicBezTo>
                  <a:lnTo>
                    <a:pt x="207871" y="834003"/>
                  </a:lnTo>
                  <a:cubicBezTo>
                    <a:pt x="207871" y="837783"/>
                    <a:pt x="209131" y="840302"/>
                    <a:pt x="209131" y="844082"/>
                  </a:cubicBezTo>
                  <a:cubicBezTo>
                    <a:pt x="209131" y="847861"/>
                    <a:pt x="210391" y="850381"/>
                    <a:pt x="210391" y="854160"/>
                  </a:cubicBezTo>
                  <a:lnTo>
                    <a:pt x="210391" y="854160"/>
                  </a:lnTo>
                  <a:cubicBezTo>
                    <a:pt x="211651" y="861719"/>
                    <a:pt x="211651" y="869278"/>
                    <a:pt x="212910" y="875577"/>
                  </a:cubicBezTo>
                  <a:cubicBezTo>
                    <a:pt x="214170" y="883136"/>
                    <a:pt x="214170" y="890695"/>
                    <a:pt x="215430" y="898254"/>
                  </a:cubicBezTo>
                  <a:lnTo>
                    <a:pt x="215430" y="902034"/>
                  </a:lnTo>
                  <a:cubicBezTo>
                    <a:pt x="215430" y="903293"/>
                    <a:pt x="215430" y="905813"/>
                    <a:pt x="215430" y="907073"/>
                  </a:cubicBezTo>
                  <a:cubicBezTo>
                    <a:pt x="215430" y="908333"/>
                    <a:pt x="215430" y="909593"/>
                    <a:pt x="215430" y="910853"/>
                  </a:cubicBezTo>
                  <a:cubicBezTo>
                    <a:pt x="215430" y="913372"/>
                    <a:pt x="215430" y="915892"/>
                    <a:pt x="216690" y="918411"/>
                  </a:cubicBezTo>
                  <a:cubicBezTo>
                    <a:pt x="217950" y="924710"/>
                    <a:pt x="217950" y="932269"/>
                    <a:pt x="219209" y="938568"/>
                  </a:cubicBezTo>
                  <a:cubicBezTo>
                    <a:pt x="219209" y="941088"/>
                    <a:pt x="220469" y="943608"/>
                    <a:pt x="220469" y="947387"/>
                  </a:cubicBezTo>
                  <a:cubicBezTo>
                    <a:pt x="220469" y="951167"/>
                    <a:pt x="221729" y="954946"/>
                    <a:pt x="221729" y="958726"/>
                  </a:cubicBezTo>
                  <a:cubicBezTo>
                    <a:pt x="221729" y="962505"/>
                    <a:pt x="222989" y="966285"/>
                    <a:pt x="222989" y="970064"/>
                  </a:cubicBezTo>
                  <a:cubicBezTo>
                    <a:pt x="222989" y="973844"/>
                    <a:pt x="224249" y="977623"/>
                    <a:pt x="224249" y="980143"/>
                  </a:cubicBezTo>
                  <a:cubicBezTo>
                    <a:pt x="224249" y="983922"/>
                    <a:pt x="225508" y="986442"/>
                    <a:pt x="225508" y="990221"/>
                  </a:cubicBezTo>
                  <a:lnTo>
                    <a:pt x="225508" y="991481"/>
                  </a:lnTo>
                  <a:cubicBezTo>
                    <a:pt x="225508" y="992741"/>
                    <a:pt x="225508" y="995260"/>
                    <a:pt x="225508" y="996520"/>
                  </a:cubicBezTo>
                  <a:cubicBezTo>
                    <a:pt x="225508" y="997780"/>
                    <a:pt x="225508" y="999040"/>
                    <a:pt x="225508" y="1000300"/>
                  </a:cubicBezTo>
                  <a:cubicBezTo>
                    <a:pt x="225508" y="1002819"/>
                    <a:pt x="225508" y="1005339"/>
                    <a:pt x="226768" y="1009119"/>
                  </a:cubicBezTo>
                  <a:cubicBezTo>
                    <a:pt x="226768" y="1012898"/>
                    <a:pt x="228028" y="1016678"/>
                    <a:pt x="228028" y="1020457"/>
                  </a:cubicBezTo>
                  <a:cubicBezTo>
                    <a:pt x="228028" y="1024237"/>
                    <a:pt x="229288" y="1029276"/>
                    <a:pt x="229288" y="1033055"/>
                  </a:cubicBezTo>
                  <a:cubicBezTo>
                    <a:pt x="229288" y="1035575"/>
                    <a:pt x="230548" y="1038094"/>
                    <a:pt x="230548" y="1040614"/>
                  </a:cubicBezTo>
                  <a:cubicBezTo>
                    <a:pt x="233067" y="1056992"/>
                    <a:pt x="234327" y="1069590"/>
                    <a:pt x="235587" y="1082188"/>
                  </a:cubicBezTo>
                  <a:lnTo>
                    <a:pt x="235587" y="1087228"/>
                  </a:lnTo>
                  <a:cubicBezTo>
                    <a:pt x="235587" y="1091007"/>
                    <a:pt x="236847" y="1096046"/>
                    <a:pt x="236847" y="1099826"/>
                  </a:cubicBezTo>
                  <a:cubicBezTo>
                    <a:pt x="238107" y="1106125"/>
                    <a:pt x="238107" y="1111164"/>
                    <a:pt x="239366" y="1117463"/>
                  </a:cubicBezTo>
                  <a:lnTo>
                    <a:pt x="240626" y="1125022"/>
                  </a:lnTo>
                  <a:cubicBezTo>
                    <a:pt x="241886" y="1133841"/>
                    <a:pt x="243146" y="1143920"/>
                    <a:pt x="244406" y="1152738"/>
                  </a:cubicBezTo>
                  <a:cubicBezTo>
                    <a:pt x="244406" y="1155258"/>
                    <a:pt x="244406" y="1156518"/>
                    <a:pt x="245666" y="1159037"/>
                  </a:cubicBezTo>
                  <a:cubicBezTo>
                    <a:pt x="245666" y="1162817"/>
                    <a:pt x="246925" y="1166597"/>
                    <a:pt x="246925" y="1170376"/>
                  </a:cubicBezTo>
                  <a:cubicBezTo>
                    <a:pt x="248185" y="1176675"/>
                    <a:pt x="248185" y="1181715"/>
                    <a:pt x="249445" y="1188014"/>
                  </a:cubicBezTo>
                  <a:cubicBezTo>
                    <a:pt x="250705" y="1199352"/>
                    <a:pt x="253225" y="1210690"/>
                    <a:pt x="254484" y="1220769"/>
                  </a:cubicBezTo>
                  <a:cubicBezTo>
                    <a:pt x="254484" y="1224548"/>
                    <a:pt x="255744" y="1229588"/>
                    <a:pt x="255744" y="1233367"/>
                  </a:cubicBezTo>
                  <a:cubicBezTo>
                    <a:pt x="255744" y="1237147"/>
                    <a:pt x="257004" y="1242186"/>
                    <a:pt x="258264" y="1247225"/>
                  </a:cubicBezTo>
                  <a:cubicBezTo>
                    <a:pt x="258264" y="1251005"/>
                    <a:pt x="259524" y="1254784"/>
                    <a:pt x="260784" y="1258563"/>
                  </a:cubicBezTo>
                  <a:lnTo>
                    <a:pt x="260784" y="1261083"/>
                  </a:lnTo>
                  <a:cubicBezTo>
                    <a:pt x="262043" y="1268642"/>
                    <a:pt x="263303" y="1276201"/>
                    <a:pt x="264563" y="1285020"/>
                  </a:cubicBezTo>
                  <a:cubicBezTo>
                    <a:pt x="264563" y="1286280"/>
                    <a:pt x="264563" y="1288800"/>
                    <a:pt x="264563" y="1290059"/>
                  </a:cubicBezTo>
                  <a:cubicBezTo>
                    <a:pt x="264563" y="1292579"/>
                    <a:pt x="265823" y="1295099"/>
                    <a:pt x="265823" y="1298878"/>
                  </a:cubicBezTo>
                  <a:cubicBezTo>
                    <a:pt x="265823" y="1301398"/>
                    <a:pt x="265823" y="1303917"/>
                    <a:pt x="267083" y="1305177"/>
                  </a:cubicBezTo>
                  <a:lnTo>
                    <a:pt x="267083" y="1305177"/>
                  </a:lnTo>
                  <a:cubicBezTo>
                    <a:pt x="267083" y="1307697"/>
                    <a:pt x="268343" y="1311476"/>
                    <a:pt x="268343" y="1312736"/>
                  </a:cubicBezTo>
                  <a:cubicBezTo>
                    <a:pt x="268343" y="1313996"/>
                    <a:pt x="269602" y="1313996"/>
                    <a:pt x="269602" y="1315256"/>
                  </a:cubicBezTo>
                  <a:cubicBezTo>
                    <a:pt x="269602" y="1316515"/>
                    <a:pt x="270862" y="1316515"/>
                    <a:pt x="270862" y="1317775"/>
                  </a:cubicBezTo>
                  <a:cubicBezTo>
                    <a:pt x="273382" y="1320295"/>
                    <a:pt x="275901" y="1320295"/>
                    <a:pt x="279681" y="1320295"/>
                  </a:cubicBezTo>
                  <a:lnTo>
                    <a:pt x="280941" y="1320295"/>
                  </a:lnTo>
                  <a:cubicBezTo>
                    <a:pt x="282200" y="1320295"/>
                    <a:pt x="284720" y="1320295"/>
                    <a:pt x="285980" y="1320295"/>
                  </a:cubicBezTo>
                  <a:cubicBezTo>
                    <a:pt x="287240" y="1320295"/>
                    <a:pt x="288499" y="1320295"/>
                    <a:pt x="289759" y="1320295"/>
                  </a:cubicBezTo>
                  <a:cubicBezTo>
                    <a:pt x="292279" y="1320295"/>
                    <a:pt x="294799" y="1320295"/>
                    <a:pt x="298578" y="1320295"/>
                  </a:cubicBezTo>
                  <a:lnTo>
                    <a:pt x="301098" y="1320295"/>
                  </a:lnTo>
                  <a:cubicBezTo>
                    <a:pt x="302358" y="1320295"/>
                    <a:pt x="303617" y="1320295"/>
                    <a:pt x="306137" y="1320295"/>
                  </a:cubicBezTo>
                  <a:cubicBezTo>
                    <a:pt x="308657" y="1320295"/>
                    <a:pt x="309917" y="1320295"/>
                    <a:pt x="312436" y="1320295"/>
                  </a:cubicBezTo>
                  <a:cubicBezTo>
                    <a:pt x="314956" y="1320295"/>
                    <a:pt x="316216" y="1320295"/>
                    <a:pt x="318736" y="1320295"/>
                  </a:cubicBezTo>
                  <a:cubicBezTo>
                    <a:pt x="321255" y="1320295"/>
                    <a:pt x="322515" y="1320295"/>
                    <a:pt x="325035" y="1320295"/>
                  </a:cubicBezTo>
                  <a:cubicBezTo>
                    <a:pt x="326294" y="1320295"/>
                    <a:pt x="326294" y="1320295"/>
                    <a:pt x="327554" y="1320295"/>
                  </a:cubicBezTo>
                  <a:cubicBezTo>
                    <a:pt x="328814" y="1320295"/>
                    <a:pt x="331334" y="1320295"/>
                    <a:pt x="332593" y="1320295"/>
                  </a:cubicBezTo>
                  <a:cubicBezTo>
                    <a:pt x="333853" y="1320295"/>
                    <a:pt x="336373" y="1320295"/>
                    <a:pt x="337633" y="1320295"/>
                  </a:cubicBezTo>
                  <a:cubicBezTo>
                    <a:pt x="338892" y="1320295"/>
                    <a:pt x="340152" y="1320295"/>
                    <a:pt x="342672" y="1320295"/>
                  </a:cubicBezTo>
                  <a:cubicBezTo>
                    <a:pt x="343932" y="1320295"/>
                    <a:pt x="345192" y="1320295"/>
                    <a:pt x="347711" y="1320295"/>
                  </a:cubicBezTo>
                  <a:cubicBezTo>
                    <a:pt x="348971" y="1320295"/>
                    <a:pt x="348971" y="1320295"/>
                    <a:pt x="348971" y="1320295"/>
                  </a:cubicBezTo>
                  <a:cubicBezTo>
                    <a:pt x="351491" y="1320295"/>
                    <a:pt x="354010" y="1320295"/>
                    <a:pt x="357790" y="1320295"/>
                  </a:cubicBezTo>
                  <a:cubicBezTo>
                    <a:pt x="360310" y="1320295"/>
                    <a:pt x="362829" y="1320295"/>
                    <a:pt x="365349" y="1319035"/>
                  </a:cubicBezTo>
                  <a:cubicBezTo>
                    <a:pt x="366609" y="1319035"/>
                    <a:pt x="366609" y="1319035"/>
                    <a:pt x="367869" y="1317775"/>
                  </a:cubicBezTo>
                  <a:cubicBezTo>
                    <a:pt x="367869" y="1317775"/>
                    <a:pt x="369128" y="1317775"/>
                    <a:pt x="369128" y="1316515"/>
                  </a:cubicBezTo>
                  <a:cubicBezTo>
                    <a:pt x="369128" y="1316515"/>
                    <a:pt x="370388" y="1315256"/>
                    <a:pt x="370388" y="1315256"/>
                  </a:cubicBezTo>
                  <a:cubicBezTo>
                    <a:pt x="371648" y="1313996"/>
                    <a:pt x="371648" y="1312736"/>
                    <a:pt x="371648" y="1311476"/>
                  </a:cubicBezTo>
                  <a:cubicBezTo>
                    <a:pt x="371648" y="1310216"/>
                    <a:pt x="371648" y="1308956"/>
                    <a:pt x="371648" y="1307697"/>
                  </a:cubicBezTo>
                  <a:lnTo>
                    <a:pt x="371648" y="1307697"/>
                  </a:lnTo>
                  <a:cubicBezTo>
                    <a:pt x="371648" y="1306437"/>
                    <a:pt x="371648" y="1305177"/>
                    <a:pt x="371648" y="1302657"/>
                  </a:cubicBezTo>
                  <a:cubicBezTo>
                    <a:pt x="371648" y="1297618"/>
                    <a:pt x="371648" y="1292579"/>
                    <a:pt x="371648" y="1287540"/>
                  </a:cubicBezTo>
                  <a:cubicBezTo>
                    <a:pt x="371648" y="1286280"/>
                    <a:pt x="371648" y="1285020"/>
                    <a:pt x="371648" y="1283760"/>
                  </a:cubicBezTo>
                  <a:cubicBezTo>
                    <a:pt x="371648" y="1276201"/>
                    <a:pt x="371648" y="1269902"/>
                    <a:pt x="371648" y="1263603"/>
                  </a:cubicBezTo>
                  <a:cubicBezTo>
                    <a:pt x="371648" y="1262343"/>
                    <a:pt x="371648" y="1259823"/>
                    <a:pt x="371648" y="1258563"/>
                  </a:cubicBezTo>
                  <a:cubicBezTo>
                    <a:pt x="371648" y="1253524"/>
                    <a:pt x="371648" y="1248485"/>
                    <a:pt x="371648" y="1244706"/>
                  </a:cubicBezTo>
                  <a:cubicBezTo>
                    <a:pt x="371648" y="1237147"/>
                    <a:pt x="371648" y="1230848"/>
                    <a:pt x="372908" y="1224548"/>
                  </a:cubicBezTo>
                  <a:lnTo>
                    <a:pt x="372908" y="1219509"/>
                  </a:lnTo>
                  <a:cubicBezTo>
                    <a:pt x="372908" y="1214470"/>
                    <a:pt x="372908" y="1208171"/>
                    <a:pt x="374168" y="1203131"/>
                  </a:cubicBezTo>
                  <a:cubicBezTo>
                    <a:pt x="374168" y="1195572"/>
                    <a:pt x="374168" y="1188014"/>
                    <a:pt x="375428" y="1182974"/>
                  </a:cubicBezTo>
                  <a:cubicBezTo>
                    <a:pt x="375428" y="1177935"/>
                    <a:pt x="375428" y="1172896"/>
                    <a:pt x="375428" y="1167856"/>
                  </a:cubicBezTo>
                  <a:lnTo>
                    <a:pt x="375428" y="1162817"/>
                  </a:lnTo>
                  <a:lnTo>
                    <a:pt x="375428" y="1159037"/>
                  </a:lnTo>
                  <a:cubicBezTo>
                    <a:pt x="375428" y="1153998"/>
                    <a:pt x="375428" y="1147699"/>
                    <a:pt x="375428" y="1142660"/>
                  </a:cubicBezTo>
                  <a:cubicBezTo>
                    <a:pt x="375428" y="1136361"/>
                    <a:pt x="375428" y="1130062"/>
                    <a:pt x="375428" y="1123763"/>
                  </a:cubicBezTo>
                  <a:cubicBezTo>
                    <a:pt x="375428" y="1114944"/>
                    <a:pt x="375428" y="1107385"/>
                    <a:pt x="375428" y="1098566"/>
                  </a:cubicBezTo>
                  <a:lnTo>
                    <a:pt x="375428" y="1084708"/>
                  </a:lnTo>
                  <a:cubicBezTo>
                    <a:pt x="375428" y="1062031"/>
                    <a:pt x="375428" y="1039354"/>
                    <a:pt x="374168" y="1016678"/>
                  </a:cubicBezTo>
                  <a:cubicBezTo>
                    <a:pt x="374168" y="1002819"/>
                    <a:pt x="374168" y="987701"/>
                    <a:pt x="372908" y="973844"/>
                  </a:cubicBezTo>
                  <a:cubicBezTo>
                    <a:pt x="372908" y="961245"/>
                    <a:pt x="372908" y="947387"/>
                    <a:pt x="371648" y="933529"/>
                  </a:cubicBezTo>
                  <a:cubicBezTo>
                    <a:pt x="371648" y="927230"/>
                    <a:pt x="371648" y="920931"/>
                    <a:pt x="370388" y="912112"/>
                  </a:cubicBezTo>
                  <a:cubicBezTo>
                    <a:pt x="370388" y="904553"/>
                    <a:pt x="369128" y="896994"/>
                    <a:pt x="369128" y="890695"/>
                  </a:cubicBezTo>
                  <a:cubicBezTo>
                    <a:pt x="369128" y="886916"/>
                    <a:pt x="369128" y="883136"/>
                    <a:pt x="369128" y="879357"/>
                  </a:cubicBezTo>
                  <a:cubicBezTo>
                    <a:pt x="369128" y="869278"/>
                    <a:pt x="369128" y="859200"/>
                    <a:pt x="367869" y="849121"/>
                  </a:cubicBezTo>
                  <a:cubicBezTo>
                    <a:pt x="367869" y="834003"/>
                    <a:pt x="366609" y="820145"/>
                    <a:pt x="365349" y="806287"/>
                  </a:cubicBezTo>
                  <a:cubicBezTo>
                    <a:pt x="364089" y="793689"/>
                    <a:pt x="364089" y="782350"/>
                    <a:pt x="364089" y="769752"/>
                  </a:cubicBezTo>
                  <a:lnTo>
                    <a:pt x="364089" y="764713"/>
                  </a:lnTo>
                  <a:lnTo>
                    <a:pt x="364089" y="744556"/>
                  </a:lnTo>
                  <a:cubicBezTo>
                    <a:pt x="364089" y="723139"/>
                    <a:pt x="364089" y="701722"/>
                    <a:pt x="362829" y="681565"/>
                  </a:cubicBezTo>
                  <a:cubicBezTo>
                    <a:pt x="362829" y="666446"/>
                    <a:pt x="362829" y="652589"/>
                    <a:pt x="362829" y="639990"/>
                  </a:cubicBezTo>
                  <a:cubicBezTo>
                    <a:pt x="362829" y="631172"/>
                    <a:pt x="362829" y="622353"/>
                    <a:pt x="362829" y="613534"/>
                  </a:cubicBezTo>
                  <a:cubicBezTo>
                    <a:pt x="362829" y="608495"/>
                    <a:pt x="362829" y="604715"/>
                    <a:pt x="362829" y="599676"/>
                  </a:cubicBezTo>
                  <a:cubicBezTo>
                    <a:pt x="362829" y="571960"/>
                    <a:pt x="362829" y="544244"/>
                    <a:pt x="361569" y="515268"/>
                  </a:cubicBezTo>
                  <a:cubicBezTo>
                    <a:pt x="361569" y="503929"/>
                    <a:pt x="361569" y="493851"/>
                    <a:pt x="361569" y="482512"/>
                  </a:cubicBezTo>
                  <a:cubicBezTo>
                    <a:pt x="361569" y="464875"/>
                    <a:pt x="361569" y="448497"/>
                    <a:pt x="361569" y="430860"/>
                  </a:cubicBezTo>
                  <a:cubicBezTo>
                    <a:pt x="361569" y="427080"/>
                    <a:pt x="361569" y="424561"/>
                    <a:pt x="361569" y="420781"/>
                  </a:cubicBezTo>
                  <a:cubicBezTo>
                    <a:pt x="361569" y="409443"/>
                    <a:pt x="361569" y="398104"/>
                    <a:pt x="361569" y="386766"/>
                  </a:cubicBezTo>
                  <a:lnTo>
                    <a:pt x="361569" y="384246"/>
                  </a:lnTo>
                  <a:cubicBezTo>
                    <a:pt x="361569" y="371648"/>
                    <a:pt x="361569" y="357790"/>
                    <a:pt x="362829" y="345192"/>
                  </a:cubicBezTo>
                  <a:cubicBezTo>
                    <a:pt x="362829" y="341412"/>
                    <a:pt x="362829" y="337633"/>
                    <a:pt x="362829" y="335113"/>
                  </a:cubicBezTo>
                  <a:cubicBezTo>
                    <a:pt x="362829" y="333853"/>
                    <a:pt x="362829" y="332593"/>
                    <a:pt x="362829" y="331334"/>
                  </a:cubicBezTo>
                  <a:cubicBezTo>
                    <a:pt x="362829" y="328814"/>
                    <a:pt x="362829" y="326294"/>
                    <a:pt x="362829" y="323775"/>
                  </a:cubicBezTo>
                  <a:cubicBezTo>
                    <a:pt x="362829" y="316216"/>
                    <a:pt x="362829" y="308657"/>
                    <a:pt x="362829" y="301098"/>
                  </a:cubicBezTo>
                  <a:cubicBezTo>
                    <a:pt x="362829" y="288500"/>
                    <a:pt x="362829" y="274642"/>
                    <a:pt x="362829" y="262043"/>
                  </a:cubicBezTo>
                  <a:lnTo>
                    <a:pt x="362829" y="259524"/>
                  </a:lnTo>
                  <a:cubicBezTo>
                    <a:pt x="362829" y="253225"/>
                    <a:pt x="362829" y="246925"/>
                    <a:pt x="362829" y="240626"/>
                  </a:cubicBezTo>
                  <a:cubicBezTo>
                    <a:pt x="362829" y="231808"/>
                    <a:pt x="362829" y="224249"/>
                    <a:pt x="362829" y="217949"/>
                  </a:cubicBezTo>
                  <a:lnTo>
                    <a:pt x="362829" y="212910"/>
                  </a:lnTo>
                  <a:cubicBezTo>
                    <a:pt x="362829" y="207871"/>
                    <a:pt x="362829" y="202832"/>
                    <a:pt x="362829" y="197792"/>
                  </a:cubicBezTo>
                  <a:lnTo>
                    <a:pt x="362829" y="192753"/>
                  </a:lnTo>
                  <a:cubicBezTo>
                    <a:pt x="362829" y="187714"/>
                    <a:pt x="362829" y="181415"/>
                    <a:pt x="362829" y="176375"/>
                  </a:cubicBezTo>
                  <a:cubicBezTo>
                    <a:pt x="362829" y="161257"/>
                    <a:pt x="362829" y="147399"/>
                    <a:pt x="362829" y="132281"/>
                  </a:cubicBezTo>
                  <a:cubicBezTo>
                    <a:pt x="366609" y="113384"/>
                    <a:pt x="365349" y="100786"/>
                    <a:pt x="365349" y="88188"/>
                  </a:cubicBezTo>
                  <a:moveTo>
                    <a:pt x="88188" y="1286280"/>
                  </a:moveTo>
                  <a:cubicBezTo>
                    <a:pt x="88188" y="1286280"/>
                    <a:pt x="88188" y="1286280"/>
                    <a:pt x="88188" y="1286280"/>
                  </a:cubicBezTo>
                  <a:cubicBezTo>
                    <a:pt x="88188" y="1286280"/>
                    <a:pt x="88188" y="1286280"/>
                    <a:pt x="88188" y="1286280"/>
                  </a:cubicBezTo>
                </a:path>
              </a:pathLst>
            </a:custGeom>
            <a:solidFill>
              <a:srgbClr val="779AF8"/>
            </a:solidFill>
            <a:ln w="12584" cap="flat">
              <a:noFill/>
              <a:prstDash val="solid"/>
              <a:miter/>
            </a:ln>
          </p:spPr>
          <p:txBody>
            <a:bodyPr rtlCol="0" anchor="ctr"/>
            <a:lstStyle/>
            <a:p>
              <a:endParaRPr lang="zh-CN" altLang="en-US"/>
            </a:p>
          </p:txBody>
        </p:sp>
        <p:sp>
          <p:nvSpPr>
            <p:cNvPr id="10213" name="任意多边形: 形状 10212"/>
            <p:cNvSpPr/>
            <p:nvPr/>
          </p:nvSpPr>
          <p:spPr>
            <a:xfrm>
              <a:off x="4848516" y="4434338"/>
              <a:ext cx="12598" cy="239366"/>
            </a:xfrm>
            <a:custGeom>
              <a:avLst/>
              <a:gdLst>
                <a:gd name="connsiteX0" fmla="*/ 12598 w 12598"/>
                <a:gd name="connsiteY0" fmla="*/ 5040 h 239366"/>
                <a:gd name="connsiteX1" fmla="*/ 12598 w 12598"/>
                <a:gd name="connsiteY1" fmla="*/ 30236 h 239366"/>
                <a:gd name="connsiteX2" fmla="*/ 11338 w 12598"/>
                <a:gd name="connsiteY2" fmla="*/ 55433 h 239366"/>
                <a:gd name="connsiteX3" fmla="*/ 10078 w 12598"/>
                <a:gd name="connsiteY3" fmla="*/ 68031 h 239366"/>
                <a:gd name="connsiteX4" fmla="*/ 10078 w 12598"/>
                <a:gd name="connsiteY4" fmla="*/ 80629 h 239366"/>
                <a:gd name="connsiteX5" fmla="*/ 10078 w 12598"/>
                <a:gd name="connsiteY5" fmla="*/ 105825 h 239366"/>
                <a:gd name="connsiteX6" fmla="*/ 10078 w 12598"/>
                <a:gd name="connsiteY6" fmla="*/ 118424 h 239366"/>
                <a:gd name="connsiteX7" fmla="*/ 10078 w 12598"/>
                <a:gd name="connsiteY7" fmla="*/ 124723 h 239366"/>
                <a:gd name="connsiteX8" fmla="*/ 10078 w 12598"/>
                <a:gd name="connsiteY8" fmla="*/ 131022 h 239366"/>
                <a:gd name="connsiteX9" fmla="*/ 10078 w 12598"/>
                <a:gd name="connsiteY9" fmla="*/ 156218 h 239366"/>
                <a:gd name="connsiteX10" fmla="*/ 10078 w 12598"/>
                <a:gd name="connsiteY10" fmla="*/ 168817 h 239366"/>
                <a:gd name="connsiteX11" fmla="*/ 10078 w 12598"/>
                <a:gd name="connsiteY11" fmla="*/ 181415 h 239366"/>
                <a:gd name="connsiteX12" fmla="*/ 10078 w 12598"/>
                <a:gd name="connsiteY12" fmla="*/ 194013 h 239366"/>
                <a:gd name="connsiteX13" fmla="*/ 8819 w 12598"/>
                <a:gd name="connsiteY13" fmla="*/ 206611 h 239366"/>
                <a:gd name="connsiteX14" fmla="*/ 7559 w 12598"/>
                <a:gd name="connsiteY14" fmla="*/ 216690 h 239366"/>
                <a:gd name="connsiteX15" fmla="*/ 7559 w 12598"/>
                <a:gd name="connsiteY15" fmla="*/ 226768 h 239366"/>
                <a:gd name="connsiteX16" fmla="*/ 7559 w 12598"/>
                <a:gd name="connsiteY16" fmla="*/ 235587 h 239366"/>
                <a:gd name="connsiteX17" fmla="*/ 7559 w 12598"/>
                <a:gd name="connsiteY17" fmla="*/ 246925 h 239366"/>
                <a:gd name="connsiteX18" fmla="*/ 3779 w 12598"/>
                <a:gd name="connsiteY18" fmla="*/ 250705 h 239366"/>
                <a:gd name="connsiteX19" fmla="*/ 0 w 12598"/>
                <a:gd name="connsiteY19" fmla="*/ 246925 h 239366"/>
                <a:gd name="connsiteX20" fmla="*/ 0 w 12598"/>
                <a:gd name="connsiteY20" fmla="*/ 239366 h 239366"/>
                <a:gd name="connsiteX21" fmla="*/ 0 w 12598"/>
                <a:gd name="connsiteY21" fmla="*/ 233067 h 239366"/>
                <a:gd name="connsiteX22" fmla="*/ 0 w 12598"/>
                <a:gd name="connsiteY22" fmla="*/ 220469 h 239366"/>
                <a:gd name="connsiteX23" fmla="*/ 0 w 12598"/>
                <a:gd name="connsiteY23" fmla="*/ 214170 h 239366"/>
                <a:gd name="connsiteX24" fmla="*/ 0 w 12598"/>
                <a:gd name="connsiteY24" fmla="*/ 207871 h 239366"/>
                <a:gd name="connsiteX25" fmla="*/ 1260 w 12598"/>
                <a:gd name="connsiteY25" fmla="*/ 195273 h 239366"/>
                <a:gd name="connsiteX26" fmla="*/ 2519 w 12598"/>
                <a:gd name="connsiteY26" fmla="*/ 170076 h 239366"/>
                <a:gd name="connsiteX27" fmla="*/ 3779 w 12598"/>
                <a:gd name="connsiteY27" fmla="*/ 143620 h 239366"/>
                <a:gd name="connsiteX28" fmla="*/ 3779 w 12598"/>
                <a:gd name="connsiteY28" fmla="*/ 131022 h 239366"/>
                <a:gd name="connsiteX29" fmla="*/ 3779 w 12598"/>
                <a:gd name="connsiteY29" fmla="*/ 118424 h 239366"/>
                <a:gd name="connsiteX30" fmla="*/ 3779 w 12598"/>
                <a:gd name="connsiteY30" fmla="*/ 105825 h 239366"/>
                <a:gd name="connsiteX31" fmla="*/ 3779 w 12598"/>
                <a:gd name="connsiteY31" fmla="*/ 93227 h 239366"/>
                <a:gd name="connsiteX32" fmla="*/ 3779 w 12598"/>
                <a:gd name="connsiteY32" fmla="*/ 68031 h 239366"/>
                <a:gd name="connsiteX33" fmla="*/ 5039 w 12598"/>
                <a:gd name="connsiteY33" fmla="*/ 42834 h 239366"/>
                <a:gd name="connsiteX34" fmla="*/ 5039 w 12598"/>
                <a:gd name="connsiteY34" fmla="*/ 23937 h 239366"/>
                <a:gd name="connsiteX35" fmla="*/ 6299 w 12598"/>
                <a:gd name="connsiteY35" fmla="*/ 3780 h 239366"/>
                <a:gd name="connsiteX36" fmla="*/ 10078 w 12598"/>
                <a:gd name="connsiteY36" fmla="*/ 0 h 239366"/>
                <a:gd name="connsiteX37" fmla="*/ 10078 w 12598"/>
                <a:gd name="connsiteY37" fmla="*/ 0 h 239366"/>
                <a:gd name="connsiteX38" fmla="*/ 12598 w 12598"/>
                <a:gd name="connsiteY38" fmla="*/ 5040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598" h="239366">
                  <a:moveTo>
                    <a:pt x="12598" y="5040"/>
                  </a:moveTo>
                  <a:cubicBezTo>
                    <a:pt x="12598" y="13858"/>
                    <a:pt x="12598" y="21417"/>
                    <a:pt x="12598" y="30236"/>
                  </a:cubicBezTo>
                  <a:cubicBezTo>
                    <a:pt x="12598" y="39055"/>
                    <a:pt x="12598" y="46614"/>
                    <a:pt x="11338" y="55433"/>
                  </a:cubicBezTo>
                  <a:cubicBezTo>
                    <a:pt x="11338" y="59212"/>
                    <a:pt x="11338" y="64251"/>
                    <a:pt x="10078" y="68031"/>
                  </a:cubicBezTo>
                  <a:cubicBezTo>
                    <a:pt x="10078" y="71810"/>
                    <a:pt x="10078" y="75589"/>
                    <a:pt x="10078" y="80629"/>
                  </a:cubicBezTo>
                  <a:cubicBezTo>
                    <a:pt x="10078" y="89448"/>
                    <a:pt x="10078" y="97007"/>
                    <a:pt x="10078" y="105825"/>
                  </a:cubicBezTo>
                  <a:cubicBezTo>
                    <a:pt x="10078" y="109605"/>
                    <a:pt x="10078" y="114644"/>
                    <a:pt x="10078" y="118424"/>
                  </a:cubicBezTo>
                  <a:cubicBezTo>
                    <a:pt x="10078" y="120943"/>
                    <a:pt x="10078" y="122203"/>
                    <a:pt x="10078" y="124723"/>
                  </a:cubicBezTo>
                  <a:cubicBezTo>
                    <a:pt x="10078" y="127242"/>
                    <a:pt x="10078" y="128502"/>
                    <a:pt x="10078" y="131022"/>
                  </a:cubicBezTo>
                  <a:cubicBezTo>
                    <a:pt x="10078" y="139840"/>
                    <a:pt x="10078" y="147399"/>
                    <a:pt x="10078" y="156218"/>
                  </a:cubicBezTo>
                  <a:cubicBezTo>
                    <a:pt x="10078" y="159998"/>
                    <a:pt x="10078" y="165037"/>
                    <a:pt x="10078" y="168817"/>
                  </a:cubicBezTo>
                  <a:cubicBezTo>
                    <a:pt x="10078" y="172596"/>
                    <a:pt x="10078" y="177635"/>
                    <a:pt x="10078" y="181415"/>
                  </a:cubicBezTo>
                  <a:cubicBezTo>
                    <a:pt x="10078" y="185194"/>
                    <a:pt x="10078" y="190233"/>
                    <a:pt x="10078" y="194013"/>
                  </a:cubicBezTo>
                  <a:cubicBezTo>
                    <a:pt x="10078" y="197792"/>
                    <a:pt x="10078" y="202832"/>
                    <a:pt x="8819" y="206611"/>
                  </a:cubicBezTo>
                  <a:cubicBezTo>
                    <a:pt x="8819" y="210391"/>
                    <a:pt x="8819" y="212910"/>
                    <a:pt x="7559" y="216690"/>
                  </a:cubicBezTo>
                  <a:cubicBezTo>
                    <a:pt x="7559" y="220469"/>
                    <a:pt x="7559" y="222989"/>
                    <a:pt x="7559" y="226768"/>
                  </a:cubicBezTo>
                  <a:cubicBezTo>
                    <a:pt x="7559" y="229288"/>
                    <a:pt x="7559" y="233067"/>
                    <a:pt x="7559" y="235587"/>
                  </a:cubicBezTo>
                  <a:cubicBezTo>
                    <a:pt x="7559" y="239366"/>
                    <a:pt x="7559" y="243146"/>
                    <a:pt x="7559" y="246925"/>
                  </a:cubicBezTo>
                  <a:cubicBezTo>
                    <a:pt x="7559" y="249445"/>
                    <a:pt x="5039" y="250705"/>
                    <a:pt x="3779" y="250705"/>
                  </a:cubicBezTo>
                  <a:cubicBezTo>
                    <a:pt x="1260" y="250705"/>
                    <a:pt x="0" y="248185"/>
                    <a:pt x="0" y="246925"/>
                  </a:cubicBezTo>
                  <a:cubicBezTo>
                    <a:pt x="0" y="244406"/>
                    <a:pt x="0" y="241886"/>
                    <a:pt x="0" y="239366"/>
                  </a:cubicBezTo>
                  <a:cubicBezTo>
                    <a:pt x="0" y="236847"/>
                    <a:pt x="0" y="235587"/>
                    <a:pt x="0" y="233067"/>
                  </a:cubicBezTo>
                  <a:cubicBezTo>
                    <a:pt x="0" y="229288"/>
                    <a:pt x="0" y="224249"/>
                    <a:pt x="0" y="220469"/>
                  </a:cubicBezTo>
                  <a:cubicBezTo>
                    <a:pt x="0" y="217950"/>
                    <a:pt x="0" y="216690"/>
                    <a:pt x="0" y="214170"/>
                  </a:cubicBezTo>
                  <a:cubicBezTo>
                    <a:pt x="0" y="211651"/>
                    <a:pt x="0" y="210391"/>
                    <a:pt x="0" y="207871"/>
                  </a:cubicBezTo>
                  <a:cubicBezTo>
                    <a:pt x="0" y="204092"/>
                    <a:pt x="1260" y="199052"/>
                    <a:pt x="1260" y="195273"/>
                  </a:cubicBezTo>
                  <a:cubicBezTo>
                    <a:pt x="1260" y="186454"/>
                    <a:pt x="2519" y="178895"/>
                    <a:pt x="2519" y="170076"/>
                  </a:cubicBezTo>
                  <a:cubicBezTo>
                    <a:pt x="3779" y="161258"/>
                    <a:pt x="3779" y="152439"/>
                    <a:pt x="3779" y="143620"/>
                  </a:cubicBezTo>
                  <a:cubicBezTo>
                    <a:pt x="3779" y="139840"/>
                    <a:pt x="3779" y="136061"/>
                    <a:pt x="3779" y="131022"/>
                  </a:cubicBezTo>
                  <a:cubicBezTo>
                    <a:pt x="3779" y="127242"/>
                    <a:pt x="3779" y="123463"/>
                    <a:pt x="3779" y="118424"/>
                  </a:cubicBezTo>
                  <a:cubicBezTo>
                    <a:pt x="3779" y="114644"/>
                    <a:pt x="3779" y="109605"/>
                    <a:pt x="3779" y="105825"/>
                  </a:cubicBezTo>
                  <a:cubicBezTo>
                    <a:pt x="3779" y="102046"/>
                    <a:pt x="3779" y="97007"/>
                    <a:pt x="3779" y="93227"/>
                  </a:cubicBezTo>
                  <a:cubicBezTo>
                    <a:pt x="3779" y="84408"/>
                    <a:pt x="3779" y="76849"/>
                    <a:pt x="3779" y="68031"/>
                  </a:cubicBezTo>
                  <a:cubicBezTo>
                    <a:pt x="3779" y="59212"/>
                    <a:pt x="5039" y="51653"/>
                    <a:pt x="5039" y="42834"/>
                  </a:cubicBezTo>
                  <a:cubicBezTo>
                    <a:pt x="5039" y="36535"/>
                    <a:pt x="5039" y="30236"/>
                    <a:pt x="5039" y="23937"/>
                  </a:cubicBezTo>
                  <a:cubicBezTo>
                    <a:pt x="5039" y="17638"/>
                    <a:pt x="6299" y="10079"/>
                    <a:pt x="6299" y="3780"/>
                  </a:cubicBezTo>
                  <a:cubicBezTo>
                    <a:pt x="6299" y="2520"/>
                    <a:pt x="7559" y="0"/>
                    <a:pt x="10078" y="0"/>
                  </a:cubicBezTo>
                  <a:cubicBezTo>
                    <a:pt x="10078" y="0"/>
                    <a:pt x="10078" y="0"/>
                    <a:pt x="10078" y="0"/>
                  </a:cubicBezTo>
                  <a:cubicBezTo>
                    <a:pt x="11338" y="2520"/>
                    <a:pt x="12598" y="3780"/>
                    <a:pt x="12598" y="5040"/>
                  </a:cubicBezTo>
                </a:path>
              </a:pathLst>
            </a:custGeom>
            <a:solidFill>
              <a:srgbClr val="779AF8"/>
            </a:solidFill>
            <a:ln w="12584" cap="flat">
              <a:noFill/>
              <a:prstDash val="solid"/>
              <a:miter/>
            </a:ln>
          </p:spPr>
          <p:txBody>
            <a:bodyPr rtlCol="0" anchor="ctr"/>
            <a:lstStyle/>
            <a:p>
              <a:endParaRPr lang="zh-CN" altLang="en-US"/>
            </a:p>
          </p:txBody>
        </p:sp>
        <p:sp>
          <p:nvSpPr>
            <p:cNvPr id="10214" name="任意多边形: 形状 10213"/>
            <p:cNvSpPr/>
            <p:nvPr/>
          </p:nvSpPr>
          <p:spPr>
            <a:xfrm>
              <a:off x="4847256" y="4545203"/>
              <a:ext cx="12598" cy="138581"/>
            </a:xfrm>
            <a:custGeom>
              <a:avLst/>
              <a:gdLst>
                <a:gd name="connsiteX0" fmla="*/ 10078 w 0"/>
                <a:gd name="connsiteY0" fmla="*/ 1260 h 138580"/>
                <a:gd name="connsiteX1" fmla="*/ 8819 w 0"/>
                <a:gd name="connsiteY1" fmla="*/ 25196 h 138580"/>
                <a:gd name="connsiteX2" fmla="*/ 7559 w 0"/>
                <a:gd name="connsiteY2" fmla="*/ 46613 h 138580"/>
                <a:gd name="connsiteX3" fmla="*/ 7559 w 0"/>
                <a:gd name="connsiteY3" fmla="*/ 93227 h 138580"/>
                <a:gd name="connsiteX4" fmla="*/ 8819 w 0"/>
                <a:gd name="connsiteY4" fmla="*/ 109604 h 138580"/>
                <a:gd name="connsiteX5" fmla="*/ 10078 w 0"/>
                <a:gd name="connsiteY5" fmla="*/ 124722 h 138580"/>
                <a:gd name="connsiteX6" fmla="*/ 10078 w 0"/>
                <a:gd name="connsiteY6" fmla="*/ 128502 h 138580"/>
                <a:gd name="connsiteX7" fmla="*/ 10078 w 0"/>
                <a:gd name="connsiteY7" fmla="*/ 131022 h 138580"/>
                <a:gd name="connsiteX8" fmla="*/ 10078 w 0"/>
                <a:gd name="connsiteY8" fmla="*/ 134801 h 138580"/>
                <a:gd name="connsiteX9" fmla="*/ 8819 w 0"/>
                <a:gd name="connsiteY9" fmla="*/ 137321 h 138580"/>
                <a:gd name="connsiteX10" fmla="*/ 6299 w 0"/>
                <a:gd name="connsiteY10" fmla="*/ 139840 h 138580"/>
                <a:gd name="connsiteX11" fmla="*/ 3779 w 0"/>
                <a:gd name="connsiteY11" fmla="*/ 139840 h 138580"/>
                <a:gd name="connsiteX12" fmla="*/ 1260 w 0"/>
                <a:gd name="connsiteY12" fmla="*/ 137321 h 138580"/>
                <a:gd name="connsiteX13" fmla="*/ 0 w 0"/>
                <a:gd name="connsiteY13" fmla="*/ 134801 h 138580"/>
                <a:gd name="connsiteX14" fmla="*/ 0 w 0"/>
                <a:gd name="connsiteY14" fmla="*/ 133541 h 138580"/>
                <a:gd name="connsiteX15" fmla="*/ 0 w 0"/>
                <a:gd name="connsiteY15" fmla="*/ 132281 h 138580"/>
                <a:gd name="connsiteX16" fmla="*/ 0 w 0"/>
                <a:gd name="connsiteY16" fmla="*/ 129762 h 138580"/>
                <a:gd name="connsiteX17" fmla="*/ 0 w 0"/>
                <a:gd name="connsiteY17" fmla="*/ 124722 h 138580"/>
                <a:gd name="connsiteX18" fmla="*/ 0 w 0"/>
                <a:gd name="connsiteY18" fmla="*/ 113384 h 138580"/>
                <a:gd name="connsiteX19" fmla="*/ 0 w 0"/>
                <a:gd name="connsiteY19" fmla="*/ 90707 h 138580"/>
                <a:gd name="connsiteX20" fmla="*/ 0 w 0"/>
                <a:gd name="connsiteY20" fmla="*/ 85668 h 138580"/>
                <a:gd name="connsiteX21" fmla="*/ 0 w 0"/>
                <a:gd name="connsiteY21" fmla="*/ 80629 h 138580"/>
                <a:gd name="connsiteX22" fmla="*/ 0 w 0"/>
                <a:gd name="connsiteY22" fmla="*/ 69290 h 138580"/>
                <a:gd name="connsiteX23" fmla="*/ 1260 w 0"/>
                <a:gd name="connsiteY23" fmla="*/ 45354 h 138580"/>
                <a:gd name="connsiteX24" fmla="*/ 2519 w 0"/>
                <a:gd name="connsiteY24" fmla="*/ 23937 h 138580"/>
                <a:gd name="connsiteX25" fmla="*/ 3779 w 0"/>
                <a:gd name="connsiteY25" fmla="*/ 1260 h 138580"/>
                <a:gd name="connsiteX26" fmla="*/ 5039 w 0"/>
                <a:gd name="connsiteY26" fmla="*/ 0 h 138580"/>
                <a:gd name="connsiteX27" fmla="*/ 5039 w 0"/>
                <a:gd name="connsiteY27" fmla="*/ 0 h 138580"/>
                <a:gd name="connsiteX28" fmla="*/ 10078 w 0"/>
                <a:gd name="connsiteY28" fmla="*/ 126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h="138580">
                  <a:moveTo>
                    <a:pt x="10078" y="1260"/>
                  </a:moveTo>
                  <a:cubicBezTo>
                    <a:pt x="10078" y="8819"/>
                    <a:pt x="8819" y="17637"/>
                    <a:pt x="8819" y="25196"/>
                  </a:cubicBezTo>
                  <a:cubicBezTo>
                    <a:pt x="8819" y="32755"/>
                    <a:pt x="7559" y="39055"/>
                    <a:pt x="7559" y="46613"/>
                  </a:cubicBezTo>
                  <a:cubicBezTo>
                    <a:pt x="7559" y="61731"/>
                    <a:pt x="7559" y="76849"/>
                    <a:pt x="7559" y="93227"/>
                  </a:cubicBezTo>
                  <a:cubicBezTo>
                    <a:pt x="7559" y="98266"/>
                    <a:pt x="8819" y="104565"/>
                    <a:pt x="8819" y="109604"/>
                  </a:cubicBezTo>
                  <a:cubicBezTo>
                    <a:pt x="8819" y="114644"/>
                    <a:pt x="10078" y="119683"/>
                    <a:pt x="10078" y="124722"/>
                  </a:cubicBezTo>
                  <a:cubicBezTo>
                    <a:pt x="10078" y="125982"/>
                    <a:pt x="10078" y="127242"/>
                    <a:pt x="10078" y="128502"/>
                  </a:cubicBezTo>
                  <a:cubicBezTo>
                    <a:pt x="10078" y="129762"/>
                    <a:pt x="10078" y="129762"/>
                    <a:pt x="10078" y="131022"/>
                  </a:cubicBezTo>
                  <a:cubicBezTo>
                    <a:pt x="10078" y="132281"/>
                    <a:pt x="10078" y="133541"/>
                    <a:pt x="10078" y="134801"/>
                  </a:cubicBezTo>
                  <a:cubicBezTo>
                    <a:pt x="10078" y="136061"/>
                    <a:pt x="10078" y="136061"/>
                    <a:pt x="8819" y="137321"/>
                  </a:cubicBezTo>
                  <a:cubicBezTo>
                    <a:pt x="7559" y="138581"/>
                    <a:pt x="7559" y="139840"/>
                    <a:pt x="6299" y="139840"/>
                  </a:cubicBezTo>
                  <a:cubicBezTo>
                    <a:pt x="5039" y="139840"/>
                    <a:pt x="5039" y="139840"/>
                    <a:pt x="3779" y="139840"/>
                  </a:cubicBezTo>
                  <a:cubicBezTo>
                    <a:pt x="2519" y="139840"/>
                    <a:pt x="1260" y="138581"/>
                    <a:pt x="1260" y="137321"/>
                  </a:cubicBezTo>
                  <a:cubicBezTo>
                    <a:pt x="1260" y="136061"/>
                    <a:pt x="0" y="136061"/>
                    <a:pt x="0" y="134801"/>
                  </a:cubicBezTo>
                  <a:cubicBezTo>
                    <a:pt x="0" y="134801"/>
                    <a:pt x="0" y="134801"/>
                    <a:pt x="0" y="133541"/>
                  </a:cubicBezTo>
                  <a:cubicBezTo>
                    <a:pt x="0" y="133541"/>
                    <a:pt x="0" y="132281"/>
                    <a:pt x="0" y="132281"/>
                  </a:cubicBezTo>
                  <a:cubicBezTo>
                    <a:pt x="0" y="131022"/>
                    <a:pt x="0" y="129762"/>
                    <a:pt x="0" y="129762"/>
                  </a:cubicBezTo>
                  <a:cubicBezTo>
                    <a:pt x="0" y="128502"/>
                    <a:pt x="0" y="125982"/>
                    <a:pt x="0" y="124722"/>
                  </a:cubicBezTo>
                  <a:cubicBezTo>
                    <a:pt x="0" y="120943"/>
                    <a:pt x="0" y="117163"/>
                    <a:pt x="0" y="113384"/>
                  </a:cubicBezTo>
                  <a:cubicBezTo>
                    <a:pt x="0" y="105825"/>
                    <a:pt x="0" y="98266"/>
                    <a:pt x="0" y="90707"/>
                  </a:cubicBezTo>
                  <a:cubicBezTo>
                    <a:pt x="0" y="89448"/>
                    <a:pt x="0" y="88188"/>
                    <a:pt x="0" y="85668"/>
                  </a:cubicBezTo>
                  <a:cubicBezTo>
                    <a:pt x="0" y="84408"/>
                    <a:pt x="0" y="81889"/>
                    <a:pt x="0" y="80629"/>
                  </a:cubicBezTo>
                  <a:cubicBezTo>
                    <a:pt x="0" y="76849"/>
                    <a:pt x="0" y="73070"/>
                    <a:pt x="0" y="69290"/>
                  </a:cubicBezTo>
                  <a:cubicBezTo>
                    <a:pt x="0" y="61731"/>
                    <a:pt x="1260" y="52912"/>
                    <a:pt x="1260" y="45354"/>
                  </a:cubicBezTo>
                  <a:cubicBezTo>
                    <a:pt x="1260" y="37795"/>
                    <a:pt x="2519" y="31496"/>
                    <a:pt x="2519" y="23937"/>
                  </a:cubicBezTo>
                  <a:cubicBezTo>
                    <a:pt x="2519" y="16378"/>
                    <a:pt x="3779" y="8819"/>
                    <a:pt x="3779" y="1260"/>
                  </a:cubicBezTo>
                  <a:cubicBezTo>
                    <a:pt x="3779" y="0"/>
                    <a:pt x="5039" y="0"/>
                    <a:pt x="5039" y="0"/>
                  </a:cubicBezTo>
                  <a:cubicBezTo>
                    <a:pt x="5039" y="0"/>
                    <a:pt x="5039" y="0"/>
                    <a:pt x="5039" y="0"/>
                  </a:cubicBezTo>
                  <a:cubicBezTo>
                    <a:pt x="10078" y="0"/>
                    <a:pt x="10078" y="1260"/>
                    <a:pt x="10078" y="1260"/>
                  </a:cubicBezTo>
                </a:path>
              </a:pathLst>
            </a:custGeom>
            <a:solidFill>
              <a:srgbClr val="779AF8"/>
            </a:solidFill>
            <a:ln w="12584" cap="flat">
              <a:noFill/>
              <a:prstDash val="solid"/>
              <a:miter/>
            </a:ln>
          </p:spPr>
          <p:txBody>
            <a:bodyPr rtlCol="0" anchor="ctr"/>
            <a:lstStyle/>
            <a:p>
              <a:endParaRPr lang="zh-CN" altLang="en-US"/>
            </a:p>
          </p:txBody>
        </p:sp>
        <p:sp>
          <p:nvSpPr>
            <p:cNvPr id="10215" name="任意多边形: 形状 10214"/>
            <p:cNvSpPr/>
            <p:nvPr/>
          </p:nvSpPr>
          <p:spPr>
            <a:xfrm>
              <a:off x="4843476" y="4532355"/>
              <a:ext cx="12598" cy="151179"/>
            </a:xfrm>
            <a:custGeom>
              <a:avLst/>
              <a:gdLst>
                <a:gd name="connsiteX0" fmla="*/ 18897 w 12598"/>
                <a:gd name="connsiteY0" fmla="*/ 5289 h 151178"/>
                <a:gd name="connsiteX1" fmla="*/ 17638 w 12598"/>
                <a:gd name="connsiteY1" fmla="*/ 25447 h 151178"/>
                <a:gd name="connsiteX2" fmla="*/ 16378 w 12598"/>
                <a:gd name="connsiteY2" fmla="*/ 44344 h 151178"/>
                <a:gd name="connsiteX3" fmla="*/ 15118 w 12598"/>
                <a:gd name="connsiteY3" fmla="*/ 84658 h 151178"/>
                <a:gd name="connsiteX4" fmla="*/ 15118 w 12598"/>
                <a:gd name="connsiteY4" fmla="*/ 111115 h 151178"/>
                <a:gd name="connsiteX5" fmla="*/ 15118 w 12598"/>
                <a:gd name="connsiteY5" fmla="*/ 123713 h 151178"/>
                <a:gd name="connsiteX6" fmla="*/ 16378 w 12598"/>
                <a:gd name="connsiteY6" fmla="*/ 136311 h 151178"/>
                <a:gd name="connsiteX7" fmla="*/ 17638 w 12598"/>
                <a:gd name="connsiteY7" fmla="*/ 147649 h 151178"/>
                <a:gd name="connsiteX8" fmla="*/ 16378 w 12598"/>
                <a:gd name="connsiteY8" fmla="*/ 151429 h 151178"/>
                <a:gd name="connsiteX9" fmla="*/ 12598 w 12598"/>
                <a:gd name="connsiteY9" fmla="*/ 153948 h 151178"/>
                <a:gd name="connsiteX10" fmla="*/ 5040 w 12598"/>
                <a:gd name="connsiteY10" fmla="*/ 150169 h 151178"/>
                <a:gd name="connsiteX11" fmla="*/ 1260 w 12598"/>
                <a:gd name="connsiteY11" fmla="*/ 108595 h 151178"/>
                <a:gd name="connsiteX12" fmla="*/ 0 w 12598"/>
                <a:gd name="connsiteY12" fmla="*/ 67021 h 151178"/>
                <a:gd name="connsiteX13" fmla="*/ 0 w 12598"/>
                <a:gd name="connsiteY13" fmla="*/ 35525 h 151178"/>
                <a:gd name="connsiteX14" fmla="*/ 1260 w 12598"/>
                <a:gd name="connsiteY14" fmla="*/ 20408 h 151178"/>
                <a:gd name="connsiteX15" fmla="*/ 2520 w 12598"/>
                <a:gd name="connsiteY15" fmla="*/ 11589 h 151178"/>
                <a:gd name="connsiteX16" fmla="*/ 3780 w 12598"/>
                <a:gd name="connsiteY16" fmla="*/ 4030 h 151178"/>
                <a:gd name="connsiteX17" fmla="*/ 5040 w 12598"/>
                <a:gd name="connsiteY17" fmla="*/ 1510 h 151178"/>
                <a:gd name="connsiteX18" fmla="*/ 8819 w 12598"/>
                <a:gd name="connsiteY18" fmla="*/ 250 h 151178"/>
                <a:gd name="connsiteX19" fmla="*/ 8819 w 12598"/>
                <a:gd name="connsiteY19" fmla="*/ 250 h 151178"/>
                <a:gd name="connsiteX20" fmla="*/ 18897 w 12598"/>
                <a:gd name="connsiteY20" fmla="*/ 528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598" h="151178">
                  <a:moveTo>
                    <a:pt x="18897" y="5289"/>
                  </a:moveTo>
                  <a:cubicBezTo>
                    <a:pt x="18897" y="11589"/>
                    <a:pt x="18897" y="19148"/>
                    <a:pt x="17638" y="25447"/>
                  </a:cubicBezTo>
                  <a:cubicBezTo>
                    <a:pt x="17638" y="31746"/>
                    <a:pt x="17638" y="38045"/>
                    <a:pt x="16378" y="44344"/>
                  </a:cubicBezTo>
                  <a:cubicBezTo>
                    <a:pt x="16378" y="58202"/>
                    <a:pt x="15118" y="70800"/>
                    <a:pt x="15118" y="84658"/>
                  </a:cubicBezTo>
                  <a:cubicBezTo>
                    <a:pt x="15118" y="93477"/>
                    <a:pt x="15118" y="102296"/>
                    <a:pt x="15118" y="111115"/>
                  </a:cubicBezTo>
                  <a:cubicBezTo>
                    <a:pt x="15118" y="114894"/>
                    <a:pt x="15118" y="119933"/>
                    <a:pt x="15118" y="123713"/>
                  </a:cubicBezTo>
                  <a:cubicBezTo>
                    <a:pt x="15118" y="127493"/>
                    <a:pt x="15118" y="131272"/>
                    <a:pt x="16378" y="136311"/>
                  </a:cubicBezTo>
                  <a:cubicBezTo>
                    <a:pt x="16378" y="140091"/>
                    <a:pt x="17638" y="143870"/>
                    <a:pt x="17638" y="147649"/>
                  </a:cubicBezTo>
                  <a:cubicBezTo>
                    <a:pt x="17638" y="148909"/>
                    <a:pt x="17638" y="150169"/>
                    <a:pt x="16378" y="151429"/>
                  </a:cubicBezTo>
                  <a:cubicBezTo>
                    <a:pt x="15118" y="152689"/>
                    <a:pt x="13858" y="153948"/>
                    <a:pt x="12598" y="153948"/>
                  </a:cubicBezTo>
                  <a:cubicBezTo>
                    <a:pt x="10079" y="155208"/>
                    <a:pt x="6299" y="152689"/>
                    <a:pt x="5040" y="150169"/>
                  </a:cubicBezTo>
                  <a:cubicBezTo>
                    <a:pt x="2520" y="136311"/>
                    <a:pt x="1260" y="122453"/>
                    <a:pt x="1260" y="108595"/>
                  </a:cubicBezTo>
                  <a:cubicBezTo>
                    <a:pt x="1260" y="94737"/>
                    <a:pt x="0" y="80879"/>
                    <a:pt x="0" y="67021"/>
                  </a:cubicBezTo>
                  <a:cubicBezTo>
                    <a:pt x="0" y="56942"/>
                    <a:pt x="0" y="45604"/>
                    <a:pt x="0" y="35525"/>
                  </a:cubicBezTo>
                  <a:cubicBezTo>
                    <a:pt x="0" y="30486"/>
                    <a:pt x="0" y="25447"/>
                    <a:pt x="1260" y="20408"/>
                  </a:cubicBezTo>
                  <a:cubicBezTo>
                    <a:pt x="1260" y="17888"/>
                    <a:pt x="2520" y="14108"/>
                    <a:pt x="2520" y="11589"/>
                  </a:cubicBezTo>
                  <a:cubicBezTo>
                    <a:pt x="2520" y="9069"/>
                    <a:pt x="3780" y="6549"/>
                    <a:pt x="3780" y="4030"/>
                  </a:cubicBezTo>
                  <a:cubicBezTo>
                    <a:pt x="3780" y="2770"/>
                    <a:pt x="5040" y="2770"/>
                    <a:pt x="5040" y="1510"/>
                  </a:cubicBezTo>
                  <a:cubicBezTo>
                    <a:pt x="6299" y="250"/>
                    <a:pt x="7559" y="250"/>
                    <a:pt x="8819" y="250"/>
                  </a:cubicBezTo>
                  <a:cubicBezTo>
                    <a:pt x="8819" y="250"/>
                    <a:pt x="8819" y="250"/>
                    <a:pt x="8819" y="250"/>
                  </a:cubicBezTo>
                  <a:cubicBezTo>
                    <a:pt x="16378" y="-1010"/>
                    <a:pt x="18897" y="2770"/>
                    <a:pt x="18897" y="5289"/>
                  </a:cubicBezTo>
                </a:path>
              </a:pathLst>
            </a:custGeom>
            <a:solidFill>
              <a:srgbClr val="779AF8"/>
            </a:solidFill>
            <a:ln w="12584" cap="flat">
              <a:noFill/>
              <a:prstDash val="solid"/>
              <a:miter/>
            </a:ln>
          </p:spPr>
          <p:txBody>
            <a:bodyPr rtlCol="0" anchor="ctr"/>
            <a:lstStyle/>
            <a:p>
              <a:endParaRPr lang="zh-CN" altLang="en-US"/>
            </a:p>
          </p:txBody>
        </p:sp>
        <p:sp>
          <p:nvSpPr>
            <p:cNvPr id="10216" name="任意多边形: 形状 10215"/>
            <p:cNvSpPr/>
            <p:nvPr/>
          </p:nvSpPr>
          <p:spPr>
            <a:xfrm>
              <a:off x="4935443" y="4485991"/>
              <a:ext cx="12598" cy="188973"/>
            </a:xfrm>
            <a:custGeom>
              <a:avLst/>
              <a:gdLst>
                <a:gd name="connsiteX0" fmla="*/ 21417 w 12598"/>
                <a:gd name="connsiteY0" fmla="*/ 3780 h 188973"/>
                <a:gd name="connsiteX1" fmla="*/ 21417 w 12598"/>
                <a:gd name="connsiteY1" fmla="*/ 18897 h 188973"/>
                <a:gd name="connsiteX2" fmla="*/ 21417 w 12598"/>
                <a:gd name="connsiteY2" fmla="*/ 34015 h 188973"/>
                <a:gd name="connsiteX3" fmla="*/ 20157 w 12598"/>
                <a:gd name="connsiteY3" fmla="*/ 62991 h 188973"/>
                <a:gd name="connsiteX4" fmla="*/ 17637 w 12598"/>
                <a:gd name="connsiteY4" fmla="*/ 91967 h 188973"/>
                <a:gd name="connsiteX5" fmla="*/ 15118 w 12598"/>
                <a:gd name="connsiteY5" fmla="*/ 122203 h 188973"/>
                <a:gd name="connsiteX6" fmla="*/ 12598 w 12598"/>
                <a:gd name="connsiteY6" fmla="*/ 151179 h 188973"/>
                <a:gd name="connsiteX7" fmla="*/ 10078 w 12598"/>
                <a:gd name="connsiteY7" fmla="*/ 180155 h 188973"/>
                <a:gd name="connsiteX8" fmla="*/ 10078 w 12598"/>
                <a:gd name="connsiteY8" fmla="*/ 194013 h 188973"/>
                <a:gd name="connsiteX9" fmla="*/ 5039 w 12598"/>
                <a:gd name="connsiteY9" fmla="*/ 199052 h 188973"/>
                <a:gd name="connsiteX10" fmla="*/ 0 w 12598"/>
                <a:gd name="connsiteY10" fmla="*/ 194013 h 188973"/>
                <a:gd name="connsiteX11" fmla="*/ 0 w 12598"/>
                <a:gd name="connsiteY11" fmla="*/ 176375 h 188973"/>
                <a:gd name="connsiteX12" fmla="*/ 1260 w 12598"/>
                <a:gd name="connsiteY12" fmla="*/ 161258 h 188973"/>
                <a:gd name="connsiteX13" fmla="*/ 3779 w 12598"/>
                <a:gd name="connsiteY13" fmla="*/ 132281 h 188973"/>
                <a:gd name="connsiteX14" fmla="*/ 5039 w 12598"/>
                <a:gd name="connsiteY14" fmla="*/ 103306 h 188973"/>
                <a:gd name="connsiteX15" fmla="*/ 7559 w 12598"/>
                <a:gd name="connsiteY15" fmla="*/ 73070 h 188973"/>
                <a:gd name="connsiteX16" fmla="*/ 10078 w 12598"/>
                <a:gd name="connsiteY16" fmla="*/ 44094 h 188973"/>
                <a:gd name="connsiteX17" fmla="*/ 11338 w 12598"/>
                <a:gd name="connsiteY17" fmla="*/ 28976 h 188973"/>
                <a:gd name="connsiteX18" fmla="*/ 12598 w 12598"/>
                <a:gd name="connsiteY18" fmla="*/ 13858 h 188973"/>
                <a:gd name="connsiteX19" fmla="*/ 13858 w 12598"/>
                <a:gd name="connsiteY19" fmla="*/ 3780 h 188973"/>
                <a:gd name="connsiteX20" fmla="*/ 15118 w 12598"/>
                <a:gd name="connsiteY20" fmla="*/ 1260 h 188973"/>
                <a:gd name="connsiteX21" fmla="*/ 17637 w 12598"/>
                <a:gd name="connsiteY21" fmla="*/ 0 h 188973"/>
                <a:gd name="connsiteX22" fmla="*/ 17637 w 12598"/>
                <a:gd name="connsiteY22" fmla="*/ 0 h 188973"/>
                <a:gd name="connsiteX23" fmla="*/ 21417 w 12598"/>
                <a:gd name="connsiteY23" fmla="*/ 378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598" h="188973">
                  <a:moveTo>
                    <a:pt x="21417" y="3780"/>
                  </a:moveTo>
                  <a:cubicBezTo>
                    <a:pt x="21417" y="8819"/>
                    <a:pt x="21417" y="13858"/>
                    <a:pt x="21417" y="18897"/>
                  </a:cubicBezTo>
                  <a:cubicBezTo>
                    <a:pt x="21417" y="23937"/>
                    <a:pt x="21417" y="28976"/>
                    <a:pt x="21417" y="34015"/>
                  </a:cubicBezTo>
                  <a:cubicBezTo>
                    <a:pt x="21417" y="44094"/>
                    <a:pt x="20157" y="54173"/>
                    <a:pt x="20157" y="62991"/>
                  </a:cubicBezTo>
                  <a:cubicBezTo>
                    <a:pt x="18897" y="73070"/>
                    <a:pt x="18897" y="81889"/>
                    <a:pt x="17637" y="91967"/>
                  </a:cubicBezTo>
                  <a:cubicBezTo>
                    <a:pt x="16378" y="102046"/>
                    <a:pt x="16378" y="112124"/>
                    <a:pt x="15118" y="122203"/>
                  </a:cubicBezTo>
                  <a:cubicBezTo>
                    <a:pt x="15118" y="132281"/>
                    <a:pt x="13858" y="142360"/>
                    <a:pt x="12598" y="151179"/>
                  </a:cubicBezTo>
                  <a:cubicBezTo>
                    <a:pt x="11338" y="161258"/>
                    <a:pt x="11338" y="170076"/>
                    <a:pt x="10078" y="180155"/>
                  </a:cubicBezTo>
                  <a:cubicBezTo>
                    <a:pt x="10078" y="185194"/>
                    <a:pt x="10078" y="188974"/>
                    <a:pt x="10078" y="194013"/>
                  </a:cubicBezTo>
                  <a:cubicBezTo>
                    <a:pt x="10078" y="196533"/>
                    <a:pt x="7559" y="199052"/>
                    <a:pt x="5039" y="199052"/>
                  </a:cubicBezTo>
                  <a:cubicBezTo>
                    <a:pt x="2519" y="199052"/>
                    <a:pt x="0" y="196533"/>
                    <a:pt x="0" y="194013"/>
                  </a:cubicBezTo>
                  <a:cubicBezTo>
                    <a:pt x="0" y="187714"/>
                    <a:pt x="0" y="182674"/>
                    <a:pt x="0" y="176375"/>
                  </a:cubicBezTo>
                  <a:cubicBezTo>
                    <a:pt x="0" y="171336"/>
                    <a:pt x="0" y="166297"/>
                    <a:pt x="1260" y="161258"/>
                  </a:cubicBezTo>
                  <a:cubicBezTo>
                    <a:pt x="1260" y="151179"/>
                    <a:pt x="2519" y="141100"/>
                    <a:pt x="3779" y="132281"/>
                  </a:cubicBezTo>
                  <a:cubicBezTo>
                    <a:pt x="3779" y="122203"/>
                    <a:pt x="5039" y="112124"/>
                    <a:pt x="5039" y="103306"/>
                  </a:cubicBezTo>
                  <a:cubicBezTo>
                    <a:pt x="6299" y="93227"/>
                    <a:pt x="6299" y="83148"/>
                    <a:pt x="7559" y="73070"/>
                  </a:cubicBezTo>
                  <a:cubicBezTo>
                    <a:pt x="8819" y="62991"/>
                    <a:pt x="8819" y="54173"/>
                    <a:pt x="10078" y="44094"/>
                  </a:cubicBezTo>
                  <a:cubicBezTo>
                    <a:pt x="10078" y="39055"/>
                    <a:pt x="11338" y="34015"/>
                    <a:pt x="11338" y="28976"/>
                  </a:cubicBezTo>
                  <a:cubicBezTo>
                    <a:pt x="11338" y="23937"/>
                    <a:pt x="12598" y="18897"/>
                    <a:pt x="12598" y="13858"/>
                  </a:cubicBezTo>
                  <a:cubicBezTo>
                    <a:pt x="12598" y="10079"/>
                    <a:pt x="13858" y="7559"/>
                    <a:pt x="13858" y="3780"/>
                  </a:cubicBezTo>
                  <a:cubicBezTo>
                    <a:pt x="13858" y="2520"/>
                    <a:pt x="13858" y="2520"/>
                    <a:pt x="15118" y="1260"/>
                  </a:cubicBezTo>
                  <a:cubicBezTo>
                    <a:pt x="16378" y="1260"/>
                    <a:pt x="16378" y="0"/>
                    <a:pt x="17637" y="0"/>
                  </a:cubicBezTo>
                  <a:cubicBezTo>
                    <a:pt x="17637" y="0"/>
                    <a:pt x="17637" y="0"/>
                    <a:pt x="17637" y="0"/>
                  </a:cubicBezTo>
                  <a:cubicBezTo>
                    <a:pt x="20157" y="0"/>
                    <a:pt x="21417" y="1260"/>
                    <a:pt x="21417" y="3780"/>
                  </a:cubicBezTo>
                </a:path>
              </a:pathLst>
            </a:custGeom>
            <a:solidFill>
              <a:srgbClr val="779AF8"/>
            </a:solidFill>
            <a:ln w="12584" cap="flat">
              <a:noFill/>
              <a:prstDash val="solid"/>
              <a:miter/>
            </a:ln>
          </p:spPr>
          <p:txBody>
            <a:bodyPr rtlCol="0" anchor="ctr"/>
            <a:lstStyle/>
            <a:p>
              <a:endParaRPr lang="zh-CN" altLang="en-US"/>
            </a:p>
          </p:txBody>
        </p:sp>
        <p:sp>
          <p:nvSpPr>
            <p:cNvPr id="10217" name="任意多边形: 形状 10216"/>
            <p:cNvSpPr/>
            <p:nvPr/>
          </p:nvSpPr>
          <p:spPr>
            <a:xfrm>
              <a:off x="4995915" y="2854520"/>
              <a:ext cx="113384" cy="50393"/>
            </a:xfrm>
            <a:custGeom>
              <a:avLst/>
              <a:gdLst>
                <a:gd name="connsiteX0" fmla="*/ 122203 w 113384"/>
                <a:gd name="connsiteY0" fmla="*/ 0 h 50392"/>
                <a:gd name="connsiteX1" fmla="*/ 122203 w 113384"/>
                <a:gd name="connsiteY1" fmla="*/ 0 h 50392"/>
                <a:gd name="connsiteX2" fmla="*/ 122203 w 113384"/>
                <a:gd name="connsiteY2" fmla="*/ 3780 h 50392"/>
                <a:gd name="connsiteX3" fmla="*/ 122203 w 113384"/>
                <a:gd name="connsiteY3" fmla="*/ 7559 h 50392"/>
                <a:gd name="connsiteX4" fmla="*/ 122203 w 113384"/>
                <a:gd name="connsiteY4" fmla="*/ 8819 h 50392"/>
                <a:gd name="connsiteX5" fmla="*/ 120943 w 113384"/>
                <a:gd name="connsiteY5" fmla="*/ 12598 h 50392"/>
                <a:gd name="connsiteX6" fmla="*/ 117164 w 113384"/>
                <a:gd name="connsiteY6" fmla="*/ 21417 h 50392"/>
                <a:gd name="connsiteX7" fmla="*/ 112124 w 113384"/>
                <a:gd name="connsiteY7" fmla="*/ 27716 h 50392"/>
                <a:gd name="connsiteX8" fmla="*/ 99526 w 113384"/>
                <a:gd name="connsiteY8" fmla="*/ 40315 h 50392"/>
                <a:gd name="connsiteX9" fmla="*/ 90707 w 113384"/>
                <a:gd name="connsiteY9" fmla="*/ 45354 h 50392"/>
                <a:gd name="connsiteX10" fmla="*/ 89448 w 113384"/>
                <a:gd name="connsiteY10" fmla="*/ 46614 h 50392"/>
                <a:gd name="connsiteX11" fmla="*/ 83148 w 113384"/>
                <a:gd name="connsiteY11" fmla="*/ 50393 h 50392"/>
                <a:gd name="connsiteX12" fmla="*/ 65511 w 113384"/>
                <a:gd name="connsiteY12" fmla="*/ 55432 h 50392"/>
                <a:gd name="connsiteX13" fmla="*/ 55432 w 113384"/>
                <a:gd name="connsiteY13" fmla="*/ 55432 h 50392"/>
                <a:gd name="connsiteX14" fmla="*/ 46614 w 113384"/>
                <a:gd name="connsiteY14" fmla="*/ 55432 h 50392"/>
                <a:gd name="connsiteX15" fmla="*/ 45354 w 113384"/>
                <a:gd name="connsiteY15" fmla="*/ 55432 h 50392"/>
                <a:gd name="connsiteX16" fmla="*/ 37795 w 113384"/>
                <a:gd name="connsiteY16" fmla="*/ 54172 h 50392"/>
                <a:gd name="connsiteX17" fmla="*/ 30236 w 113384"/>
                <a:gd name="connsiteY17" fmla="*/ 51653 h 50392"/>
                <a:gd name="connsiteX18" fmla="*/ 17637 w 113384"/>
                <a:gd name="connsiteY18" fmla="*/ 45354 h 50392"/>
                <a:gd name="connsiteX19" fmla="*/ 11338 w 113384"/>
                <a:gd name="connsiteY19" fmla="*/ 40315 h 50392"/>
                <a:gd name="connsiteX20" fmla="*/ 6299 w 113384"/>
                <a:gd name="connsiteY20" fmla="*/ 34015 h 50392"/>
                <a:gd name="connsiteX21" fmla="*/ 3780 w 113384"/>
                <a:gd name="connsiteY21" fmla="*/ 27716 h 50392"/>
                <a:gd name="connsiteX22" fmla="*/ 1260 w 113384"/>
                <a:gd name="connsiteY22" fmla="*/ 20157 h 50392"/>
                <a:gd name="connsiteX23" fmla="*/ 0 w 113384"/>
                <a:gd name="connsiteY23" fmla="*/ 12598 h 50392"/>
                <a:gd name="connsiteX24" fmla="*/ 0 w 113384"/>
                <a:gd name="connsiteY24" fmla="*/ 12598 h 50392"/>
                <a:gd name="connsiteX25" fmla="*/ 0 w 113384"/>
                <a:gd name="connsiteY25" fmla="*/ 12598 h 50392"/>
                <a:gd name="connsiteX26" fmla="*/ 0 w 113384"/>
                <a:gd name="connsiteY26" fmla="*/ 12598 h 50392"/>
                <a:gd name="connsiteX27" fmla="*/ 6299 w 113384"/>
                <a:gd name="connsiteY27" fmla="*/ 7559 h 50392"/>
                <a:gd name="connsiteX28" fmla="*/ 6299 w 113384"/>
                <a:gd name="connsiteY28" fmla="*/ 7559 h 50392"/>
                <a:gd name="connsiteX29" fmla="*/ 13858 w 113384"/>
                <a:gd name="connsiteY29" fmla="*/ 6299 h 50392"/>
                <a:gd name="connsiteX30" fmla="*/ 34015 w 113384"/>
                <a:gd name="connsiteY30" fmla="*/ 3780 h 50392"/>
                <a:gd name="connsiteX31" fmla="*/ 45354 w 113384"/>
                <a:gd name="connsiteY31" fmla="*/ 2520 h 50392"/>
                <a:gd name="connsiteX32" fmla="*/ 56692 w 113384"/>
                <a:gd name="connsiteY32" fmla="*/ 1260 h 50392"/>
                <a:gd name="connsiteX33" fmla="*/ 76849 w 113384"/>
                <a:gd name="connsiteY33" fmla="*/ 0 h 50392"/>
                <a:gd name="connsiteX34" fmla="*/ 97007 w 113384"/>
                <a:gd name="connsiteY34" fmla="*/ 0 h 50392"/>
                <a:gd name="connsiteX35" fmla="*/ 118423 w 113384"/>
                <a:gd name="connsiteY35" fmla="*/ 0 h 50392"/>
                <a:gd name="connsiteX36" fmla="*/ 122203 w 113384"/>
                <a:gd name="connsiteY36" fmla="*/ 0 h 50392"/>
                <a:gd name="connsiteX37" fmla="*/ 122203 w 113384"/>
                <a:gd name="connsiteY37" fmla="*/ 0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3384" h="50392">
                  <a:moveTo>
                    <a:pt x="122203" y="0"/>
                  </a:moveTo>
                  <a:lnTo>
                    <a:pt x="122203" y="0"/>
                  </a:lnTo>
                  <a:cubicBezTo>
                    <a:pt x="122203" y="1260"/>
                    <a:pt x="122203" y="2520"/>
                    <a:pt x="122203" y="3780"/>
                  </a:cubicBezTo>
                  <a:cubicBezTo>
                    <a:pt x="122203" y="5039"/>
                    <a:pt x="122203" y="6299"/>
                    <a:pt x="122203" y="7559"/>
                  </a:cubicBezTo>
                  <a:lnTo>
                    <a:pt x="122203" y="8819"/>
                  </a:lnTo>
                  <a:cubicBezTo>
                    <a:pt x="122203" y="10079"/>
                    <a:pt x="122203" y="11339"/>
                    <a:pt x="120943" y="12598"/>
                  </a:cubicBezTo>
                  <a:cubicBezTo>
                    <a:pt x="119683" y="15118"/>
                    <a:pt x="118423" y="18897"/>
                    <a:pt x="117164" y="21417"/>
                  </a:cubicBezTo>
                  <a:cubicBezTo>
                    <a:pt x="115904" y="23937"/>
                    <a:pt x="114644" y="25196"/>
                    <a:pt x="112124" y="27716"/>
                  </a:cubicBezTo>
                  <a:cubicBezTo>
                    <a:pt x="108345" y="31496"/>
                    <a:pt x="104566" y="36535"/>
                    <a:pt x="99526" y="40315"/>
                  </a:cubicBezTo>
                  <a:cubicBezTo>
                    <a:pt x="97007" y="41574"/>
                    <a:pt x="94487" y="44094"/>
                    <a:pt x="90707" y="45354"/>
                  </a:cubicBezTo>
                  <a:lnTo>
                    <a:pt x="89448" y="46614"/>
                  </a:lnTo>
                  <a:cubicBezTo>
                    <a:pt x="88188" y="47873"/>
                    <a:pt x="85668" y="49133"/>
                    <a:pt x="83148" y="50393"/>
                  </a:cubicBezTo>
                  <a:cubicBezTo>
                    <a:pt x="78109" y="52913"/>
                    <a:pt x="71810" y="54172"/>
                    <a:pt x="65511" y="55432"/>
                  </a:cubicBezTo>
                  <a:cubicBezTo>
                    <a:pt x="61731" y="55432"/>
                    <a:pt x="59212" y="55432"/>
                    <a:pt x="55432" y="55432"/>
                  </a:cubicBezTo>
                  <a:cubicBezTo>
                    <a:pt x="52913" y="55432"/>
                    <a:pt x="49133" y="55432"/>
                    <a:pt x="46614" y="55432"/>
                  </a:cubicBezTo>
                  <a:cubicBezTo>
                    <a:pt x="46614" y="55432"/>
                    <a:pt x="45354" y="55432"/>
                    <a:pt x="45354" y="55432"/>
                  </a:cubicBezTo>
                  <a:cubicBezTo>
                    <a:pt x="42834" y="55432"/>
                    <a:pt x="40314" y="55432"/>
                    <a:pt x="37795" y="54172"/>
                  </a:cubicBezTo>
                  <a:cubicBezTo>
                    <a:pt x="35275" y="54172"/>
                    <a:pt x="32755" y="52913"/>
                    <a:pt x="30236" y="51653"/>
                  </a:cubicBezTo>
                  <a:cubicBezTo>
                    <a:pt x="26456" y="50393"/>
                    <a:pt x="22677" y="47873"/>
                    <a:pt x="17637" y="45354"/>
                  </a:cubicBezTo>
                  <a:cubicBezTo>
                    <a:pt x="15118" y="44094"/>
                    <a:pt x="12598" y="42834"/>
                    <a:pt x="11338" y="40315"/>
                  </a:cubicBezTo>
                  <a:cubicBezTo>
                    <a:pt x="8819" y="39055"/>
                    <a:pt x="7559" y="36535"/>
                    <a:pt x="6299" y="34015"/>
                  </a:cubicBezTo>
                  <a:cubicBezTo>
                    <a:pt x="5039" y="31496"/>
                    <a:pt x="3780" y="28976"/>
                    <a:pt x="3780" y="27716"/>
                  </a:cubicBezTo>
                  <a:cubicBezTo>
                    <a:pt x="2520" y="25196"/>
                    <a:pt x="2520" y="22677"/>
                    <a:pt x="1260" y="20157"/>
                  </a:cubicBezTo>
                  <a:cubicBezTo>
                    <a:pt x="1260" y="17638"/>
                    <a:pt x="0" y="15118"/>
                    <a:pt x="0" y="12598"/>
                  </a:cubicBezTo>
                  <a:lnTo>
                    <a:pt x="0" y="12598"/>
                  </a:lnTo>
                  <a:cubicBezTo>
                    <a:pt x="0" y="12598"/>
                    <a:pt x="0" y="12598"/>
                    <a:pt x="0" y="12598"/>
                  </a:cubicBezTo>
                  <a:cubicBezTo>
                    <a:pt x="0" y="12598"/>
                    <a:pt x="0" y="12598"/>
                    <a:pt x="0" y="12598"/>
                  </a:cubicBezTo>
                  <a:cubicBezTo>
                    <a:pt x="2520" y="11339"/>
                    <a:pt x="3780" y="10079"/>
                    <a:pt x="6299" y="7559"/>
                  </a:cubicBezTo>
                  <a:cubicBezTo>
                    <a:pt x="6299" y="7559"/>
                    <a:pt x="6299" y="7559"/>
                    <a:pt x="6299" y="7559"/>
                  </a:cubicBezTo>
                  <a:cubicBezTo>
                    <a:pt x="8819" y="7559"/>
                    <a:pt x="11338" y="6299"/>
                    <a:pt x="13858" y="6299"/>
                  </a:cubicBezTo>
                  <a:cubicBezTo>
                    <a:pt x="20157" y="5039"/>
                    <a:pt x="26456" y="5039"/>
                    <a:pt x="34015" y="3780"/>
                  </a:cubicBezTo>
                  <a:cubicBezTo>
                    <a:pt x="37795" y="3780"/>
                    <a:pt x="41574" y="2520"/>
                    <a:pt x="45354" y="2520"/>
                  </a:cubicBezTo>
                  <a:cubicBezTo>
                    <a:pt x="49133" y="2520"/>
                    <a:pt x="52913" y="1260"/>
                    <a:pt x="56692" y="1260"/>
                  </a:cubicBezTo>
                  <a:cubicBezTo>
                    <a:pt x="62991" y="0"/>
                    <a:pt x="69290" y="0"/>
                    <a:pt x="76849" y="0"/>
                  </a:cubicBezTo>
                  <a:cubicBezTo>
                    <a:pt x="83148" y="0"/>
                    <a:pt x="90707" y="0"/>
                    <a:pt x="97007" y="0"/>
                  </a:cubicBezTo>
                  <a:cubicBezTo>
                    <a:pt x="104566" y="0"/>
                    <a:pt x="112124" y="0"/>
                    <a:pt x="118423" y="0"/>
                  </a:cubicBezTo>
                  <a:cubicBezTo>
                    <a:pt x="122203" y="0"/>
                    <a:pt x="122203" y="0"/>
                    <a:pt x="122203" y="0"/>
                  </a:cubicBezTo>
                  <a:lnTo>
                    <a:pt x="122203" y="0"/>
                  </a:lnTo>
                  <a:close/>
                </a:path>
              </a:pathLst>
            </a:custGeom>
            <a:solidFill>
              <a:srgbClr val="FFD671"/>
            </a:solidFill>
            <a:ln w="12584" cap="flat">
              <a:noFill/>
              <a:prstDash val="solid"/>
              <a:miter/>
            </a:ln>
          </p:spPr>
          <p:txBody>
            <a:bodyPr rtlCol="0" anchor="ctr"/>
            <a:lstStyle/>
            <a:p>
              <a:endParaRPr lang="zh-CN" altLang="en-US"/>
            </a:p>
          </p:txBody>
        </p:sp>
        <p:sp>
          <p:nvSpPr>
            <p:cNvPr id="10218" name="任意多边形: 形状 10217"/>
            <p:cNvSpPr/>
            <p:nvPr/>
          </p:nvSpPr>
          <p:spPr>
            <a:xfrm>
              <a:off x="5332288" y="3202231"/>
              <a:ext cx="138581" cy="88188"/>
            </a:xfrm>
            <a:custGeom>
              <a:avLst/>
              <a:gdLst>
                <a:gd name="connsiteX0" fmla="*/ 108345 w 138580"/>
                <a:gd name="connsiteY0" fmla="*/ 0 h 88187"/>
                <a:gd name="connsiteX1" fmla="*/ 114644 w 138580"/>
                <a:gd name="connsiteY1" fmla="*/ 1260 h 88187"/>
                <a:gd name="connsiteX2" fmla="*/ 122203 w 138580"/>
                <a:gd name="connsiteY2" fmla="*/ 5039 h 88187"/>
                <a:gd name="connsiteX3" fmla="*/ 123463 w 138580"/>
                <a:gd name="connsiteY3" fmla="*/ 6299 h 88187"/>
                <a:gd name="connsiteX4" fmla="*/ 131022 w 138580"/>
                <a:gd name="connsiteY4" fmla="*/ 10079 h 88187"/>
                <a:gd name="connsiteX5" fmla="*/ 134801 w 138580"/>
                <a:gd name="connsiteY5" fmla="*/ 13858 h 88187"/>
                <a:gd name="connsiteX6" fmla="*/ 139840 w 138580"/>
                <a:gd name="connsiteY6" fmla="*/ 25196 h 88187"/>
                <a:gd name="connsiteX7" fmla="*/ 142360 w 138580"/>
                <a:gd name="connsiteY7" fmla="*/ 35275 h 88187"/>
                <a:gd name="connsiteX8" fmla="*/ 142360 w 138580"/>
                <a:gd name="connsiteY8" fmla="*/ 35275 h 88187"/>
                <a:gd name="connsiteX9" fmla="*/ 142360 w 138580"/>
                <a:gd name="connsiteY9" fmla="*/ 35275 h 88187"/>
                <a:gd name="connsiteX10" fmla="*/ 143620 w 138580"/>
                <a:gd name="connsiteY10" fmla="*/ 42834 h 88187"/>
                <a:gd name="connsiteX11" fmla="*/ 143620 w 138580"/>
                <a:gd name="connsiteY11" fmla="*/ 61731 h 88187"/>
                <a:gd name="connsiteX12" fmla="*/ 142360 w 138580"/>
                <a:gd name="connsiteY12" fmla="*/ 80629 h 88187"/>
                <a:gd name="connsiteX13" fmla="*/ 142360 w 138580"/>
                <a:gd name="connsiteY13" fmla="*/ 80629 h 88187"/>
                <a:gd name="connsiteX14" fmla="*/ 142360 w 138580"/>
                <a:gd name="connsiteY14" fmla="*/ 80629 h 88187"/>
                <a:gd name="connsiteX15" fmla="*/ 142360 w 138580"/>
                <a:gd name="connsiteY15" fmla="*/ 80629 h 88187"/>
                <a:gd name="connsiteX16" fmla="*/ 142360 w 138580"/>
                <a:gd name="connsiteY16" fmla="*/ 80629 h 88187"/>
                <a:gd name="connsiteX17" fmla="*/ 142360 w 138580"/>
                <a:gd name="connsiteY17" fmla="*/ 80629 h 88187"/>
                <a:gd name="connsiteX18" fmla="*/ 142360 w 138580"/>
                <a:gd name="connsiteY18" fmla="*/ 80629 h 88187"/>
                <a:gd name="connsiteX19" fmla="*/ 141100 w 138580"/>
                <a:gd name="connsiteY19" fmla="*/ 83148 h 88187"/>
                <a:gd name="connsiteX20" fmla="*/ 137321 w 138580"/>
                <a:gd name="connsiteY20" fmla="*/ 86928 h 88187"/>
                <a:gd name="connsiteX21" fmla="*/ 129762 w 138580"/>
                <a:gd name="connsiteY21" fmla="*/ 91967 h 88187"/>
                <a:gd name="connsiteX22" fmla="*/ 118423 w 138580"/>
                <a:gd name="connsiteY22" fmla="*/ 94487 h 88187"/>
                <a:gd name="connsiteX23" fmla="*/ 107085 w 138580"/>
                <a:gd name="connsiteY23" fmla="*/ 95747 h 88187"/>
                <a:gd name="connsiteX24" fmla="*/ 97006 w 138580"/>
                <a:gd name="connsiteY24" fmla="*/ 95747 h 88187"/>
                <a:gd name="connsiteX25" fmla="*/ 97006 w 138580"/>
                <a:gd name="connsiteY25" fmla="*/ 95747 h 88187"/>
                <a:gd name="connsiteX26" fmla="*/ 90707 w 138580"/>
                <a:gd name="connsiteY26" fmla="*/ 95747 h 88187"/>
                <a:gd name="connsiteX27" fmla="*/ 85668 w 138580"/>
                <a:gd name="connsiteY27" fmla="*/ 95747 h 88187"/>
                <a:gd name="connsiteX28" fmla="*/ 75589 w 138580"/>
                <a:gd name="connsiteY28" fmla="*/ 93227 h 88187"/>
                <a:gd name="connsiteX29" fmla="*/ 74329 w 138580"/>
                <a:gd name="connsiteY29" fmla="*/ 93227 h 88187"/>
                <a:gd name="connsiteX30" fmla="*/ 64251 w 138580"/>
                <a:gd name="connsiteY30" fmla="*/ 90707 h 88187"/>
                <a:gd name="connsiteX31" fmla="*/ 54172 w 138580"/>
                <a:gd name="connsiteY31" fmla="*/ 88188 h 88187"/>
                <a:gd name="connsiteX32" fmla="*/ 40314 w 138580"/>
                <a:gd name="connsiteY32" fmla="*/ 80629 h 88187"/>
                <a:gd name="connsiteX33" fmla="*/ 37795 w 138580"/>
                <a:gd name="connsiteY33" fmla="*/ 79369 h 88187"/>
                <a:gd name="connsiteX34" fmla="*/ 31496 w 138580"/>
                <a:gd name="connsiteY34" fmla="*/ 75589 h 88187"/>
                <a:gd name="connsiteX35" fmla="*/ 27716 w 138580"/>
                <a:gd name="connsiteY35" fmla="*/ 73070 h 88187"/>
                <a:gd name="connsiteX36" fmla="*/ 23937 w 138580"/>
                <a:gd name="connsiteY36" fmla="*/ 70550 h 88187"/>
                <a:gd name="connsiteX37" fmla="*/ 20157 w 138580"/>
                <a:gd name="connsiteY37" fmla="*/ 69290 h 88187"/>
                <a:gd name="connsiteX38" fmla="*/ 15118 w 138580"/>
                <a:gd name="connsiteY38" fmla="*/ 66771 h 88187"/>
                <a:gd name="connsiteX39" fmla="*/ 13858 w 138580"/>
                <a:gd name="connsiteY39" fmla="*/ 65511 h 88187"/>
                <a:gd name="connsiteX40" fmla="*/ 13858 w 138580"/>
                <a:gd name="connsiteY40" fmla="*/ 65511 h 88187"/>
                <a:gd name="connsiteX41" fmla="*/ 11338 w 138580"/>
                <a:gd name="connsiteY41" fmla="*/ 61731 h 88187"/>
                <a:gd name="connsiteX42" fmla="*/ 10078 w 138580"/>
                <a:gd name="connsiteY42" fmla="*/ 60472 h 88187"/>
                <a:gd name="connsiteX43" fmla="*/ 5039 w 138580"/>
                <a:gd name="connsiteY43" fmla="*/ 54172 h 88187"/>
                <a:gd name="connsiteX44" fmla="*/ 0 w 138580"/>
                <a:gd name="connsiteY44" fmla="*/ 47873 h 88187"/>
                <a:gd name="connsiteX45" fmla="*/ 0 w 138580"/>
                <a:gd name="connsiteY45" fmla="*/ 47873 h 88187"/>
                <a:gd name="connsiteX46" fmla="*/ 0 w 138580"/>
                <a:gd name="connsiteY46" fmla="*/ 47873 h 88187"/>
                <a:gd name="connsiteX47" fmla="*/ 0 w 138580"/>
                <a:gd name="connsiteY47" fmla="*/ 47873 h 88187"/>
                <a:gd name="connsiteX48" fmla="*/ 0 w 138580"/>
                <a:gd name="connsiteY48" fmla="*/ 47873 h 88187"/>
                <a:gd name="connsiteX49" fmla="*/ 0 w 138580"/>
                <a:gd name="connsiteY49" fmla="*/ 47873 h 88187"/>
                <a:gd name="connsiteX50" fmla="*/ 0 w 138580"/>
                <a:gd name="connsiteY50" fmla="*/ 47873 h 88187"/>
                <a:gd name="connsiteX51" fmla="*/ 3779 w 138580"/>
                <a:gd name="connsiteY51" fmla="*/ 45354 h 88187"/>
                <a:gd name="connsiteX52" fmla="*/ 3779 w 138580"/>
                <a:gd name="connsiteY52" fmla="*/ 45354 h 88187"/>
                <a:gd name="connsiteX53" fmla="*/ 3779 w 138580"/>
                <a:gd name="connsiteY53" fmla="*/ 45354 h 88187"/>
                <a:gd name="connsiteX54" fmla="*/ 3779 w 138580"/>
                <a:gd name="connsiteY54" fmla="*/ 45354 h 88187"/>
                <a:gd name="connsiteX55" fmla="*/ 3779 w 138580"/>
                <a:gd name="connsiteY55" fmla="*/ 45354 h 88187"/>
                <a:gd name="connsiteX56" fmla="*/ 3779 w 138580"/>
                <a:gd name="connsiteY56" fmla="*/ 45354 h 88187"/>
                <a:gd name="connsiteX57" fmla="*/ 3779 w 138580"/>
                <a:gd name="connsiteY57" fmla="*/ 45354 h 88187"/>
                <a:gd name="connsiteX58" fmla="*/ 3779 w 138580"/>
                <a:gd name="connsiteY58" fmla="*/ 45354 h 88187"/>
                <a:gd name="connsiteX59" fmla="*/ 3779 w 138580"/>
                <a:gd name="connsiteY59" fmla="*/ 45354 h 88187"/>
                <a:gd name="connsiteX60" fmla="*/ 3779 w 138580"/>
                <a:gd name="connsiteY60" fmla="*/ 45354 h 88187"/>
                <a:gd name="connsiteX61" fmla="*/ 3779 w 138580"/>
                <a:gd name="connsiteY61" fmla="*/ 45354 h 88187"/>
                <a:gd name="connsiteX62" fmla="*/ 3779 w 138580"/>
                <a:gd name="connsiteY62" fmla="*/ 45354 h 88187"/>
                <a:gd name="connsiteX63" fmla="*/ 3779 w 138580"/>
                <a:gd name="connsiteY63" fmla="*/ 45354 h 88187"/>
                <a:gd name="connsiteX64" fmla="*/ 3779 w 138580"/>
                <a:gd name="connsiteY64" fmla="*/ 45354 h 88187"/>
                <a:gd name="connsiteX65" fmla="*/ 3779 w 138580"/>
                <a:gd name="connsiteY65" fmla="*/ 45354 h 88187"/>
                <a:gd name="connsiteX66" fmla="*/ 15118 w 138580"/>
                <a:gd name="connsiteY66" fmla="*/ 36535 h 88187"/>
                <a:gd name="connsiteX67" fmla="*/ 20157 w 138580"/>
                <a:gd name="connsiteY67" fmla="*/ 32755 h 88187"/>
                <a:gd name="connsiteX68" fmla="*/ 25196 w 138580"/>
                <a:gd name="connsiteY68" fmla="*/ 28976 h 88187"/>
                <a:gd name="connsiteX69" fmla="*/ 34015 w 138580"/>
                <a:gd name="connsiteY69" fmla="*/ 23937 h 88187"/>
                <a:gd name="connsiteX70" fmla="*/ 37795 w 138580"/>
                <a:gd name="connsiteY70" fmla="*/ 21417 h 88187"/>
                <a:gd name="connsiteX71" fmla="*/ 37795 w 138580"/>
                <a:gd name="connsiteY71" fmla="*/ 21417 h 88187"/>
                <a:gd name="connsiteX72" fmla="*/ 44094 w 138580"/>
                <a:gd name="connsiteY72" fmla="*/ 17637 h 88187"/>
                <a:gd name="connsiteX73" fmla="*/ 61731 w 138580"/>
                <a:gd name="connsiteY73" fmla="*/ 8819 h 88187"/>
                <a:gd name="connsiteX74" fmla="*/ 83148 w 138580"/>
                <a:gd name="connsiteY74" fmla="*/ 2520 h 88187"/>
                <a:gd name="connsiteX75" fmla="*/ 95747 w 138580"/>
                <a:gd name="connsiteY75" fmla="*/ 1260 h 88187"/>
                <a:gd name="connsiteX76" fmla="*/ 108345 w 138580"/>
                <a:gd name="connsiteY76" fmla="*/ 0 h 88187"/>
                <a:gd name="connsiteX77" fmla="*/ 108345 w 138580"/>
                <a:gd name="connsiteY77" fmla="*/ 0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38580" h="88187">
                  <a:moveTo>
                    <a:pt x="108345" y="0"/>
                  </a:moveTo>
                  <a:cubicBezTo>
                    <a:pt x="109604" y="0"/>
                    <a:pt x="112124" y="1260"/>
                    <a:pt x="114644" y="1260"/>
                  </a:cubicBezTo>
                  <a:cubicBezTo>
                    <a:pt x="117163" y="2520"/>
                    <a:pt x="119683" y="3780"/>
                    <a:pt x="122203" y="5039"/>
                  </a:cubicBezTo>
                  <a:lnTo>
                    <a:pt x="123463" y="6299"/>
                  </a:lnTo>
                  <a:cubicBezTo>
                    <a:pt x="125982" y="7559"/>
                    <a:pt x="128502" y="8819"/>
                    <a:pt x="131022" y="10079"/>
                  </a:cubicBezTo>
                  <a:cubicBezTo>
                    <a:pt x="132281" y="11338"/>
                    <a:pt x="133541" y="12598"/>
                    <a:pt x="134801" y="13858"/>
                  </a:cubicBezTo>
                  <a:cubicBezTo>
                    <a:pt x="137321" y="17637"/>
                    <a:pt x="138581" y="21417"/>
                    <a:pt x="139840" y="25196"/>
                  </a:cubicBezTo>
                  <a:cubicBezTo>
                    <a:pt x="141100" y="28976"/>
                    <a:pt x="142360" y="31496"/>
                    <a:pt x="142360" y="35275"/>
                  </a:cubicBezTo>
                  <a:lnTo>
                    <a:pt x="142360" y="35275"/>
                  </a:lnTo>
                  <a:lnTo>
                    <a:pt x="142360" y="35275"/>
                  </a:lnTo>
                  <a:cubicBezTo>
                    <a:pt x="143620" y="37795"/>
                    <a:pt x="143620" y="40314"/>
                    <a:pt x="143620" y="42834"/>
                  </a:cubicBezTo>
                  <a:cubicBezTo>
                    <a:pt x="143620" y="49133"/>
                    <a:pt x="143620" y="56692"/>
                    <a:pt x="143620" y="61731"/>
                  </a:cubicBezTo>
                  <a:cubicBezTo>
                    <a:pt x="143620" y="68030"/>
                    <a:pt x="142360" y="74330"/>
                    <a:pt x="142360" y="80629"/>
                  </a:cubicBezTo>
                  <a:lnTo>
                    <a:pt x="142360" y="80629"/>
                  </a:lnTo>
                  <a:lnTo>
                    <a:pt x="142360" y="80629"/>
                  </a:lnTo>
                  <a:lnTo>
                    <a:pt x="142360" y="80629"/>
                  </a:lnTo>
                  <a:lnTo>
                    <a:pt x="142360" y="80629"/>
                  </a:lnTo>
                  <a:cubicBezTo>
                    <a:pt x="142360" y="80629"/>
                    <a:pt x="142360" y="80629"/>
                    <a:pt x="142360" y="80629"/>
                  </a:cubicBezTo>
                  <a:lnTo>
                    <a:pt x="142360" y="80629"/>
                  </a:lnTo>
                  <a:cubicBezTo>
                    <a:pt x="142360" y="81889"/>
                    <a:pt x="141100" y="81889"/>
                    <a:pt x="141100" y="83148"/>
                  </a:cubicBezTo>
                  <a:cubicBezTo>
                    <a:pt x="139840" y="84408"/>
                    <a:pt x="138581" y="85668"/>
                    <a:pt x="137321" y="86928"/>
                  </a:cubicBezTo>
                  <a:cubicBezTo>
                    <a:pt x="134801" y="89448"/>
                    <a:pt x="132281" y="90707"/>
                    <a:pt x="129762" y="91967"/>
                  </a:cubicBezTo>
                  <a:cubicBezTo>
                    <a:pt x="125982" y="93227"/>
                    <a:pt x="122203" y="94487"/>
                    <a:pt x="118423" y="94487"/>
                  </a:cubicBezTo>
                  <a:cubicBezTo>
                    <a:pt x="114644" y="94487"/>
                    <a:pt x="110864" y="94487"/>
                    <a:pt x="107085" y="95747"/>
                  </a:cubicBezTo>
                  <a:cubicBezTo>
                    <a:pt x="103305" y="95747"/>
                    <a:pt x="99526" y="95747"/>
                    <a:pt x="97006" y="95747"/>
                  </a:cubicBezTo>
                  <a:lnTo>
                    <a:pt x="97006" y="95747"/>
                  </a:lnTo>
                  <a:cubicBezTo>
                    <a:pt x="94487" y="95747"/>
                    <a:pt x="93227" y="95747"/>
                    <a:pt x="90707" y="95747"/>
                  </a:cubicBezTo>
                  <a:cubicBezTo>
                    <a:pt x="89448" y="95747"/>
                    <a:pt x="88188" y="95747"/>
                    <a:pt x="85668" y="95747"/>
                  </a:cubicBezTo>
                  <a:cubicBezTo>
                    <a:pt x="81889" y="95747"/>
                    <a:pt x="79369" y="94487"/>
                    <a:pt x="75589" y="93227"/>
                  </a:cubicBezTo>
                  <a:lnTo>
                    <a:pt x="74329" y="93227"/>
                  </a:lnTo>
                  <a:cubicBezTo>
                    <a:pt x="70550" y="91967"/>
                    <a:pt x="66770" y="91967"/>
                    <a:pt x="64251" y="90707"/>
                  </a:cubicBezTo>
                  <a:cubicBezTo>
                    <a:pt x="61731" y="89448"/>
                    <a:pt x="57952" y="89448"/>
                    <a:pt x="54172" y="88188"/>
                  </a:cubicBezTo>
                  <a:cubicBezTo>
                    <a:pt x="49133" y="85668"/>
                    <a:pt x="45354" y="83148"/>
                    <a:pt x="40314" y="80629"/>
                  </a:cubicBezTo>
                  <a:cubicBezTo>
                    <a:pt x="39055" y="80629"/>
                    <a:pt x="37795" y="79369"/>
                    <a:pt x="37795" y="79369"/>
                  </a:cubicBezTo>
                  <a:cubicBezTo>
                    <a:pt x="35275" y="78109"/>
                    <a:pt x="32755" y="76849"/>
                    <a:pt x="31496" y="75589"/>
                  </a:cubicBezTo>
                  <a:cubicBezTo>
                    <a:pt x="30236" y="75589"/>
                    <a:pt x="28976" y="74330"/>
                    <a:pt x="27716" y="73070"/>
                  </a:cubicBezTo>
                  <a:cubicBezTo>
                    <a:pt x="26456" y="71810"/>
                    <a:pt x="25196" y="71810"/>
                    <a:pt x="23937" y="70550"/>
                  </a:cubicBezTo>
                  <a:cubicBezTo>
                    <a:pt x="22677" y="70550"/>
                    <a:pt x="21417" y="69290"/>
                    <a:pt x="20157" y="69290"/>
                  </a:cubicBezTo>
                  <a:cubicBezTo>
                    <a:pt x="18897" y="68030"/>
                    <a:pt x="16378" y="68030"/>
                    <a:pt x="15118" y="66771"/>
                  </a:cubicBezTo>
                  <a:cubicBezTo>
                    <a:pt x="15118" y="66771"/>
                    <a:pt x="13858" y="65511"/>
                    <a:pt x="13858" y="65511"/>
                  </a:cubicBezTo>
                  <a:lnTo>
                    <a:pt x="13858" y="65511"/>
                  </a:lnTo>
                  <a:cubicBezTo>
                    <a:pt x="12598" y="64251"/>
                    <a:pt x="11338" y="62991"/>
                    <a:pt x="11338" y="61731"/>
                  </a:cubicBezTo>
                  <a:cubicBezTo>
                    <a:pt x="11338" y="61731"/>
                    <a:pt x="10078" y="60472"/>
                    <a:pt x="10078" y="60472"/>
                  </a:cubicBezTo>
                  <a:cubicBezTo>
                    <a:pt x="8819" y="57952"/>
                    <a:pt x="7559" y="56692"/>
                    <a:pt x="5039" y="54172"/>
                  </a:cubicBezTo>
                  <a:cubicBezTo>
                    <a:pt x="3779" y="51653"/>
                    <a:pt x="1260" y="49133"/>
                    <a:pt x="0" y="47873"/>
                  </a:cubicBezTo>
                  <a:lnTo>
                    <a:pt x="0" y="47873"/>
                  </a:lnTo>
                  <a:lnTo>
                    <a:pt x="0" y="47873"/>
                  </a:lnTo>
                  <a:lnTo>
                    <a:pt x="0" y="47873"/>
                  </a:lnTo>
                  <a:lnTo>
                    <a:pt x="0" y="47873"/>
                  </a:lnTo>
                  <a:lnTo>
                    <a:pt x="0" y="47873"/>
                  </a:lnTo>
                  <a:lnTo>
                    <a:pt x="0" y="47873"/>
                  </a:lnTo>
                  <a:cubicBezTo>
                    <a:pt x="1260" y="46613"/>
                    <a:pt x="2519" y="46613"/>
                    <a:pt x="3779" y="45354"/>
                  </a:cubicBezTo>
                  <a:cubicBezTo>
                    <a:pt x="3779" y="45354"/>
                    <a:pt x="3779" y="45354"/>
                    <a:pt x="3779" y="45354"/>
                  </a:cubicBezTo>
                  <a:lnTo>
                    <a:pt x="3779" y="45354"/>
                  </a:lnTo>
                  <a:lnTo>
                    <a:pt x="3779" y="45354"/>
                  </a:lnTo>
                  <a:cubicBezTo>
                    <a:pt x="3779" y="45354"/>
                    <a:pt x="3779" y="45354"/>
                    <a:pt x="3779" y="45354"/>
                  </a:cubicBezTo>
                  <a:cubicBezTo>
                    <a:pt x="3779" y="45354"/>
                    <a:pt x="3779" y="45354"/>
                    <a:pt x="3779" y="45354"/>
                  </a:cubicBezTo>
                  <a:lnTo>
                    <a:pt x="3779" y="45354"/>
                  </a:lnTo>
                  <a:lnTo>
                    <a:pt x="3779" y="45354"/>
                  </a:lnTo>
                  <a:lnTo>
                    <a:pt x="3779" y="45354"/>
                  </a:lnTo>
                  <a:lnTo>
                    <a:pt x="3779" y="45354"/>
                  </a:lnTo>
                  <a:lnTo>
                    <a:pt x="3779" y="45354"/>
                  </a:lnTo>
                  <a:lnTo>
                    <a:pt x="3779" y="45354"/>
                  </a:lnTo>
                  <a:lnTo>
                    <a:pt x="3779" y="45354"/>
                  </a:lnTo>
                  <a:lnTo>
                    <a:pt x="3779" y="45354"/>
                  </a:lnTo>
                  <a:lnTo>
                    <a:pt x="3779" y="45354"/>
                  </a:lnTo>
                  <a:cubicBezTo>
                    <a:pt x="7559" y="42834"/>
                    <a:pt x="11338" y="40314"/>
                    <a:pt x="15118" y="36535"/>
                  </a:cubicBezTo>
                  <a:cubicBezTo>
                    <a:pt x="16378" y="35275"/>
                    <a:pt x="18897" y="34015"/>
                    <a:pt x="20157" y="32755"/>
                  </a:cubicBezTo>
                  <a:cubicBezTo>
                    <a:pt x="21417" y="31496"/>
                    <a:pt x="22677" y="30236"/>
                    <a:pt x="25196" y="28976"/>
                  </a:cubicBezTo>
                  <a:cubicBezTo>
                    <a:pt x="27716" y="26456"/>
                    <a:pt x="31496" y="25196"/>
                    <a:pt x="34015" y="23937"/>
                  </a:cubicBezTo>
                  <a:cubicBezTo>
                    <a:pt x="35275" y="22677"/>
                    <a:pt x="36535" y="22677"/>
                    <a:pt x="37795" y="21417"/>
                  </a:cubicBezTo>
                  <a:lnTo>
                    <a:pt x="37795" y="21417"/>
                  </a:lnTo>
                  <a:cubicBezTo>
                    <a:pt x="40314" y="20157"/>
                    <a:pt x="41574" y="18897"/>
                    <a:pt x="44094" y="17637"/>
                  </a:cubicBezTo>
                  <a:cubicBezTo>
                    <a:pt x="49133" y="15118"/>
                    <a:pt x="55432" y="11338"/>
                    <a:pt x="61731" y="8819"/>
                  </a:cubicBezTo>
                  <a:cubicBezTo>
                    <a:pt x="68030" y="6299"/>
                    <a:pt x="75589" y="3780"/>
                    <a:pt x="83148" y="2520"/>
                  </a:cubicBezTo>
                  <a:cubicBezTo>
                    <a:pt x="88188" y="2520"/>
                    <a:pt x="91967" y="1260"/>
                    <a:pt x="95747" y="1260"/>
                  </a:cubicBezTo>
                  <a:cubicBezTo>
                    <a:pt x="99526" y="0"/>
                    <a:pt x="103305" y="0"/>
                    <a:pt x="108345" y="0"/>
                  </a:cubicBezTo>
                  <a:lnTo>
                    <a:pt x="108345" y="0"/>
                  </a:lnTo>
                  <a:close/>
                </a:path>
              </a:pathLst>
            </a:custGeom>
            <a:solidFill>
              <a:srgbClr val="FFD671"/>
            </a:solidFill>
            <a:ln w="12584" cap="flat">
              <a:noFill/>
              <a:prstDash val="solid"/>
              <a:miter/>
            </a:ln>
          </p:spPr>
          <p:txBody>
            <a:bodyPr rtlCol="0" anchor="ctr"/>
            <a:lstStyle/>
            <a:p>
              <a:endParaRPr lang="zh-CN" altLang="en-US"/>
            </a:p>
          </p:txBody>
        </p:sp>
        <p:sp>
          <p:nvSpPr>
            <p:cNvPr id="10219" name="任意多边形: 形状 10218"/>
            <p:cNvSpPr/>
            <p:nvPr/>
          </p:nvSpPr>
          <p:spPr>
            <a:xfrm>
              <a:off x="5134495" y="3337032"/>
              <a:ext cx="100786" cy="251965"/>
            </a:xfrm>
            <a:custGeom>
              <a:avLst/>
              <a:gdLst>
                <a:gd name="connsiteX0" fmla="*/ 99526 w 100785"/>
                <a:gd name="connsiteY0" fmla="*/ 47873 h 251964"/>
                <a:gd name="connsiteX1" fmla="*/ 99526 w 100785"/>
                <a:gd name="connsiteY1" fmla="*/ 60472 h 251964"/>
                <a:gd name="connsiteX2" fmla="*/ 98266 w 100785"/>
                <a:gd name="connsiteY2" fmla="*/ 81889 h 251964"/>
                <a:gd name="connsiteX3" fmla="*/ 98266 w 100785"/>
                <a:gd name="connsiteY3" fmla="*/ 85668 h 251964"/>
                <a:gd name="connsiteX4" fmla="*/ 97007 w 100785"/>
                <a:gd name="connsiteY4" fmla="*/ 117164 h 251964"/>
                <a:gd name="connsiteX5" fmla="*/ 97007 w 100785"/>
                <a:gd name="connsiteY5" fmla="*/ 118424 h 251964"/>
                <a:gd name="connsiteX6" fmla="*/ 95747 w 100785"/>
                <a:gd name="connsiteY6" fmla="*/ 134801 h 251964"/>
                <a:gd name="connsiteX7" fmla="*/ 95747 w 100785"/>
                <a:gd name="connsiteY7" fmla="*/ 137321 h 251964"/>
                <a:gd name="connsiteX8" fmla="*/ 94487 w 100785"/>
                <a:gd name="connsiteY8" fmla="*/ 142360 h 251964"/>
                <a:gd name="connsiteX9" fmla="*/ 93227 w 100785"/>
                <a:gd name="connsiteY9" fmla="*/ 151179 h 251964"/>
                <a:gd name="connsiteX10" fmla="*/ 91967 w 100785"/>
                <a:gd name="connsiteY10" fmla="*/ 167557 h 251964"/>
                <a:gd name="connsiteX11" fmla="*/ 91967 w 100785"/>
                <a:gd name="connsiteY11" fmla="*/ 168816 h 251964"/>
                <a:gd name="connsiteX12" fmla="*/ 89448 w 100785"/>
                <a:gd name="connsiteY12" fmla="*/ 185194 h 251964"/>
                <a:gd name="connsiteX13" fmla="*/ 89448 w 100785"/>
                <a:gd name="connsiteY13" fmla="*/ 186454 h 251964"/>
                <a:gd name="connsiteX14" fmla="*/ 86928 w 100785"/>
                <a:gd name="connsiteY14" fmla="*/ 201572 h 251964"/>
                <a:gd name="connsiteX15" fmla="*/ 84408 w 100785"/>
                <a:gd name="connsiteY15" fmla="*/ 219209 h 251964"/>
                <a:gd name="connsiteX16" fmla="*/ 80629 w 100785"/>
                <a:gd name="connsiteY16" fmla="*/ 235587 h 251964"/>
                <a:gd name="connsiteX17" fmla="*/ 78109 w 100785"/>
                <a:gd name="connsiteY17" fmla="*/ 243146 h 251964"/>
                <a:gd name="connsiteX18" fmla="*/ 76849 w 100785"/>
                <a:gd name="connsiteY18" fmla="*/ 246925 h 251964"/>
                <a:gd name="connsiteX19" fmla="*/ 73070 w 100785"/>
                <a:gd name="connsiteY19" fmla="*/ 249445 h 251964"/>
                <a:gd name="connsiteX20" fmla="*/ 68030 w 100785"/>
                <a:gd name="connsiteY20" fmla="*/ 250705 h 251964"/>
                <a:gd name="connsiteX21" fmla="*/ 64251 w 100785"/>
                <a:gd name="connsiteY21" fmla="*/ 250705 h 251964"/>
                <a:gd name="connsiteX22" fmla="*/ 64251 w 100785"/>
                <a:gd name="connsiteY22" fmla="*/ 250705 h 251964"/>
                <a:gd name="connsiteX23" fmla="*/ 54173 w 100785"/>
                <a:gd name="connsiteY23" fmla="*/ 251965 h 251964"/>
                <a:gd name="connsiteX24" fmla="*/ 52913 w 100785"/>
                <a:gd name="connsiteY24" fmla="*/ 251965 h 251964"/>
                <a:gd name="connsiteX25" fmla="*/ 47874 w 100785"/>
                <a:gd name="connsiteY25" fmla="*/ 251965 h 251964"/>
                <a:gd name="connsiteX26" fmla="*/ 47874 w 100785"/>
                <a:gd name="connsiteY26" fmla="*/ 251965 h 251964"/>
                <a:gd name="connsiteX27" fmla="*/ 47874 w 100785"/>
                <a:gd name="connsiteY27" fmla="*/ 251965 h 251964"/>
                <a:gd name="connsiteX28" fmla="*/ 47874 w 100785"/>
                <a:gd name="connsiteY28" fmla="*/ 251965 h 251964"/>
                <a:gd name="connsiteX29" fmla="*/ 47874 w 100785"/>
                <a:gd name="connsiteY29" fmla="*/ 251965 h 251964"/>
                <a:gd name="connsiteX30" fmla="*/ 47874 w 100785"/>
                <a:gd name="connsiteY30" fmla="*/ 251965 h 251964"/>
                <a:gd name="connsiteX31" fmla="*/ 47874 w 100785"/>
                <a:gd name="connsiteY31" fmla="*/ 251965 h 251964"/>
                <a:gd name="connsiteX32" fmla="*/ 47874 w 100785"/>
                <a:gd name="connsiteY32" fmla="*/ 251965 h 251964"/>
                <a:gd name="connsiteX33" fmla="*/ 39055 w 100785"/>
                <a:gd name="connsiteY33" fmla="*/ 249445 h 251964"/>
                <a:gd name="connsiteX34" fmla="*/ 39055 w 100785"/>
                <a:gd name="connsiteY34" fmla="*/ 249445 h 251964"/>
                <a:gd name="connsiteX35" fmla="*/ 31496 w 100785"/>
                <a:gd name="connsiteY35" fmla="*/ 245666 h 251964"/>
                <a:gd name="connsiteX36" fmla="*/ 28976 w 100785"/>
                <a:gd name="connsiteY36" fmla="*/ 244406 h 251964"/>
                <a:gd name="connsiteX37" fmla="*/ 27716 w 100785"/>
                <a:gd name="connsiteY37" fmla="*/ 244406 h 251964"/>
                <a:gd name="connsiteX38" fmla="*/ 23937 w 100785"/>
                <a:gd name="connsiteY38" fmla="*/ 241886 h 251964"/>
                <a:gd name="connsiteX39" fmla="*/ 21417 w 100785"/>
                <a:gd name="connsiteY39" fmla="*/ 239366 h 251964"/>
                <a:gd name="connsiteX40" fmla="*/ 21417 w 100785"/>
                <a:gd name="connsiteY40" fmla="*/ 239366 h 251964"/>
                <a:gd name="connsiteX41" fmla="*/ 15118 w 100785"/>
                <a:gd name="connsiteY41" fmla="*/ 231808 h 251964"/>
                <a:gd name="connsiteX42" fmla="*/ 15118 w 100785"/>
                <a:gd name="connsiteY42" fmla="*/ 230548 h 251964"/>
                <a:gd name="connsiteX43" fmla="*/ 13858 w 100785"/>
                <a:gd name="connsiteY43" fmla="*/ 228028 h 251964"/>
                <a:gd name="connsiteX44" fmla="*/ 11338 w 100785"/>
                <a:gd name="connsiteY44" fmla="*/ 224249 h 251964"/>
                <a:gd name="connsiteX45" fmla="*/ 7559 w 100785"/>
                <a:gd name="connsiteY45" fmla="*/ 215430 h 251964"/>
                <a:gd name="connsiteX46" fmla="*/ 3780 w 100785"/>
                <a:gd name="connsiteY46" fmla="*/ 205351 h 251964"/>
                <a:gd name="connsiteX47" fmla="*/ 3780 w 100785"/>
                <a:gd name="connsiteY47" fmla="*/ 204091 h 251964"/>
                <a:gd name="connsiteX48" fmla="*/ 0 w 100785"/>
                <a:gd name="connsiteY48" fmla="*/ 186454 h 251964"/>
                <a:gd name="connsiteX49" fmla="*/ 0 w 100785"/>
                <a:gd name="connsiteY49" fmla="*/ 178895 h 251964"/>
                <a:gd name="connsiteX50" fmla="*/ 0 w 100785"/>
                <a:gd name="connsiteY50" fmla="*/ 176375 h 251964"/>
                <a:gd name="connsiteX51" fmla="*/ 0 w 100785"/>
                <a:gd name="connsiteY51" fmla="*/ 170076 h 251964"/>
                <a:gd name="connsiteX52" fmla="*/ 0 w 100785"/>
                <a:gd name="connsiteY52" fmla="*/ 167557 h 251964"/>
                <a:gd name="connsiteX53" fmla="*/ 0 w 100785"/>
                <a:gd name="connsiteY53" fmla="*/ 167557 h 251964"/>
                <a:gd name="connsiteX54" fmla="*/ 0 w 100785"/>
                <a:gd name="connsiteY54" fmla="*/ 167557 h 251964"/>
                <a:gd name="connsiteX55" fmla="*/ 0 w 100785"/>
                <a:gd name="connsiteY55" fmla="*/ 162517 h 251964"/>
                <a:gd name="connsiteX56" fmla="*/ 0 w 100785"/>
                <a:gd name="connsiteY56" fmla="*/ 159998 h 251964"/>
                <a:gd name="connsiteX57" fmla="*/ 0 w 100785"/>
                <a:gd name="connsiteY57" fmla="*/ 157478 h 251964"/>
                <a:gd name="connsiteX58" fmla="*/ 0 w 100785"/>
                <a:gd name="connsiteY58" fmla="*/ 152439 h 251964"/>
                <a:gd name="connsiteX59" fmla="*/ 2520 w 100785"/>
                <a:gd name="connsiteY59" fmla="*/ 144880 h 251964"/>
                <a:gd name="connsiteX60" fmla="*/ 2520 w 100785"/>
                <a:gd name="connsiteY60" fmla="*/ 144880 h 251964"/>
                <a:gd name="connsiteX61" fmla="*/ 2520 w 100785"/>
                <a:gd name="connsiteY61" fmla="*/ 143620 h 251964"/>
                <a:gd name="connsiteX62" fmla="*/ 5039 w 100785"/>
                <a:gd name="connsiteY62" fmla="*/ 134801 h 251964"/>
                <a:gd name="connsiteX63" fmla="*/ 5039 w 100785"/>
                <a:gd name="connsiteY63" fmla="*/ 133541 h 251964"/>
                <a:gd name="connsiteX64" fmla="*/ 5039 w 100785"/>
                <a:gd name="connsiteY64" fmla="*/ 133541 h 251964"/>
                <a:gd name="connsiteX65" fmla="*/ 11338 w 100785"/>
                <a:gd name="connsiteY65" fmla="*/ 119683 h 251964"/>
                <a:gd name="connsiteX66" fmla="*/ 12598 w 100785"/>
                <a:gd name="connsiteY66" fmla="*/ 117164 h 251964"/>
                <a:gd name="connsiteX67" fmla="*/ 12598 w 100785"/>
                <a:gd name="connsiteY67" fmla="*/ 117164 h 251964"/>
                <a:gd name="connsiteX68" fmla="*/ 15118 w 100785"/>
                <a:gd name="connsiteY68" fmla="*/ 112124 h 251964"/>
                <a:gd name="connsiteX69" fmla="*/ 20157 w 100785"/>
                <a:gd name="connsiteY69" fmla="*/ 103305 h 251964"/>
                <a:gd name="connsiteX70" fmla="*/ 20157 w 100785"/>
                <a:gd name="connsiteY70" fmla="*/ 103305 h 251964"/>
                <a:gd name="connsiteX71" fmla="*/ 27716 w 100785"/>
                <a:gd name="connsiteY71" fmla="*/ 89448 h 251964"/>
                <a:gd name="connsiteX72" fmla="*/ 37795 w 100785"/>
                <a:gd name="connsiteY72" fmla="*/ 74330 h 251964"/>
                <a:gd name="connsiteX73" fmla="*/ 49133 w 100785"/>
                <a:gd name="connsiteY73" fmla="*/ 59212 h 251964"/>
                <a:gd name="connsiteX74" fmla="*/ 69290 w 100785"/>
                <a:gd name="connsiteY74" fmla="*/ 35275 h 251964"/>
                <a:gd name="connsiteX75" fmla="*/ 71810 w 100785"/>
                <a:gd name="connsiteY75" fmla="*/ 32755 h 251964"/>
                <a:gd name="connsiteX76" fmla="*/ 95747 w 100785"/>
                <a:gd name="connsiteY76" fmla="*/ 7559 h 251964"/>
                <a:gd name="connsiteX77" fmla="*/ 104566 w 100785"/>
                <a:gd name="connsiteY77" fmla="*/ 0 h 251964"/>
                <a:gd name="connsiteX78" fmla="*/ 104566 w 100785"/>
                <a:gd name="connsiteY78" fmla="*/ 0 h 251964"/>
                <a:gd name="connsiteX79" fmla="*/ 104566 w 100785"/>
                <a:gd name="connsiteY79" fmla="*/ 0 h 251964"/>
                <a:gd name="connsiteX80" fmla="*/ 99526 w 100785"/>
                <a:gd name="connsiteY80" fmla="*/ 47873 h 25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00785" h="251964">
                  <a:moveTo>
                    <a:pt x="99526" y="47873"/>
                  </a:moveTo>
                  <a:cubicBezTo>
                    <a:pt x="99526" y="51653"/>
                    <a:pt x="99526" y="56692"/>
                    <a:pt x="99526" y="60472"/>
                  </a:cubicBezTo>
                  <a:cubicBezTo>
                    <a:pt x="99526" y="68031"/>
                    <a:pt x="99526" y="75589"/>
                    <a:pt x="98266" y="81889"/>
                  </a:cubicBezTo>
                  <a:lnTo>
                    <a:pt x="98266" y="85668"/>
                  </a:lnTo>
                  <a:cubicBezTo>
                    <a:pt x="98266" y="95747"/>
                    <a:pt x="98266" y="107085"/>
                    <a:pt x="97007" y="117164"/>
                  </a:cubicBezTo>
                  <a:lnTo>
                    <a:pt x="97007" y="118424"/>
                  </a:lnTo>
                  <a:cubicBezTo>
                    <a:pt x="97007" y="123463"/>
                    <a:pt x="95747" y="128502"/>
                    <a:pt x="95747" y="134801"/>
                  </a:cubicBezTo>
                  <a:cubicBezTo>
                    <a:pt x="95747" y="136061"/>
                    <a:pt x="95747" y="136061"/>
                    <a:pt x="95747" y="137321"/>
                  </a:cubicBezTo>
                  <a:cubicBezTo>
                    <a:pt x="95747" y="138581"/>
                    <a:pt x="95747" y="141100"/>
                    <a:pt x="94487" y="142360"/>
                  </a:cubicBezTo>
                  <a:cubicBezTo>
                    <a:pt x="94487" y="144880"/>
                    <a:pt x="94487" y="148659"/>
                    <a:pt x="93227" y="151179"/>
                  </a:cubicBezTo>
                  <a:cubicBezTo>
                    <a:pt x="93227" y="156218"/>
                    <a:pt x="91967" y="162517"/>
                    <a:pt x="91967" y="167557"/>
                  </a:cubicBezTo>
                  <a:lnTo>
                    <a:pt x="91967" y="168816"/>
                  </a:lnTo>
                  <a:cubicBezTo>
                    <a:pt x="91967" y="173856"/>
                    <a:pt x="90707" y="180155"/>
                    <a:pt x="89448" y="185194"/>
                  </a:cubicBezTo>
                  <a:lnTo>
                    <a:pt x="89448" y="186454"/>
                  </a:lnTo>
                  <a:cubicBezTo>
                    <a:pt x="88188" y="191493"/>
                    <a:pt x="88188" y="196533"/>
                    <a:pt x="86928" y="201572"/>
                  </a:cubicBezTo>
                  <a:cubicBezTo>
                    <a:pt x="85668" y="206611"/>
                    <a:pt x="85668" y="212910"/>
                    <a:pt x="84408" y="219209"/>
                  </a:cubicBezTo>
                  <a:cubicBezTo>
                    <a:pt x="83148" y="224249"/>
                    <a:pt x="81889" y="230548"/>
                    <a:pt x="80629" y="235587"/>
                  </a:cubicBezTo>
                  <a:cubicBezTo>
                    <a:pt x="79369" y="238107"/>
                    <a:pt x="79369" y="240626"/>
                    <a:pt x="78109" y="243146"/>
                  </a:cubicBezTo>
                  <a:cubicBezTo>
                    <a:pt x="78109" y="244406"/>
                    <a:pt x="76849" y="245666"/>
                    <a:pt x="76849" y="246925"/>
                  </a:cubicBezTo>
                  <a:cubicBezTo>
                    <a:pt x="75589" y="248185"/>
                    <a:pt x="74329" y="249445"/>
                    <a:pt x="73070" y="249445"/>
                  </a:cubicBezTo>
                  <a:cubicBezTo>
                    <a:pt x="71810" y="250705"/>
                    <a:pt x="69290" y="250705"/>
                    <a:pt x="68030" y="250705"/>
                  </a:cubicBezTo>
                  <a:cubicBezTo>
                    <a:pt x="66771" y="250705"/>
                    <a:pt x="65511" y="250705"/>
                    <a:pt x="64251" y="250705"/>
                  </a:cubicBezTo>
                  <a:lnTo>
                    <a:pt x="64251" y="250705"/>
                  </a:lnTo>
                  <a:cubicBezTo>
                    <a:pt x="60472" y="250705"/>
                    <a:pt x="56692" y="251965"/>
                    <a:pt x="54173" y="251965"/>
                  </a:cubicBezTo>
                  <a:lnTo>
                    <a:pt x="52913" y="251965"/>
                  </a:lnTo>
                  <a:cubicBezTo>
                    <a:pt x="51653" y="251965"/>
                    <a:pt x="50393" y="251965"/>
                    <a:pt x="47874" y="251965"/>
                  </a:cubicBezTo>
                  <a:lnTo>
                    <a:pt x="47874" y="251965"/>
                  </a:lnTo>
                  <a:cubicBezTo>
                    <a:pt x="47874" y="251965"/>
                    <a:pt x="47874" y="251965"/>
                    <a:pt x="47874" y="251965"/>
                  </a:cubicBezTo>
                  <a:cubicBezTo>
                    <a:pt x="47874" y="251965"/>
                    <a:pt x="47874" y="251965"/>
                    <a:pt x="47874" y="251965"/>
                  </a:cubicBezTo>
                  <a:cubicBezTo>
                    <a:pt x="47874" y="251965"/>
                    <a:pt x="47874" y="251965"/>
                    <a:pt x="47874" y="251965"/>
                  </a:cubicBezTo>
                  <a:lnTo>
                    <a:pt x="47874" y="251965"/>
                  </a:lnTo>
                  <a:lnTo>
                    <a:pt x="47874" y="251965"/>
                  </a:lnTo>
                  <a:cubicBezTo>
                    <a:pt x="47874" y="251965"/>
                    <a:pt x="47874" y="251965"/>
                    <a:pt x="47874" y="251965"/>
                  </a:cubicBezTo>
                  <a:cubicBezTo>
                    <a:pt x="44094" y="250705"/>
                    <a:pt x="41574" y="249445"/>
                    <a:pt x="39055" y="249445"/>
                  </a:cubicBezTo>
                  <a:lnTo>
                    <a:pt x="39055" y="249445"/>
                  </a:lnTo>
                  <a:cubicBezTo>
                    <a:pt x="36535" y="248185"/>
                    <a:pt x="34015" y="246925"/>
                    <a:pt x="31496" y="245666"/>
                  </a:cubicBezTo>
                  <a:cubicBezTo>
                    <a:pt x="30236" y="245666"/>
                    <a:pt x="28976" y="244406"/>
                    <a:pt x="28976" y="244406"/>
                  </a:cubicBezTo>
                  <a:lnTo>
                    <a:pt x="27716" y="244406"/>
                  </a:lnTo>
                  <a:cubicBezTo>
                    <a:pt x="26456" y="243146"/>
                    <a:pt x="25196" y="243146"/>
                    <a:pt x="23937" y="241886"/>
                  </a:cubicBezTo>
                  <a:cubicBezTo>
                    <a:pt x="22677" y="240626"/>
                    <a:pt x="22677" y="240626"/>
                    <a:pt x="21417" y="239366"/>
                  </a:cubicBezTo>
                  <a:lnTo>
                    <a:pt x="21417" y="239366"/>
                  </a:lnTo>
                  <a:cubicBezTo>
                    <a:pt x="18897" y="236847"/>
                    <a:pt x="17637" y="234327"/>
                    <a:pt x="15118" y="231808"/>
                  </a:cubicBezTo>
                  <a:lnTo>
                    <a:pt x="15118" y="230548"/>
                  </a:lnTo>
                  <a:cubicBezTo>
                    <a:pt x="15118" y="230548"/>
                    <a:pt x="13858" y="229288"/>
                    <a:pt x="13858" y="228028"/>
                  </a:cubicBezTo>
                  <a:cubicBezTo>
                    <a:pt x="12598" y="226768"/>
                    <a:pt x="12598" y="225508"/>
                    <a:pt x="11338" y="224249"/>
                  </a:cubicBezTo>
                  <a:cubicBezTo>
                    <a:pt x="10079" y="221729"/>
                    <a:pt x="8819" y="217949"/>
                    <a:pt x="7559" y="215430"/>
                  </a:cubicBezTo>
                  <a:cubicBezTo>
                    <a:pt x="6299" y="211650"/>
                    <a:pt x="5039" y="209131"/>
                    <a:pt x="3780" y="205351"/>
                  </a:cubicBezTo>
                  <a:lnTo>
                    <a:pt x="3780" y="204091"/>
                  </a:lnTo>
                  <a:cubicBezTo>
                    <a:pt x="2520" y="199052"/>
                    <a:pt x="1260" y="194013"/>
                    <a:pt x="0" y="186454"/>
                  </a:cubicBezTo>
                  <a:cubicBezTo>
                    <a:pt x="0" y="183934"/>
                    <a:pt x="0" y="181415"/>
                    <a:pt x="0" y="178895"/>
                  </a:cubicBezTo>
                  <a:lnTo>
                    <a:pt x="0" y="176375"/>
                  </a:lnTo>
                  <a:cubicBezTo>
                    <a:pt x="0" y="173856"/>
                    <a:pt x="0" y="172596"/>
                    <a:pt x="0" y="170076"/>
                  </a:cubicBezTo>
                  <a:lnTo>
                    <a:pt x="0" y="167557"/>
                  </a:lnTo>
                  <a:lnTo>
                    <a:pt x="0" y="167557"/>
                  </a:lnTo>
                  <a:lnTo>
                    <a:pt x="0" y="167557"/>
                  </a:lnTo>
                  <a:cubicBezTo>
                    <a:pt x="0" y="166297"/>
                    <a:pt x="0" y="163777"/>
                    <a:pt x="0" y="162517"/>
                  </a:cubicBezTo>
                  <a:lnTo>
                    <a:pt x="0" y="159998"/>
                  </a:lnTo>
                  <a:lnTo>
                    <a:pt x="0" y="157478"/>
                  </a:lnTo>
                  <a:cubicBezTo>
                    <a:pt x="0" y="156218"/>
                    <a:pt x="0" y="153698"/>
                    <a:pt x="0" y="152439"/>
                  </a:cubicBezTo>
                  <a:cubicBezTo>
                    <a:pt x="0" y="149919"/>
                    <a:pt x="1260" y="147399"/>
                    <a:pt x="2520" y="144880"/>
                  </a:cubicBezTo>
                  <a:lnTo>
                    <a:pt x="2520" y="144880"/>
                  </a:lnTo>
                  <a:lnTo>
                    <a:pt x="2520" y="143620"/>
                  </a:lnTo>
                  <a:cubicBezTo>
                    <a:pt x="3780" y="141100"/>
                    <a:pt x="3780" y="137321"/>
                    <a:pt x="5039" y="134801"/>
                  </a:cubicBezTo>
                  <a:lnTo>
                    <a:pt x="5039" y="133541"/>
                  </a:lnTo>
                  <a:lnTo>
                    <a:pt x="5039" y="133541"/>
                  </a:lnTo>
                  <a:cubicBezTo>
                    <a:pt x="6299" y="129762"/>
                    <a:pt x="8819" y="123463"/>
                    <a:pt x="11338" y="119683"/>
                  </a:cubicBezTo>
                  <a:cubicBezTo>
                    <a:pt x="11338" y="118424"/>
                    <a:pt x="12598" y="118424"/>
                    <a:pt x="12598" y="117164"/>
                  </a:cubicBezTo>
                  <a:lnTo>
                    <a:pt x="12598" y="117164"/>
                  </a:lnTo>
                  <a:cubicBezTo>
                    <a:pt x="13858" y="115904"/>
                    <a:pt x="13858" y="113384"/>
                    <a:pt x="15118" y="112124"/>
                  </a:cubicBezTo>
                  <a:cubicBezTo>
                    <a:pt x="16378" y="109605"/>
                    <a:pt x="18897" y="105825"/>
                    <a:pt x="20157" y="103305"/>
                  </a:cubicBezTo>
                  <a:lnTo>
                    <a:pt x="20157" y="103305"/>
                  </a:lnTo>
                  <a:cubicBezTo>
                    <a:pt x="22677" y="99526"/>
                    <a:pt x="25196" y="94487"/>
                    <a:pt x="27716" y="89448"/>
                  </a:cubicBezTo>
                  <a:cubicBezTo>
                    <a:pt x="30236" y="84408"/>
                    <a:pt x="34015" y="79369"/>
                    <a:pt x="37795" y="74330"/>
                  </a:cubicBezTo>
                  <a:cubicBezTo>
                    <a:pt x="41574" y="69290"/>
                    <a:pt x="45354" y="62991"/>
                    <a:pt x="49133" y="59212"/>
                  </a:cubicBezTo>
                  <a:cubicBezTo>
                    <a:pt x="55432" y="50393"/>
                    <a:pt x="61731" y="42834"/>
                    <a:pt x="69290" y="35275"/>
                  </a:cubicBezTo>
                  <a:lnTo>
                    <a:pt x="71810" y="32755"/>
                  </a:lnTo>
                  <a:cubicBezTo>
                    <a:pt x="78109" y="25196"/>
                    <a:pt x="86928" y="16378"/>
                    <a:pt x="95747" y="7559"/>
                  </a:cubicBezTo>
                  <a:cubicBezTo>
                    <a:pt x="98266" y="5039"/>
                    <a:pt x="102046" y="2520"/>
                    <a:pt x="104566" y="0"/>
                  </a:cubicBezTo>
                  <a:lnTo>
                    <a:pt x="104566" y="0"/>
                  </a:lnTo>
                  <a:lnTo>
                    <a:pt x="104566" y="0"/>
                  </a:lnTo>
                  <a:cubicBezTo>
                    <a:pt x="100786" y="18897"/>
                    <a:pt x="100786" y="35275"/>
                    <a:pt x="99526" y="47873"/>
                  </a:cubicBezTo>
                </a:path>
              </a:pathLst>
            </a:custGeom>
            <a:solidFill>
              <a:srgbClr val="FFD671"/>
            </a:solidFill>
            <a:ln w="12584" cap="flat">
              <a:noFill/>
              <a:prstDash val="solid"/>
              <a:miter/>
            </a:ln>
          </p:spPr>
          <p:txBody>
            <a:bodyPr rtlCol="0" anchor="ctr"/>
            <a:lstStyle/>
            <a:p>
              <a:endParaRPr lang="zh-CN" altLang="en-US"/>
            </a:p>
          </p:txBody>
        </p:sp>
        <p:sp>
          <p:nvSpPr>
            <p:cNvPr id="10220" name="任意多边形: 形状 10219"/>
            <p:cNvSpPr/>
            <p:nvPr/>
          </p:nvSpPr>
          <p:spPr>
            <a:xfrm>
              <a:off x="5242840" y="3140500"/>
              <a:ext cx="12598" cy="62991"/>
            </a:xfrm>
            <a:custGeom>
              <a:avLst/>
              <a:gdLst>
                <a:gd name="connsiteX0" fmla="*/ 2520 w 0"/>
                <a:gd name="connsiteY0" fmla="*/ 8819 h 62991"/>
                <a:gd name="connsiteX1" fmla="*/ 1260 w 0"/>
                <a:gd name="connsiteY1" fmla="*/ 34015 h 62991"/>
                <a:gd name="connsiteX2" fmla="*/ 0 w 0"/>
                <a:gd name="connsiteY2" fmla="*/ 73070 h 62991"/>
                <a:gd name="connsiteX3" fmla="*/ 0 w 0"/>
                <a:gd name="connsiteY3" fmla="*/ 69290 h 62991"/>
                <a:gd name="connsiteX4" fmla="*/ 0 w 0"/>
                <a:gd name="connsiteY4" fmla="*/ 68030 h 62991"/>
                <a:gd name="connsiteX5" fmla="*/ 0 w 0"/>
                <a:gd name="connsiteY5" fmla="*/ 66770 h 62991"/>
                <a:gd name="connsiteX6" fmla="*/ 0 w 0"/>
                <a:gd name="connsiteY6" fmla="*/ 65511 h 62991"/>
                <a:gd name="connsiteX7" fmla="*/ 0 w 0"/>
                <a:gd name="connsiteY7" fmla="*/ 64251 h 62991"/>
                <a:gd name="connsiteX8" fmla="*/ 0 w 0"/>
                <a:gd name="connsiteY8" fmla="*/ 60471 h 62991"/>
                <a:gd name="connsiteX9" fmla="*/ 0 w 0"/>
                <a:gd name="connsiteY9" fmla="*/ 57952 h 62991"/>
                <a:gd name="connsiteX10" fmla="*/ 0 w 0"/>
                <a:gd name="connsiteY10" fmla="*/ 55432 h 62991"/>
                <a:gd name="connsiteX11" fmla="*/ 0 w 0"/>
                <a:gd name="connsiteY11" fmla="*/ 45354 h 62991"/>
                <a:gd name="connsiteX12" fmla="*/ 0 w 0"/>
                <a:gd name="connsiteY12" fmla="*/ 42834 h 62991"/>
                <a:gd name="connsiteX13" fmla="*/ 1260 w 0"/>
                <a:gd name="connsiteY13" fmla="*/ 32755 h 62991"/>
                <a:gd name="connsiteX14" fmla="*/ 1260 w 0"/>
                <a:gd name="connsiteY14" fmla="*/ 30236 h 62991"/>
                <a:gd name="connsiteX15" fmla="*/ 1260 w 0"/>
                <a:gd name="connsiteY15" fmla="*/ 27716 h 62991"/>
                <a:gd name="connsiteX16" fmla="*/ 1260 w 0"/>
                <a:gd name="connsiteY16" fmla="*/ 25196 h 62991"/>
                <a:gd name="connsiteX17" fmla="*/ 1260 w 0"/>
                <a:gd name="connsiteY17" fmla="*/ 21417 h 62991"/>
                <a:gd name="connsiteX18" fmla="*/ 1260 w 0"/>
                <a:gd name="connsiteY18" fmla="*/ 13858 h 62991"/>
                <a:gd name="connsiteX19" fmla="*/ 1260 w 0"/>
                <a:gd name="connsiteY19" fmla="*/ 10078 h 62991"/>
                <a:gd name="connsiteX20" fmla="*/ 1260 w 0"/>
                <a:gd name="connsiteY20" fmla="*/ 8819 h 62991"/>
                <a:gd name="connsiteX21" fmla="*/ 1260 w 0"/>
                <a:gd name="connsiteY21" fmla="*/ 5039 h 62991"/>
                <a:gd name="connsiteX22" fmla="*/ 1260 w 0"/>
                <a:gd name="connsiteY22" fmla="*/ 1260 h 62991"/>
                <a:gd name="connsiteX23" fmla="*/ 1260 w 0"/>
                <a:gd name="connsiteY23" fmla="*/ 2520 h 62991"/>
                <a:gd name="connsiteX24" fmla="*/ 1260 w 0"/>
                <a:gd name="connsiteY24" fmla="*/ 0 h 62991"/>
                <a:gd name="connsiteX25" fmla="*/ 2520 w 0"/>
                <a:gd name="connsiteY25" fmla="*/ 8819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h="62991">
                  <a:moveTo>
                    <a:pt x="2520" y="8819"/>
                  </a:moveTo>
                  <a:cubicBezTo>
                    <a:pt x="2520" y="16378"/>
                    <a:pt x="1260" y="25196"/>
                    <a:pt x="1260" y="34015"/>
                  </a:cubicBezTo>
                  <a:cubicBezTo>
                    <a:pt x="0" y="46613"/>
                    <a:pt x="0" y="60471"/>
                    <a:pt x="0" y="73070"/>
                  </a:cubicBezTo>
                  <a:cubicBezTo>
                    <a:pt x="0" y="71810"/>
                    <a:pt x="0" y="70550"/>
                    <a:pt x="0" y="69290"/>
                  </a:cubicBezTo>
                  <a:cubicBezTo>
                    <a:pt x="0" y="69290"/>
                    <a:pt x="0" y="68030"/>
                    <a:pt x="0" y="68030"/>
                  </a:cubicBezTo>
                  <a:lnTo>
                    <a:pt x="0" y="66770"/>
                  </a:lnTo>
                  <a:lnTo>
                    <a:pt x="0" y="65511"/>
                  </a:lnTo>
                  <a:lnTo>
                    <a:pt x="0" y="64251"/>
                  </a:lnTo>
                  <a:cubicBezTo>
                    <a:pt x="0" y="62991"/>
                    <a:pt x="0" y="61731"/>
                    <a:pt x="0" y="60471"/>
                  </a:cubicBezTo>
                  <a:cubicBezTo>
                    <a:pt x="0" y="59212"/>
                    <a:pt x="0" y="59212"/>
                    <a:pt x="0" y="57952"/>
                  </a:cubicBezTo>
                  <a:cubicBezTo>
                    <a:pt x="0" y="56692"/>
                    <a:pt x="0" y="56692"/>
                    <a:pt x="0" y="55432"/>
                  </a:cubicBezTo>
                  <a:cubicBezTo>
                    <a:pt x="0" y="51653"/>
                    <a:pt x="0" y="49133"/>
                    <a:pt x="0" y="45354"/>
                  </a:cubicBezTo>
                  <a:cubicBezTo>
                    <a:pt x="0" y="44094"/>
                    <a:pt x="0" y="44094"/>
                    <a:pt x="0" y="42834"/>
                  </a:cubicBezTo>
                  <a:cubicBezTo>
                    <a:pt x="0" y="40314"/>
                    <a:pt x="1260" y="36535"/>
                    <a:pt x="1260" y="32755"/>
                  </a:cubicBezTo>
                  <a:cubicBezTo>
                    <a:pt x="1260" y="31496"/>
                    <a:pt x="1260" y="30236"/>
                    <a:pt x="1260" y="30236"/>
                  </a:cubicBezTo>
                  <a:cubicBezTo>
                    <a:pt x="1260" y="28976"/>
                    <a:pt x="1260" y="28976"/>
                    <a:pt x="1260" y="27716"/>
                  </a:cubicBezTo>
                  <a:lnTo>
                    <a:pt x="1260" y="25196"/>
                  </a:lnTo>
                  <a:cubicBezTo>
                    <a:pt x="1260" y="23937"/>
                    <a:pt x="1260" y="22677"/>
                    <a:pt x="1260" y="21417"/>
                  </a:cubicBezTo>
                  <a:cubicBezTo>
                    <a:pt x="1260" y="18897"/>
                    <a:pt x="1260" y="16378"/>
                    <a:pt x="1260" y="13858"/>
                  </a:cubicBezTo>
                  <a:cubicBezTo>
                    <a:pt x="1260" y="12598"/>
                    <a:pt x="1260" y="11338"/>
                    <a:pt x="1260" y="10078"/>
                  </a:cubicBezTo>
                  <a:lnTo>
                    <a:pt x="1260" y="8819"/>
                  </a:lnTo>
                  <a:cubicBezTo>
                    <a:pt x="1260" y="7559"/>
                    <a:pt x="1260" y="6299"/>
                    <a:pt x="1260" y="5039"/>
                  </a:cubicBezTo>
                  <a:cubicBezTo>
                    <a:pt x="1260" y="3779"/>
                    <a:pt x="1260" y="2520"/>
                    <a:pt x="1260" y="1260"/>
                  </a:cubicBezTo>
                  <a:lnTo>
                    <a:pt x="1260" y="2520"/>
                  </a:lnTo>
                  <a:cubicBezTo>
                    <a:pt x="1260" y="1260"/>
                    <a:pt x="1260" y="1260"/>
                    <a:pt x="1260" y="0"/>
                  </a:cubicBezTo>
                  <a:cubicBezTo>
                    <a:pt x="2520" y="5039"/>
                    <a:pt x="2520" y="6299"/>
                    <a:pt x="2520" y="8819"/>
                  </a:cubicBezTo>
                </a:path>
              </a:pathLst>
            </a:custGeom>
            <a:solidFill>
              <a:srgbClr val="FFD671"/>
            </a:solidFill>
            <a:ln w="12584" cap="flat">
              <a:noFill/>
              <a:prstDash val="solid"/>
              <a:miter/>
            </a:ln>
          </p:spPr>
          <p:txBody>
            <a:bodyPr rtlCol="0" anchor="ctr"/>
            <a:lstStyle/>
            <a:p>
              <a:endParaRPr lang="zh-CN" altLang="en-US"/>
            </a:p>
          </p:txBody>
        </p:sp>
        <p:sp>
          <p:nvSpPr>
            <p:cNvPr id="10221" name="任意多边形: 形状 10220"/>
            <p:cNvSpPr/>
            <p:nvPr/>
          </p:nvSpPr>
          <p:spPr>
            <a:xfrm>
              <a:off x="5207005" y="3073729"/>
              <a:ext cx="37795" cy="188973"/>
            </a:xfrm>
            <a:custGeom>
              <a:avLst/>
              <a:gdLst>
                <a:gd name="connsiteX0" fmla="*/ 560 w 37794"/>
                <a:gd name="connsiteY0" fmla="*/ 0 h 188973"/>
                <a:gd name="connsiteX1" fmla="*/ 560 w 37794"/>
                <a:gd name="connsiteY1" fmla="*/ 0 h 188973"/>
                <a:gd name="connsiteX2" fmla="*/ 560 w 37794"/>
                <a:gd name="connsiteY2" fmla="*/ 0 h 188973"/>
                <a:gd name="connsiteX3" fmla="*/ 1819 w 37794"/>
                <a:gd name="connsiteY3" fmla="*/ 1260 h 188973"/>
                <a:gd name="connsiteX4" fmla="*/ 4339 w 37794"/>
                <a:gd name="connsiteY4" fmla="*/ 2520 h 188973"/>
                <a:gd name="connsiteX5" fmla="*/ 4339 w 37794"/>
                <a:gd name="connsiteY5" fmla="*/ 2520 h 188973"/>
                <a:gd name="connsiteX6" fmla="*/ 4339 w 37794"/>
                <a:gd name="connsiteY6" fmla="*/ 2520 h 188973"/>
                <a:gd name="connsiteX7" fmla="*/ 6859 w 37794"/>
                <a:gd name="connsiteY7" fmla="*/ 5039 h 188973"/>
                <a:gd name="connsiteX8" fmla="*/ 9378 w 37794"/>
                <a:gd name="connsiteY8" fmla="*/ 7559 h 188973"/>
                <a:gd name="connsiteX9" fmla="*/ 9378 w 37794"/>
                <a:gd name="connsiteY9" fmla="*/ 7559 h 188973"/>
                <a:gd name="connsiteX10" fmla="*/ 9378 w 37794"/>
                <a:gd name="connsiteY10" fmla="*/ 7559 h 188973"/>
                <a:gd name="connsiteX11" fmla="*/ 9378 w 37794"/>
                <a:gd name="connsiteY11" fmla="*/ 7559 h 188973"/>
                <a:gd name="connsiteX12" fmla="*/ 9378 w 37794"/>
                <a:gd name="connsiteY12" fmla="*/ 7559 h 188973"/>
                <a:gd name="connsiteX13" fmla="*/ 9378 w 37794"/>
                <a:gd name="connsiteY13" fmla="*/ 7559 h 188973"/>
                <a:gd name="connsiteX14" fmla="*/ 9378 w 37794"/>
                <a:gd name="connsiteY14" fmla="*/ 7559 h 188973"/>
                <a:gd name="connsiteX15" fmla="*/ 9378 w 37794"/>
                <a:gd name="connsiteY15" fmla="*/ 7559 h 188973"/>
                <a:gd name="connsiteX16" fmla="*/ 9378 w 37794"/>
                <a:gd name="connsiteY16" fmla="*/ 7559 h 188973"/>
                <a:gd name="connsiteX17" fmla="*/ 9378 w 37794"/>
                <a:gd name="connsiteY17" fmla="*/ 7559 h 188973"/>
                <a:gd name="connsiteX18" fmla="*/ 9378 w 37794"/>
                <a:gd name="connsiteY18" fmla="*/ 7559 h 188973"/>
                <a:gd name="connsiteX19" fmla="*/ 10638 w 37794"/>
                <a:gd name="connsiteY19" fmla="*/ 8819 h 188973"/>
                <a:gd name="connsiteX20" fmla="*/ 11898 w 37794"/>
                <a:gd name="connsiteY20" fmla="*/ 10079 h 188973"/>
                <a:gd name="connsiteX21" fmla="*/ 14418 w 37794"/>
                <a:gd name="connsiteY21" fmla="*/ 12598 h 188973"/>
                <a:gd name="connsiteX22" fmla="*/ 15678 w 37794"/>
                <a:gd name="connsiteY22" fmla="*/ 13858 h 188973"/>
                <a:gd name="connsiteX23" fmla="*/ 18197 w 37794"/>
                <a:gd name="connsiteY23" fmla="*/ 16378 h 188973"/>
                <a:gd name="connsiteX24" fmla="*/ 20717 w 37794"/>
                <a:gd name="connsiteY24" fmla="*/ 18897 h 188973"/>
                <a:gd name="connsiteX25" fmla="*/ 20717 w 37794"/>
                <a:gd name="connsiteY25" fmla="*/ 18897 h 188973"/>
                <a:gd name="connsiteX26" fmla="*/ 21977 w 37794"/>
                <a:gd name="connsiteY26" fmla="*/ 20157 h 188973"/>
                <a:gd name="connsiteX27" fmla="*/ 25756 w 37794"/>
                <a:gd name="connsiteY27" fmla="*/ 25196 h 188973"/>
                <a:gd name="connsiteX28" fmla="*/ 27016 w 37794"/>
                <a:gd name="connsiteY28" fmla="*/ 27716 h 188973"/>
                <a:gd name="connsiteX29" fmla="*/ 27016 w 37794"/>
                <a:gd name="connsiteY29" fmla="*/ 28976 h 188973"/>
                <a:gd name="connsiteX30" fmla="*/ 28276 w 37794"/>
                <a:gd name="connsiteY30" fmla="*/ 31496 h 188973"/>
                <a:gd name="connsiteX31" fmla="*/ 32056 w 37794"/>
                <a:gd name="connsiteY31" fmla="*/ 36535 h 188973"/>
                <a:gd name="connsiteX32" fmla="*/ 33315 w 37794"/>
                <a:gd name="connsiteY32" fmla="*/ 37795 h 188973"/>
                <a:gd name="connsiteX33" fmla="*/ 33315 w 37794"/>
                <a:gd name="connsiteY33" fmla="*/ 39054 h 188973"/>
                <a:gd name="connsiteX34" fmla="*/ 33315 w 37794"/>
                <a:gd name="connsiteY34" fmla="*/ 39054 h 188973"/>
                <a:gd name="connsiteX35" fmla="*/ 33315 w 37794"/>
                <a:gd name="connsiteY35" fmla="*/ 39054 h 188973"/>
                <a:gd name="connsiteX36" fmla="*/ 33315 w 37794"/>
                <a:gd name="connsiteY36" fmla="*/ 39054 h 188973"/>
                <a:gd name="connsiteX37" fmla="*/ 34575 w 37794"/>
                <a:gd name="connsiteY37" fmla="*/ 41574 h 188973"/>
                <a:gd name="connsiteX38" fmla="*/ 35835 w 37794"/>
                <a:gd name="connsiteY38" fmla="*/ 42834 h 188973"/>
                <a:gd name="connsiteX39" fmla="*/ 38355 w 37794"/>
                <a:gd name="connsiteY39" fmla="*/ 45354 h 188973"/>
                <a:gd name="connsiteX40" fmla="*/ 39614 w 37794"/>
                <a:gd name="connsiteY40" fmla="*/ 47873 h 188973"/>
                <a:gd name="connsiteX41" fmla="*/ 39614 w 37794"/>
                <a:gd name="connsiteY41" fmla="*/ 47873 h 188973"/>
                <a:gd name="connsiteX42" fmla="*/ 39614 w 37794"/>
                <a:gd name="connsiteY42" fmla="*/ 47873 h 188973"/>
                <a:gd name="connsiteX43" fmla="*/ 39614 w 37794"/>
                <a:gd name="connsiteY43" fmla="*/ 47873 h 188973"/>
                <a:gd name="connsiteX44" fmla="*/ 39614 w 37794"/>
                <a:gd name="connsiteY44" fmla="*/ 49133 h 188973"/>
                <a:gd name="connsiteX45" fmla="*/ 39614 w 37794"/>
                <a:gd name="connsiteY45" fmla="*/ 50393 h 188973"/>
                <a:gd name="connsiteX46" fmla="*/ 39614 w 37794"/>
                <a:gd name="connsiteY46" fmla="*/ 51653 h 188973"/>
                <a:gd name="connsiteX47" fmla="*/ 39614 w 37794"/>
                <a:gd name="connsiteY47" fmla="*/ 52913 h 188973"/>
                <a:gd name="connsiteX48" fmla="*/ 39614 w 37794"/>
                <a:gd name="connsiteY48" fmla="*/ 55432 h 188973"/>
                <a:gd name="connsiteX49" fmla="*/ 39614 w 37794"/>
                <a:gd name="connsiteY49" fmla="*/ 56692 h 188973"/>
                <a:gd name="connsiteX50" fmla="*/ 39614 w 37794"/>
                <a:gd name="connsiteY50" fmla="*/ 59212 h 188973"/>
                <a:gd name="connsiteX51" fmla="*/ 38355 w 37794"/>
                <a:gd name="connsiteY51" fmla="*/ 65511 h 188973"/>
                <a:gd name="connsiteX52" fmla="*/ 38355 w 37794"/>
                <a:gd name="connsiteY52" fmla="*/ 71810 h 188973"/>
                <a:gd name="connsiteX53" fmla="*/ 38355 w 37794"/>
                <a:gd name="connsiteY53" fmla="*/ 70550 h 188973"/>
                <a:gd name="connsiteX54" fmla="*/ 38355 w 37794"/>
                <a:gd name="connsiteY54" fmla="*/ 74330 h 188973"/>
                <a:gd name="connsiteX55" fmla="*/ 38355 w 37794"/>
                <a:gd name="connsiteY55" fmla="*/ 78109 h 188973"/>
                <a:gd name="connsiteX56" fmla="*/ 38355 w 37794"/>
                <a:gd name="connsiteY56" fmla="*/ 79369 h 188973"/>
                <a:gd name="connsiteX57" fmla="*/ 38355 w 37794"/>
                <a:gd name="connsiteY57" fmla="*/ 83148 h 188973"/>
                <a:gd name="connsiteX58" fmla="*/ 38355 w 37794"/>
                <a:gd name="connsiteY58" fmla="*/ 90707 h 188973"/>
                <a:gd name="connsiteX59" fmla="*/ 38355 w 37794"/>
                <a:gd name="connsiteY59" fmla="*/ 94487 h 188973"/>
                <a:gd name="connsiteX60" fmla="*/ 38355 w 37794"/>
                <a:gd name="connsiteY60" fmla="*/ 97006 h 188973"/>
                <a:gd name="connsiteX61" fmla="*/ 38355 w 37794"/>
                <a:gd name="connsiteY61" fmla="*/ 99526 h 188973"/>
                <a:gd name="connsiteX62" fmla="*/ 38355 w 37794"/>
                <a:gd name="connsiteY62" fmla="*/ 102046 h 188973"/>
                <a:gd name="connsiteX63" fmla="*/ 37095 w 37794"/>
                <a:gd name="connsiteY63" fmla="*/ 112124 h 188973"/>
                <a:gd name="connsiteX64" fmla="*/ 37095 w 37794"/>
                <a:gd name="connsiteY64" fmla="*/ 114644 h 188973"/>
                <a:gd name="connsiteX65" fmla="*/ 37095 w 37794"/>
                <a:gd name="connsiteY65" fmla="*/ 124722 h 188973"/>
                <a:gd name="connsiteX66" fmla="*/ 37095 w 37794"/>
                <a:gd name="connsiteY66" fmla="*/ 127242 h 188973"/>
                <a:gd name="connsiteX67" fmla="*/ 37095 w 37794"/>
                <a:gd name="connsiteY67" fmla="*/ 129762 h 188973"/>
                <a:gd name="connsiteX68" fmla="*/ 37095 w 37794"/>
                <a:gd name="connsiteY68" fmla="*/ 133541 h 188973"/>
                <a:gd name="connsiteX69" fmla="*/ 37095 w 37794"/>
                <a:gd name="connsiteY69" fmla="*/ 134801 h 188973"/>
                <a:gd name="connsiteX70" fmla="*/ 37095 w 37794"/>
                <a:gd name="connsiteY70" fmla="*/ 136061 h 188973"/>
                <a:gd name="connsiteX71" fmla="*/ 37095 w 37794"/>
                <a:gd name="connsiteY71" fmla="*/ 137321 h 188973"/>
                <a:gd name="connsiteX72" fmla="*/ 37095 w 37794"/>
                <a:gd name="connsiteY72" fmla="*/ 138581 h 188973"/>
                <a:gd name="connsiteX73" fmla="*/ 37095 w 37794"/>
                <a:gd name="connsiteY73" fmla="*/ 154958 h 188973"/>
                <a:gd name="connsiteX74" fmla="*/ 37095 w 37794"/>
                <a:gd name="connsiteY74" fmla="*/ 156218 h 188973"/>
                <a:gd name="connsiteX75" fmla="*/ 35835 w 37794"/>
                <a:gd name="connsiteY75" fmla="*/ 172596 h 188973"/>
                <a:gd name="connsiteX76" fmla="*/ 35835 w 37794"/>
                <a:gd name="connsiteY76" fmla="*/ 180155 h 188973"/>
                <a:gd name="connsiteX77" fmla="*/ 35835 w 37794"/>
                <a:gd name="connsiteY77" fmla="*/ 190233 h 188973"/>
                <a:gd name="connsiteX78" fmla="*/ 35835 w 37794"/>
                <a:gd name="connsiteY78" fmla="*/ 190233 h 188973"/>
                <a:gd name="connsiteX79" fmla="*/ 35835 w 37794"/>
                <a:gd name="connsiteY79" fmla="*/ 190233 h 188973"/>
                <a:gd name="connsiteX80" fmla="*/ 35835 w 37794"/>
                <a:gd name="connsiteY80" fmla="*/ 190233 h 188973"/>
                <a:gd name="connsiteX81" fmla="*/ 35835 w 37794"/>
                <a:gd name="connsiteY81" fmla="*/ 190233 h 188973"/>
                <a:gd name="connsiteX82" fmla="*/ 35835 w 37794"/>
                <a:gd name="connsiteY82" fmla="*/ 190233 h 188973"/>
                <a:gd name="connsiteX83" fmla="*/ 35835 w 37794"/>
                <a:gd name="connsiteY83" fmla="*/ 190233 h 188973"/>
                <a:gd name="connsiteX84" fmla="*/ 34575 w 37794"/>
                <a:gd name="connsiteY84" fmla="*/ 191493 h 188973"/>
                <a:gd name="connsiteX85" fmla="*/ 33315 w 37794"/>
                <a:gd name="connsiteY85" fmla="*/ 191493 h 188973"/>
                <a:gd name="connsiteX86" fmla="*/ 32056 w 37794"/>
                <a:gd name="connsiteY86" fmla="*/ 191493 h 188973"/>
                <a:gd name="connsiteX87" fmla="*/ 30796 w 37794"/>
                <a:gd name="connsiteY87" fmla="*/ 191493 h 188973"/>
                <a:gd name="connsiteX88" fmla="*/ 29536 w 37794"/>
                <a:gd name="connsiteY88" fmla="*/ 190233 h 188973"/>
                <a:gd name="connsiteX89" fmla="*/ 28276 w 37794"/>
                <a:gd name="connsiteY89" fmla="*/ 185194 h 188973"/>
                <a:gd name="connsiteX90" fmla="*/ 28276 w 37794"/>
                <a:gd name="connsiteY90" fmla="*/ 185194 h 188973"/>
                <a:gd name="connsiteX91" fmla="*/ 27016 w 37794"/>
                <a:gd name="connsiteY91" fmla="*/ 180155 h 188973"/>
                <a:gd name="connsiteX92" fmla="*/ 27016 w 37794"/>
                <a:gd name="connsiteY92" fmla="*/ 180155 h 188973"/>
                <a:gd name="connsiteX93" fmla="*/ 27016 w 37794"/>
                <a:gd name="connsiteY93" fmla="*/ 180155 h 188973"/>
                <a:gd name="connsiteX94" fmla="*/ 27016 w 37794"/>
                <a:gd name="connsiteY94" fmla="*/ 180155 h 188973"/>
                <a:gd name="connsiteX95" fmla="*/ 25756 w 37794"/>
                <a:gd name="connsiteY95" fmla="*/ 171336 h 188973"/>
                <a:gd name="connsiteX96" fmla="*/ 24497 w 37794"/>
                <a:gd name="connsiteY96" fmla="*/ 166297 h 188973"/>
                <a:gd name="connsiteX97" fmla="*/ 24497 w 37794"/>
                <a:gd name="connsiteY97" fmla="*/ 165037 h 188973"/>
                <a:gd name="connsiteX98" fmla="*/ 24497 w 37794"/>
                <a:gd name="connsiteY98" fmla="*/ 161257 h 188973"/>
                <a:gd name="connsiteX99" fmla="*/ 23237 w 37794"/>
                <a:gd name="connsiteY99" fmla="*/ 149919 h 188973"/>
                <a:gd name="connsiteX100" fmla="*/ 21977 w 37794"/>
                <a:gd name="connsiteY100" fmla="*/ 139840 h 188973"/>
                <a:gd name="connsiteX101" fmla="*/ 21977 w 37794"/>
                <a:gd name="connsiteY101" fmla="*/ 134801 h 188973"/>
                <a:gd name="connsiteX102" fmla="*/ 21977 w 37794"/>
                <a:gd name="connsiteY102" fmla="*/ 133541 h 188973"/>
                <a:gd name="connsiteX103" fmla="*/ 21977 w 37794"/>
                <a:gd name="connsiteY103" fmla="*/ 128502 h 188973"/>
                <a:gd name="connsiteX104" fmla="*/ 21977 w 37794"/>
                <a:gd name="connsiteY104" fmla="*/ 125982 h 188973"/>
                <a:gd name="connsiteX105" fmla="*/ 21977 w 37794"/>
                <a:gd name="connsiteY105" fmla="*/ 124722 h 188973"/>
                <a:gd name="connsiteX106" fmla="*/ 21977 w 37794"/>
                <a:gd name="connsiteY106" fmla="*/ 123463 h 188973"/>
                <a:gd name="connsiteX107" fmla="*/ 21977 w 37794"/>
                <a:gd name="connsiteY107" fmla="*/ 118423 h 188973"/>
                <a:gd name="connsiteX108" fmla="*/ 20717 w 37794"/>
                <a:gd name="connsiteY108" fmla="*/ 108345 h 188973"/>
                <a:gd name="connsiteX109" fmla="*/ 20717 w 37794"/>
                <a:gd name="connsiteY109" fmla="*/ 108345 h 188973"/>
                <a:gd name="connsiteX110" fmla="*/ 18197 w 37794"/>
                <a:gd name="connsiteY110" fmla="*/ 93227 h 188973"/>
                <a:gd name="connsiteX111" fmla="*/ 18197 w 37794"/>
                <a:gd name="connsiteY111" fmla="*/ 91967 h 188973"/>
                <a:gd name="connsiteX112" fmla="*/ 16938 w 37794"/>
                <a:gd name="connsiteY112" fmla="*/ 85668 h 188973"/>
                <a:gd name="connsiteX113" fmla="*/ 16938 w 37794"/>
                <a:gd name="connsiteY113" fmla="*/ 81889 h 188973"/>
                <a:gd name="connsiteX114" fmla="*/ 16938 w 37794"/>
                <a:gd name="connsiteY114" fmla="*/ 80629 h 188973"/>
                <a:gd name="connsiteX115" fmla="*/ 16938 w 37794"/>
                <a:gd name="connsiteY115" fmla="*/ 78109 h 188973"/>
                <a:gd name="connsiteX116" fmla="*/ 15678 w 37794"/>
                <a:gd name="connsiteY116" fmla="*/ 74330 h 188973"/>
                <a:gd name="connsiteX117" fmla="*/ 15678 w 37794"/>
                <a:gd name="connsiteY117" fmla="*/ 73070 h 188973"/>
                <a:gd name="connsiteX118" fmla="*/ 15678 w 37794"/>
                <a:gd name="connsiteY118" fmla="*/ 73070 h 188973"/>
                <a:gd name="connsiteX119" fmla="*/ 14418 w 37794"/>
                <a:gd name="connsiteY119" fmla="*/ 68030 h 188973"/>
                <a:gd name="connsiteX120" fmla="*/ 13158 w 37794"/>
                <a:gd name="connsiteY120" fmla="*/ 61731 h 188973"/>
                <a:gd name="connsiteX121" fmla="*/ 13158 w 37794"/>
                <a:gd name="connsiteY121" fmla="*/ 60472 h 188973"/>
                <a:gd name="connsiteX122" fmla="*/ 11898 w 37794"/>
                <a:gd name="connsiteY122" fmla="*/ 56692 h 188973"/>
                <a:gd name="connsiteX123" fmla="*/ 9378 w 37794"/>
                <a:gd name="connsiteY123" fmla="*/ 45354 h 188973"/>
                <a:gd name="connsiteX124" fmla="*/ 9378 w 37794"/>
                <a:gd name="connsiteY124" fmla="*/ 42834 h 188973"/>
                <a:gd name="connsiteX125" fmla="*/ 9378 w 37794"/>
                <a:gd name="connsiteY125" fmla="*/ 42834 h 188973"/>
                <a:gd name="connsiteX126" fmla="*/ 8119 w 37794"/>
                <a:gd name="connsiteY126" fmla="*/ 40314 h 188973"/>
                <a:gd name="connsiteX127" fmla="*/ 8119 w 37794"/>
                <a:gd name="connsiteY127" fmla="*/ 39054 h 188973"/>
                <a:gd name="connsiteX128" fmla="*/ 6859 w 37794"/>
                <a:gd name="connsiteY128" fmla="*/ 35275 h 188973"/>
                <a:gd name="connsiteX129" fmla="*/ 6859 w 37794"/>
                <a:gd name="connsiteY129" fmla="*/ 34015 h 188973"/>
                <a:gd name="connsiteX130" fmla="*/ 6859 w 37794"/>
                <a:gd name="connsiteY130" fmla="*/ 32755 h 188973"/>
                <a:gd name="connsiteX131" fmla="*/ 6859 w 37794"/>
                <a:gd name="connsiteY131" fmla="*/ 31496 h 188973"/>
                <a:gd name="connsiteX132" fmla="*/ 6859 w 37794"/>
                <a:gd name="connsiteY132" fmla="*/ 31496 h 188973"/>
                <a:gd name="connsiteX133" fmla="*/ 6859 w 37794"/>
                <a:gd name="connsiteY133" fmla="*/ 31496 h 188973"/>
                <a:gd name="connsiteX134" fmla="*/ 6859 w 37794"/>
                <a:gd name="connsiteY134" fmla="*/ 28976 h 188973"/>
                <a:gd name="connsiteX135" fmla="*/ 6859 w 37794"/>
                <a:gd name="connsiteY135" fmla="*/ 27716 h 188973"/>
                <a:gd name="connsiteX136" fmla="*/ 6859 w 37794"/>
                <a:gd name="connsiteY136" fmla="*/ 27716 h 188973"/>
                <a:gd name="connsiteX137" fmla="*/ 6859 w 37794"/>
                <a:gd name="connsiteY137" fmla="*/ 27716 h 188973"/>
                <a:gd name="connsiteX138" fmla="*/ 6859 w 37794"/>
                <a:gd name="connsiteY138" fmla="*/ 23937 h 188973"/>
                <a:gd name="connsiteX139" fmla="*/ 6859 w 37794"/>
                <a:gd name="connsiteY139" fmla="*/ 22677 h 188973"/>
                <a:gd name="connsiteX140" fmla="*/ 6859 w 37794"/>
                <a:gd name="connsiteY140" fmla="*/ 20157 h 188973"/>
                <a:gd name="connsiteX141" fmla="*/ 6859 w 37794"/>
                <a:gd name="connsiteY141" fmla="*/ 16378 h 188973"/>
                <a:gd name="connsiteX142" fmla="*/ 6859 w 37794"/>
                <a:gd name="connsiteY142" fmla="*/ 15118 h 188973"/>
                <a:gd name="connsiteX143" fmla="*/ 6859 w 37794"/>
                <a:gd name="connsiteY143" fmla="*/ 13858 h 188973"/>
                <a:gd name="connsiteX144" fmla="*/ 6859 w 37794"/>
                <a:gd name="connsiteY144" fmla="*/ 11338 h 188973"/>
                <a:gd name="connsiteX145" fmla="*/ 6859 w 37794"/>
                <a:gd name="connsiteY145" fmla="*/ 8819 h 188973"/>
                <a:gd name="connsiteX146" fmla="*/ 6859 w 37794"/>
                <a:gd name="connsiteY146" fmla="*/ 8819 h 188973"/>
                <a:gd name="connsiteX147" fmla="*/ 6859 w 37794"/>
                <a:gd name="connsiteY147" fmla="*/ 7559 h 188973"/>
                <a:gd name="connsiteX148" fmla="*/ 6859 w 37794"/>
                <a:gd name="connsiteY148" fmla="*/ 7559 h 188973"/>
                <a:gd name="connsiteX149" fmla="*/ 6859 w 37794"/>
                <a:gd name="connsiteY149" fmla="*/ 7559 h 188973"/>
                <a:gd name="connsiteX150" fmla="*/ 6859 w 37794"/>
                <a:gd name="connsiteY150" fmla="*/ 7559 h 188973"/>
                <a:gd name="connsiteX151" fmla="*/ 6859 w 37794"/>
                <a:gd name="connsiteY151" fmla="*/ 6299 h 188973"/>
                <a:gd name="connsiteX152" fmla="*/ 560 w 37794"/>
                <a:gd name="connsiteY152" fmla="*/ 0 h 188973"/>
                <a:gd name="connsiteX153" fmla="*/ 560 w 37794"/>
                <a:gd name="connsiteY153" fmla="*/ 0 h 188973"/>
                <a:gd name="connsiteX154" fmla="*/ 560 w 37794"/>
                <a:gd name="connsiteY154" fmla="*/ 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37794" h="188973">
                  <a:moveTo>
                    <a:pt x="560" y="0"/>
                  </a:moveTo>
                  <a:cubicBezTo>
                    <a:pt x="1819" y="0"/>
                    <a:pt x="1819" y="1260"/>
                    <a:pt x="560" y="0"/>
                  </a:cubicBezTo>
                  <a:lnTo>
                    <a:pt x="560" y="0"/>
                  </a:lnTo>
                  <a:lnTo>
                    <a:pt x="1819" y="1260"/>
                  </a:lnTo>
                  <a:cubicBezTo>
                    <a:pt x="1819" y="1260"/>
                    <a:pt x="3079" y="2520"/>
                    <a:pt x="4339" y="2520"/>
                  </a:cubicBezTo>
                  <a:lnTo>
                    <a:pt x="4339" y="2520"/>
                  </a:lnTo>
                  <a:lnTo>
                    <a:pt x="4339" y="2520"/>
                  </a:lnTo>
                  <a:cubicBezTo>
                    <a:pt x="5599" y="2520"/>
                    <a:pt x="6859" y="3780"/>
                    <a:pt x="6859" y="5039"/>
                  </a:cubicBezTo>
                  <a:cubicBezTo>
                    <a:pt x="8119" y="6299"/>
                    <a:pt x="8119" y="6299"/>
                    <a:pt x="9378" y="7559"/>
                  </a:cubicBezTo>
                  <a:lnTo>
                    <a:pt x="9378" y="7559"/>
                  </a:lnTo>
                  <a:lnTo>
                    <a:pt x="9378" y="7559"/>
                  </a:lnTo>
                  <a:lnTo>
                    <a:pt x="9378" y="7559"/>
                  </a:lnTo>
                  <a:lnTo>
                    <a:pt x="9378" y="7559"/>
                  </a:lnTo>
                  <a:cubicBezTo>
                    <a:pt x="9378" y="7559"/>
                    <a:pt x="9378" y="7559"/>
                    <a:pt x="9378" y="7559"/>
                  </a:cubicBezTo>
                  <a:lnTo>
                    <a:pt x="9378" y="7559"/>
                  </a:lnTo>
                  <a:lnTo>
                    <a:pt x="9378" y="7559"/>
                  </a:lnTo>
                  <a:lnTo>
                    <a:pt x="9378" y="7559"/>
                  </a:lnTo>
                  <a:lnTo>
                    <a:pt x="9378" y="7559"/>
                  </a:lnTo>
                  <a:lnTo>
                    <a:pt x="9378" y="7559"/>
                  </a:lnTo>
                  <a:lnTo>
                    <a:pt x="10638" y="8819"/>
                  </a:lnTo>
                  <a:lnTo>
                    <a:pt x="11898" y="10079"/>
                  </a:lnTo>
                  <a:cubicBezTo>
                    <a:pt x="13158" y="11338"/>
                    <a:pt x="13158" y="11338"/>
                    <a:pt x="14418" y="12598"/>
                  </a:cubicBezTo>
                  <a:lnTo>
                    <a:pt x="15678" y="13858"/>
                  </a:lnTo>
                  <a:cubicBezTo>
                    <a:pt x="16938" y="15118"/>
                    <a:pt x="16938" y="16378"/>
                    <a:pt x="18197" y="16378"/>
                  </a:cubicBezTo>
                  <a:cubicBezTo>
                    <a:pt x="19457" y="17637"/>
                    <a:pt x="19457" y="17637"/>
                    <a:pt x="20717" y="18897"/>
                  </a:cubicBezTo>
                  <a:lnTo>
                    <a:pt x="20717" y="18897"/>
                  </a:lnTo>
                  <a:lnTo>
                    <a:pt x="21977" y="20157"/>
                  </a:lnTo>
                  <a:cubicBezTo>
                    <a:pt x="23237" y="21417"/>
                    <a:pt x="24497" y="22677"/>
                    <a:pt x="25756" y="25196"/>
                  </a:cubicBezTo>
                  <a:lnTo>
                    <a:pt x="27016" y="27716"/>
                  </a:lnTo>
                  <a:lnTo>
                    <a:pt x="27016" y="28976"/>
                  </a:lnTo>
                  <a:lnTo>
                    <a:pt x="28276" y="31496"/>
                  </a:lnTo>
                  <a:cubicBezTo>
                    <a:pt x="29536" y="32755"/>
                    <a:pt x="30796" y="34015"/>
                    <a:pt x="32056" y="36535"/>
                  </a:cubicBezTo>
                  <a:lnTo>
                    <a:pt x="33315" y="37795"/>
                  </a:lnTo>
                  <a:lnTo>
                    <a:pt x="33315" y="39054"/>
                  </a:lnTo>
                  <a:lnTo>
                    <a:pt x="33315" y="39054"/>
                  </a:lnTo>
                  <a:lnTo>
                    <a:pt x="33315" y="39054"/>
                  </a:lnTo>
                  <a:lnTo>
                    <a:pt x="33315" y="39054"/>
                  </a:lnTo>
                  <a:cubicBezTo>
                    <a:pt x="33315" y="40314"/>
                    <a:pt x="34575" y="40314"/>
                    <a:pt x="34575" y="41574"/>
                  </a:cubicBezTo>
                  <a:cubicBezTo>
                    <a:pt x="34575" y="41574"/>
                    <a:pt x="35835" y="42834"/>
                    <a:pt x="35835" y="42834"/>
                  </a:cubicBezTo>
                  <a:cubicBezTo>
                    <a:pt x="35835" y="44094"/>
                    <a:pt x="37095" y="44094"/>
                    <a:pt x="38355" y="45354"/>
                  </a:cubicBezTo>
                  <a:cubicBezTo>
                    <a:pt x="38355" y="46613"/>
                    <a:pt x="39614" y="46613"/>
                    <a:pt x="39614" y="47873"/>
                  </a:cubicBezTo>
                  <a:lnTo>
                    <a:pt x="39614" y="47873"/>
                  </a:lnTo>
                  <a:lnTo>
                    <a:pt x="39614" y="47873"/>
                  </a:lnTo>
                  <a:cubicBezTo>
                    <a:pt x="39614" y="47873"/>
                    <a:pt x="39614" y="47873"/>
                    <a:pt x="39614" y="47873"/>
                  </a:cubicBezTo>
                  <a:cubicBezTo>
                    <a:pt x="39614" y="47873"/>
                    <a:pt x="39614" y="49133"/>
                    <a:pt x="39614" y="49133"/>
                  </a:cubicBezTo>
                  <a:cubicBezTo>
                    <a:pt x="39614" y="49133"/>
                    <a:pt x="39614" y="50393"/>
                    <a:pt x="39614" y="50393"/>
                  </a:cubicBezTo>
                  <a:cubicBezTo>
                    <a:pt x="39614" y="50393"/>
                    <a:pt x="39614" y="51653"/>
                    <a:pt x="39614" y="51653"/>
                  </a:cubicBezTo>
                  <a:cubicBezTo>
                    <a:pt x="39614" y="51653"/>
                    <a:pt x="39614" y="52913"/>
                    <a:pt x="39614" y="52913"/>
                  </a:cubicBezTo>
                  <a:cubicBezTo>
                    <a:pt x="39614" y="54172"/>
                    <a:pt x="39614" y="54172"/>
                    <a:pt x="39614" y="55432"/>
                  </a:cubicBezTo>
                  <a:lnTo>
                    <a:pt x="39614" y="56692"/>
                  </a:lnTo>
                  <a:cubicBezTo>
                    <a:pt x="39614" y="57952"/>
                    <a:pt x="39614" y="59212"/>
                    <a:pt x="39614" y="59212"/>
                  </a:cubicBezTo>
                  <a:cubicBezTo>
                    <a:pt x="39614" y="61731"/>
                    <a:pt x="39614" y="64251"/>
                    <a:pt x="38355" y="65511"/>
                  </a:cubicBezTo>
                  <a:cubicBezTo>
                    <a:pt x="38355" y="68030"/>
                    <a:pt x="38355" y="69290"/>
                    <a:pt x="38355" y="71810"/>
                  </a:cubicBezTo>
                  <a:lnTo>
                    <a:pt x="38355" y="70550"/>
                  </a:lnTo>
                  <a:cubicBezTo>
                    <a:pt x="38355" y="71810"/>
                    <a:pt x="38355" y="73070"/>
                    <a:pt x="38355" y="74330"/>
                  </a:cubicBezTo>
                  <a:cubicBezTo>
                    <a:pt x="38355" y="75589"/>
                    <a:pt x="38355" y="76849"/>
                    <a:pt x="38355" y="78109"/>
                  </a:cubicBezTo>
                  <a:lnTo>
                    <a:pt x="38355" y="79369"/>
                  </a:lnTo>
                  <a:cubicBezTo>
                    <a:pt x="38355" y="80629"/>
                    <a:pt x="38355" y="81889"/>
                    <a:pt x="38355" y="83148"/>
                  </a:cubicBezTo>
                  <a:cubicBezTo>
                    <a:pt x="38355" y="85668"/>
                    <a:pt x="38355" y="88188"/>
                    <a:pt x="38355" y="90707"/>
                  </a:cubicBezTo>
                  <a:cubicBezTo>
                    <a:pt x="38355" y="91967"/>
                    <a:pt x="38355" y="93227"/>
                    <a:pt x="38355" y="94487"/>
                  </a:cubicBezTo>
                  <a:lnTo>
                    <a:pt x="38355" y="97006"/>
                  </a:lnTo>
                  <a:cubicBezTo>
                    <a:pt x="38355" y="98266"/>
                    <a:pt x="38355" y="98266"/>
                    <a:pt x="38355" y="99526"/>
                  </a:cubicBezTo>
                  <a:cubicBezTo>
                    <a:pt x="38355" y="100786"/>
                    <a:pt x="38355" y="102046"/>
                    <a:pt x="38355" y="102046"/>
                  </a:cubicBezTo>
                  <a:cubicBezTo>
                    <a:pt x="38355" y="105825"/>
                    <a:pt x="38355" y="109605"/>
                    <a:pt x="37095" y="112124"/>
                  </a:cubicBezTo>
                  <a:cubicBezTo>
                    <a:pt x="37095" y="113384"/>
                    <a:pt x="37095" y="113384"/>
                    <a:pt x="37095" y="114644"/>
                  </a:cubicBezTo>
                  <a:cubicBezTo>
                    <a:pt x="37095" y="117164"/>
                    <a:pt x="37095" y="120943"/>
                    <a:pt x="37095" y="124722"/>
                  </a:cubicBezTo>
                  <a:cubicBezTo>
                    <a:pt x="37095" y="125982"/>
                    <a:pt x="37095" y="125982"/>
                    <a:pt x="37095" y="127242"/>
                  </a:cubicBezTo>
                  <a:cubicBezTo>
                    <a:pt x="37095" y="128502"/>
                    <a:pt x="37095" y="128502"/>
                    <a:pt x="37095" y="129762"/>
                  </a:cubicBezTo>
                  <a:cubicBezTo>
                    <a:pt x="37095" y="131022"/>
                    <a:pt x="37095" y="132281"/>
                    <a:pt x="37095" y="133541"/>
                  </a:cubicBezTo>
                  <a:lnTo>
                    <a:pt x="37095" y="134801"/>
                  </a:lnTo>
                  <a:lnTo>
                    <a:pt x="37095" y="136061"/>
                  </a:lnTo>
                  <a:lnTo>
                    <a:pt x="37095" y="137321"/>
                  </a:lnTo>
                  <a:cubicBezTo>
                    <a:pt x="37095" y="137321"/>
                    <a:pt x="37095" y="138581"/>
                    <a:pt x="37095" y="138581"/>
                  </a:cubicBezTo>
                  <a:cubicBezTo>
                    <a:pt x="37095" y="143620"/>
                    <a:pt x="37095" y="148659"/>
                    <a:pt x="37095" y="154958"/>
                  </a:cubicBezTo>
                  <a:cubicBezTo>
                    <a:pt x="37095" y="154958"/>
                    <a:pt x="37095" y="156218"/>
                    <a:pt x="37095" y="156218"/>
                  </a:cubicBezTo>
                  <a:cubicBezTo>
                    <a:pt x="35835" y="161257"/>
                    <a:pt x="35835" y="167557"/>
                    <a:pt x="35835" y="172596"/>
                  </a:cubicBezTo>
                  <a:cubicBezTo>
                    <a:pt x="35835" y="175115"/>
                    <a:pt x="35835" y="177635"/>
                    <a:pt x="35835" y="180155"/>
                  </a:cubicBezTo>
                  <a:cubicBezTo>
                    <a:pt x="35835" y="183934"/>
                    <a:pt x="35835" y="187714"/>
                    <a:pt x="35835" y="190233"/>
                  </a:cubicBezTo>
                  <a:lnTo>
                    <a:pt x="35835" y="190233"/>
                  </a:lnTo>
                  <a:lnTo>
                    <a:pt x="35835" y="190233"/>
                  </a:lnTo>
                  <a:cubicBezTo>
                    <a:pt x="35835" y="190233"/>
                    <a:pt x="35835" y="190233"/>
                    <a:pt x="35835" y="190233"/>
                  </a:cubicBezTo>
                  <a:cubicBezTo>
                    <a:pt x="35835" y="190233"/>
                    <a:pt x="35835" y="190233"/>
                    <a:pt x="35835" y="190233"/>
                  </a:cubicBezTo>
                  <a:cubicBezTo>
                    <a:pt x="35835" y="190233"/>
                    <a:pt x="35835" y="190233"/>
                    <a:pt x="35835" y="190233"/>
                  </a:cubicBezTo>
                  <a:cubicBezTo>
                    <a:pt x="35835" y="190233"/>
                    <a:pt x="35835" y="190233"/>
                    <a:pt x="35835" y="190233"/>
                  </a:cubicBezTo>
                  <a:cubicBezTo>
                    <a:pt x="35835" y="190233"/>
                    <a:pt x="35835" y="191493"/>
                    <a:pt x="34575" y="191493"/>
                  </a:cubicBezTo>
                  <a:cubicBezTo>
                    <a:pt x="34575" y="191493"/>
                    <a:pt x="34575" y="191493"/>
                    <a:pt x="33315" y="191493"/>
                  </a:cubicBezTo>
                  <a:cubicBezTo>
                    <a:pt x="33315" y="191493"/>
                    <a:pt x="32056" y="191493"/>
                    <a:pt x="32056" y="191493"/>
                  </a:cubicBezTo>
                  <a:cubicBezTo>
                    <a:pt x="32056" y="191493"/>
                    <a:pt x="30796" y="191493"/>
                    <a:pt x="30796" y="191493"/>
                  </a:cubicBezTo>
                  <a:cubicBezTo>
                    <a:pt x="30796" y="191493"/>
                    <a:pt x="29536" y="190233"/>
                    <a:pt x="29536" y="190233"/>
                  </a:cubicBezTo>
                  <a:cubicBezTo>
                    <a:pt x="29536" y="188974"/>
                    <a:pt x="28276" y="187714"/>
                    <a:pt x="28276" y="185194"/>
                  </a:cubicBezTo>
                  <a:lnTo>
                    <a:pt x="28276" y="185194"/>
                  </a:lnTo>
                  <a:cubicBezTo>
                    <a:pt x="28276" y="183934"/>
                    <a:pt x="27016" y="181414"/>
                    <a:pt x="27016" y="180155"/>
                  </a:cubicBezTo>
                  <a:lnTo>
                    <a:pt x="27016" y="180155"/>
                  </a:lnTo>
                  <a:lnTo>
                    <a:pt x="27016" y="180155"/>
                  </a:lnTo>
                  <a:lnTo>
                    <a:pt x="27016" y="180155"/>
                  </a:lnTo>
                  <a:cubicBezTo>
                    <a:pt x="27016" y="177635"/>
                    <a:pt x="25756" y="173856"/>
                    <a:pt x="25756" y="171336"/>
                  </a:cubicBezTo>
                  <a:cubicBezTo>
                    <a:pt x="25756" y="170076"/>
                    <a:pt x="25756" y="167557"/>
                    <a:pt x="24497" y="166297"/>
                  </a:cubicBezTo>
                  <a:lnTo>
                    <a:pt x="24497" y="165037"/>
                  </a:lnTo>
                  <a:lnTo>
                    <a:pt x="24497" y="161257"/>
                  </a:lnTo>
                  <a:cubicBezTo>
                    <a:pt x="23237" y="157478"/>
                    <a:pt x="23237" y="153698"/>
                    <a:pt x="23237" y="149919"/>
                  </a:cubicBezTo>
                  <a:cubicBezTo>
                    <a:pt x="23237" y="146139"/>
                    <a:pt x="21977" y="143620"/>
                    <a:pt x="21977" y="139840"/>
                  </a:cubicBezTo>
                  <a:cubicBezTo>
                    <a:pt x="21977" y="138581"/>
                    <a:pt x="21977" y="136061"/>
                    <a:pt x="21977" y="134801"/>
                  </a:cubicBezTo>
                  <a:lnTo>
                    <a:pt x="21977" y="133541"/>
                  </a:lnTo>
                  <a:cubicBezTo>
                    <a:pt x="21977" y="132281"/>
                    <a:pt x="21977" y="129762"/>
                    <a:pt x="21977" y="128502"/>
                  </a:cubicBezTo>
                  <a:cubicBezTo>
                    <a:pt x="21977" y="127242"/>
                    <a:pt x="21977" y="127242"/>
                    <a:pt x="21977" y="125982"/>
                  </a:cubicBezTo>
                  <a:lnTo>
                    <a:pt x="21977" y="124722"/>
                  </a:lnTo>
                  <a:lnTo>
                    <a:pt x="21977" y="123463"/>
                  </a:lnTo>
                  <a:cubicBezTo>
                    <a:pt x="21977" y="122203"/>
                    <a:pt x="21977" y="119683"/>
                    <a:pt x="21977" y="118423"/>
                  </a:cubicBezTo>
                  <a:cubicBezTo>
                    <a:pt x="21977" y="114644"/>
                    <a:pt x="20717" y="112124"/>
                    <a:pt x="20717" y="108345"/>
                  </a:cubicBezTo>
                  <a:lnTo>
                    <a:pt x="20717" y="108345"/>
                  </a:lnTo>
                  <a:cubicBezTo>
                    <a:pt x="19457" y="103305"/>
                    <a:pt x="19457" y="98266"/>
                    <a:pt x="18197" y="93227"/>
                  </a:cubicBezTo>
                  <a:lnTo>
                    <a:pt x="18197" y="91967"/>
                  </a:lnTo>
                  <a:cubicBezTo>
                    <a:pt x="18197" y="90707"/>
                    <a:pt x="18197" y="88188"/>
                    <a:pt x="16938" y="85668"/>
                  </a:cubicBezTo>
                  <a:cubicBezTo>
                    <a:pt x="16938" y="84408"/>
                    <a:pt x="16938" y="83148"/>
                    <a:pt x="16938" y="81889"/>
                  </a:cubicBezTo>
                  <a:cubicBezTo>
                    <a:pt x="16938" y="81889"/>
                    <a:pt x="16938" y="80629"/>
                    <a:pt x="16938" y="80629"/>
                  </a:cubicBezTo>
                  <a:cubicBezTo>
                    <a:pt x="16938" y="79369"/>
                    <a:pt x="16938" y="79369"/>
                    <a:pt x="16938" y="78109"/>
                  </a:cubicBezTo>
                  <a:lnTo>
                    <a:pt x="15678" y="74330"/>
                  </a:lnTo>
                  <a:lnTo>
                    <a:pt x="15678" y="73070"/>
                  </a:lnTo>
                  <a:lnTo>
                    <a:pt x="15678" y="73070"/>
                  </a:lnTo>
                  <a:cubicBezTo>
                    <a:pt x="15678" y="71810"/>
                    <a:pt x="14418" y="70550"/>
                    <a:pt x="14418" y="68030"/>
                  </a:cubicBezTo>
                  <a:cubicBezTo>
                    <a:pt x="14418" y="65511"/>
                    <a:pt x="13158" y="64251"/>
                    <a:pt x="13158" y="61731"/>
                  </a:cubicBezTo>
                  <a:lnTo>
                    <a:pt x="13158" y="60472"/>
                  </a:lnTo>
                  <a:cubicBezTo>
                    <a:pt x="13158" y="59212"/>
                    <a:pt x="13158" y="57952"/>
                    <a:pt x="11898" y="56692"/>
                  </a:cubicBezTo>
                  <a:cubicBezTo>
                    <a:pt x="10638" y="52913"/>
                    <a:pt x="10638" y="49133"/>
                    <a:pt x="9378" y="45354"/>
                  </a:cubicBezTo>
                  <a:lnTo>
                    <a:pt x="9378" y="42834"/>
                  </a:lnTo>
                  <a:lnTo>
                    <a:pt x="9378" y="42834"/>
                  </a:lnTo>
                  <a:cubicBezTo>
                    <a:pt x="9378" y="41574"/>
                    <a:pt x="9378" y="40314"/>
                    <a:pt x="8119" y="40314"/>
                  </a:cubicBezTo>
                  <a:lnTo>
                    <a:pt x="8119" y="39054"/>
                  </a:lnTo>
                  <a:cubicBezTo>
                    <a:pt x="8119" y="37795"/>
                    <a:pt x="8119" y="36535"/>
                    <a:pt x="6859" y="35275"/>
                  </a:cubicBezTo>
                  <a:lnTo>
                    <a:pt x="6859" y="34015"/>
                  </a:lnTo>
                  <a:lnTo>
                    <a:pt x="6859" y="32755"/>
                  </a:lnTo>
                  <a:lnTo>
                    <a:pt x="6859" y="31496"/>
                  </a:lnTo>
                  <a:lnTo>
                    <a:pt x="6859" y="31496"/>
                  </a:lnTo>
                  <a:lnTo>
                    <a:pt x="6859" y="31496"/>
                  </a:lnTo>
                  <a:cubicBezTo>
                    <a:pt x="6859" y="30236"/>
                    <a:pt x="6859" y="30236"/>
                    <a:pt x="6859" y="28976"/>
                  </a:cubicBezTo>
                  <a:lnTo>
                    <a:pt x="6859" y="27716"/>
                  </a:lnTo>
                  <a:lnTo>
                    <a:pt x="6859" y="27716"/>
                  </a:lnTo>
                  <a:lnTo>
                    <a:pt x="6859" y="27716"/>
                  </a:lnTo>
                  <a:cubicBezTo>
                    <a:pt x="6859" y="26456"/>
                    <a:pt x="6859" y="25196"/>
                    <a:pt x="6859" y="23937"/>
                  </a:cubicBezTo>
                  <a:lnTo>
                    <a:pt x="6859" y="22677"/>
                  </a:lnTo>
                  <a:lnTo>
                    <a:pt x="6859" y="20157"/>
                  </a:lnTo>
                  <a:cubicBezTo>
                    <a:pt x="6859" y="18897"/>
                    <a:pt x="6859" y="17637"/>
                    <a:pt x="6859" y="16378"/>
                  </a:cubicBezTo>
                  <a:lnTo>
                    <a:pt x="6859" y="15118"/>
                  </a:lnTo>
                  <a:lnTo>
                    <a:pt x="6859" y="13858"/>
                  </a:lnTo>
                  <a:cubicBezTo>
                    <a:pt x="6859" y="12598"/>
                    <a:pt x="6859" y="11338"/>
                    <a:pt x="6859" y="11338"/>
                  </a:cubicBezTo>
                  <a:cubicBezTo>
                    <a:pt x="6859" y="10079"/>
                    <a:pt x="6859" y="10079"/>
                    <a:pt x="6859" y="8819"/>
                  </a:cubicBezTo>
                  <a:lnTo>
                    <a:pt x="6859" y="8819"/>
                  </a:lnTo>
                  <a:cubicBezTo>
                    <a:pt x="6859" y="8819"/>
                    <a:pt x="6859" y="7559"/>
                    <a:pt x="6859" y="7559"/>
                  </a:cubicBezTo>
                  <a:cubicBezTo>
                    <a:pt x="6859" y="7559"/>
                    <a:pt x="6859" y="7559"/>
                    <a:pt x="6859" y="7559"/>
                  </a:cubicBezTo>
                  <a:lnTo>
                    <a:pt x="6859" y="7559"/>
                  </a:lnTo>
                  <a:lnTo>
                    <a:pt x="6859" y="7559"/>
                  </a:lnTo>
                  <a:cubicBezTo>
                    <a:pt x="6859" y="7559"/>
                    <a:pt x="6859" y="6299"/>
                    <a:pt x="6859" y="6299"/>
                  </a:cubicBezTo>
                  <a:lnTo>
                    <a:pt x="560" y="0"/>
                  </a:lnTo>
                  <a:cubicBezTo>
                    <a:pt x="-700" y="0"/>
                    <a:pt x="560" y="0"/>
                    <a:pt x="560" y="0"/>
                  </a:cubicBezTo>
                  <a:cubicBezTo>
                    <a:pt x="560" y="0"/>
                    <a:pt x="560" y="0"/>
                    <a:pt x="560" y="0"/>
                  </a:cubicBezTo>
                </a:path>
              </a:pathLst>
            </a:custGeom>
            <a:solidFill>
              <a:srgbClr val="F3B04B"/>
            </a:solidFill>
            <a:ln w="12584" cap="flat">
              <a:noFill/>
              <a:prstDash val="solid"/>
              <a:miter/>
            </a:ln>
          </p:spPr>
          <p:txBody>
            <a:bodyPr rtlCol="0" anchor="ctr"/>
            <a:lstStyle/>
            <a:p>
              <a:endParaRPr lang="zh-CN" altLang="en-US"/>
            </a:p>
          </p:txBody>
        </p:sp>
        <p:sp>
          <p:nvSpPr>
            <p:cNvPr id="10222" name="任意多边形: 形状 10221"/>
            <p:cNvSpPr/>
            <p:nvPr/>
          </p:nvSpPr>
          <p:spPr>
            <a:xfrm>
              <a:off x="4959812" y="4661107"/>
              <a:ext cx="251965" cy="75589"/>
            </a:xfrm>
            <a:custGeom>
              <a:avLst/>
              <a:gdLst>
                <a:gd name="connsiteX0" fmla="*/ 252792 w 251964"/>
                <a:gd name="connsiteY0" fmla="*/ 1260 h 75589"/>
                <a:gd name="connsiteX1" fmla="*/ 252792 w 251964"/>
                <a:gd name="connsiteY1" fmla="*/ 1260 h 75589"/>
                <a:gd name="connsiteX2" fmla="*/ 250272 w 251964"/>
                <a:gd name="connsiteY2" fmla="*/ 2520 h 75589"/>
                <a:gd name="connsiteX3" fmla="*/ 249013 w 251964"/>
                <a:gd name="connsiteY3" fmla="*/ 5040 h 75589"/>
                <a:gd name="connsiteX4" fmla="*/ 249013 w 251964"/>
                <a:gd name="connsiteY4" fmla="*/ 5040 h 75589"/>
                <a:gd name="connsiteX5" fmla="*/ 249013 w 251964"/>
                <a:gd name="connsiteY5" fmla="*/ 5040 h 75589"/>
                <a:gd name="connsiteX6" fmla="*/ 249013 w 251964"/>
                <a:gd name="connsiteY6" fmla="*/ 5040 h 75589"/>
                <a:gd name="connsiteX7" fmla="*/ 242713 w 251964"/>
                <a:gd name="connsiteY7" fmla="*/ 3780 h 75589"/>
                <a:gd name="connsiteX8" fmla="*/ 235155 w 251964"/>
                <a:gd name="connsiteY8" fmla="*/ 2520 h 75589"/>
                <a:gd name="connsiteX9" fmla="*/ 235155 w 251964"/>
                <a:gd name="connsiteY9" fmla="*/ 2520 h 75589"/>
                <a:gd name="connsiteX10" fmla="*/ 228856 w 251964"/>
                <a:gd name="connsiteY10" fmla="*/ 2520 h 75589"/>
                <a:gd name="connsiteX11" fmla="*/ 228856 w 251964"/>
                <a:gd name="connsiteY11" fmla="*/ 2520 h 75589"/>
                <a:gd name="connsiteX12" fmla="*/ 214998 w 251964"/>
                <a:gd name="connsiteY12" fmla="*/ 1260 h 75589"/>
                <a:gd name="connsiteX13" fmla="*/ 187281 w 251964"/>
                <a:gd name="connsiteY13" fmla="*/ 0 h 75589"/>
                <a:gd name="connsiteX14" fmla="*/ 174683 w 251964"/>
                <a:gd name="connsiteY14" fmla="*/ 0 h 75589"/>
                <a:gd name="connsiteX15" fmla="*/ 172164 w 251964"/>
                <a:gd name="connsiteY15" fmla="*/ 0 h 75589"/>
                <a:gd name="connsiteX16" fmla="*/ 167124 w 251964"/>
                <a:gd name="connsiteY16" fmla="*/ 0 h 75589"/>
                <a:gd name="connsiteX17" fmla="*/ 165864 w 251964"/>
                <a:gd name="connsiteY17" fmla="*/ 0 h 75589"/>
                <a:gd name="connsiteX18" fmla="*/ 160825 w 251964"/>
                <a:gd name="connsiteY18" fmla="*/ 0 h 75589"/>
                <a:gd name="connsiteX19" fmla="*/ 153266 w 251964"/>
                <a:gd name="connsiteY19" fmla="*/ 1260 h 75589"/>
                <a:gd name="connsiteX20" fmla="*/ 146967 w 251964"/>
                <a:gd name="connsiteY20" fmla="*/ 3780 h 75589"/>
                <a:gd name="connsiteX21" fmla="*/ 135628 w 251964"/>
                <a:gd name="connsiteY21" fmla="*/ 8819 h 75589"/>
                <a:gd name="connsiteX22" fmla="*/ 134369 w 251964"/>
                <a:gd name="connsiteY22" fmla="*/ 8819 h 75589"/>
                <a:gd name="connsiteX23" fmla="*/ 131849 w 251964"/>
                <a:gd name="connsiteY23" fmla="*/ 10079 h 75589"/>
                <a:gd name="connsiteX24" fmla="*/ 131849 w 251964"/>
                <a:gd name="connsiteY24" fmla="*/ 10079 h 75589"/>
                <a:gd name="connsiteX25" fmla="*/ 131849 w 251964"/>
                <a:gd name="connsiteY25" fmla="*/ 10079 h 75589"/>
                <a:gd name="connsiteX26" fmla="*/ 131849 w 251964"/>
                <a:gd name="connsiteY26" fmla="*/ 10079 h 75589"/>
                <a:gd name="connsiteX27" fmla="*/ 131849 w 251964"/>
                <a:gd name="connsiteY27" fmla="*/ 10079 h 75589"/>
                <a:gd name="connsiteX28" fmla="*/ 131849 w 251964"/>
                <a:gd name="connsiteY28" fmla="*/ 10079 h 75589"/>
                <a:gd name="connsiteX29" fmla="*/ 131849 w 251964"/>
                <a:gd name="connsiteY29" fmla="*/ 10079 h 75589"/>
                <a:gd name="connsiteX30" fmla="*/ 131849 w 251964"/>
                <a:gd name="connsiteY30" fmla="*/ 10079 h 75589"/>
                <a:gd name="connsiteX31" fmla="*/ 131849 w 251964"/>
                <a:gd name="connsiteY31" fmla="*/ 10079 h 75589"/>
                <a:gd name="connsiteX32" fmla="*/ 131849 w 251964"/>
                <a:gd name="connsiteY32" fmla="*/ 10079 h 75589"/>
                <a:gd name="connsiteX33" fmla="*/ 131849 w 251964"/>
                <a:gd name="connsiteY33" fmla="*/ 10079 h 75589"/>
                <a:gd name="connsiteX34" fmla="*/ 131849 w 251964"/>
                <a:gd name="connsiteY34" fmla="*/ 10079 h 75589"/>
                <a:gd name="connsiteX35" fmla="*/ 131849 w 251964"/>
                <a:gd name="connsiteY35" fmla="*/ 10079 h 75589"/>
                <a:gd name="connsiteX36" fmla="*/ 131849 w 251964"/>
                <a:gd name="connsiteY36" fmla="*/ 10079 h 75589"/>
                <a:gd name="connsiteX37" fmla="*/ 131849 w 251964"/>
                <a:gd name="connsiteY37" fmla="*/ 10079 h 75589"/>
                <a:gd name="connsiteX38" fmla="*/ 131849 w 251964"/>
                <a:gd name="connsiteY38" fmla="*/ 10079 h 75589"/>
                <a:gd name="connsiteX39" fmla="*/ 131849 w 251964"/>
                <a:gd name="connsiteY39" fmla="*/ 10079 h 75589"/>
                <a:gd name="connsiteX40" fmla="*/ 124290 w 251964"/>
                <a:gd name="connsiteY40" fmla="*/ 12598 h 75589"/>
                <a:gd name="connsiteX41" fmla="*/ 120511 w 251964"/>
                <a:gd name="connsiteY41" fmla="*/ 13858 h 75589"/>
                <a:gd name="connsiteX42" fmla="*/ 117991 w 251964"/>
                <a:gd name="connsiteY42" fmla="*/ 15118 h 75589"/>
                <a:gd name="connsiteX43" fmla="*/ 116731 w 251964"/>
                <a:gd name="connsiteY43" fmla="*/ 15118 h 75589"/>
                <a:gd name="connsiteX44" fmla="*/ 110432 w 251964"/>
                <a:gd name="connsiteY44" fmla="*/ 16378 h 75589"/>
                <a:gd name="connsiteX45" fmla="*/ 109172 w 251964"/>
                <a:gd name="connsiteY45" fmla="*/ 16378 h 75589"/>
                <a:gd name="connsiteX46" fmla="*/ 97834 w 251964"/>
                <a:gd name="connsiteY46" fmla="*/ 20157 h 75589"/>
                <a:gd name="connsiteX47" fmla="*/ 94054 w 251964"/>
                <a:gd name="connsiteY47" fmla="*/ 21417 h 75589"/>
                <a:gd name="connsiteX48" fmla="*/ 91535 w 251964"/>
                <a:gd name="connsiteY48" fmla="*/ 22677 h 75589"/>
                <a:gd name="connsiteX49" fmla="*/ 83976 w 251964"/>
                <a:gd name="connsiteY49" fmla="*/ 25196 h 75589"/>
                <a:gd name="connsiteX50" fmla="*/ 75157 w 251964"/>
                <a:gd name="connsiteY50" fmla="*/ 27716 h 75589"/>
                <a:gd name="connsiteX51" fmla="*/ 71378 w 251964"/>
                <a:gd name="connsiteY51" fmla="*/ 28976 h 75589"/>
                <a:gd name="connsiteX52" fmla="*/ 58780 w 251964"/>
                <a:gd name="connsiteY52" fmla="*/ 34015 h 75589"/>
                <a:gd name="connsiteX53" fmla="*/ 46181 w 251964"/>
                <a:gd name="connsiteY53" fmla="*/ 39055 h 75589"/>
                <a:gd name="connsiteX54" fmla="*/ 33583 w 251964"/>
                <a:gd name="connsiteY54" fmla="*/ 44094 h 75589"/>
                <a:gd name="connsiteX55" fmla="*/ 32323 w 251964"/>
                <a:gd name="connsiteY55" fmla="*/ 44094 h 75589"/>
                <a:gd name="connsiteX56" fmla="*/ 26024 w 251964"/>
                <a:gd name="connsiteY56" fmla="*/ 46614 h 75589"/>
                <a:gd name="connsiteX57" fmla="*/ 20985 w 251964"/>
                <a:gd name="connsiteY57" fmla="*/ 49133 h 75589"/>
                <a:gd name="connsiteX58" fmla="*/ 17205 w 251964"/>
                <a:gd name="connsiteY58" fmla="*/ 51653 h 75589"/>
                <a:gd name="connsiteX59" fmla="*/ 15945 w 251964"/>
                <a:gd name="connsiteY59" fmla="*/ 52913 h 75589"/>
                <a:gd name="connsiteX60" fmla="*/ 14686 w 251964"/>
                <a:gd name="connsiteY60" fmla="*/ 52913 h 75589"/>
                <a:gd name="connsiteX61" fmla="*/ 9646 w 251964"/>
                <a:gd name="connsiteY61" fmla="*/ 55433 h 75589"/>
                <a:gd name="connsiteX62" fmla="*/ 3347 w 251964"/>
                <a:gd name="connsiteY62" fmla="*/ 60472 h 75589"/>
                <a:gd name="connsiteX63" fmla="*/ 828 w 251964"/>
                <a:gd name="connsiteY63" fmla="*/ 64251 h 75589"/>
                <a:gd name="connsiteX64" fmla="*/ 2087 w 251964"/>
                <a:gd name="connsiteY64" fmla="*/ 71810 h 75589"/>
                <a:gd name="connsiteX65" fmla="*/ 8387 w 251964"/>
                <a:gd name="connsiteY65" fmla="*/ 76849 h 75589"/>
                <a:gd name="connsiteX66" fmla="*/ 14686 w 251964"/>
                <a:gd name="connsiteY66" fmla="*/ 79369 h 75589"/>
                <a:gd name="connsiteX67" fmla="*/ 27284 w 251964"/>
                <a:gd name="connsiteY67" fmla="*/ 80629 h 75589"/>
                <a:gd name="connsiteX68" fmla="*/ 28543 w 251964"/>
                <a:gd name="connsiteY68" fmla="*/ 80629 h 75589"/>
                <a:gd name="connsiteX69" fmla="*/ 33583 w 251964"/>
                <a:gd name="connsiteY69" fmla="*/ 80629 h 75589"/>
                <a:gd name="connsiteX70" fmla="*/ 34843 w 251964"/>
                <a:gd name="connsiteY70" fmla="*/ 80629 h 75589"/>
                <a:gd name="connsiteX71" fmla="*/ 41142 w 251964"/>
                <a:gd name="connsiteY71" fmla="*/ 80629 h 75589"/>
                <a:gd name="connsiteX72" fmla="*/ 41142 w 251964"/>
                <a:gd name="connsiteY72" fmla="*/ 80629 h 75589"/>
                <a:gd name="connsiteX73" fmla="*/ 55000 w 251964"/>
                <a:gd name="connsiteY73" fmla="*/ 80629 h 75589"/>
                <a:gd name="connsiteX74" fmla="*/ 68858 w 251964"/>
                <a:gd name="connsiteY74" fmla="*/ 79369 h 75589"/>
                <a:gd name="connsiteX75" fmla="*/ 68858 w 251964"/>
                <a:gd name="connsiteY75" fmla="*/ 79369 h 75589"/>
                <a:gd name="connsiteX76" fmla="*/ 78936 w 251964"/>
                <a:gd name="connsiteY76" fmla="*/ 78109 h 75589"/>
                <a:gd name="connsiteX77" fmla="*/ 81456 w 251964"/>
                <a:gd name="connsiteY77" fmla="*/ 78109 h 75589"/>
                <a:gd name="connsiteX78" fmla="*/ 100354 w 251964"/>
                <a:gd name="connsiteY78" fmla="*/ 76849 h 75589"/>
                <a:gd name="connsiteX79" fmla="*/ 106653 w 251964"/>
                <a:gd name="connsiteY79" fmla="*/ 76849 h 75589"/>
                <a:gd name="connsiteX80" fmla="*/ 155786 w 251964"/>
                <a:gd name="connsiteY80" fmla="*/ 78109 h 75589"/>
                <a:gd name="connsiteX81" fmla="*/ 162085 w 251964"/>
                <a:gd name="connsiteY81" fmla="*/ 78109 h 75589"/>
                <a:gd name="connsiteX82" fmla="*/ 169644 w 251964"/>
                <a:gd name="connsiteY82" fmla="*/ 78109 h 75589"/>
                <a:gd name="connsiteX83" fmla="*/ 184762 w 251964"/>
                <a:gd name="connsiteY83" fmla="*/ 78109 h 75589"/>
                <a:gd name="connsiteX84" fmla="*/ 198620 w 251964"/>
                <a:gd name="connsiteY84" fmla="*/ 76849 h 75589"/>
                <a:gd name="connsiteX85" fmla="*/ 204919 w 251964"/>
                <a:gd name="connsiteY85" fmla="*/ 75589 h 75589"/>
                <a:gd name="connsiteX86" fmla="*/ 207439 w 251964"/>
                <a:gd name="connsiteY86" fmla="*/ 75589 h 75589"/>
                <a:gd name="connsiteX87" fmla="*/ 211218 w 251964"/>
                <a:gd name="connsiteY87" fmla="*/ 74330 h 75589"/>
                <a:gd name="connsiteX88" fmla="*/ 211218 w 251964"/>
                <a:gd name="connsiteY88" fmla="*/ 74330 h 75589"/>
                <a:gd name="connsiteX89" fmla="*/ 211218 w 251964"/>
                <a:gd name="connsiteY89" fmla="*/ 74330 h 75589"/>
                <a:gd name="connsiteX90" fmla="*/ 212478 w 251964"/>
                <a:gd name="connsiteY90" fmla="*/ 75589 h 75589"/>
                <a:gd name="connsiteX91" fmla="*/ 212478 w 251964"/>
                <a:gd name="connsiteY91" fmla="*/ 75589 h 75589"/>
                <a:gd name="connsiteX92" fmla="*/ 217517 w 251964"/>
                <a:gd name="connsiteY92" fmla="*/ 79369 h 75589"/>
                <a:gd name="connsiteX93" fmla="*/ 222557 w 251964"/>
                <a:gd name="connsiteY93" fmla="*/ 81889 h 75589"/>
                <a:gd name="connsiteX94" fmla="*/ 226336 w 251964"/>
                <a:gd name="connsiteY94" fmla="*/ 83148 h 75589"/>
                <a:gd name="connsiteX95" fmla="*/ 227596 w 251964"/>
                <a:gd name="connsiteY95" fmla="*/ 83148 h 75589"/>
                <a:gd name="connsiteX96" fmla="*/ 241454 w 251964"/>
                <a:gd name="connsiteY96" fmla="*/ 81889 h 75589"/>
                <a:gd name="connsiteX97" fmla="*/ 242713 w 251964"/>
                <a:gd name="connsiteY97" fmla="*/ 81889 h 75589"/>
                <a:gd name="connsiteX98" fmla="*/ 247753 w 251964"/>
                <a:gd name="connsiteY98" fmla="*/ 80629 h 75589"/>
                <a:gd name="connsiteX99" fmla="*/ 254052 w 251964"/>
                <a:gd name="connsiteY99" fmla="*/ 76849 h 75589"/>
                <a:gd name="connsiteX100" fmla="*/ 255312 w 251964"/>
                <a:gd name="connsiteY100" fmla="*/ 74330 h 75589"/>
                <a:gd name="connsiteX101" fmla="*/ 257831 w 251964"/>
                <a:gd name="connsiteY101" fmla="*/ 70550 h 75589"/>
                <a:gd name="connsiteX102" fmla="*/ 257831 w 251964"/>
                <a:gd name="connsiteY102" fmla="*/ 60472 h 75589"/>
                <a:gd name="connsiteX103" fmla="*/ 257831 w 251964"/>
                <a:gd name="connsiteY103" fmla="*/ 55433 h 75589"/>
                <a:gd name="connsiteX104" fmla="*/ 257831 w 251964"/>
                <a:gd name="connsiteY104" fmla="*/ 52913 h 75589"/>
                <a:gd name="connsiteX105" fmla="*/ 257831 w 251964"/>
                <a:gd name="connsiteY105" fmla="*/ 42834 h 75589"/>
                <a:gd name="connsiteX106" fmla="*/ 257831 w 251964"/>
                <a:gd name="connsiteY106" fmla="*/ 40315 h 75589"/>
                <a:gd name="connsiteX107" fmla="*/ 257831 w 251964"/>
                <a:gd name="connsiteY107" fmla="*/ 36535 h 75589"/>
                <a:gd name="connsiteX108" fmla="*/ 257831 w 251964"/>
                <a:gd name="connsiteY108" fmla="*/ 27716 h 75589"/>
                <a:gd name="connsiteX109" fmla="*/ 257831 w 251964"/>
                <a:gd name="connsiteY109" fmla="*/ 21417 h 75589"/>
                <a:gd name="connsiteX110" fmla="*/ 257831 w 251964"/>
                <a:gd name="connsiteY110" fmla="*/ 15118 h 75589"/>
                <a:gd name="connsiteX111" fmla="*/ 256572 w 251964"/>
                <a:gd name="connsiteY111" fmla="*/ 11339 h 75589"/>
                <a:gd name="connsiteX112" fmla="*/ 255312 w 251964"/>
                <a:gd name="connsiteY112" fmla="*/ 8819 h 75589"/>
                <a:gd name="connsiteX113" fmla="*/ 255312 w 251964"/>
                <a:gd name="connsiteY113" fmla="*/ 5040 h 75589"/>
                <a:gd name="connsiteX114" fmla="*/ 252792 w 251964"/>
                <a:gd name="connsiteY114" fmla="*/ 1260 h 75589"/>
                <a:gd name="connsiteX115" fmla="*/ 8387 w 251964"/>
                <a:gd name="connsiteY115" fmla="*/ 64251 h 75589"/>
                <a:gd name="connsiteX116" fmla="*/ 12166 w 251964"/>
                <a:gd name="connsiteY116" fmla="*/ 61732 h 75589"/>
                <a:gd name="connsiteX117" fmla="*/ 15945 w 251964"/>
                <a:gd name="connsiteY117" fmla="*/ 59212 h 75589"/>
                <a:gd name="connsiteX118" fmla="*/ 17205 w 251964"/>
                <a:gd name="connsiteY118" fmla="*/ 59212 h 75589"/>
                <a:gd name="connsiteX119" fmla="*/ 20985 w 251964"/>
                <a:gd name="connsiteY119" fmla="*/ 57952 h 75589"/>
                <a:gd name="connsiteX120" fmla="*/ 22244 w 251964"/>
                <a:gd name="connsiteY120" fmla="*/ 56692 h 75589"/>
                <a:gd name="connsiteX121" fmla="*/ 28543 w 251964"/>
                <a:gd name="connsiteY121" fmla="*/ 54173 h 75589"/>
                <a:gd name="connsiteX122" fmla="*/ 34843 w 251964"/>
                <a:gd name="connsiteY122" fmla="*/ 51653 h 75589"/>
                <a:gd name="connsiteX123" fmla="*/ 26024 w 251964"/>
                <a:gd name="connsiteY123" fmla="*/ 56692 h 75589"/>
                <a:gd name="connsiteX124" fmla="*/ 26024 w 251964"/>
                <a:gd name="connsiteY124" fmla="*/ 56692 h 75589"/>
                <a:gd name="connsiteX125" fmla="*/ 15945 w 251964"/>
                <a:gd name="connsiteY125" fmla="*/ 62991 h 75589"/>
                <a:gd name="connsiteX126" fmla="*/ 12166 w 251964"/>
                <a:gd name="connsiteY126" fmla="*/ 64251 h 75589"/>
                <a:gd name="connsiteX127" fmla="*/ 8387 w 251964"/>
                <a:gd name="connsiteY127" fmla="*/ 64251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251964" h="75589">
                  <a:moveTo>
                    <a:pt x="252792" y="1260"/>
                  </a:moveTo>
                  <a:cubicBezTo>
                    <a:pt x="252792" y="1260"/>
                    <a:pt x="252792" y="1260"/>
                    <a:pt x="252792" y="1260"/>
                  </a:cubicBezTo>
                  <a:cubicBezTo>
                    <a:pt x="251532" y="1260"/>
                    <a:pt x="251532" y="1260"/>
                    <a:pt x="250272" y="2520"/>
                  </a:cubicBezTo>
                  <a:cubicBezTo>
                    <a:pt x="250272" y="2520"/>
                    <a:pt x="249013" y="3780"/>
                    <a:pt x="249013" y="5040"/>
                  </a:cubicBezTo>
                  <a:lnTo>
                    <a:pt x="249013" y="5040"/>
                  </a:lnTo>
                  <a:lnTo>
                    <a:pt x="249013" y="5040"/>
                  </a:lnTo>
                  <a:lnTo>
                    <a:pt x="249013" y="5040"/>
                  </a:lnTo>
                  <a:cubicBezTo>
                    <a:pt x="247753" y="5040"/>
                    <a:pt x="245233" y="3780"/>
                    <a:pt x="242713" y="3780"/>
                  </a:cubicBezTo>
                  <a:cubicBezTo>
                    <a:pt x="240194" y="3780"/>
                    <a:pt x="237674" y="2520"/>
                    <a:pt x="235155" y="2520"/>
                  </a:cubicBezTo>
                  <a:lnTo>
                    <a:pt x="235155" y="2520"/>
                  </a:lnTo>
                  <a:cubicBezTo>
                    <a:pt x="232635" y="2520"/>
                    <a:pt x="231375" y="2520"/>
                    <a:pt x="228856" y="2520"/>
                  </a:cubicBezTo>
                  <a:lnTo>
                    <a:pt x="228856" y="2520"/>
                  </a:lnTo>
                  <a:cubicBezTo>
                    <a:pt x="223816" y="2520"/>
                    <a:pt x="220037" y="1260"/>
                    <a:pt x="214998" y="1260"/>
                  </a:cubicBezTo>
                  <a:cubicBezTo>
                    <a:pt x="206179" y="1260"/>
                    <a:pt x="197360" y="0"/>
                    <a:pt x="187281" y="0"/>
                  </a:cubicBezTo>
                  <a:cubicBezTo>
                    <a:pt x="183502" y="0"/>
                    <a:pt x="179722" y="0"/>
                    <a:pt x="174683" y="0"/>
                  </a:cubicBezTo>
                  <a:lnTo>
                    <a:pt x="172164" y="0"/>
                  </a:lnTo>
                  <a:cubicBezTo>
                    <a:pt x="170904" y="0"/>
                    <a:pt x="169644" y="0"/>
                    <a:pt x="167124" y="0"/>
                  </a:cubicBezTo>
                  <a:lnTo>
                    <a:pt x="165864" y="0"/>
                  </a:lnTo>
                  <a:cubicBezTo>
                    <a:pt x="164605" y="0"/>
                    <a:pt x="162085" y="0"/>
                    <a:pt x="160825" y="0"/>
                  </a:cubicBezTo>
                  <a:cubicBezTo>
                    <a:pt x="158305" y="0"/>
                    <a:pt x="155786" y="0"/>
                    <a:pt x="153266" y="1260"/>
                  </a:cubicBezTo>
                  <a:cubicBezTo>
                    <a:pt x="150746" y="1260"/>
                    <a:pt x="148227" y="2520"/>
                    <a:pt x="146967" y="3780"/>
                  </a:cubicBezTo>
                  <a:cubicBezTo>
                    <a:pt x="143187" y="5040"/>
                    <a:pt x="139408" y="6299"/>
                    <a:pt x="135628" y="8819"/>
                  </a:cubicBezTo>
                  <a:lnTo>
                    <a:pt x="134369" y="8819"/>
                  </a:lnTo>
                  <a:cubicBezTo>
                    <a:pt x="133109" y="8819"/>
                    <a:pt x="131849" y="10079"/>
                    <a:pt x="131849" y="10079"/>
                  </a:cubicBezTo>
                  <a:lnTo>
                    <a:pt x="131849" y="10079"/>
                  </a:lnTo>
                  <a:lnTo>
                    <a:pt x="131849" y="10079"/>
                  </a:lnTo>
                  <a:cubicBezTo>
                    <a:pt x="131849" y="10079"/>
                    <a:pt x="131849" y="10079"/>
                    <a:pt x="131849" y="10079"/>
                  </a:cubicBezTo>
                  <a:lnTo>
                    <a:pt x="131849" y="10079"/>
                  </a:lnTo>
                  <a:cubicBezTo>
                    <a:pt x="131849" y="10079"/>
                    <a:pt x="131849" y="10079"/>
                    <a:pt x="131849" y="10079"/>
                  </a:cubicBezTo>
                  <a:lnTo>
                    <a:pt x="131849" y="10079"/>
                  </a:lnTo>
                  <a:lnTo>
                    <a:pt x="131849" y="10079"/>
                  </a:lnTo>
                  <a:lnTo>
                    <a:pt x="131849" y="10079"/>
                  </a:lnTo>
                  <a:lnTo>
                    <a:pt x="131849" y="10079"/>
                  </a:lnTo>
                  <a:lnTo>
                    <a:pt x="131849" y="10079"/>
                  </a:lnTo>
                  <a:lnTo>
                    <a:pt x="131849" y="10079"/>
                  </a:lnTo>
                  <a:cubicBezTo>
                    <a:pt x="131849" y="10079"/>
                    <a:pt x="131849" y="10079"/>
                    <a:pt x="131849" y="10079"/>
                  </a:cubicBezTo>
                  <a:lnTo>
                    <a:pt x="131849" y="10079"/>
                  </a:lnTo>
                  <a:lnTo>
                    <a:pt x="131849" y="10079"/>
                  </a:lnTo>
                  <a:lnTo>
                    <a:pt x="131849" y="10079"/>
                  </a:lnTo>
                  <a:cubicBezTo>
                    <a:pt x="131849" y="10079"/>
                    <a:pt x="131849" y="10079"/>
                    <a:pt x="131849" y="10079"/>
                  </a:cubicBezTo>
                  <a:cubicBezTo>
                    <a:pt x="129329" y="11339"/>
                    <a:pt x="126810" y="12598"/>
                    <a:pt x="124290" y="12598"/>
                  </a:cubicBezTo>
                  <a:cubicBezTo>
                    <a:pt x="123030" y="12598"/>
                    <a:pt x="121771" y="13858"/>
                    <a:pt x="120511" y="13858"/>
                  </a:cubicBezTo>
                  <a:cubicBezTo>
                    <a:pt x="119251" y="13858"/>
                    <a:pt x="117991" y="15118"/>
                    <a:pt x="117991" y="15118"/>
                  </a:cubicBezTo>
                  <a:lnTo>
                    <a:pt x="116731" y="15118"/>
                  </a:lnTo>
                  <a:cubicBezTo>
                    <a:pt x="114212" y="15118"/>
                    <a:pt x="112952" y="16378"/>
                    <a:pt x="110432" y="16378"/>
                  </a:cubicBezTo>
                  <a:lnTo>
                    <a:pt x="109172" y="16378"/>
                  </a:lnTo>
                  <a:cubicBezTo>
                    <a:pt x="105393" y="17638"/>
                    <a:pt x="101613" y="18897"/>
                    <a:pt x="97834" y="20157"/>
                  </a:cubicBezTo>
                  <a:cubicBezTo>
                    <a:pt x="96574" y="20157"/>
                    <a:pt x="95314" y="21417"/>
                    <a:pt x="94054" y="21417"/>
                  </a:cubicBezTo>
                  <a:cubicBezTo>
                    <a:pt x="92795" y="21417"/>
                    <a:pt x="92795" y="21417"/>
                    <a:pt x="91535" y="22677"/>
                  </a:cubicBezTo>
                  <a:cubicBezTo>
                    <a:pt x="89015" y="23937"/>
                    <a:pt x="86495" y="23937"/>
                    <a:pt x="83976" y="25196"/>
                  </a:cubicBezTo>
                  <a:cubicBezTo>
                    <a:pt x="81456" y="26456"/>
                    <a:pt x="78936" y="27716"/>
                    <a:pt x="75157" y="27716"/>
                  </a:cubicBezTo>
                  <a:cubicBezTo>
                    <a:pt x="73897" y="27716"/>
                    <a:pt x="72637" y="28976"/>
                    <a:pt x="71378" y="28976"/>
                  </a:cubicBezTo>
                  <a:cubicBezTo>
                    <a:pt x="67598" y="30236"/>
                    <a:pt x="62559" y="31496"/>
                    <a:pt x="58780" y="34015"/>
                  </a:cubicBezTo>
                  <a:cubicBezTo>
                    <a:pt x="55000" y="35275"/>
                    <a:pt x="49961" y="37795"/>
                    <a:pt x="46181" y="39055"/>
                  </a:cubicBezTo>
                  <a:cubicBezTo>
                    <a:pt x="42402" y="40315"/>
                    <a:pt x="38622" y="42834"/>
                    <a:pt x="33583" y="44094"/>
                  </a:cubicBezTo>
                  <a:lnTo>
                    <a:pt x="32323" y="44094"/>
                  </a:lnTo>
                  <a:cubicBezTo>
                    <a:pt x="29803" y="45354"/>
                    <a:pt x="28543" y="45354"/>
                    <a:pt x="26024" y="46614"/>
                  </a:cubicBezTo>
                  <a:cubicBezTo>
                    <a:pt x="23504" y="47874"/>
                    <a:pt x="22244" y="47874"/>
                    <a:pt x="20985" y="49133"/>
                  </a:cubicBezTo>
                  <a:cubicBezTo>
                    <a:pt x="19725" y="50393"/>
                    <a:pt x="18465" y="50393"/>
                    <a:pt x="17205" y="51653"/>
                  </a:cubicBezTo>
                  <a:lnTo>
                    <a:pt x="15945" y="52913"/>
                  </a:lnTo>
                  <a:lnTo>
                    <a:pt x="14686" y="52913"/>
                  </a:lnTo>
                  <a:cubicBezTo>
                    <a:pt x="13426" y="54173"/>
                    <a:pt x="10906" y="54173"/>
                    <a:pt x="9646" y="55433"/>
                  </a:cubicBezTo>
                  <a:cubicBezTo>
                    <a:pt x="7127" y="56692"/>
                    <a:pt x="5867" y="57952"/>
                    <a:pt x="3347" y="60472"/>
                  </a:cubicBezTo>
                  <a:cubicBezTo>
                    <a:pt x="2087" y="61732"/>
                    <a:pt x="828" y="62991"/>
                    <a:pt x="828" y="64251"/>
                  </a:cubicBezTo>
                  <a:cubicBezTo>
                    <a:pt x="-432" y="66771"/>
                    <a:pt x="-432" y="69290"/>
                    <a:pt x="2087" y="71810"/>
                  </a:cubicBezTo>
                  <a:cubicBezTo>
                    <a:pt x="3347" y="74330"/>
                    <a:pt x="5867" y="75589"/>
                    <a:pt x="8387" y="76849"/>
                  </a:cubicBezTo>
                  <a:cubicBezTo>
                    <a:pt x="10906" y="78109"/>
                    <a:pt x="12166" y="79369"/>
                    <a:pt x="14686" y="79369"/>
                  </a:cubicBezTo>
                  <a:cubicBezTo>
                    <a:pt x="18465" y="80629"/>
                    <a:pt x="23504" y="80629"/>
                    <a:pt x="27284" y="80629"/>
                  </a:cubicBezTo>
                  <a:lnTo>
                    <a:pt x="28543" y="80629"/>
                  </a:lnTo>
                  <a:cubicBezTo>
                    <a:pt x="29803" y="80629"/>
                    <a:pt x="32323" y="80629"/>
                    <a:pt x="33583" y="80629"/>
                  </a:cubicBezTo>
                  <a:lnTo>
                    <a:pt x="34843" y="80629"/>
                  </a:lnTo>
                  <a:cubicBezTo>
                    <a:pt x="37362" y="80629"/>
                    <a:pt x="38622" y="80629"/>
                    <a:pt x="41142" y="80629"/>
                  </a:cubicBezTo>
                  <a:lnTo>
                    <a:pt x="41142" y="80629"/>
                  </a:lnTo>
                  <a:cubicBezTo>
                    <a:pt x="46181" y="80629"/>
                    <a:pt x="49961" y="80629"/>
                    <a:pt x="55000" y="80629"/>
                  </a:cubicBezTo>
                  <a:cubicBezTo>
                    <a:pt x="60039" y="80629"/>
                    <a:pt x="63819" y="79369"/>
                    <a:pt x="68858" y="79369"/>
                  </a:cubicBezTo>
                  <a:lnTo>
                    <a:pt x="68858" y="79369"/>
                  </a:lnTo>
                  <a:cubicBezTo>
                    <a:pt x="72637" y="79369"/>
                    <a:pt x="75157" y="78109"/>
                    <a:pt x="78936" y="78109"/>
                  </a:cubicBezTo>
                  <a:lnTo>
                    <a:pt x="81456" y="78109"/>
                  </a:lnTo>
                  <a:cubicBezTo>
                    <a:pt x="87755" y="78109"/>
                    <a:pt x="94054" y="76849"/>
                    <a:pt x="100354" y="76849"/>
                  </a:cubicBezTo>
                  <a:lnTo>
                    <a:pt x="106653" y="76849"/>
                  </a:lnTo>
                  <a:cubicBezTo>
                    <a:pt x="123030" y="76849"/>
                    <a:pt x="139408" y="78109"/>
                    <a:pt x="155786" y="78109"/>
                  </a:cubicBezTo>
                  <a:cubicBezTo>
                    <a:pt x="158305" y="78109"/>
                    <a:pt x="159565" y="78109"/>
                    <a:pt x="162085" y="78109"/>
                  </a:cubicBezTo>
                  <a:cubicBezTo>
                    <a:pt x="164605" y="78109"/>
                    <a:pt x="167124" y="78109"/>
                    <a:pt x="169644" y="78109"/>
                  </a:cubicBezTo>
                  <a:cubicBezTo>
                    <a:pt x="174683" y="78109"/>
                    <a:pt x="179722" y="78109"/>
                    <a:pt x="184762" y="78109"/>
                  </a:cubicBezTo>
                  <a:cubicBezTo>
                    <a:pt x="189801" y="78109"/>
                    <a:pt x="194840" y="76849"/>
                    <a:pt x="198620" y="76849"/>
                  </a:cubicBezTo>
                  <a:cubicBezTo>
                    <a:pt x="201139" y="76849"/>
                    <a:pt x="203659" y="75589"/>
                    <a:pt x="204919" y="75589"/>
                  </a:cubicBezTo>
                  <a:cubicBezTo>
                    <a:pt x="206179" y="75589"/>
                    <a:pt x="206179" y="75589"/>
                    <a:pt x="207439" y="75589"/>
                  </a:cubicBezTo>
                  <a:cubicBezTo>
                    <a:pt x="208698" y="75589"/>
                    <a:pt x="209958" y="74330"/>
                    <a:pt x="211218" y="74330"/>
                  </a:cubicBezTo>
                  <a:cubicBezTo>
                    <a:pt x="211218" y="74330"/>
                    <a:pt x="211218" y="74330"/>
                    <a:pt x="211218" y="74330"/>
                  </a:cubicBezTo>
                  <a:cubicBezTo>
                    <a:pt x="211218" y="74330"/>
                    <a:pt x="211218" y="74330"/>
                    <a:pt x="211218" y="74330"/>
                  </a:cubicBezTo>
                  <a:cubicBezTo>
                    <a:pt x="211218" y="74330"/>
                    <a:pt x="212478" y="74330"/>
                    <a:pt x="212478" y="75589"/>
                  </a:cubicBezTo>
                  <a:lnTo>
                    <a:pt x="212478" y="75589"/>
                  </a:lnTo>
                  <a:cubicBezTo>
                    <a:pt x="213738" y="76849"/>
                    <a:pt x="214998" y="78109"/>
                    <a:pt x="217517" y="79369"/>
                  </a:cubicBezTo>
                  <a:cubicBezTo>
                    <a:pt x="218777" y="80629"/>
                    <a:pt x="220037" y="81889"/>
                    <a:pt x="222557" y="81889"/>
                  </a:cubicBezTo>
                  <a:cubicBezTo>
                    <a:pt x="223816" y="81889"/>
                    <a:pt x="225076" y="83148"/>
                    <a:pt x="226336" y="83148"/>
                  </a:cubicBezTo>
                  <a:cubicBezTo>
                    <a:pt x="226336" y="83148"/>
                    <a:pt x="226336" y="83148"/>
                    <a:pt x="227596" y="83148"/>
                  </a:cubicBezTo>
                  <a:cubicBezTo>
                    <a:pt x="232635" y="83148"/>
                    <a:pt x="236414" y="81889"/>
                    <a:pt x="241454" y="81889"/>
                  </a:cubicBezTo>
                  <a:lnTo>
                    <a:pt x="242713" y="81889"/>
                  </a:lnTo>
                  <a:cubicBezTo>
                    <a:pt x="243973" y="81889"/>
                    <a:pt x="246493" y="81889"/>
                    <a:pt x="247753" y="80629"/>
                  </a:cubicBezTo>
                  <a:cubicBezTo>
                    <a:pt x="250272" y="80629"/>
                    <a:pt x="252792" y="79369"/>
                    <a:pt x="254052" y="76849"/>
                  </a:cubicBezTo>
                  <a:cubicBezTo>
                    <a:pt x="254052" y="76849"/>
                    <a:pt x="255312" y="75589"/>
                    <a:pt x="255312" y="74330"/>
                  </a:cubicBezTo>
                  <a:cubicBezTo>
                    <a:pt x="256572" y="73070"/>
                    <a:pt x="257831" y="71810"/>
                    <a:pt x="257831" y="70550"/>
                  </a:cubicBezTo>
                  <a:cubicBezTo>
                    <a:pt x="257831" y="66771"/>
                    <a:pt x="257831" y="62991"/>
                    <a:pt x="257831" y="60472"/>
                  </a:cubicBezTo>
                  <a:cubicBezTo>
                    <a:pt x="257831" y="59212"/>
                    <a:pt x="257831" y="56692"/>
                    <a:pt x="257831" y="55433"/>
                  </a:cubicBezTo>
                  <a:cubicBezTo>
                    <a:pt x="257831" y="54173"/>
                    <a:pt x="257831" y="54173"/>
                    <a:pt x="257831" y="52913"/>
                  </a:cubicBezTo>
                  <a:cubicBezTo>
                    <a:pt x="257831" y="49133"/>
                    <a:pt x="257831" y="46614"/>
                    <a:pt x="257831" y="42834"/>
                  </a:cubicBezTo>
                  <a:lnTo>
                    <a:pt x="257831" y="40315"/>
                  </a:lnTo>
                  <a:lnTo>
                    <a:pt x="257831" y="36535"/>
                  </a:lnTo>
                  <a:cubicBezTo>
                    <a:pt x="257831" y="34015"/>
                    <a:pt x="257831" y="31496"/>
                    <a:pt x="257831" y="27716"/>
                  </a:cubicBezTo>
                  <a:cubicBezTo>
                    <a:pt x="257831" y="25196"/>
                    <a:pt x="257831" y="23937"/>
                    <a:pt x="257831" y="21417"/>
                  </a:cubicBezTo>
                  <a:cubicBezTo>
                    <a:pt x="257831" y="18897"/>
                    <a:pt x="257831" y="17638"/>
                    <a:pt x="257831" y="15118"/>
                  </a:cubicBezTo>
                  <a:cubicBezTo>
                    <a:pt x="257831" y="13858"/>
                    <a:pt x="257831" y="12598"/>
                    <a:pt x="256572" y="11339"/>
                  </a:cubicBezTo>
                  <a:cubicBezTo>
                    <a:pt x="256572" y="10079"/>
                    <a:pt x="256572" y="10079"/>
                    <a:pt x="255312" y="8819"/>
                  </a:cubicBezTo>
                  <a:cubicBezTo>
                    <a:pt x="255312" y="7559"/>
                    <a:pt x="255312" y="6299"/>
                    <a:pt x="255312" y="5040"/>
                  </a:cubicBezTo>
                  <a:cubicBezTo>
                    <a:pt x="255312" y="2520"/>
                    <a:pt x="254052" y="1260"/>
                    <a:pt x="252792" y="1260"/>
                  </a:cubicBezTo>
                  <a:moveTo>
                    <a:pt x="8387" y="64251"/>
                  </a:moveTo>
                  <a:cubicBezTo>
                    <a:pt x="9646" y="62991"/>
                    <a:pt x="10906" y="62991"/>
                    <a:pt x="12166" y="61732"/>
                  </a:cubicBezTo>
                  <a:cubicBezTo>
                    <a:pt x="13426" y="60472"/>
                    <a:pt x="14686" y="60472"/>
                    <a:pt x="15945" y="59212"/>
                  </a:cubicBezTo>
                  <a:lnTo>
                    <a:pt x="17205" y="59212"/>
                  </a:lnTo>
                  <a:cubicBezTo>
                    <a:pt x="18465" y="57952"/>
                    <a:pt x="19725" y="57952"/>
                    <a:pt x="20985" y="57952"/>
                  </a:cubicBezTo>
                  <a:lnTo>
                    <a:pt x="22244" y="56692"/>
                  </a:lnTo>
                  <a:cubicBezTo>
                    <a:pt x="23504" y="55433"/>
                    <a:pt x="26024" y="55433"/>
                    <a:pt x="28543" y="54173"/>
                  </a:cubicBezTo>
                  <a:cubicBezTo>
                    <a:pt x="31063" y="52913"/>
                    <a:pt x="33583" y="52913"/>
                    <a:pt x="34843" y="51653"/>
                  </a:cubicBezTo>
                  <a:cubicBezTo>
                    <a:pt x="32323" y="52913"/>
                    <a:pt x="28543" y="55433"/>
                    <a:pt x="26024" y="56692"/>
                  </a:cubicBezTo>
                  <a:lnTo>
                    <a:pt x="26024" y="56692"/>
                  </a:lnTo>
                  <a:cubicBezTo>
                    <a:pt x="22244" y="59212"/>
                    <a:pt x="19725" y="60472"/>
                    <a:pt x="15945" y="62991"/>
                  </a:cubicBezTo>
                  <a:cubicBezTo>
                    <a:pt x="14686" y="62991"/>
                    <a:pt x="13426" y="64251"/>
                    <a:pt x="12166" y="64251"/>
                  </a:cubicBezTo>
                  <a:cubicBezTo>
                    <a:pt x="10906" y="64251"/>
                    <a:pt x="9646" y="64251"/>
                    <a:pt x="8387" y="64251"/>
                  </a:cubicBezTo>
                </a:path>
              </a:pathLst>
            </a:custGeom>
            <a:solidFill>
              <a:srgbClr val="001675"/>
            </a:solidFill>
            <a:ln w="12584" cap="flat">
              <a:noFill/>
              <a:prstDash val="solid"/>
              <a:miter/>
            </a:ln>
          </p:spPr>
          <p:txBody>
            <a:bodyPr rtlCol="0" anchor="ctr"/>
            <a:lstStyle/>
            <a:p>
              <a:endParaRPr lang="zh-CN" altLang="en-US"/>
            </a:p>
          </p:txBody>
        </p:sp>
        <p:sp>
          <p:nvSpPr>
            <p:cNvPr id="10223" name="任意多边形: 形状 10222"/>
            <p:cNvSpPr/>
            <p:nvPr/>
          </p:nvSpPr>
          <p:spPr>
            <a:xfrm>
              <a:off x="4954341" y="4700161"/>
              <a:ext cx="62991" cy="37795"/>
            </a:xfrm>
            <a:custGeom>
              <a:avLst/>
              <a:gdLst>
                <a:gd name="connsiteX0" fmla="*/ 73070 w 62991"/>
                <a:gd name="connsiteY0" fmla="*/ 2520 h 37794"/>
                <a:gd name="connsiteX1" fmla="*/ 74329 w 62991"/>
                <a:gd name="connsiteY1" fmla="*/ 6299 h 37794"/>
                <a:gd name="connsiteX2" fmla="*/ 71810 w 62991"/>
                <a:gd name="connsiteY2" fmla="*/ 11338 h 37794"/>
                <a:gd name="connsiteX3" fmla="*/ 66770 w 62991"/>
                <a:gd name="connsiteY3" fmla="*/ 13858 h 37794"/>
                <a:gd name="connsiteX4" fmla="*/ 64251 w 62991"/>
                <a:gd name="connsiteY4" fmla="*/ 15118 h 37794"/>
                <a:gd name="connsiteX5" fmla="*/ 57952 w 62991"/>
                <a:gd name="connsiteY5" fmla="*/ 17637 h 37794"/>
                <a:gd name="connsiteX6" fmla="*/ 45354 w 62991"/>
                <a:gd name="connsiteY6" fmla="*/ 22677 h 37794"/>
                <a:gd name="connsiteX7" fmla="*/ 13858 w 62991"/>
                <a:gd name="connsiteY7" fmla="*/ 36535 h 37794"/>
                <a:gd name="connsiteX8" fmla="*/ 11338 w 62991"/>
                <a:gd name="connsiteY8" fmla="*/ 37795 h 37794"/>
                <a:gd name="connsiteX9" fmla="*/ 6299 w 62991"/>
                <a:gd name="connsiteY9" fmla="*/ 37795 h 37794"/>
                <a:gd name="connsiteX10" fmla="*/ 1260 w 62991"/>
                <a:gd name="connsiteY10" fmla="*/ 34015 h 37794"/>
                <a:gd name="connsiteX11" fmla="*/ 0 w 62991"/>
                <a:gd name="connsiteY11" fmla="*/ 27716 h 37794"/>
                <a:gd name="connsiteX12" fmla="*/ 3779 w 62991"/>
                <a:gd name="connsiteY12" fmla="*/ 22677 h 37794"/>
                <a:gd name="connsiteX13" fmla="*/ 35275 w 62991"/>
                <a:gd name="connsiteY13" fmla="*/ 10079 h 37794"/>
                <a:gd name="connsiteX14" fmla="*/ 62991 w 62991"/>
                <a:gd name="connsiteY14" fmla="*/ 0 h 37794"/>
                <a:gd name="connsiteX15" fmla="*/ 65511 w 62991"/>
                <a:gd name="connsiteY15" fmla="*/ 0 h 37794"/>
                <a:gd name="connsiteX16" fmla="*/ 73070 w 62991"/>
                <a:gd name="connsiteY16" fmla="*/ 2520 h 3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991" h="37794">
                  <a:moveTo>
                    <a:pt x="73070" y="2520"/>
                  </a:moveTo>
                  <a:cubicBezTo>
                    <a:pt x="73070" y="3780"/>
                    <a:pt x="74329" y="5039"/>
                    <a:pt x="74329" y="6299"/>
                  </a:cubicBezTo>
                  <a:cubicBezTo>
                    <a:pt x="74329" y="7559"/>
                    <a:pt x="73070" y="10079"/>
                    <a:pt x="71810" y="11338"/>
                  </a:cubicBezTo>
                  <a:cubicBezTo>
                    <a:pt x="70550" y="12598"/>
                    <a:pt x="69290" y="13858"/>
                    <a:pt x="66770" y="13858"/>
                  </a:cubicBezTo>
                  <a:cubicBezTo>
                    <a:pt x="65511" y="13858"/>
                    <a:pt x="64251" y="15118"/>
                    <a:pt x="64251" y="15118"/>
                  </a:cubicBezTo>
                  <a:cubicBezTo>
                    <a:pt x="61731" y="16378"/>
                    <a:pt x="60471" y="17637"/>
                    <a:pt x="57952" y="17637"/>
                  </a:cubicBezTo>
                  <a:cubicBezTo>
                    <a:pt x="54172" y="20157"/>
                    <a:pt x="50393" y="21417"/>
                    <a:pt x="45354" y="22677"/>
                  </a:cubicBezTo>
                  <a:cubicBezTo>
                    <a:pt x="35275" y="27716"/>
                    <a:pt x="23937" y="31496"/>
                    <a:pt x="13858" y="36535"/>
                  </a:cubicBezTo>
                  <a:cubicBezTo>
                    <a:pt x="12598" y="36535"/>
                    <a:pt x="12598" y="36535"/>
                    <a:pt x="11338" y="37795"/>
                  </a:cubicBezTo>
                  <a:cubicBezTo>
                    <a:pt x="10078" y="37795"/>
                    <a:pt x="8819" y="37795"/>
                    <a:pt x="6299" y="37795"/>
                  </a:cubicBezTo>
                  <a:cubicBezTo>
                    <a:pt x="3779" y="37795"/>
                    <a:pt x="2519" y="35275"/>
                    <a:pt x="1260" y="34015"/>
                  </a:cubicBezTo>
                  <a:cubicBezTo>
                    <a:pt x="0" y="31496"/>
                    <a:pt x="0" y="30236"/>
                    <a:pt x="0" y="27716"/>
                  </a:cubicBezTo>
                  <a:cubicBezTo>
                    <a:pt x="0" y="26456"/>
                    <a:pt x="2519" y="23937"/>
                    <a:pt x="3779" y="22677"/>
                  </a:cubicBezTo>
                  <a:cubicBezTo>
                    <a:pt x="13858" y="18897"/>
                    <a:pt x="25196" y="13858"/>
                    <a:pt x="35275" y="10079"/>
                  </a:cubicBezTo>
                  <a:cubicBezTo>
                    <a:pt x="44094" y="6299"/>
                    <a:pt x="52912" y="2520"/>
                    <a:pt x="62991" y="0"/>
                  </a:cubicBezTo>
                  <a:cubicBezTo>
                    <a:pt x="64251" y="0"/>
                    <a:pt x="64251" y="0"/>
                    <a:pt x="65511" y="0"/>
                  </a:cubicBezTo>
                  <a:cubicBezTo>
                    <a:pt x="69290" y="0"/>
                    <a:pt x="71810" y="1260"/>
                    <a:pt x="73070" y="2520"/>
                  </a:cubicBezTo>
                </a:path>
              </a:pathLst>
            </a:custGeom>
            <a:solidFill>
              <a:srgbClr val="001675"/>
            </a:solidFill>
            <a:ln w="12584" cap="flat">
              <a:noFill/>
              <a:prstDash val="solid"/>
              <a:miter/>
            </a:ln>
          </p:spPr>
          <p:txBody>
            <a:bodyPr rtlCol="0" anchor="ctr"/>
            <a:lstStyle/>
            <a:p>
              <a:endParaRPr lang="zh-CN" altLang="en-US"/>
            </a:p>
          </p:txBody>
        </p:sp>
        <p:sp>
          <p:nvSpPr>
            <p:cNvPr id="10224" name="任意多边形: 形状 10223"/>
            <p:cNvSpPr/>
            <p:nvPr/>
          </p:nvSpPr>
          <p:spPr>
            <a:xfrm>
              <a:off x="4941742" y="4687003"/>
              <a:ext cx="226768" cy="50393"/>
            </a:xfrm>
            <a:custGeom>
              <a:avLst/>
              <a:gdLst>
                <a:gd name="connsiteX0" fmla="*/ 99526 w 226768"/>
                <a:gd name="connsiteY0" fmla="*/ 560 h 50392"/>
                <a:gd name="connsiteX1" fmla="*/ 99526 w 226768"/>
                <a:gd name="connsiteY1" fmla="*/ 560 h 50392"/>
                <a:gd name="connsiteX2" fmla="*/ 95747 w 226768"/>
                <a:gd name="connsiteY2" fmla="*/ 560 h 50392"/>
                <a:gd name="connsiteX3" fmla="*/ 68030 w 226768"/>
                <a:gd name="connsiteY3" fmla="*/ 10639 h 50392"/>
                <a:gd name="connsiteX4" fmla="*/ 56692 w 226768"/>
                <a:gd name="connsiteY4" fmla="*/ 15678 h 50392"/>
                <a:gd name="connsiteX5" fmla="*/ 46613 w 226768"/>
                <a:gd name="connsiteY5" fmla="*/ 19457 h 50392"/>
                <a:gd name="connsiteX6" fmla="*/ 23937 w 226768"/>
                <a:gd name="connsiteY6" fmla="*/ 29536 h 50392"/>
                <a:gd name="connsiteX7" fmla="*/ 12598 w 226768"/>
                <a:gd name="connsiteY7" fmla="*/ 35835 h 50392"/>
                <a:gd name="connsiteX8" fmla="*/ 7559 w 226768"/>
                <a:gd name="connsiteY8" fmla="*/ 39615 h 50392"/>
                <a:gd name="connsiteX9" fmla="*/ 2519 w 226768"/>
                <a:gd name="connsiteY9" fmla="*/ 43394 h 50392"/>
                <a:gd name="connsiteX10" fmla="*/ 0 w 226768"/>
                <a:gd name="connsiteY10" fmla="*/ 47174 h 50392"/>
                <a:gd name="connsiteX11" fmla="*/ 0 w 226768"/>
                <a:gd name="connsiteY11" fmla="*/ 49693 h 50392"/>
                <a:gd name="connsiteX12" fmla="*/ 0 w 226768"/>
                <a:gd name="connsiteY12" fmla="*/ 50953 h 50392"/>
                <a:gd name="connsiteX13" fmla="*/ 5039 w 226768"/>
                <a:gd name="connsiteY13" fmla="*/ 54733 h 50392"/>
                <a:gd name="connsiteX14" fmla="*/ 11338 w 226768"/>
                <a:gd name="connsiteY14" fmla="*/ 55992 h 50392"/>
                <a:gd name="connsiteX15" fmla="*/ 23937 w 226768"/>
                <a:gd name="connsiteY15" fmla="*/ 55992 h 50392"/>
                <a:gd name="connsiteX16" fmla="*/ 22677 w 226768"/>
                <a:gd name="connsiteY16" fmla="*/ 55992 h 50392"/>
                <a:gd name="connsiteX17" fmla="*/ 31496 w 226768"/>
                <a:gd name="connsiteY17" fmla="*/ 55992 h 50392"/>
                <a:gd name="connsiteX18" fmla="*/ 41574 w 226768"/>
                <a:gd name="connsiteY18" fmla="*/ 55992 h 50392"/>
                <a:gd name="connsiteX19" fmla="*/ 57952 w 226768"/>
                <a:gd name="connsiteY19" fmla="*/ 55992 h 50392"/>
                <a:gd name="connsiteX20" fmla="*/ 75589 w 226768"/>
                <a:gd name="connsiteY20" fmla="*/ 55992 h 50392"/>
                <a:gd name="connsiteX21" fmla="*/ 74329 w 226768"/>
                <a:gd name="connsiteY21" fmla="*/ 55992 h 50392"/>
                <a:gd name="connsiteX22" fmla="*/ 84408 w 226768"/>
                <a:gd name="connsiteY22" fmla="*/ 55992 h 50392"/>
                <a:gd name="connsiteX23" fmla="*/ 94487 w 226768"/>
                <a:gd name="connsiteY23" fmla="*/ 55992 h 50392"/>
                <a:gd name="connsiteX24" fmla="*/ 105825 w 226768"/>
                <a:gd name="connsiteY24" fmla="*/ 55992 h 50392"/>
                <a:gd name="connsiteX25" fmla="*/ 104565 w 226768"/>
                <a:gd name="connsiteY25" fmla="*/ 55992 h 50392"/>
                <a:gd name="connsiteX26" fmla="*/ 114644 w 226768"/>
                <a:gd name="connsiteY26" fmla="*/ 55992 h 50392"/>
                <a:gd name="connsiteX27" fmla="*/ 124722 w 226768"/>
                <a:gd name="connsiteY27" fmla="*/ 55992 h 50392"/>
                <a:gd name="connsiteX28" fmla="*/ 134801 w 226768"/>
                <a:gd name="connsiteY28" fmla="*/ 54733 h 50392"/>
                <a:gd name="connsiteX29" fmla="*/ 144880 w 226768"/>
                <a:gd name="connsiteY29" fmla="*/ 54733 h 50392"/>
                <a:gd name="connsiteX30" fmla="*/ 156218 w 226768"/>
                <a:gd name="connsiteY30" fmla="*/ 54733 h 50392"/>
                <a:gd name="connsiteX31" fmla="*/ 162517 w 226768"/>
                <a:gd name="connsiteY31" fmla="*/ 54733 h 50392"/>
                <a:gd name="connsiteX32" fmla="*/ 167556 w 226768"/>
                <a:gd name="connsiteY32" fmla="*/ 54733 h 50392"/>
                <a:gd name="connsiteX33" fmla="*/ 190233 w 226768"/>
                <a:gd name="connsiteY33" fmla="*/ 55992 h 50392"/>
                <a:gd name="connsiteX34" fmla="*/ 201572 w 226768"/>
                <a:gd name="connsiteY34" fmla="*/ 55992 h 50392"/>
                <a:gd name="connsiteX35" fmla="*/ 214170 w 226768"/>
                <a:gd name="connsiteY35" fmla="*/ 54733 h 50392"/>
                <a:gd name="connsiteX36" fmla="*/ 219209 w 226768"/>
                <a:gd name="connsiteY36" fmla="*/ 54733 h 50392"/>
                <a:gd name="connsiteX37" fmla="*/ 221729 w 226768"/>
                <a:gd name="connsiteY37" fmla="*/ 54733 h 50392"/>
                <a:gd name="connsiteX38" fmla="*/ 225508 w 226768"/>
                <a:gd name="connsiteY38" fmla="*/ 53473 h 50392"/>
                <a:gd name="connsiteX39" fmla="*/ 228028 w 226768"/>
                <a:gd name="connsiteY39" fmla="*/ 52213 h 50392"/>
                <a:gd name="connsiteX40" fmla="*/ 230548 w 226768"/>
                <a:gd name="connsiteY40" fmla="*/ 49693 h 50392"/>
                <a:gd name="connsiteX41" fmla="*/ 233067 w 226768"/>
                <a:gd name="connsiteY41" fmla="*/ 47174 h 50392"/>
                <a:gd name="connsiteX42" fmla="*/ 236847 w 226768"/>
                <a:gd name="connsiteY42" fmla="*/ 42134 h 50392"/>
                <a:gd name="connsiteX43" fmla="*/ 238107 w 226768"/>
                <a:gd name="connsiteY43" fmla="*/ 39615 h 50392"/>
                <a:gd name="connsiteX44" fmla="*/ 236847 w 226768"/>
                <a:gd name="connsiteY44" fmla="*/ 37095 h 50392"/>
                <a:gd name="connsiteX45" fmla="*/ 234327 w 226768"/>
                <a:gd name="connsiteY45" fmla="*/ 35835 h 50392"/>
                <a:gd name="connsiteX46" fmla="*/ 231807 w 226768"/>
                <a:gd name="connsiteY46" fmla="*/ 37095 h 50392"/>
                <a:gd name="connsiteX47" fmla="*/ 228028 w 226768"/>
                <a:gd name="connsiteY47" fmla="*/ 42134 h 50392"/>
                <a:gd name="connsiteX48" fmla="*/ 226768 w 226768"/>
                <a:gd name="connsiteY48" fmla="*/ 44654 h 50392"/>
                <a:gd name="connsiteX49" fmla="*/ 225508 w 226768"/>
                <a:gd name="connsiteY49" fmla="*/ 47174 h 50392"/>
                <a:gd name="connsiteX50" fmla="*/ 224248 w 226768"/>
                <a:gd name="connsiteY50" fmla="*/ 47174 h 50392"/>
                <a:gd name="connsiteX51" fmla="*/ 222988 w 226768"/>
                <a:gd name="connsiteY51" fmla="*/ 47174 h 50392"/>
                <a:gd name="connsiteX52" fmla="*/ 214170 w 226768"/>
                <a:gd name="connsiteY52" fmla="*/ 48433 h 50392"/>
                <a:gd name="connsiteX53" fmla="*/ 204091 w 226768"/>
                <a:gd name="connsiteY53" fmla="*/ 48433 h 50392"/>
                <a:gd name="connsiteX54" fmla="*/ 183934 w 226768"/>
                <a:gd name="connsiteY54" fmla="*/ 48433 h 50392"/>
                <a:gd name="connsiteX55" fmla="*/ 168816 w 226768"/>
                <a:gd name="connsiteY55" fmla="*/ 48433 h 50392"/>
                <a:gd name="connsiteX56" fmla="*/ 152439 w 226768"/>
                <a:gd name="connsiteY56" fmla="*/ 48433 h 50392"/>
                <a:gd name="connsiteX57" fmla="*/ 153698 w 226768"/>
                <a:gd name="connsiteY57" fmla="*/ 48433 h 50392"/>
                <a:gd name="connsiteX58" fmla="*/ 151179 w 226768"/>
                <a:gd name="connsiteY58" fmla="*/ 48433 h 50392"/>
                <a:gd name="connsiteX59" fmla="*/ 138581 w 226768"/>
                <a:gd name="connsiteY59" fmla="*/ 48433 h 50392"/>
                <a:gd name="connsiteX60" fmla="*/ 125982 w 226768"/>
                <a:gd name="connsiteY60" fmla="*/ 49693 h 50392"/>
                <a:gd name="connsiteX61" fmla="*/ 113384 w 226768"/>
                <a:gd name="connsiteY61" fmla="*/ 49693 h 50392"/>
                <a:gd name="connsiteX62" fmla="*/ 102046 w 226768"/>
                <a:gd name="connsiteY62" fmla="*/ 49693 h 50392"/>
                <a:gd name="connsiteX63" fmla="*/ 91967 w 226768"/>
                <a:gd name="connsiteY63" fmla="*/ 49693 h 50392"/>
                <a:gd name="connsiteX64" fmla="*/ 80629 w 226768"/>
                <a:gd name="connsiteY64" fmla="*/ 49693 h 50392"/>
                <a:gd name="connsiteX65" fmla="*/ 81889 w 226768"/>
                <a:gd name="connsiteY65" fmla="*/ 49693 h 50392"/>
                <a:gd name="connsiteX66" fmla="*/ 66770 w 226768"/>
                <a:gd name="connsiteY66" fmla="*/ 49693 h 50392"/>
                <a:gd name="connsiteX67" fmla="*/ 59211 w 226768"/>
                <a:gd name="connsiteY67" fmla="*/ 49693 h 50392"/>
                <a:gd name="connsiteX68" fmla="*/ 52912 w 226768"/>
                <a:gd name="connsiteY68" fmla="*/ 49693 h 50392"/>
                <a:gd name="connsiteX69" fmla="*/ 41574 w 226768"/>
                <a:gd name="connsiteY69" fmla="*/ 49693 h 50392"/>
                <a:gd name="connsiteX70" fmla="*/ 35275 w 226768"/>
                <a:gd name="connsiteY70" fmla="*/ 49693 h 50392"/>
                <a:gd name="connsiteX71" fmla="*/ 30236 w 226768"/>
                <a:gd name="connsiteY71" fmla="*/ 49693 h 50392"/>
                <a:gd name="connsiteX72" fmla="*/ 25196 w 226768"/>
                <a:gd name="connsiteY72" fmla="*/ 49693 h 50392"/>
                <a:gd name="connsiteX73" fmla="*/ 18897 w 226768"/>
                <a:gd name="connsiteY73" fmla="*/ 49693 h 50392"/>
                <a:gd name="connsiteX74" fmla="*/ 16378 w 226768"/>
                <a:gd name="connsiteY74" fmla="*/ 49693 h 50392"/>
                <a:gd name="connsiteX75" fmla="*/ 18897 w 226768"/>
                <a:gd name="connsiteY75" fmla="*/ 48433 h 50392"/>
                <a:gd name="connsiteX76" fmla="*/ 26456 w 226768"/>
                <a:gd name="connsiteY76" fmla="*/ 43394 h 50392"/>
                <a:gd name="connsiteX77" fmla="*/ 35275 w 226768"/>
                <a:gd name="connsiteY77" fmla="*/ 39615 h 50392"/>
                <a:gd name="connsiteX78" fmla="*/ 54172 w 226768"/>
                <a:gd name="connsiteY78" fmla="*/ 32056 h 50392"/>
                <a:gd name="connsiteX79" fmla="*/ 78109 w 226768"/>
                <a:gd name="connsiteY79" fmla="*/ 23237 h 50392"/>
                <a:gd name="connsiteX80" fmla="*/ 100786 w 226768"/>
                <a:gd name="connsiteY80" fmla="*/ 13158 h 50392"/>
                <a:gd name="connsiteX81" fmla="*/ 103305 w 226768"/>
                <a:gd name="connsiteY81" fmla="*/ 8119 h 50392"/>
                <a:gd name="connsiteX82" fmla="*/ 99526 w 226768"/>
                <a:gd name="connsiteY82" fmla="*/ 560 h 50392"/>
                <a:gd name="connsiteX83" fmla="*/ 17637 w 226768"/>
                <a:gd name="connsiteY83" fmla="*/ 43394 h 50392"/>
                <a:gd name="connsiteX84" fmla="*/ 17637 w 226768"/>
                <a:gd name="connsiteY84" fmla="*/ 43394 h 50392"/>
                <a:gd name="connsiteX85" fmla="*/ 17637 w 226768"/>
                <a:gd name="connsiteY85" fmla="*/ 43394 h 50392"/>
                <a:gd name="connsiteX86" fmla="*/ 7559 w 226768"/>
                <a:gd name="connsiteY86" fmla="*/ 44654 h 50392"/>
                <a:gd name="connsiteX87" fmla="*/ 7559 w 226768"/>
                <a:gd name="connsiteY87" fmla="*/ 44654 h 50392"/>
                <a:gd name="connsiteX88" fmla="*/ 7559 w 226768"/>
                <a:gd name="connsiteY88" fmla="*/ 44654 h 50392"/>
                <a:gd name="connsiteX89" fmla="*/ 85668 w 226768"/>
                <a:gd name="connsiteY89" fmla="*/ 53473 h 50392"/>
                <a:gd name="connsiteX90" fmla="*/ 85668 w 226768"/>
                <a:gd name="connsiteY90" fmla="*/ 53473 h 50392"/>
                <a:gd name="connsiteX91" fmla="*/ 85668 w 226768"/>
                <a:gd name="connsiteY91" fmla="*/ 53473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26768" h="50392">
                  <a:moveTo>
                    <a:pt x="99526" y="560"/>
                  </a:moveTo>
                  <a:cubicBezTo>
                    <a:pt x="99526" y="560"/>
                    <a:pt x="98266" y="-700"/>
                    <a:pt x="99526" y="560"/>
                  </a:cubicBezTo>
                  <a:cubicBezTo>
                    <a:pt x="98266" y="560"/>
                    <a:pt x="97006" y="560"/>
                    <a:pt x="95747" y="560"/>
                  </a:cubicBezTo>
                  <a:cubicBezTo>
                    <a:pt x="86928" y="3080"/>
                    <a:pt x="78109" y="6859"/>
                    <a:pt x="68030" y="10639"/>
                  </a:cubicBezTo>
                  <a:cubicBezTo>
                    <a:pt x="64251" y="11898"/>
                    <a:pt x="60471" y="13158"/>
                    <a:pt x="56692" y="15678"/>
                  </a:cubicBezTo>
                  <a:cubicBezTo>
                    <a:pt x="52912" y="16938"/>
                    <a:pt x="49133" y="18197"/>
                    <a:pt x="46613" y="19457"/>
                  </a:cubicBezTo>
                  <a:cubicBezTo>
                    <a:pt x="39055" y="23237"/>
                    <a:pt x="31496" y="25756"/>
                    <a:pt x="23937" y="29536"/>
                  </a:cubicBezTo>
                  <a:cubicBezTo>
                    <a:pt x="20157" y="32056"/>
                    <a:pt x="16378" y="33315"/>
                    <a:pt x="12598" y="35835"/>
                  </a:cubicBezTo>
                  <a:cubicBezTo>
                    <a:pt x="11338" y="37095"/>
                    <a:pt x="8819" y="38355"/>
                    <a:pt x="7559" y="39615"/>
                  </a:cubicBezTo>
                  <a:cubicBezTo>
                    <a:pt x="6299" y="40874"/>
                    <a:pt x="3779" y="42134"/>
                    <a:pt x="2519" y="43394"/>
                  </a:cubicBezTo>
                  <a:cubicBezTo>
                    <a:pt x="1260" y="44654"/>
                    <a:pt x="0" y="45914"/>
                    <a:pt x="0" y="47174"/>
                  </a:cubicBezTo>
                  <a:cubicBezTo>
                    <a:pt x="0" y="48433"/>
                    <a:pt x="0" y="48433"/>
                    <a:pt x="0" y="49693"/>
                  </a:cubicBezTo>
                  <a:cubicBezTo>
                    <a:pt x="0" y="49693"/>
                    <a:pt x="0" y="50953"/>
                    <a:pt x="0" y="50953"/>
                  </a:cubicBezTo>
                  <a:cubicBezTo>
                    <a:pt x="1260" y="52213"/>
                    <a:pt x="2519" y="53473"/>
                    <a:pt x="5039" y="54733"/>
                  </a:cubicBezTo>
                  <a:cubicBezTo>
                    <a:pt x="6299" y="54733"/>
                    <a:pt x="8819" y="55992"/>
                    <a:pt x="11338" y="55992"/>
                  </a:cubicBezTo>
                  <a:cubicBezTo>
                    <a:pt x="15118" y="55992"/>
                    <a:pt x="18897" y="55992"/>
                    <a:pt x="23937" y="55992"/>
                  </a:cubicBezTo>
                  <a:cubicBezTo>
                    <a:pt x="23937" y="55992"/>
                    <a:pt x="22677" y="55992"/>
                    <a:pt x="22677" y="55992"/>
                  </a:cubicBezTo>
                  <a:cubicBezTo>
                    <a:pt x="25196" y="55992"/>
                    <a:pt x="28976" y="55992"/>
                    <a:pt x="31496" y="55992"/>
                  </a:cubicBezTo>
                  <a:cubicBezTo>
                    <a:pt x="35275" y="55992"/>
                    <a:pt x="37795" y="55992"/>
                    <a:pt x="41574" y="55992"/>
                  </a:cubicBezTo>
                  <a:cubicBezTo>
                    <a:pt x="46613" y="55992"/>
                    <a:pt x="52912" y="55992"/>
                    <a:pt x="57952" y="55992"/>
                  </a:cubicBezTo>
                  <a:cubicBezTo>
                    <a:pt x="64251" y="55992"/>
                    <a:pt x="70550" y="55992"/>
                    <a:pt x="75589" y="55992"/>
                  </a:cubicBezTo>
                  <a:cubicBezTo>
                    <a:pt x="75589" y="55992"/>
                    <a:pt x="75589" y="55992"/>
                    <a:pt x="74329" y="55992"/>
                  </a:cubicBezTo>
                  <a:cubicBezTo>
                    <a:pt x="78109" y="55992"/>
                    <a:pt x="80629" y="55992"/>
                    <a:pt x="84408" y="55992"/>
                  </a:cubicBezTo>
                  <a:cubicBezTo>
                    <a:pt x="88188" y="55992"/>
                    <a:pt x="90707" y="55992"/>
                    <a:pt x="94487" y="55992"/>
                  </a:cubicBezTo>
                  <a:cubicBezTo>
                    <a:pt x="98266" y="55992"/>
                    <a:pt x="102046" y="55992"/>
                    <a:pt x="105825" y="55992"/>
                  </a:cubicBezTo>
                  <a:lnTo>
                    <a:pt x="104565" y="55992"/>
                  </a:lnTo>
                  <a:cubicBezTo>
                    <a:pt x="108345" y="55992"/>
                    <a:pt x="110864" y="55992"/>
                    <a:pt x="114644" y="55992"/>
                  </a:cubicBezTo>
                  <a:cubicBezTo>
                    <a:pt x="118423" y="55992"/>
                    <a:pt x="122203" y="55992"/>
                    <a:pt x="124722" y="55992"/>
                  </a:cubicBezTo>
                  <a:cubicBezTo>
                    <a:pt x="128502" y="55992"/>
                    <a:pt x="131022" y="55992"/>
                    <a:pt x="134801" y="54733"/>
                  </a:cubicBezTo>
                  <a:cubicBezTo>
                    <a:pt x="138581" y="54733"/>
                    <a:pt x="141100" y="54733"/>
                    <a:pt x="144880" y="54733"/>
                  </a:cubicBezTo>
                  <a:cubicBezTo>
                    <a:pt x="148659" y="54733"/>
                    <a:pt x="152439" y="54733"/>
                    <a:pt x="156218" y="54733"/>
                  </a:cubicBezTo>
                  <a:cubicBezTo>
                    <a:pt x="158738" y="54733"/>
                    <a:pt x="159997" y="54733"/>
                    <a:pt x="162517" y="54733"/>
                  </a:cubicBezTo>
                  <a:cubicBezTo>
                    <a:pt x="163777" y="54733"/>
                    <a:pt x="166296" y="54733"/>
                    <a:pt x="167556" y="54733"/>
                  </a:cubicBezTo>
                  <a:cubicBezTo>
                    <a:pt x="175115" y="54733"/>
                    <a:pt x="182674" y="55992"/>
                    <a:pt x="190233" y="55992"/>
                  </a:cubicBezTo>
                  <a:cubicBezTo>
                    <a:pt x="194013" y="55992"/>
                    <a:pt x="197792" y="55992"/>
                    <a:pt x="201572" y="55992"/>
                  </a:cubicBezTo>
                  <a:cubicBezTo>
                    <a:pt x="205351" y="55992"/>
                    <a:pt x="210390" y="55992"/>
                    <a:pt x="214170" y="54733"/>
                  </a:cubicBezTo>
                  <a:cubicBezTo>
                    <a:pt x="215430" y="54733"/>
                    <a:pt x="217949" y="54733"/>
                    <a:pt x="219209" y="54733"/>
                  </a:cubicBezTo>
                  <a:cubicBezTo>
                    <a:pt x="220469" y="54733"/>
                    <a:pt x="220469" y="54733"/>
                    <a:pt x="221729" y="54733"/>
                  </a:cubicBezTo>
                  <a:cubicBezTo>
                    <a:pt x="222988" y="54733"/>
                    <a:pt x="224248" y="54733"/>
                    <a:pt x="225508" y="53473"/>
                  </a:cubicBezTo>
                  <a:cubicBezTo>
                    <a:pt x="226768" y="53473"/>
                    <a:pt x="226768" y="52213"/>
                    <a:pt x="228028" y="52213"/>
                  </a:cubicBezTo>
                  <a:cubicBezTo>
                    <a:pt x="229288" y="50953"/>
                    <a:pt x="229288" y="50953"/>
                    <a:pt x="230548" y="49693"/>
                  </a:cubicBezTo>
                  <a:cubicBezTo>
                    <a:pt x="230548" y="48433"/>
                    <a:pt x="231807" y="48433"/>
                    <a:pt x="233067" y="47174"/>
                  </a:cubicBezTo>
                  <a:cubicBezTo>
                    <a:pt x="234327" y="45914"/>
                    <a:pt x="235587" y="43394"/>
                    <a:pt x="236847" y="42134"/>
                  </a:cubicBezTo>
                  <a:cubicBezTo>
                    <a:pt x="238107" y="40874"/>
                    <a:pt x="238107" y="39615"/>
                    <a:pt x="238107" y="39615"/>
                  </a:cubicBezTo>
                  <a:cubicBezTo>
                    <a:pt x="238107" y="38355"/>
                    <a:pt x="236847" y="37095"/>
                    <a:pt x="236847" y="37095"/>
                  </a:cubicBezTo>
                  <a:cubicBezTo>
                    <a:pt x="235587" y="37095"/>
                    <a:pt x="234327" y="35835"/>
                    <a:pt x="234327" y="35835"/>
                  </a:cubicBezTo>
                  <a:cubicBezTo>
                    <a:pt x="233067" y="35835"/>
                    <a:pt x="231807" y="37095"/>
                    <a:pt x="231807" y="37095"/>
                  </a:cubicBezTo>
                  <a:cubicBezTo>
                    <a:pt x="230548" y="38355"/>
                    <a:pt x="229288" y="40874"/>
                    <a:pt x="228028" y="42134"/>
                  </a:cubicBezTo>
                  <a:cubicBezTo>
                    <a:pt x="226768" y="43394"/>
                    <a:pt x="226768" y="43394"/>
                    <a:pt x="226768" y="44654"/>
                  </a:cubicBezTo>
                  <a:cubicBezTo>
                    <a:pt x="226768" y="45914"/>
                    <a:pt x="225508" y="45914"/>
                    <a:pt x="225508" y="47174"/>
                  </a:cubicBezTo>
                  <a:cubicBezTo>
                    <a:pt x="225508" y="47174"/>
                    <a:pt x="225508" y="47174"/>
                    <a:pt x="224248" y="47174"/>
                  </a:cubicBezTo>
                  <a:cubicBezTo>
                    <a:pt x="224248" y="47174"/>
                    <a:pt x="222988" y="47174"/>
                    <a:pt x="222988" y="47174"/>
                  </a:cubicBezTo>
                  <a:cubicBezTo>
                    <a:pt x="220469" y="48433"/>
                    <a:pt x="216689" y="48433"/>
                    <a:pt x="214170" y="48433"/>
                  </a:cubicBezTo>
                  <a:cubicBezTo>
                    <a:pt x="210390" y="48433"/>
                    <a:pt x="206611" y="48433"/>
                    <a:pt x="204091" y="48433"/>
                  </a:cubicBezTo>
                  <a:cubicBezTo>
                    <a:pt x="197792" y="48433"/>
                    <a:pt x="190233" y="48433"/>
                    <a:pt x="183934" y="48433"/>
                  </a:cubicBezTo>
                  <a:cubicBezTo>
                    <a:pt x="178895" y="48433"/>
                    <a:pt x="173855" y="48433"/>
                    <a:pt x="168816" y="48433"/>
                  </a:cubicBezTo>
                  <a:cubicBezTo>
                    <a:pt x="163777" y="48433"/>
                    <a:pt x="157478" y="48433"/>
                    <a:pt x="152439" y="48433"/>
                  </a:cubicBezTo>
                  <a:lnTo>
                    <a:pt x="153698" y="48433"/>
                  </a:lnTo>
                  <a:cubicBezTo>
                    <a:pt x="152439" y="48433"/>
                    <a:pt x="152439" y="48433"/>
                    <a:pt x="151179" y="48433"/>
                  </a:cubicBezTo>
                  <a:cubicBezTo>
                    <a:pt x="147399" y="48433"/>
                    <a:pt x="142360" y="48433"/>
                    <a:pt x="138581" y="48433"/>
                  </a:cubicBezTo>
                  <a:cubicBezTo>
                    <a:pt x="134801" y="48433"/>
                    <a:pt x="131022" y="48433"/>
                    <a:pt x="125982" y="49693"/>
                  </a:cubicBezTo>
                  <a:cubicBezTo>
                    <a:pt x="122203" y="49693"/>
                    <a:pt x="118423" y="49693"/>
                    <a:pt x="113384" y="49693"/>
                  </a:cubicBezTo>
                  <a:cubicBezTo>
                    <a:pt x="109604" y="49693"/>
                    <a:pt x="105825" y="49693"/>
                    <a:pt x="102046" y="49693"/>
                  </a:cubicBezTo>
                  <a:cubicBezTo>
                    <a:pt x="98266" y="49693"/>
                    <a:pt x="94487" y="49693"/>
                    <a:pt x="91967" y="49693"/>
                  </a:cubicBezTo>
                  <a:cubicBezTo>
                    <a:pt x="88188" y="49693"/>
                    <a:pt x="84408" y="49693"/>
                    <a:pt x="80629" y="49693"/>
                  </a:cubicBezTo>
                  <a:cubicBezTo>
                    <a:pt x="80629" y="49693"/>
                    <a:pt x="80629" y="49693"/>
                    <a:pt x="81889" y="49693"/>
                  </a:cubicBezTo>
                  <a:cubicBezTo>
                    <a:pt x="76849" y="49693"/>
                    <a:pt x="71810" y="49693"/>
                    <a:pt x="66770" y="49693"/>
                  </a:cubicBezTo>
                  <a:cubicBezTo>
                    <a:pt x="64251" y="49693"/>
                    <a:pt x="61731" y="49693"/>
                    <a:pt x="59211" y="49693"/>
                  </a:cubicBezTo>
                  <a:cubicBezTo>
                    <a:pt x="56692" y="49693"/>
                    <a:pt x="55432" y="49693"/>
                    <a:pt x="52912" y="49693"/>
                  </a:cubicBezTo>
                  <a:cubicBezTo>
                    <a:pt x="49133" y="49693"/>
                    <a:pt x="45354" y="49693"/>
                    <a:pt x="41574" y="49693"/>
                  </a:cubicBezTo>
                  <a:cubicBezTo>
                    <a:pt x="39055" y="49693"/>
                    <a:pt x="37795" y="49693"/>
                    <a:pt x="35275" y="49693"/>
                  </a:cubicBezTo>
                  <a:cubicBezTo>
                    <a:pt x="34015" y="49693"/>
                    <a:pt x="31496" y="49693"/>
                    <a:pt x="30236" y="49693"/>
                  </a:cubicBezTo>
                  <a:cubicBezTo>
                    <a:pt x="28976" y="49693"/>
                    <a:pt x="26456" y="49693"/>
                    <a:pt x="25196" y="49693"/>
                  </a:cubicBezTo>
                  <a:cubicBezTo>
                    <a:pt x="22677" y="49693"/>
                    <a:pt x="21417" y="49693"/>
                    <a:pt x="18897" y="49693"/>
                  </a:cubicBezTo>
                  <a:cubicBezTo>
                    <a:pt x="17637" y="49693"/>
                    <a:pt x="17637" y="49693"/>
                    <a:pt x="16378" y="49693"/>
                  </a:cubicBezTo>
                  <a:cubicBezTo>
                    <a:pt x="17637" y="49693"/>
                    <a:pt x="17637" y="48433"/>
                    <a:pt x="18897" y="48433"/>
                  </a:cubicBezTo>
                  <a:cubicBezTo>
                    <a:pt x="21417" y="47174"/>
                    <a:pt x="23937" y="45914"/>
                    <a:pt x="26456" y="43394"/>
                  </a:cubicBezTo>
                  <a:cubicBezTo>
                    <a:pt x="28976" y="42134"/>
                    <a:pt x="32755" y="40874"/>
                    <a:pt x="35275" y="39615"/>
                  </a:cubicBezTo>
                  <a:cubicBezTo>
                    <a:pt x="41574" y="37095"/>
                    <a:pt x="47873" y="34575"/>
                    <a:pt x="54172" y="32056"/>
                  </a:cubicBezTo>
                  <a:cubicBezTo>
                    <a:pt x="61731" y="28276"/>
                    <a:pt x="69290" y="25756"/>
                    <a:pt x="78109" y="23237"/>
                  </a:cubicBezTo>
                  <a:cubicBezTo>
                    <a:pt x="85668" y="20717"/>
                    <a:pt x="93227" y="16938"/>
                    <a:pt x="100786" y="13158"/>
                  </a:cubicBezTo>
                  <a:cubicBezTo>
                    <a:pt x="103305" y="11898"/>
                    <a:pt x="103305" y="9379"/>
                    <a:pt x="103305" y="8119"/>
                  </a:cubicBezTo>
                  <a:cubicBezTo>
                    <a:pt x="100786" y="1820"/>
                    <a:pt x="100786" y="560"/>
                    <a:pt x="99526" y="560"/>
                  </a:cubicBezTo>
                  <a:moveTo>
                    <a:pt x="17637" y="43394"/>
                  </a:moveTo>
                  <a:cubicBezTo>
                    <a:pt x="16378" y="43394"/>
                    <a:pt x="16378" y="43394"/>
                    <a:pt x="17637" y="43394"/>
                  </a:cubicBezTo>
                  <a:cubicBezTo>
                    <a:pt x="16378" y="43394"/>
                    <a:pt x="16378" y="43394"/>
                    <a:pt x="17637" y="43394"/>
                  </a:cubicBezTo>
                  <a:moveTo>
                    <a:pt x="7559" y="44654"/>
                  </a:moveTo>
                  <a:cubicBezTo>
                    <a:pt x="7559" y="44654"/>
                    <a:pt x="7559" y="44654"/>
                    <a:pt x="7559" y="44654"/>
                  </a:cubicBezTo>
                  <a:cubicBezTo>
                    <a:pt x="7559" y="44654"/>
                    <a:pt x="7559" y="44654"/>
                    <a:pt x="7559" y="44654"/>
                  </a:cubicBezTo>
                  <a:moveTo>
                    <a:pt x="85668" y="53473"/>
                  </a:moveTo>
                  <a:cubicBezTo>
                    <a:pt x="85668" y="53473"/>
                    <a:pt x="85668" y="53473"/>
                    <a:pt x="85668" y="53473"/>
                  </a:cubicBezTo>
                  <a:cubicBezTo>
                    <a:pt x="85668" y="53473"/>
                    <a:pt x="85668" y="53473"/>
                    <a:pt x="85668" y="53473"/>
                  </a:cubicBezTo>
                </a:path>
              </a:pathLst>
            </a:custGeom>
            <a:solidFill>
              <a:srgbClr val="001675"/>
            </a:solidFill>
            <a:ln w="12584" cap="flat">
              <a:noFill/>
              <a:prstDash val="solid"/>
              <a:miter/>
            </a:ln>
          </p:spPr>
          <p:txBody>
            <a:bodyPr rtlCol="0" anchor="ctr"/>
            <a:lstStyle/>
            <a:p>
              <a:endParaRPr lang="zh-CN" altLang="en-US"/>
            </a:p>
          </p:txBody>
        </p:sp>
        <p:sp>
          <p:nvSpPr>
            <p:cNvPr id="10225" name="任意多边形: 形状 10224"/>
            <p:cNvSpPr/>
            <p:nvPr/>
          </p:nvSpPr>
          <p:spPr>
            <a:xfrm>
              <a:off x="5008019" y="4653548"/>
              <a:ext cx="201572" cy="50393"/>
            </a:xfrm>
            <a:custGeom>
              <a:avLst/>
              <a:gdLst>
                <a:gd name="connsiteX0" fmla="*/ 191988 w 201571"/>
                <a:gd name="connsiteY0" fmla="*/ 2519 h 50392"/>
                <a:gd name="connsiteX1" fmla="*/ 198287 w 201571"/>
                <a:gd name="connsiteY1" fmla="*/ 3779 h 50392"/>
                <a:gd name="connsiteX2" fmla="*/ 204586 w 201571"/>
                <a:gd name="connsiteY2" fmla="*/ 5039 h 50392"/>
                <a:gd name="connsiteX3" fmla="*/ 208365 w 201571"/>
                <a:gd name="connsiteY3" fmla="*/ 6299 h 50392"/>
                <a:gd name="connsiteX4" fmla="*/ 209625 w 201571"/>
                <a:gd name="connsiteY4" fmla="*/ 8819 h 50392"/>
                <a:gd name="connsiteX5" fmla="*/ 209625 w 201571"/>
                <a:gd name="connsiteY5" fmla="*/ 10078 h 50392"/>
                <a:gd name="connsiteX6" fmla="*/ 210885 w 201571"/>
                <a:gd name="connsiteY6" fmla="*/ 16378 h 50392"/>
                <a:gd name="connsiteX7" fmla="*/ 210885 w 201571"/>
                <a:gd name="connsiteY7" fmla="*/ 23937 h 50392"/>
                <a:gd name="connsiteX8" fmla="*/ 210885 w 201571"/>
                <a:gd name="connsiteY8" fmla="*/ 28976 h 50392"/>
                <a:gd name="connsiteX9" fmla="*/ 209625 w 201571"/>
                <a:gd name="connsiteY9" fmla="*/ 34015 h 50392"/>
                <a:gd name="connsiteX10" fmla="*/ 205846 w 201571"/>
                <a:gd name="connsiteY10" fmla="*/ 37795 h 50392"/>
                <a:gd name="connsiteX11" fmla="*/ 202066 w 201571"/>
                <a:gd name="connsiteY11" fmla="*/ 36535 h 50392"/>
                <a:gd name="connsiteX12" fmla="*/ 200806 w 201571"/>
                <a:gd name="connsiteY12" fmla="*/ 34015 h 50392"/>
                <a:gd name="connsiteX13" fmla="*/ 200806 w 201571"/>
                <a:gd name="connsiteY13" fmla="*/ 23937 h 50392"/>
                <a:gd name="connsiteX14" fmla="*/ 200806 w 201571"/>
                <a:gd name="connsiteY14" fmla="*/ 15118 h 50392"/>
                <a:gd name="connsiteX15" fmla="*/ 200806 w 201571"/>
                <a:gd name="connsiteY15" fmla="*/ 13858 h 50392"/>
                <a:gd name="connsiteX16" fmla="*/ 200806 w 201571"/>
                <a:gd name="connsiteY16" fmla="*/ 13858 h 50392"/>
                <a:gd name="connsiteX17" fmla="*/ 194507 w 201571"/>
                <a:gd name="connsiteY17" fmla="*/ 12598 h 50392"/>
                <a:gd name="connsiteX18" fmla="*/ 186948 w 201571"/>
                <a:gd name="connsiteY18" fmla="*/ 11338 h 50392"/>
                <a:gd name="connsiteX19" fmla="*/ 179389 w 201571"/>
                <a:gd name="connsiteY19" fmla="*/ 11338 h 50392"/>
                <a:gd name="connsiteX20" fmla="*/ 171830 w 201571"/>
                <a:gd name="connsiteY20" fmla="*/ 11338 h 50392"/>
                <a:gd name="connsiteX21" fmla="*/ 157972 w 201571"/>
                <a:gd name="connsiteY21" fmla="*/ 11338 h 50392"/>
                <a:gd name="connsiteX22" fmla="*/ 145374 w 201571"/>
                <a:gd name="connsiteY22" fmla="*/ 11338 h 50392"/>
                <a:gd name="connsiteX23" fmla="*/ 142855 w 201571"/>
                <a:gd name="connsiteY23" fmla="*/ 11338 h 50392"/>
                <a:gd name="connsiteX24" fmla="*/ 127736 w 201571"/>
                <a:gd name="connsiteY24" fmla="*/ 11338 h 50392"/>
                <a:gd name="connsiteX25" fmla="*/ 118918 w 201571"/>
                <a:gd name="connsiteY25" fmla="*/ 11338 h 50392"/>
                <a:gd name="connsiteX26" fmla="*/ 112618 w 201571"/>
                <a:gd name="connsiteY26" fmla="*/ 11338 h 50392"/>
                <a:gd name="connsiteX27" fmla="*/ 108839 w 201571"/>
                <a:gd name="connsiteY27" fmla="*/ 11338 h 50392"/>
                <a:gd name="connsiteX28" fmla="*/ 97501 w 201571"/>
                <a:gd name="connsiteY28" fmla="*/ 15118 h 50392"/>
                <a:gd name="connsiteX29" fmla="*/ 91202 w 201571"/>
                <a:gd name="connsiteY29" fmla="*/ 17637 h 50392"/>
                <a:gd name="connsiteX30" fmla="*/ 84903 w 201571"/>
                <a:gd name="connsiteY30" fmla="*/ 20157 h 50392"/>
                <a:gd name="connsiteX31" fmla="*/ 78603 w 201571"/>
                <a:gd name="connsiteY31" fmla="*/ 22677 h 50392"/>
                <a:gd name="connsiteX32" fmla="*/ 72304 w 201571"/>
                <a:gd name="connsiteY32" fmla="*/ 25196 h 50392"/>
                <a:gd name="connsiteX33" fmla="*/ 64745 w 201571"/>
                <a:gd name="connsiteY33" fmla="*/ 27716 h 50392"/>
                <a:gd name="connsiteX34" fmla="*/ 58446 w 201571"/>
                <a:gd name="connsiteY34" fmla="*/ 30236 h 50392"/>
                <a:gd name="connsiteX35" fmla="*/ 31990 w 201571"/>
                <a:gd name="connsiteY35" fmla="*/ 41574 h 50392"/>
                <a:gd name="connsiteX36" fmla="*/ 19392 w 201571"/>
                <a:gd name="connsiteY36" fmla="*/ 46613 h 50392"/>
                <a:gd name="connsiteX37" fmla="*/ 5533 w 201571"/>
                <a:gd name="connsiteY37" fmla="*/ 52912 h 50392"/>
                <a:gd name="connsiteX38" fmla="*/ 494 w 201571"/>
                <a:gd name="connsiteY38" fmla="*/ 50393 h 50392"/>
                <a:gd name="connsiteX39" fmla="*/ 3014 w 201571"/>
                <a:gd name="connsiteY39" fmla="*/ 45353 h 50392"/>
                <a:gd name="connsiteX40" fmla="*/ 18132 w 201571"/>
                <a:gd name="connsiteY40" fmla="*/ 37795 h 50392"/>
                <a:gd name="connsiteX41" fmla="*/ 30730 w 201571"/>
                <a:gd name="connsiteY41" fmla="*/ 31496 h 50392"/>
                <a:gd name="connsiteX42" fmla="*/ 44588 w 201571"/>
                <a:gd name="connsiteY42" fmla="*/ 25196 h 50392"/>
                <a:gd name="connsiteX43" fmla="*/ 58446 w 201571"/>
                <a:gd name="connsiteY43" fmla="*/ 18897 h 50392"/>
                <a:gd name="connsiteX44" fmla="*/ 64745 w 201571"/>
                <a:gd name="connsiteY44" fmla="*/ 16378 h 50392"/>
                <a:gd name="connsiteX45" fmla="*/ 71044 w 201571"/>
                <a:gd name="connsiteY45" fmla="*/ 13858 h 50392"/>
                <a:gd name="connsiteX46" fmla="*/ 77344 w 201571"/>
                <a:gd name="connsiteY46" fmla="*/ 11338 h 50392"/>
                <a:gd name="connsiteX47" fmla="*/ 83643 w 201571"/>
                <a:gd name="connsiteY47" fmla="*/ 8819 h 50392"/>
                <a:gd name="connsiteX48" fmla="*/ 89942 w 201571"/>
                <a:gd name="connsiteY48" fmla="*/ 6299 h 50392"/>
                <a:gd name="connsiteX49" fmla="*/ 96241 w 201571"/>
                <a:gd name="connsiteY49" fmla="*/ 3779 h 50392"/>
                <a:gd name="connsiteX50" fmla="*/ 102540 w 201571"/>
                <a:gd name="connsiteY50" fmla="*/ 1260 h 50392"/>
                <a:gd name="connsiteX51" fmla="*/ 110099 w 201571"/>
                <a:gd name="connsiteY51" fmla="*/ 0 h 50392"/>
                <a:gd name="connsiteX52" fmla="*/ 117658 w 201571"/>
                <a:gd name="connsiteY52" fmla="*/ 0 h 50392"/>
                <a:gd name="connsiteX53" fmla="*/ 122697 w 201571"/>
                <a:gd name="connsiteY53" fmla="*/ 0 h 50392"/>
                <a:gd name="connsiteX54" fmla="*/ 131516 w 201571"/>
                <a:gd name="connsiteY54" fmla="*/ 0 h 50392"/>
                <a:gd name="connsiteX55" fmla="*/ 141595 w 201571"/>
                <a:gd name="connsiteY55" fmla="*/ 0 h 50392"/>
                <a:gd name="connsiteX56" fmla="*/ 164271 w 201571"/>
                <a:gd name="connsiteY56" fmla="*/ 0 h 50392"/>
                <a:gd name="connsiteX57" fmla="*/ 171830 w 201571"/>
                <a:gd name="connsiteY57" fmla="*/ 0 h 50392"/>
                <a:gd name="connsiteX58" fmla="*/ 178129 w 201571"/>
                <a:gd name="connsiteY58" fmla="*/ 0 h 50392"/>
                <a:gd name="connsiteX59" fmla="*/ 184429 w 201571"/>
                <a:gd name="connsiteY59" fmla="*/ 0 h 50392"/>
                <a:gd name="connsiteX60" fmla="*/ 186948 w 201571"/>
                <a:gd name="connsiteY60" fmla="*/ 0 h 50392"/>
                <a:gd name="connsiteX61" fmla="*/ 191988 w 201571"/>
                <a:gd name="connsiteY61" fmla="*/ 2519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01571" h="50392">
                  <a:moveTo>
                    <a:pt x="191988" y="2519"/>
                  </a:moveTo>
                  <a:cubicBezTo>
                    <a:pt x="194507" y="2519"/>
                    <a:pt x="195767" y="2519"/>
                    <a:pt x="198287" y="3779"/>
                  </a:cubicBezTo>
                  <a:cubicBezTo>
                    <a:pt x="200806" y="3779"/>
                    <a:pt x="203326" y="3779"/>
                    <a:pt x="204586" y="5039"/>
                  </a:cubicBezTo>
                  <a:cubicBezTo>
                    <a:pt x="205846" y="5039"/>
                    <a:pt x="207105" y="5039"/>
                    <a:pt x="208365" y="6299"/>
                  </a:cubicBezTo>
                  <a:cubicBezTo>
                    <a:pt x="209625" y="7559"/>
                    <a:pt x="209625" y="7559"/>
                    <a:pt x="209625" y="8819"/>
                  </a:cubicBezTo>
                  <a:cubicBezTo>
                    <a:pt x="209625" y="8819"/>
                    <a:pt x="209625" y="8819"/>
                    <a:pt x="209625" y="10078"/>
                  </a:cubicBezTo>
                  <a:cubicBezTo>
                    <a:pt x="210885" y="11338"/>
                    <a:pt x="210885" y="13858"/>
                    <a:pt x="210885" y="16378"/>
                  </a:cubicBezTo>
                  <a:cubicBezTo>
                    <a:pt x="210885" y="18897"/>
                    <a:pt x="210885" y="21417"/>
                    <a:pt x="210885" y="23937"/>
                  </a:cubicBezTo>
                  <a:cubicBezTo>
                    <a:pt x="210885" y="25196"/>
                    <a:pt x="210885" y="27716"/>
                    <a:pt x="210885" y="28976"/>
                  </a:cubicBezTo>
                  <a:cubicBezTo>
                    <a:pt x="210885" y="30236"/>
                    <a:pt x="210885" y="32755"/>
                    <a:pt x="209625" y="34015"/>
                  </a:cubicBezTo>
                  <a:cubicBezTo>
                    <a:pt x="209625" y="36535"/>
                    <a:pt x="208365" y="37795"/>
                    <a:pt x="205846" y="37795"/>
                  </a:cubicBezTo>
                  <a:cubicBezTo>
                    <a:pt x="204586" y="37795"/>
                    <a:pt x="203326" y="37795"/>
                    <a:pt x="202066" y="36535"/>
                  </a:cubicBezTo>
                  <a:cubicBezTo>
                    <a:pt x="200806" y="36535"/>
                    <a:pt x="200806" y="35275"/>
                    <a:pt x="200806" y="34015"/>
                  </a:cubicBezTo>
                  <a:cubicBezTo>
                    <a:pt x="200806" y="30236"/>
                    <a:pt x="200806" y="26456"/>
                    <a:pt x="200806" y="23937"/>
                  </a:cubicBezTo>
                  <a:cubicBezTo>
                    <a:pt x="200806" y="21417"/>
                    <a:pt x="200806" y="18897"/>
                    <a:pt x="200806" y="15118"/>
                  </a:cubicBezTo>
                  <a:cubicBezTo>
                    <a:pt x="200806" y="15118"/>
                    <a:pt x="200806" y="13858"/>
                    <a:pt x="200806" y="13858"/>
                  </a:cubicBezTo>
                  <a:cubicBezTo>
                    <a:pt x="200806" y="13858"/>
                    <a:pt x="200806" y="13858"/>
                    <a:pt x="200806" y="13858"/>
                  </a:cubicBezTo>
                  <a:cubicBezTo>
                    <a:pt x="198287" y="13858"/>
                    <a:pt x="197027" y="12598"/>
                    <a:pt x="194507" y="12598"/>
                  </a:cubicBezTo>
                  <a:cubicBezTo>
                    <a:pt x="191988" y="12598"/>
                    <a:pt x="189468" y="11338"/>
                    <a:pt x="186948" y="11338"/>
                  </a:cubicBezTo>
                  <a:cubicBezTo>
                    <a:pt x="184429" y="11338"/>
                    <a:pt x="181909" y="11338"/>
                    <a:pt x="179389" y="11338"/>
                  </a:cubicBezTo>
                  <a:cubicBezTo>
                    <a:pt x="176870" y="11338"/>
                    <a:pt x="174350" y="11338"/>
                    <a:pt x="171830" y="11338"/>
                  </a:cubicBezTo>
                  <a:cubicBezTo>
                    <a:pt x="166791" y="11338"/>
                    <a:pt x="163011" y="11338"/>
                    <a:pt x="157972" y="11338"/>
                  </a:cubicBezTo>
                  <a:cubicBezTo>
                    <a:pt x="154193" y="11338"/>
                    <a:pt x="149154" y="11338"/>
                    <a:pt x="145374" y="11338"/>
                  </a:cubicBezTo>
                  <a:cubicBezTo>
                    <a:pt x="144114" y="11338"/>
                    <a:pt x="144114" y="11338"/>
                    <a:pt x="142855" y="11338"/>
                  </a:cubicBezTo>
                  <a:cubicBezTo>
                    <a:pt x="137815" y="11338"/>
                    <a:pt x="132776" y="11338"/>
                    <a:pt x="127736" y="11338"/>
                  </a:cubicBezTo>
                  <a:cubicBezTo>
                    <a:pt x="125217" y="11338"/>
                    <a:pt x="121437" y="11338"/>
                    <a:pt x="118918" y="11338"/>
                  </a:cubicBezTo>
                  <a:cubicBezTo>
                    <a:pt x="116398" y="11338"/>
                    <a:pt x="113878" y="11338"/>
                    <a:pt x="112618" y="11338"/>
                  </a:cubicBezTo>
                  <a:cubicBezTo>
                    <a:pt x="111359" y="11338"/>
                    <a:pt x="110099" y="11338"/>
                    <a:pt x="108839" y="11338"/>
                  </a:cubicBezTo>
                  <a:cubicBezTo>
                    <a:pt x="105060" y="12598"/>
                    <a:pt x="101280" y="13858"/>
                    <a:pt x="97501" y="15118"/>
                  </a:cubicBezTo>
                  <a:cubicBezTo>
                    <a:pt x="94981" y="16378"/>
                    <a:pt x="92462" y="16378"/>
                    <a:pt x="91202" y="17637"/>
                  </a:cubicBezTo>
                  <a:cubicBezTo>
                    <a:pt x="88682" y="18897"/>
                    <a:pt x="87422" y="18897"/>
                    <a:pt x="84903" y="20157"/>
                  </a:cubicBezTo>
                  <a:cubicBezTo>
                    <a:pt x="82383" y="21417"/>
                    <a:pt x="79863" y="21417"/>
                    <a:pt x="78603" y="22677"/>
                  </a:cubicBezTo>
                  <a:cubicBezTo>
                    <a:pt x="76084" y="23937"/>
                    <a:pt x="73564" y="23937"/>
                    <a:pt x="72304" y="25196"/>
                  </a:cubicBezTo>
                  <a:cubicBezTo>
                    <a:pt x="69785" y="26456"/>
                    <a:pt x="67265" y="26456"/>
                    <a:pt x="64745" y="27716"/>
                  </a:cubicBezTo>
                  <a:cubicBezTo>
                    <a:pt x="62226" y="28976"/>
                    <a:pt x="60966" y="28976"/>
                    <a:pt x="58446" y="30236"/>
                  </a:cubicBezTo>
                  <a:cubicBezTo>
                    <a:pt x="49627" y="34015"/>
                    <a:pt x="40809" y="36535"/>
                    <a:pt x="31990" y="41574"/>
                  </a:cubicBezTo>
                  <a:cubicBezTo>
                    <a:pt x="28211" y="42834"/>
                    <a:pt x="24431" y="45353"/>
                    <a:pt x="19392" y="46613"/>
                  </a:cubicBezTo>
                  <a:cubicBezTo>
                    <a:pt x="14352" y="49133"/>
                    <a:pt x="9313" y="51652"/>
                    <a:pt x="5533" y="52912"/>
                  </a:cubicBezTo>
                  <a:cubicBezTo>
                    <a:pt x="3014" y="54172"/>
                    <a:pt x="494" y="52912"/>
                    <a:pt x="494" y="50393"/>
                  </a:cubicBezTo>
                  <a:cubicBezTo>
                    <a:pt x="-766" y="47873"/>
                    <a:pt x="494" y="46613"/>
                    <a:pt x="3014" y="45353"/>
                  </a:cubicBezTo>
                  <a:cubicBezTo>
                    <a:pt x="8053" y="42834"/>
                    <a:pt x="13092" y="40314"/>
                    <a:pt x="18132" y="37795"/>
                  </a:cubicBezTo>
                  <a:cubicBezTo>
                    <a:pt x="23171" y="35275"/>
                    <a:pt x="26951" y="32755"/>
                    <a:pt x="30730" y="31496"/>
                  </a:cubicBezTo>
                  <a:cubicBezTo>
                    <a:pt x="34510" y="28976"/>
                    <a:pt x="39549" y="27716"/>
                    <a:pt x="44588" y="25196"/>
                  </a:cubicBezTo>
                  <a:cubicBezTo>
                    <a:pt x="49627" y="22677"/>
                    <a:pt x="53407" y="21417"/>
                    <a:pt x="58446" y="18897"/>
                  </a:cubicBezTo>
                  <a:cubicBezTo>
                    <a:pt x="60966" y="17637"/>
                    <a:pt x="63485" y="16378"/>
                    <a:pt x="64745" y="16378"/>
                  </a:cubicBezTo>
                  <a:cubicBezTo>
                    <a:pt x="67265" y="15118"/>
                    <a:pt x="69785" y="15118"/>
                    <a:pt x="71044" y="13858"/>
                  </a:cubicBezTo>
                  <a:cubicBezTo>
                    <a:pt x="73564" y="12598"/>
                    <a:pt x="76084" y="12598"/>
                    <a:pt x="77344" y="11338"/>
                  </a:cubicBezTo>
                  <a:cubicBezTo>
                    <a:pt x="79863" y="10078"/>
                    <a:pt x="81123" y="10078"/>
                    <a:pt x="83643" y="8819"/>
                  </a:cubicBezTo>
                  <a:cubicBezTo>
                    <a:pt x="86162" y="7559"/>
                    <a:pt x="88682" y="7559"/>
                    <a:pt x="89942" y="6299"/>
                  </a:cubicBezTo>
                  <a:cubicBezTo>
                    <a:pt x="92462" y="5039"/>
                    <a:pt x="94981" y="5039"/>
                    <a:pt x="96241" y="3779"/>
                  </a:cubicBezTo>
                  <a:cubicBezTo>
                    <a:pt x="98761" y="2519"/>
                    <a:pt x="100020" y="2519"/>
                    <a:pt x="102540" y="1260"/>
                  </a:cubicBezTo>
                  <a:cubicBezTo>
                    <a:pt x="105060" y="0"/>
                    <a:pt x="107579" y="0"/>
                    <a:pt x="110099" y="0"/>
                  </a:cubicBezTo>
                  <a:cubicBezTo>
                    <a:pt x="112618" y="0"/>
                    <a:pt x="115138" y="0"/>
                    <a:pt x="117658" y="0"/>
                  </a:cubicBezTo>
                  <a:cubicBezTo>
                    <a:pt x="118918" y="0"/>
                    <a:pt x="121437" y="0"/>
                    <a:pt x="122697" y="0"/>
                  </a:cubicBezTo>
                  <a:cubicBezTo>
                    <a:pt x="125217" y="0"/>
                    <a:pt x="128996" y="0"/>
                    <a:pt x="131516" y="0"/>
                  </a:cubicBezTo>
                  <a:cubicBezTo>
                    <a:pt x="135296" y="0"/>
                    <a:pt x="137815" y="0"/>
                    <a:pt x="141595" y="0"/>
                  </a:cubicBezTo>
                  <a:cubicBezTo>
                    <a:pt x="149154" y="0"/>
                    <a:pt x="156712" y="0"/>
                    <a:pt x="164271" y="0"/>
                  </a:cubicBezTo>
                  <a:cubicBezTo>
                    <a:pt x="166791" y="0"/>
                    <a:pt x="169311" y="0"/>
                    <a:pt x="171830" y="0"/>
                  </a:cubicBezTo>
                  <a:cubicBezTo>
                    <a:pt x="174350" y="0"/>
                    <a:pt x="176870" y="0"/>
                    <a:pt x="178129" y="0"/>
                  </a:cubicBezTo>
                  <a:cubicBezTo>
                    <a:pt x="180649" y="0"/>
                    <a:pt x="183169" y="0"/>
                    <a:pt x="184429" y="0"/>
                  </a:cubicBezTo>
                  <a:cubicBezTo>
                    <a:pt x="185688" y="0"/>
                    <a:pt x="186948" y="0"/>
                    <a:pt x="186948" y="0"/>
                  </a:cubicBezTo>
                  <a:cubicBezTo>
                    <a:pt x="189468" y="2519"/>
                    <a:pt x="190728" y="2519"/>
                    <a:pt x="191988" y="2519"/>
                  </a:cubicBezTo>
                </a:path>
              </a:pathLst>
            </a:custGeom>
            <a:solidFill>
              <a:srgbClr val="001675"/>
            </a:solidFill>
            <a:ln w="12584" cap="flat">
              <a:noFill/>
              <a:prstDash val="solid"/>
              <a:miter/>
            </a:ln>
          </p:spPr>
          <p:txBody>
            <a:bodyPr rtlCol="0" anchor="ctr"/>
            <a:lstStyle/>
            <a:p>
              <a:endParaRPr lang="zh-CN" altLang="en-US"/>
            </a:p>
          </p:txBody>
        </p:sp>
        <p:sp>
          <p:nvSpPr>
            <p:cNvPr id="10226" name="任意多边形: 形状 10225"/>
            <p:cNvSpPr/>
            <p:nvPr/>
          </p:nvSpPr>
          <p:spPr>
            <a:xfrm>
              <a:off x="4691470" y="4662366"/>
              <a:ext cx="251965" cy="75589"/>
            </a:xfrm>
            <a:custGeom>
              <a:avLst/>
              <a:gdLst>
                <a:gd name="connsiteX0" fmla="*/ 252792 w 251964"/>
                <a:gd name="connsiteY0" fmla="*/ 1260 h 75589"/>
                <a:gd name="connsiteX1" fmla="*/ 252792 w 251964"/>
                <a:gd name="connsiteY1" fmla="*/ 1260 h 75589"/>
                <a:gd name="connsiteX2" fmla="*/ 250273 w 251964"/>
                <a:gd name="connsiteY2" fmla="*/ 2520 h 75589"/>
                <a:gd name="connsiteX3" fmla="*/ 249013 w 251964"/>
                <a:gd name="connsiteY3" fmla="*/ 5039 h 75589"/>
                <a:gd name="connsiteX4" fmla="*/ 249013 w 251964"/>
                <a:gd name="connsiteY4" fmla="*/ 5039 h 75589"/>
                <a:gd name="connsiteX5" fmla="*/ 249013 w 251964"/>
                <a:gd name="connsiteY5" fmla="*/ 5039 h 75589"/>
                <a:gd name="connsiteX6" fmla="*/ 249013 w 251964"/>
                <a:gd name="connsiteY6" fmla="*/ 5039 h 75589"/>
                <a:gd name="connsiteX7" fmla="*/ 242714 w 251964"/>
                <a:gd name="connsiteY7" fmla="*/ 3780 h 75589"/>
                <a:gd name="connsiteX8" fmla="*/ 235154 w 251964"/>
                <a:gd name="connsiteY8" fmla="*/ 2520 h 75589"/>
                <a:gd name="connsiteX9" fmla="*/ 235154 w 251964"/>
                <a:gd name="connsiteY9" fmla="*/ 2520 h 75589"/>
                <a:gd name="connsiteX10" fmla="*/ 228855 w 251964"/>
                <a:gd name="connsiteY10" fmla="*/ 2520 h 75589"/>
                <a:gd name="connsiteX11" fmla="*/ 228855 w 251964"/>
                <a:gd name="connsiteY11" fmla="*/ 2520 h 75589"/>
                <a:gd name="connsiteX12" fmla="*/ 214997 w 251964"/>
                <a:gd name="connsiteY12" fmla="*/ 1260 h 75589"/>
                <a:gd name="connsiteX13" fmla="*/ 187281 w 251964"/>
                <a:gd name="connsiteY13" fmla="*/ 0 h 75589"/>
                <a:gd name="connsiteX14" fmla="*/ 174683 w 251964"/>
                <a:gd name="connsiteY14" fmla="*/ 0 h 75589"/>
                <a:gd name="connsiteX15" fmla="*/ 172163 w 251964"/>
                <a:gd name="connsiteY15" fmla="*/ 0 h 75589"/>
                <a:gd name="connsiteX16" fmla="*/ 167124 w 251964"/>
                <a:gd name="connsiteY16" fmla="*/ 0 h 75589"/>
                <a:gd name="connsiteX17" fmla="*/ 165864 w 251964"/>
                <a:gd name="connsiteY17" fmla="*/ 0 h 75589"/>
                <a:gd name="connsiteX18" fmla="*/ 160825 w 251964"/>
                <a:gd name="connsiteY18" fmla="*/ 0 h 75589"/>
                <a:gd name="connsiteX19" fmla="*/ 153266 w 251964"/>
                <a:gd name="connsiteY19" fmla="*/ 1260 h 75589"/>
                <a:gd name="connsiteX20" fmla="*/ 146967 w 251964"/>
                <a:gd name="connsiteY20" fmla="*/ 3780 h 75589"/>
                <a:gd name="connsiteX21" fmla="*/ 135629 w 251964"/>
                <a:gd name="connsiteY21" fmla="*/ 8819 h 75589"/>
                <a:gd name="connsiteX22" fmla="*/ 134369 w 251964"/>
                <a:gd name="connsiteY22" fmla="*/ 8819 h 75589"/>
                <a:gd name="connsiteX23" fmla="*/ 131849 w 251964"/>
                <a:gd name="connsiteY23" fmla="*/ 10079 h 75589"/>
                <a:gd name="connsiteX24" fmla="*/ 131849 w 251964"/>
                <a:gd name="connsiteY24" fmla="*/ 10079 h 75589"/>
                <a:gd name="connsiteX25" fmla="*/ 131849 w 251964"/>
                <a:gd name="connsiteY25" fmla="*/ 10079 h 75589"/>
                <a:gd name="connsiteX26" fmla="*/ 131849 w 251964"/>
                <a:gd name="connsiteY26" fmla="*/ 10079 h 75589"/>
                <a:gd name="connsiteX27" fmla="*/ 131849 w 251964"/>
                <a:gd name="connsiteY27" fmla="*/ 10079 h 75589"/>
                <a:gd name="connsiteX28" fmla="*/ 131849 w 251964"/>
                <a:gd name="connsiteY28" fmla="*/ 10079 h 75589"/>
                <a:gd name="connsiteX29" fmla="*/ 131849 w 251964"/>
                <a:gd name="connsiteY29" fmla="*/ 10079 h 75589"/>
                <a:gd name="connsiteX30" fmla="*/ 131849 w 251964"/>
                <a:gd name="connsiteY30" fmla="*/ 10079 h 75589"/>
                <a:gd name="connsiteX31" fmla="*/ 131849 w 251964"/>
                <a:gd name="connsiteY31" fmla="*/ 10079 h 75589"/>
                <a:gd name="connsiteX32" fmla="*/ 131849 w 251964"/>
                <a:gd name="connsiteY32" fmla="*/ 10079 h 75589"/>
                <a:gd name="connsiteX33" fmla="*/ 131849 w 251964"/>
                <a:gd name="connsiteY33" fmla="*/ 10079 h 75589"/>
                <a:gd name="connsiteX34" fmla="*/ 131849 w 251964"/>
                <a:gd name="connsiteY34" fmla="*/ 10079 h 75589"/>
                <a:gd name="connsiteX35" fmla="*/ 131849 w 251964"/>
                <a:gd name="connsiteY35" fmla="*/ 10079 h 75589"/>
                <a:gd name="connsiteX36" fmla="*/ 131849 w 251964"/>
                <a:gd name="connsiteY36" fmla="*/ 10079 h 75589"/>
                <a:gd name="connsiteX37" fmla="*/ 131849 w 251964"/>
                <a:gd name="connsiteY37" fmla="*/ 10079 h 75589"/>
                <a:gd name="connsiteX38" fmla="*/ 131849 w 251964"/>
                <a:gd name="connsiteY38" fmla="*/ 10079 h 75589"/>
                <a:gd name="connsiteX39" fmla="*/ 131849 w 251964"/>
                <a:gd name="connsiteY39" fmla="*/ 10079 h 75589"/>
                <a:gd name="connsiteX40" fmla="*/ 131849 w 251964"/>
                <a:gd name="connsiteY40" fmla="*/ 10079 h 75589"/>
                <a:gd name="connsiteX41" fmla="*/ 124290 w 251964"/>
                <a:gd name="connsiteY41" fmla="*/ 12598 h 75589"/>
                <a:gd name="connsiteX42" fmla="*/ 120511 w 251964"/>
                <a:gd name="connsiteY42" fmla="*/ 13858 h 75589"/>
                <a:gd name="connsiteX43" fmla="*/ 117991 w 251964"/>
                <a:gd name="connsiteY43" fmla="*/ 15118 h 75589"/>
                <a:gd name="connsiteX44" fmla="*/ 116731 w 251964"/>
                <a:gd name="connsiteY44" fmla="*/ 15118 h 75589"/>
                <a:gd name="connsiteX45" fmla="*/ 110432 w 251964"/>
                <a:gd name="connsiteY45" fmla="*/ 16378 h 75589"/>
                <a:gd name="connsiteX46" fmla="*/ 109172 w 251964"/>
                <a:gd name="connsiteY46" fmla="*/ 16378 h 75589"/>
                <a:gd name="connsiteX47" fmla="*/ 97834 w 251964"/>
                <a:gd name="connsiteY47" fmla="*/ 20157 h 75589"/>
                <a:gd name="connsiteX48" fmla="*/ 94055 w 251964"/>
                <a:gd name="connsiteY48" fmla="*/ 21417 h 75589"/>
                <a:gd name="connsiteX49" fmla="*/ 91535 w 251964"/>
                <a:gd name="connsiteY49" fmla="*/ 22677 h 75589"/>
                <a:gd name="connsiteX50" fmla="*/ 83976 w 251964"/>
                <a:gd name="connsiteY50" fmla="*/ 25196 h 75589"/>
                <a:gd name="connsiteX51" fmla="*/ 75157 w 251964"/>
                <a:gd name="connsiteY51" fmla="*/ 27716 h 75589"/>
                <a:gd name="connsiteX52" fmla="*/ 71377 w 251964"/>
                <a:gd name="connsiteY52" fmla="*/ 28976 h 75589"/>
                <a:gd name="connsiteX53" fmla="*/ 58779 w 251964"/>
                <a:gd name="connsiteY53" fmla="*/ 34015 h 75589"/>
                <a:gd name="connsiteX54" fmla="*/ 46181 w 251964"/>
                <a:gd name="connsiteY54" fmla="*/ 39055 h 75589"/>
                <a:gd name="connsiteX55" fmla="*/ 33583 w 251964"/>
                <a:gd name="connsiteY55" fmla="*/ 44094 h 75589"/>
                <a:gd name="connsiteX56" fmla="*/ 32323 w 251964"/>
                <a:gd name="connsiteY56" fmla="*/ 44094 h 75589"/>
                <a:gd name="connsiteX57" fmla="*/ 26024 w 251964"/>
                <a:gd name="connsiteY57" fmla="*/ 46614 h 75589"/>
                <a:gd name="connsiteX58" fmla="*/ 20985 w 251964"/>
                <a:gd name="connsiteY58" fmla="*/ 49133 h 75589"/>
                <a:gd name="connsiteX59" fmla="*/ 17205 w 251964"/>
                <a:gd name="connsiteY59" fmla="*/ 51653 h 75589"/>
                <a:gd name="connsiteX60" fmla="*/ 15945 w 251964"/>
                <a:gd name="connsiteY60" fmla="*/ 52913 h 75589"/>
                <a:gd name="connsiteX61" fmla="*/ 14685 w 251964"/>
                <a:gd name="connsiteY61" fmla="*/ 52913 h 75589"/>
                <a:gd name="connsiteX62" fmla="*/ 9646 w 251964"/>
                <a:gd name="connsiteY62" fmla="*/ 55432 h 75589"/>
                <a:gd name="connsiteX63" fmla="*/ 3347 w 251964"/>
                <a:gd name="connsiteY63" fmla="*/ 60472 h 75589"/>
                <a:gd name="connsiteX64" fmla="*/ 827 w 251964"/>
                <a:gd name="connsiteY64" fmla="*/ 64251 h 75589"/>
                <a:gd name="connsiteX65" fmla="*/ 2087 w 251964"/>
                <a:gd name="connsiteY65" fmla="*/ 71810 h 75589"/>
                <a:gd name="connsiteX66" fmla="*/ 8386 w 251964"/>
                <a:gd name="connsiteY66" fmla="*/ 76849 h 75589"/>
                <a:gd name="connsiteX67" fmla="*/ 14685 w 251964"/>
                <a:gd name="connsiteY67" fmla="*/ 79369 h 75589"/>
                <a:gd name="connsiteX68" fmla="*/ 27284 w 251964"/>
                <a:gd name="connsiteY68" fmla="*/ 80629 h 75589"/>
                <a:gd name="connsiteX69" fmla="*/ 28544 w 251964"/>
                <a:gd name="connsiteY69" fmla="*/ 80629 h 75589"/>
                <a:gd name="connsiteX70" fmla="*/ 33583 w 251964"/>
                <a:gd name="connsiteY70" fmla="*/ 80629 h 75589"/>
                <a:gd name="connsiteX71" fmla="*/ 34843 w 251964"/>
                <a:gd name="connsiteY71" fmla="*/ 80629 h 75589"/>
                <a:gd name="connsiteX72" fmla="*/ 41142 w 251964"/>
                <a:gd name="connsiteY72" fmla="*/ 80629 h 75589"/>
                <a:gd name="connsiteX73" fmla="*/ 41142 w 251964"/>
                <a:gd name="connsiteY73" fmla="*/ 80629 h 75589"/>
                <a:gd name="connsiteX74" fmla="*/ 55000 w 251964"/>
                <a:gd name="connsiteY74" fmla="*/ 80629 h 75589"/>
                <a:gd name="connsiteX75" fmla="*/ 68858 w 251964"/>
                <a:gd name="connsiteY75" fmla="*/ 79369 h 75589"/>
                <a:gd name="connsiteX76" fmla="*/ 68858 w 251964"/>
                <a:gd name="connsiteY76" fmla="*/ 79369 h 75589"/>
                <a:gd name="connsiteX77" fmla="*/ 78936 w 251964"/>
                <a:gd name="connsiteY77" fmla="*/ 78109 h 75589"/>
                <a:gd name="connsiteX78" fmla="*/ 81456 w 251964"/>
                <a:gd name="connsiteY78" fmla="*/ 78109 h 75589"/>
                <a:gd name="connsiteX79" fmla="*/ 100354 w 251964"/>
                <a:gd name="connsiteY79" fmla="*/ 76849 h 75589"/>
                <a:gd name="connsiteX80" fmla="*/ 106653 w 251964"/>
                <a:gd name="connsiteY80" fmla="*/ 76849 h 75589"/>
                <a:gd name="connsiteX81" fmla="*/ 155786 w 251964"/>
                <a:gd name="connsiteY81" fmla="*/ 78109 h 75589"/>
                <a:gd name="connsiteX82" fmla="*/ 162085 w 251964"/>
                <a:gd name="connsiteY82" fmla="*/ 78109 h 75589"/>
                <a:gd name="connsiteX83" fmla="*/ 169644 w 251964"/>
                <a:gd name="connsiteY83" fmla="*/ 78109 h 75589"/>
                <a:gd name="connsiteX84" fmla="*/ 184762 w 251964"/>
                <a:gd name="connsiteY84" fmla="*/ 78109 h 75589"/>
                <a:gd name="connsiteX85" fmla="*/ 198620 w 251964"/>
                <a:gd name="connsiteY85" fmla="*/ 76849 h 75589"/>
                <a:gd name="connsiteX86" fmla="*/ 204919 w 251964"/>
                <a:gd name="connsiteY86" fmla="*/ 75589 h 75589"/>
                <a:gd name="connsiteX87" fmla="*/ 207439 w 251964"/>
                <a:gd name="connsiteY87" fmla="*/ 75589 h 75589"/>
                <a:gd name="connsiteX88" fmla="*/ 211218 w 251964"/>
                <a:gd name="connsiteY88" fmla="*/ 74330 h 75589"/>
                <a:gd name="connsiteX89" fmla="*/ 211218 w 251964"/>
                <a:gd name="connsiteY89" fmla="*/ 74330 h 75589"/>
                <a:gd name="connsiteX90" fmla="*/ 211218 w 251964"/>
                <a:gd name="connsiteY90" fmla="*/ 74330 h 75589"/>
                <a:gd name="connsiteX91" fmla="*/ 212478 w 251964"/>
                <a:gd name="connsiteY91" fmla="*/ 75589 h 75589"/>
                <a:gd name="connsiteX92" fmla="*/ 212478 w 251964"/>
                <a:gd name="connsiteY92" fmla="*/ 75589 h 75589"/>
                <a:gd name="connsiteX93" fmla="*/ 217517 w 251964"/>
                <a:gd name="connsiteY93" fmla="*/ 79369 h 75589"/>
                <a:gd name="connsiteX94" fmla="*/ 222556 w 251964"/>
                <a:gd name="connsiteY94" fmla="*/ 81889 h 75589"/>
                <a:gd name="connsiteX95" fmla="*/ 226336 w 251964"/>
                <a:gd name="connsiteY95" fmla="*/ 83148 h 75589"/>
                <a:gd name="connsiteX96" fmla="*/ 227595 w 251964"/>
                <a:gd name="connsiteY96" fmla="*/ 83148 h 75589"/>
                <a:gd name="connsiteX97" fmla="*/ 241454 w 251964"/>
                <a:gd name="connsiteY97" fmla="*/ 81889 h 75589"/>
                <a:gd name="connsiteX98" fmla="*/ 242714 w 251964"/>
                <a:gd name="connsiteY98" fmla="*/ 81889 h 75589"/>
                <a:gd name="connsiteX99" fmla="*/ 247753 w 251964"/>
                <a:gd name="connsiteY99" fmla="*/ 80629 h 75589"/>
                <a:gd name="connsiteX100" fmla="*/ 254052 w 251964"/>
                <a:gd name="connsiteY100" fmla="*/ 76849 h 75589"/>
                <a:gd name="connsiteX101" fmla="*/ 255312 w 251964"/>
                <a:gd name="connsiteY101" fmla="*/ 74330 h 75589"/>
                <a:gd name="connsiteX102" fmla="*/ 257832 w 251964"/>
                <a:gd name="connsiteY102" fmla="*/ 70550 h 75589"/>
                <a:gd name="connsiteX103" fmla="*/ 257832 w 251964"/>
                <a:gd name="connsiteY103" fmla="*/ 60472 h 75589"/>
                <a:gd name="connsiteX104" fmla="*/ 257832 w 251964"/>
                <a:gd name="connsiteY104" fmla="*/ 55432 h 75589"/>
                <a:gd name="connsiteX105" fmla="*/ 257832 w 251964"/>
                <a:gd name="connsiteY105" fmla="*/ 52913 h 75589"/>
                <a:gd name="connsiteX106" fmla="*/ 257832 w 251964"/>
                <a:gd name="connsiteY106" fmla="*/ 42834 h 75589"/>
                <a:gd name="connsiteX107" fmla="*/ 257832 w 251964"/>
                <a:gd name="connsiteY107" fmla="*/ 40315 h 75589"/>
                <a:gd name="connsiteX108" fmla="*/ 257832 w 251964"/>
                <a:gd name="connsiteY108" fmla="*/ 36535 h 75589"/>
                <a:gd name="connsiteX109" fmla="*/ 257832 w 251964"/>
                <a:gd name="connsiteY109" fmla="*/ 27716 h 75589"/>
                <a:gd name="connsiteX110" fmla="*/ 257832 w 251964"/>
                <a:gd name="connsiteY110" fmla="*/ 21417 h 75589"/>
                <a:gd name="connsiteX111" fmla="*/ 257832 w 251964"/>
                <a:gd name="connsiteY111" fmla="*/ 15118 h 75589"/>
                <a:gd name="connsiteX112" fmla="*/ 256572 w 251964"/>
                <a:gd name="connsiteY112" fmla="*/ 11338 h 75589"/>
                <a:gd name="connsiteX113" fmla="*/ 255312 w 251964"/>
                <a:gd name="connsiteY113" fmla="*/ 8819 h 75589"/>
                <a:gd name="connsiteX114" fmla="*/ 255312 w 251964"/>
                <a:gd name="connsiteY114" fmla="*/ 5039 h 75589"/>
                <a:gd name="connsiteX115" fmla="*/ 252792 w 251964"/>
                <a:gd name="connsiteY115" fmla="*/ 1260 h 75589"/>
                <a:gd name="connsiteX116" fmla="*/ 8386 w 251964"/>
                <a:gd name="connsiteY116" fmla="*/ 65511 h 75589"/>
                <a:gd name="connsiteX117" fmla="*/ 12166 w 251964"/>
                <a:gd name="connsiteY117" fmla="*/ 62991 h 75589"/>
                <a:gd name="connsiteX118" fmla="*/ 15945 w 251964"/>
                <a:gd name="connsiteY118" fmla="*/ 60472 h 75589"/>
                <a:gd name="connsiteX119" fmla="*/ 17205 w 251964"/>
                <a:gd name="connsiteY119" fmla="*/ 60472 h 75589"/>
                <a:gd name="connsiteX120" fmla="*/ 20985 w 251964"/>
                <a:gd name="connsiteY120" fmla="*/ 59212 h 75589"/>
                <a:gd name="connsiteX121" fmla="*/ 22244 w 251964"/>
                <a:gd name="connsiteY121" fmla="*/ 57952 h 75589"/>
                <a:gd name="connsiteX122" fmla="*/ 28544 w 251964"/>
                <a:gd name="connsiteY122" fmla="*/ 55432 h 75589"/>
                <a:gd name="connsiteX123" fmla="*/ 34843 w 251964"/>
                <a:gd name="connsiteY123" fmla="*/ 52913 h 75589"/>
                <a:gd name="connsiteX124" fmla="*/ 26024 w 251964"/>
                <a:gd name="connsiteY124" fmla="*/ 57952 h 75589"/>
                <a:gd name="connsiteX125" fmla="*/ 26024 w 251964"/>
                <a:gd name="connsiteY125" fmla="*/ 57952 h 75589"/>
                <a:gd name="connsiteX126" fmla="*/ 15945 w 251964"/>
                <a:gd name="connsiteY126" fmla="*/ 64251 h 75589"/>
                <a:gd name="connsiteX127" fmla="*/ 12166 w 251964"/>
                <a:gd name="connsiteY127" fmla="*/ 65511 h 75589"/>
                <a:gd name="connsiteX128" fmla="*/ 8386 w 251964"/>
                <a:gd name="connsiteY128" fmla="*/ 65511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51964" h="75589">
                  <a:moveTo>
                    <a:pt x="252792" y="1260"/>
                  </a:moveTo>
                  <a:cubicBezTo>
                    <a:pt x="252792" y="1260"/>
                    <a:pt x="252792" y="1260"/>
                    <a:pt x="252792" y="1260"/>
                  </a:cubicBezTo>
                  <a:cubicBezTo>
                    <a:pt x="251532" y="1260"/>
                    <a:pt x="251532" y="1260"/>
                    <a:pt x="250273" y="2520"/>
                  </a:cubicBezTo>
                  <a:cubicBezTo>
                    <a:pt x="250273" y="2520"/>
                    <a:pt x="249013" y="3780"/>
                    <a:pt x="249013" y="5039"/>
                  </a:cubicBezTo>
                  <a:lnTo>
                    <a:pt x="249013" y="5039"/>
                  </a:lnTo>
                  <a:lnTo>
                    <a:pt x="249013" y="5039"/>
                  </a:lnTo>
                  <a:lnTo>
                    <a:pt x="249013" y="5039"/>
                  </a:lnTo>
                  <a:cubicBezTo>
                    <a:pt x="247753" y="5039"/>
                    <a:pt x="245233" y="3780"/>
                    <a:pt x="242714" y="3780"/>
                  </a:cubicBezTo>
                  <a:cubicBezTo>
                    <a:pt x="240194" y="3780"/>
                    <a:pt x="237674" y="2520"/>
                    <a:pt x="235154" y="2520"/>
                  </a:cubicBezTo>
                  <a:lnTo>
                    <a:pt x="235154" y="2520"/>
                  </a:lnTo>
                  <a:cubicBezTo>
                    <a:pt x="232635" y="2520"/>
                    <a:pt x="231375" y="2520"/>
                    <a:pt x="228855" y="2520"/>
                  </a:cubicBezTo>
                  <a:lnTo>
                    <a:pt x="228855" y="2520"/>
                  </a:lnTo>
                  <a:cubicBezTo>
                    <a:pt x="223816" y="2520"/>
                    <a:pt x="220037" y="1260"/>
                    <a:pt x="214997" y="1260"/>
                  </a:cubicBezTo>
                  <a:cubicBezTo>
                    <a:pt x="206179" y="1260"/>
                    <a:pt x="197360" y="0"/>
                    <a:pt x="187281" y="0"/>
                  </a:cubicBezTo>
                  <a:cubicBezTo>
                    <a:pt x="183502" y="0"/>
                    <a:pt x="179722" y="0"/>
                    <a:pt x="174683" y="0"/>
                  </a:cubicBezTo>
                  <a:lnTo>
                    <a:pt x="172163" y="0"/>
                  </a:lnTo>
                  <a:cubicBezTo>
                    <a:pt x="170903" y="0"/>
                    <a:pt x="169644" y="0"/>
                    <a:pt x="167124" y="0"/>
                  </a:cubicBezTo>
                  <a:lnTo>
                    <a:pt x="165864" y="0"/>
                  </a:lnTo>
                  <a:cubicBezTo>
                    <a:pt x="164604" y="0"/>
                    <a:pt x="162085" y="0"/>
                    <a:pt x="160825" y="0"/>
                  </a:cubicBezTo>
                  <a:cubicBezTo>
                    <a:pt x="158305" y="0"/>
                    <a:pt x="155786" y="0"/>
                    <a:pt x="153266" y="1260"/>
                  </a:cubicBezTo>
                  <a:cubicBezTo>
                    <a:pt x="150747" y="1260"/>
                    <a:pt x="148227" y="2520"/>
                    <a:pt x="146967" y="3780"/>
                  </a:cubicBezTo>
                  <a:cubicBezTo>
                    <a:pt x="143188" y="5039"/>
                    <a:pt x="139408" y="6299"/>
                    <a:pt x="135629" y="8819"/>
                  </a:cubicBezTo>
                  <a:lnTo>
                    <a:pt x="134369" y="8819"/>
                  </a:lnTo>
                  <a:cubicBezTo>
                    <a:pt x="133109" y="8819"/>
                    <a:pt x="131849" y="10079"/>
                    <a:pt x="131849" y="10079"/>
                  </a:cubicBezTo>
                  <a:lnTo>
                    <a:pt x="131849" y="10079"/>
                  </a:lnTo>
                  <a:lnTo>
                    <a:pt x="131849" y="10079"/>
                  </a:lnTo>
                  <a:lnTo>
                    <a:pt x="131849" y="10079"/>
                  </a:lnTo>
                  <a:cubicBezTo>
                    <a:pt x="131849" y="10079"/>
                    <a:pt x="131849" y="10079"/>
                    <a:pt x="131849" y="10079"/>
                  </a:cubicBezTo>
                  <a:lnTo>
                    <a:pt x="131849" y="10079"/>
                  </a:lnTo>
                  <a:cubicBezTo>
                    <a:pt x="131849" y="10079"/>
                    <a:pt x="131849" y="10079"/>
                    <a:pt x="131849" y="10079"/>
                  </a:cubicBezTo>
                  <a:lnTo>
                    <a:pt x="131849" y="10079"/>
                  </a:lnTo>
                  <a:lnTo>
                    <a:pt x="131849" y="10079"/>
                  </a:lnTo>
                  <a:lnTo>
                    <a:pt x="131849" y="10079"/>
                  </a:lnTo>
                  <a:cubicBezTo>
                    <a:pt x="131849" y="10079"/>
                    <a:pt x="131849" y="10079"/>
                    <a:pt x="131849" y="10079"/>
                  </a:cubicBezTo>
                  <a:lnTo>
                    <a:pt x="131849" y="10079"/>
                  </a:lnTo>
                  <a:lnTo>
                    <a:pt x="131849" y="10079"/>
                  </a:lnTo>
                  <a:cubicBezTo>
                    <a:pt x="131849" y="10079"/>
                    <a:pt x="131849" y="10079"/>
                    <a:pt x="131849" y="10079"/>
                  </a:cubicBezTo>
                  <a:lnTo>
                    <a:pt x="131849" y="10079"/>
                  </a:lnTo>
                  <a:lnTo>
                    <a:pt x="131849" y="10079"/>
                  </a:lnTo>
                  <a:lnTo>
                    <a:pt x="131849" y="10079"/>
                  </a:lnTo>
                  <a:cubicBezTo>
                    <a:pt x="131849" y="10079"/>
                    <a:pt x="131849" y="10079"/>
                    <a:pt x="131849" y="10079"/>
                  </a:cubicBezTo>
                  <a:cubicBezTo>
                    <a:pt x="129329" y="11338"/>
                    <a:pt x="126810" y="12598"/>
                    <a:pt x="124290" y="12598"/>
                  </a:cubicBezTo>
                  <a:cubicBezTo>
                    <a:pt x="123030" y="12598"/>
                    <a:pt x="121770" y="13858"/>
                    <a:pt x="120511" y="13858"/>
                  </a:cubicBezTo>
                  <a:cubicBezTo>
                    <a:pt x="119251" y="13858"/>
                    <a:pt x="117991" y="15118"/>
                    <a:pt x="117991" y="15118"/>
                  </a:cubicBezTo>
                  <a:lnTo>
                    <a:pt x="116731" y="15118"/>
                  </a:lnTo>
                  <a:cubicBezTo>
                    <a:pt x="114211" y="15118"/>
                    <a:pt x="112952" y="16378"/>
                    <a:pt x="110432" y="16378"/>
                  </a:cubicBezTo>
                  <a:lnTo>
                    <a:pt x="109172" y="16378"/>
                  </a:lnTo>
                  <a:cubicBezTo>
                    <a:pt x="105393" y="17637"/>
                    <a:pt x="101613" y="18897"/>
                    <a:pt x="97834" y="20157"/>
                  </a:cubicBezTo>
                  <a:cubicBezTo>
                    <a:pt x="96574" y="20157"/>
                    <a:pt x="95314" y="21417"/>
                    <a:pt x="94055" y="21417"/>
                  </a:cubicBezTo>
                  <a:cubicBezTo>
                    <a:pt x="92795" y="21417"/>
                    <a:pt x="92795" y="21417"/>
                    <a:pt x="91535" y="22677"/>
                  </a:cubicBezTo>
                  <a:cubicBezTo>
                    <a:pt x="89015" y="23937"/>
                    <a:pt x="86496" y="23937"/>
                    <a:pt x="83976" y="25196"/>
                  </a:cubicBezTo>
                  <a:cubicBezTo>
                    <a:pt x="81456" y="26456"/>
                    <a:pt x="78936" y="27716"/>
                    <a:pt x="75157" y="27716"/>
                  </a:cubicBezTo>
                  <a:cubicBezTo>
                    <a:pt x="73897" y="27716"/>
                    <a:pt x="72637" y="28976"/>
                    <a:pt x="71377" y="28976"/>
                  </a:cubicBezTo>
                  <a:cubicBezTo>
                    <a:pt x="67598" y="30236"/>
                    <a:pt x="62559" y="31496"/>
                    <a:pt x="58779" y="34015"/>
                  </a:cubicBezTo>
                  <a:cubicBezTo>
                    <a:pt x="55000" y="35275"/>
                    <a:pt x="49961" y="37795"/>
                    <a:pt x="46181" y="39055"/>
                  </a:cubicBezTo>
                  <a:cubicBezTo>
                    <a:pt x="42402" y="40315"/>
                    <a:pt x="38622" y="42834"/>
                    <a:pt x="33583" y="44094"/>
                  </a:cubicBezTo>
                  <a:lnTo>
                    <a:pt x="32323" y="44094"/>
                  </a:lnTo>
                  <a:cubicBezTo>
                    <a:pt x="29803" y="45354"/>
                    <a:pt x="28544" y="45354"/>
                    <a:pt x="26024" y="46614"/>
                  </a:cubicBezTo>
                  <a:cubicBezTo>
                    <a:pt x="23504" y="47874"/>
                    <a:pt x="22244" y="47874"/>
                    <a:pt x="20985" y="49133"/>
                  </a:cubicBezTo>
                  <a:cubicBezTo>
                    <a:pt x="19725" y="50393"/>
                    <a:pt x="18465" y="50393"/>
                    <a:pt x="17205" y="51653"/>
                  </a:cubicBezTo>
                  <a:lnTo>
                    <a:pt x="15945" y="52913"/>
                  </a:lnTo>
                  <a:lnTo>
                    <a:pt x="14685" y="52913"/>
                  </a:lnTo>
                  <a:cubicBezTo>
                    <a:pt x="13426" y="54173"/>
                    <a:pt x="10906" y="54173"/>
                    <a:pt x="9646" y="55432"/>
                  </a:cubicBezTo>
                  <a:cubicBezTo>
                    <a:pt x="7126" y="56692"/>
                    <a:pt x="5867" y="57952"/>
                    <a:pt x="3347" y="60472"/>
                  </a:cubicBezTo>
                  <a:cubicBezTo>
                    <a:pt x="2087" y="61731"/>
                    <a:pt x="827" y="62991"/>
                    <a:pt x="827" y="64251"/>
                  </a:cubicBezTo>
                  <a:cubicBezTo>
                    <a:pt x="-432" y="66771"/>
                    <a:pt x="-432" y="69290"/>
                    <a:pt x="2087" y="71810"/>
                  </a:cubicBezTo>
                  <a:cubicBezTo>
                    <a:pt x="3347" y="74330"/>
                    <a:pt x="5867" y="75589"/>
                    <a:pt x="8386" y="76849"/>
                  </a:cubicBezTo>
                  <a:cubicBezTo>
                    <a:pt x="10906" y="78109"/>
                    <a:pt x="12166" y="79369"/>
                    <a:pt x="14685" y="79369"/>
                  </a:cubicBezTo>
                  <a:cubicBezTo>
                    <a:pt x="18465" y="80629"/>
                    <a:pt x="23504" y="80629"/>
                    <a:pt x="27284" y="80629"/>
                  </a:cubicBezTo>
                  <a:lnTo>
                    <a:pt x="28544" y="80629"/>
                  </a:lnTo>
                  <a:cubicBezTo>
                    <a:pt x="29803" y="80629"/>
                    <a:pt x="32323" y="80629"/>
                    <a:pt x="33583" y="80629"/>
                  </a:cubicBezTo>
                  <a:lnTo>
                    <a:pt x="34843" y="80629"/>
                  </a:lnTo>
                  <a:cubicBezTo>
                    <a:pt x="37362" y="80629"/>
                    <a:pt x="38622" y="80629"/>
                    <a:pt x="41142" y="80629"/>
                  </a:cubicBezTo>
                  <a:lnTo>
                    <a:pt x="41142" y="80629"/>
                  </a:lnTo>
                  <a:cubicBezTo>
                    <a:pt x="46181" y="80629"/>
                    <a:pt x="49961" y="80629"/>
                    <a:pt x="55000" y="80629"/>
                  </a:cubicBezTo>
                  <a:cubicBezTo>
                    <a:pt x="60039" y="80629"/>
                    <a:pt x="63818" y="79369"/>
                    <a:pt x="68858" y="79369"/>
                  </a:cubicBezTo>
                  <a:lnTo>
                    <a:pt x="68858" y="79369"/>
                  </a:lnTo>
                  <a:cubicBezTo>
                    <a:pt x="72637" y="79369"/>
                    <a:pt x="75157" y="78109"/>
                    <a:pt x="78936" y="78109"/>
                  </a:cubicBezTo>
                  <a:lnTo>
                    <a:pt x="81456" y="78109"/>
                  </a:lnTo>
                  <a:cubicBezTo>
                    <a:pt x="87755" y="78109"/>
                    <a:pt x="94055" y="76849"/>
                    <a:pt x="100354" y="76849"/>
                  </a:cubicBezTo>
                  <a:lnTo>
                    <a:pt x="106653" y="76849"/>
                  </a:lnTo>
                  <a:cubicBezTo>
                    <a:pt x="123030" y="76849"/>
                    <a:pt x="139408" y="78109"/>
                    <a:pt x="155786" y="78109"/>
                  </a:cubicBezTo>
                  <a:cubicBezTo>
                    <a:pt x="158305" y="78109"/>
                    <a:pt x="159565" y="78109"/>
                    <a:pt x="162085" y="78109"/>
                  </a:cubicBezTo>
                  <a:cubicBezTo>
                    <a:pt x="164604" y="78109"/>
                    <a:pt x="167124" y="78109"/>
                    <a:pt x="169644" y="78109"/>
                  </a:cubicBezTo>
                  <a:cubicBezTo>
                    <a:pt x="174683" y="78109"/>
                    <a:pt x="179722" y="78109"/>
                    <a:pt x="184762" y="78109"/>
                  </a:cubicBezTo>
                  <a:cubicBezTo>
                    <a:pt x="189801" y="78109"/>
                    <a:pt x="194840" y="76849"/>
                    <a:pt x="198620" y="76849"/>
                  </a:cubicBezTo>
                  <a:cubicBezTo>
                    <a:pt x="201140" y="76849"/>
                    <a:pt x="203659" y="75589"/>
                    <a:pt x="204919" y="75589"/>
                  </a:cubicBezTo>
                  <a:cubicBezTo>
                    <a:pt x="206179" y="75589"/>
                    <a:pt x="206179" y="75589"/>
                    <a:pt x="207439" y="75589"/>
                  </a:cubicBezTo>
                  <a:cubicBezTo>
                    <a:pt x="208698" y="75589"/>
                    <a:pt x="209958" y="74330"/>
                    <a:pt x="211218" y="74330"/>
                  </a:cubicBezTo>
                  <a:cubicBezTo>
                    <a:pt x="211218" y="74330"/>
                    <a:pt x="211218" y="74330"/>
                    <a:pt x="211218" y="74330"/>
                  </a:cubicBezTo>
                  <a:cubicBezTo>
                    <a:pt x="211218" y="74330"/>
                    <a:pt x="211218" y="74330"/>
                    <a:pt x="211218" y="74330"/>
                  </a:cubicBezTo>
                  <a:cubicBezTo>
                    <a:pt x="211218" y="74330"/>
                    <a:pt x="212478" y="74330"/>
                    <a:pt x="212478" y="75589"/>
                  </a:cubicBezTo>
                  <a:lnTo>
                    <a:pt x="212478" y="75589"/>
                  </a:lnTo>
                  <a:cubicBezTo>
                    <a:pt x="213738" y="76849"/>
                    <a:pt x="214997" y="78109"/>
                    <a:pt x="217517" y="79369"/>
                  </a:cubicBezTo>
                  <a:cubicBezTo>
                    <a:pt x="218777" y="80629"/>
                    <a:pt x="220037" y="81889"/>
                    <a:pt x="222556" y="81889"/>
                  </a:cubicBezTo>
                  <a:cubicBezTo>
                    <a:pt x="223816" y="81889"/>
                    <a:pt x="225076" y="83148"/>
                    <a:pt x="226336" y="83148"/>
                  </a:cubicBezTo>
                  <a:cubicBezTo>
                    <a:pt x="226336" y="83148"/>
                    <a:pt x="226336" y="83148"/>
                    <a:pt x="227595" y="83148"/>
                  </a:cubicBezTo>
                  <a:cubicBezTo>
                    <a:pt x="232635" y="83148"/>
                    <a:pt x="236414" y="81889"/>
                    <a:pt x="241454" y="81889"/>
                  </a:cubicBezTo>
                  <a:lnTo>
                    <a:pt x="242714" y="81889"/>
                  </a:lnTo>
                  <a:cubicBezTo>
                    <a:pt x="243973" y="81889"/>
                    <a:pt x="246493" y="81889"/>
                    <a:pt x="247753" y="80629"/>
                  </a:cubicBezTo>
                  <a:cubicBezTo>
                    <a:pt x="250273" y="80629"/>
                    <a:pt x="252792" y="79369"/>
                    <a:pt x="254052" y="76849"/>
                  </a:cubicBezTo>
                  <a:cubicBezTo>
                    <a:pt x="254052" y="76849"/>
                    <a:pt x="255312" y="75589"/>
                    <a:pt x="255312" y="74330"/>
                  </a:cubicBezTo>
                  <a:cubicBezTo>
                    <a:pt x="256572" y="73070"/>
                    <a:pt x="257832" y="71810"/>
                    <a:pt x="257832" y="70550"/>
                  </a:cubicBezTo>
                  <a:cubicBezTo>
                    <a:pt x="257832" y="66771"/>
                    <a:pt x="257832" y="62991"/>
                    <a:pt x="257832" y="60472"/>
                  </a:cubicBezTo>
                  <a:cubicBezTo>
                    <a:pt x="257832" y="59212"/>
                    <a:pt x="257832" y="56692"/>
                    <a:pt x="257832" y="55432"/>
                  </a:cubicBezTo>
                  <a:cubicBezTo>
                    <a:pt x="257832" y="54173"/>
                    <a:pt x="257832" y="54173"/>
                    <a:pt x="257832" y="52913"/>
                  </a:cubicBezTo>
                  <a:cubicBezTo>
                    <a:pt x="257832" y="49133"/>
                    <a:pt x="257832" y="46614"/>
                    <a:pt x="257832" y="42834"/>
                  </a:cubicBezTo>
                  <a:lnTo>
                    <a:pt x="257832" y="40315"/>
                  </a:lnTo>
                  <a:lnTo>
                    <a:pt x="257832" y="36535"/>
                  </a:lnTo>
                  <a:cubicBezTo>
                    <a:pt x="257832" y="34015"/>
                    <a:pt x="257832" y="31496"/>
                    <a:pt x="257832" y="27716"/>
                  </a:cubicBezTo>
                  <a:cubicBezTo>
                    <a:pt x="257832" y="25196"/>
                    <a:pt x="257832" y="23937"/>
                    <a:pt x="257832" y="21417"/>
                  </a:cubicBezTo>
                  <a:cubicBezTo>
                    <a:pt x="257832" y="18897"/>
                    <a:pt x="257832" y="17637"/>
                    <a:pt x="257832" y="15118"/>
                  </a:cubicBezTo>
                  <a:cubicBezTo>
                    <a:pt x="257832" y="13858"/>
                    <a:pt x="257832" y="12598"/>
                    <a:pt x="256572" y="11338"/>
                  </a:cubicBezTo>
                  <a:cubicBezTo>
                    <a:pt x="256572" y="10079"/>
                    <a:pt x="256572" y="10079"/>
                    <a:pt x="255312" y="8819"/>
                  </a:cubicBezTo>
                  <a:cubicBezTo>
                    <a:pt x="255312" y="7559"/>
                    <a:pt x="255312" y="6299"/>
                    <a:pt x="255312" y="5039"/>
                  </a:cubicBezTo>
                  <a:cubicBezTo>
                    <a:pt x="256572" y="2520"/>
                    <a:pt x="255312" y="1260"/>
                    <a:pt x="252792" y="1260"/>
                  </a:cubicBezTo>
                  <a:moveTo>
                    <a:pt x="8386" y="65511"/>
                  </a:moveTo>
                  <a:cubicBezTo>
                    <a:pt x="9646" y="64251"/>
                    <a:pt x="10906" y="64251"/>
                    <a:pt x="12166" y="62991"/>
                  </a:cubicBezTo>
                  <a:cubicBezTo>
                    <a:pt x="13426" y="61731"/>
                    <a:pt x="14685" y="61731"/>
                    <a:pt x="15945" y="60472"/>
                  </a:cubicBezTo>
                  <a:lnTo>
                    <a:pt x="17205" y="60472"/>
                  </a:lnTo>
                  <a:cubicBezTo>
                    <a:pt x="18465" y="59212"/>
                    <a:pt x="19725" y="59212"/>
                    <a:pt x="20985" y="59212"/>
                  </a:cubicBezTo>
                  <a:lnTo>
                    <a:pt x="22244" y="57952"/>
                  </a:lnTo>
                  <a:cubicBezTo>
                    <a:pt x="23504" y="56692"/>
                    <a:pt x="26024" y="56692"/>
                    <a:pt x="28544" y="55432"/>
                  </a:cubicBezTo>
                  <a:cubicBezTo>
                    <a:pt x="31063" y="54173"/>
                    <a:pt x="33583" y="54173"/>
                    <a:pt x="34843" y="52913"/>
                  </a:cubicBezTo>
                  <a:cubicBezTo>
                    <a:pt x="32323" y="54173"/>
                    <a:pt x="28544" y="56692"/>
                    <a:pt x="26024" y="57952"/>
                  </a:cubicBezTo>
                  <a:lnTo>
                    <a:pt x="26024" y="57952"/>
                  </a:lnTo>
                  <a:cubicBezTo>
                    <a:pt x="22244" y="60472"/>
                    <a:pt x="19725" y="61731"/>
                    <a:pt x="15945" y="64251"/>
                  </a:cubicBezTo>
                  <a:cubicBezTo>
                    <a:pt x="14685" y="64251"/>
                    <a:pt x="13426" y="65511"/>
                    <a:pt x="12166" y="65511"/>
                  </a:cubicBezTo>
                  <a:cubicBezTo>
                    <a:pt x="10906" y="65511"/>
                    <a:pt x="9646" y="65511"/>
                    <a:pt x="8386" y="65511"/>
                  </a:cubicBezTo>
                </a:path>
              </a:pathLst>
            </a:custGeom>
            <a:solidFill>
              <a:srgbClr val="001675"/>
            </a:solidFill>
            <a:ln w="12584" cap="flat">
              <a:noFill/>
              <a:prstDash val="solid"/>
              <a:miter/>
            </a:ln>
          </p:spPr>
          <p:txBody>
            <a:bodyPr rtlCol="0" anchor="ctr"/>
            <a:lstStyle/>
            <a:p>
              <a:endParaRPr lang="zh-CN" altLang="en-US"/>
            </a:p>
          </p:txBody>
        </p:sp>
        <p:sp>
          <p:nvSpPr>
            <p:cNvPr id="10227" name="任意多边形: 形状 10226"/>
            <p:cNvSpPr/>
            <p:nvPr/>
          </p:nvSpPr>
          <p:spPr>
            <a:xfrm>
              <a:off x="4685998" y="4702338"/>
              <a:ext cx="62991" cy="37795"/>
            </a:xfrm>
            <a:custGeom>
              <a:avLst/>
              <a:gdLst>
                <a:gd name="connsiteX0" fmla="*/ 73070 w 62991"/>
                <a:gd name="connsiteY0" fmla="*/ 2863 h 37794"/>
                <a:gd name="connsiteX1" fmla="*/ 74330 w 62991"/>
                <a:gd name="connsiteY1" fmla="*/ 6642 h 37794"/>
                <a:gd name="connsiteX2" fmla="*/ 71810 w 62991"/>
                <a:gd name="connsiteY2" fmla="*/ 11682 h 37794"/>
                <a:gd name="connsiteX3" fmla="*/ 66771 w 62991"/>
                <a:gd name="connsiteY3" fmla="*/ 14202 h 37794"/>
                <a:gd name="connsiteX4" fmla="*/ 64251 w 62991"/>
                <a:gd name="connsiteY4" fmla="*/ 15461 h 37794"/>
                <a:gd name="connsiteX5" fmla="*/ 57952 w 62991"/>
                <a:gd name="connsiteY5" fmla="*/ 17981 h 37794"/>
                <a:gd name="connsiteX6" fmla="*/ 45354 w 62991"/>
                <a:gd name="connsiteY6" fmla="*/ 23020 h 37794"/>
                <a:gd name="connsiteX7" fmla="*/ 13858 w 62991"/>
                <a:gd name="connsiteY7" fmla="*/ 36878 h 37794"/>
                <a:gd name="connsiteX8" fmla="*/ 11339 w 62991"/>
                <a:gd name="connsiteY8" fmla="*/ 38138 h 37794"/>
                <a:gd name="connsiteX9" fmla="*/ 6299 w 62991"/>
                <a:gd name="connsiteY9" fmla="*/ 38138 h 37794"/>
                <a:gd name="connsiteX10" fmla="*/ 1260 w 62991"/>
                <a:gd name="connsiteY10" fmla="*/ 34358 h 37794"/>
                <a:gd name="connsiteX11" fmla="*/ 0 w 62991"/>
                <a:gd name="connsiteY11" fmla="*/ 28059 h 37794"/>
                <a:gd name="connsiteX12" fmla="*/ 3780 w 62991"/>
                <a:gd name="connsiteY12" fmla="*/ 23020 h 37794"/>
                <a:gd name="connsiteX13" fmla="*/ 35275 w 62991"/>
                <a:gd name="connsiteY13" fmla="*/ 10422 h 37794"/>
                <a:gd name="connsiteX14" fmla="*/ 62991 w 62991"/>
                <a:gd name="connsiteY14" fmla="*/ 343 h 37794"/>
                <a:gd name="connsiteX15" fmla="*/ 65511 w 62991"/>
                <a:gd name="connsiteY15" fmla="*/ 343 h 37794"/>
                <a:gd name="connsiteX16" fmla="*/ 73070 w 62991"/>
                <a:gd name="connsiteY16" fmla="*/ 2863 h 3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991" h="37794">
                  <a:moveTo>
                    <a:pt x="73070" y="2863"/>
                  </a:moveTo>
                  <a:cubicBezTo>
                    <a:pt x="73070" y="4123"/>
                    <a:pt x="74330" y="5383"/>
                    <a:pt x="74330" y="6642"/>
                  </a:cubicBezTo>
                  <a:cubicBezTo>
                    <a:pt x="74330" y="7902"/>
                    <a:pt x="73070" y="10422"/>
                    <a:pt x="71810" y="11682"/>
                  </a:cubicBezTo>
                  <a:cubicBezTo>
                    <a:pt x="70550" y="12942"/>
                    <a:pt x="69290" y="14202"/>
                    <a:pt x="66771" y="14202"/>
                  </a:cubicBezTo>
                  <a:cubicBezTo>
                    <a:pt x="65511" y="14202"/>
                    <a:pt x="64251" y="15461"/>
                    <a:pt x="64251" y="15461"/>
                  </a:cubicBezTo>
                  <a:cubicBezTo>
                    <a:pt x="61732" y="16721"/>
                    <a:pt x="60472" y="17981"/>
                    <a:pt x="57952" y="17981"/>
                  </a:cubicBezTo>
                  <a:cubicBezTo>
                    <a:pt x="54173" y="20501"/>
                    <a:pt x="50393" y="21760"/>
                    <a:pt x="45354" y="23020"/>
                  </a:cubicBezTo>
                  <a:cubicBezTo>
                    <a:pt x="35275" y="28059"/>
                    <a:pt x="23937" y="31839"/>
                    <a:pt x="13858" y="36878"/>
                  </a:cubicBezTo>
                  <a:cubicBezTo>
                    <a:pt x="12598" y="36878"/>
                    <a:pt x="12598" y="36878"/>
                    <a:pt x="11339" y="38138"/>
                  </a:cubicBezTo>
                  <a:cubicBezTo>
                    <a:pt x="10079" y="38138"/>
                    <a:pt x="8819" y="38138"/>
                    <a:pt x="6299" y="38138"/>
                  </a:cubicBezTo>
                  <a:cubicBezTo>
                    <a:pt x="3780" y="38138"/>
                    <a:pt x="2520" y="35618"/>
                    <a:pt x="1260" y="34358"/>
                  </a:cubicBezTo>
                  <a:cubicBezTo>
                    <a:pt x="0" y="31839"/>
                    <a:pt x="0" y="30579"/>
                    <a:pt x="0" y="28059"/>
                  </a:cubicBezTo>
                  <a:cubicBezTo>
                    <a:pt x="0" y="26800"/>
                    <a:pt x="2520" y="24280"/>
                    <a:pt x="3780" y="23020"/>
                  </a:cubicBezTo>
                  <a:cubicBezTo>
                    <a:pt x="13858" y="19241"/>
                    <a:pt x="25196" y="14202"/>
                    <a:pt x="35275" y="10422"/>
                  </a:cubicBezTo>
                  <a:cubicBezTo>
                    <a:pt x="44094" y="6642"/>
                    <a:pt x="52913" y="2863"/>
                    <a:pt x="62991" y="343"/>
                  </a:cubicBezTo>
                  <a:cubicBezTo>
                    <a:pt x="64251" y="343"/>
                    <a:pt x="64251" y="343"/>
                    <a:pt x="65511" y="343"/>
                  </a:cubicBezTo>
                  <a:cubicBezTo>
                    <a:pt x="69290" y="-917"/>
                    <a:pt x="71810" y="1603"/>
                    <a:pt x="73070" y="2863"/>
                  </a:cubicBezTo>
                </a:path>
              </a:pathLst>
            </a:custGeom>
            <a:solidFill>
              <a:srgbClr val="001675"/>
            </a:solidFill>
            <a:ln w="12584" cap="flat">
              <a:noFill/>
              <a:prstDash val="solid"/>
              <a:miter/>
            </a:ln>
          </p:spPr>
          <p:txBody>
            <a:bodyPr rtlCol="0" anchor="ctr"/>
            <a:lstStyle/>
            <a:p>
              <a:endParaRPr lang="zh-CN" altLang="en-US"/>
            </a:p>
          </p:txBody>
        </p:sp>
        <p:sp>
          <p:nvSpPr>
            <p:cNvPr id="10228" name="任意多边形: 形状 10227"/>
            <p:cNvSpPr/>
            <p:nvPr/>
          </p:nvSpPr>
          <p:spPr>
            <a:xfrm>
              <a:off x="4673400" y="4688823"/>
              <a:ext cx="226768" cy="50393"/>
            </a:xfrm>
            <a:custGeom>
              <a:avLst/>
              <a:gdLst>
                <a:gd name="connsiteX0" fmla="*/ 99526 w 226768"/>
                <a:gd name="connsiteY0" fmla="*/ 0 h 50392"/>
                <a:gd name="connsiteX1" fmla="*/ 99526 w 226768"/>
                <a:gd name="connsiteY1" fmla="*/ 0 h 50392"/>
                <a:gd name="connsiteX2" fmla="*/ 95747 w 226768"/>
                <a:gd name="connsiteY2" fmla="*/ 0 h 50392"/>
                <a:gd name="connsiteX3" fmla="*/ 68031 w 226768"/>
                <a:gd name="connsiteY3" fmla="*/ 10078 h 50392"/>
                <a:gd name="connsiteX4" fmla="*/ 56692 w 226768"/>
                <a:gd name="connsiteY4" fmla="*/ 15118 h 50392"/>
                <a:gd name="connsiteX5" fmla="*/ 46614 w 226768"/>
                <a:gd name="connsiteY5" fmla="*/ 18897 h 50392"/>
                <a:gd name="connsiteX6" fmla="*/ 23937 w 226768"/>
                <a:gd name="connsiteY6" fmla="*/ 28976 h 50392"/>
                <a:gd name="connsiteX7" fmla="*/ 12598 w 226768"/>
                <a:gd name="connsiteY7" fmla="*/ 35275 h 50392"/>
                <a:gd name="connsiteX8" fmla="*/ 7559 w 226768"/>
                <a:gd name="connsiteY8" fmla="*/ 39055 h 50392"/>
                <a:gd name="connsiteX9" fmla="*/ 2520 w 226768"/>
                <a:gd name="connsiteY9" fmla="*/ 42834 h 50392"/>
                <a:gd name="connsiteX10" fmla="*/ 0 w 226768"/>
                <a:gd name="connsiteY10" fmla="*/ 46614 h 50392"/>
                <a:gd name="connsiteX11" fmla="*/ 0 w 226768"/>
                <a:gd name="connsiteY11" fmla="*/ 49133 h 50392"/>
                <a:gd name="connsiteX12" fmla="*/ 0 w 226768"/>
                <a:gd name="connsiteY12" fmla="*/ 50393 h 50392"/>
                <a:gd name="connsiteX13" fmla="*/ 5040 w 226768"/>
                <a:gd name="connsiteY13" fmla="*/ 54172 h 50392"/>
                <a:gd name="connsiteX14" fmla="*/ 11339 w 226768"/>
                <a:gd name="connsiteY14" fmla="*/ 55432 h 50392"/>
                <a:gd name="connsiteX15" fmla="*/ 23937 w 226768"/>
                <a:gd name="connsiteY15" fmla="*/ 55432 h 50392"/>
                <a:gd name="connsiteX16" fmla="*/ 22677 w 226768"/>
                <a:gd name="connsiteY16" fmla="*/ 55432 h 50392"/>
                <a:gd name="connsiteX17" fmla="*/ 31496 w 226768"/>
                <a:gd name="connsiteY17" fmla="*/ 55432 h 50392"/>
                <a:gd name="connsiteX18" fmla="*/ 41574 w 226768"/>
                <a:gd name="connsiteY18" fmla="*/ 55432 h 50392"/>
                <a:gd name="connsiteX19" fmla="*/ 57952 w 226768"/>
                <a:gd name="connsiteY19" fmla="*/ 55432 h 50392"/>
                <a:gd name="connsiteX20" fmla="*/ 75589 w 226768"/>
                <a:gd name="connsiteY20" fmla="*/ 55432 h 50392"/>
                <a:gd name="connsiteX21" fmla="*/ 74330 w 226768"/>
                <a:gd name="connsiteY21" fmla="*/ 55432 h 50392"/>
                <a:gd name="connsiteX22" fmla="*/ 84408 w 226768"/>
                <a:gd name="connsiteY22" fmla="*/ 55432 h 50392"/>
                <a:gd name="connsiteX23" fmla="*/ 94487 w 226768"/>
                <a:gd name="connsiteY23" fmla="*/ 55432 h 50392"/>
                <a:gd name="connsiteX24" fmla="*/ 105825 w 226768"/>
                <a:gd name="connsiteY24" fmla="*/ 55432 h 50392"/>
                <a:gd name="connsiteX25" fmla="*/ 104566 w 226768"/>
                <a:gd name="connsiteY25" fmla="*/ 55432 h 50392"/>
                <a:gd name="connsiteX26" fmla="*/ 114644 w 226768"/>
                <a:gd name="connsiteY26" fmla="*/ 55432 h 50392"/>
                <a:gd name="connsiteX27" fmla="*/ 124723 w 226768"/>
                <a:gd name="connsiteY27" fmla="*/ 55432 h 50392"/>
                <a:gd name="connsiteX28" fmla="*/ 134801 w 226768"/>
                <a:gd name="connsiteY28" fmla="*/ 54172 h 50392"/>
                <a:gd name="connsiteX29" fmla="*/ 144880 w 226768"/>
                <a:gd name="connsiteY29" fmla="*/ 54172 h 50392"/>
                <a:gd name="connsiteX30" fmla="*/ 156218 w 226768"/>
                <a:gd name="connsiteY30" fmla="*/ 54172 h 50392"/>
                <a:gd name="connsiteX31" fmla="*/ 162518 w 226768"/>
                <a:gd name="connsiteY31" fmla="*/ 54172 h 50392"/>
                <a:gd name="connsiteX32" fmla="*/ 167557 w 226768"/>
                <a:gd name="connsiteY32" fmla="*/ 54172 h 50392"/>
                <a:gd name="connsiteX33" fmla="*/ 190233 w 226768"/>
                <a:gd name="connsiteY33" fmla="*/ 55432 h 50392"/>
                <a:gd name="connsiteX34" fmla="*/ 201572 w 226768"/>
                <a:gd name="connsiteY34" fmla="*/ 55432 h 50392"/>
                <a:gd name="connsiteX35" fmla="*/ 214170 w 226768"/>
                <a:gd name="connsiteY35" fmla="*/ 54172 h 50392"/>
                <a:gd name="connsiteX36" fmla="*/ 219210 w 226768"/>
                <a:gd name="connsiteY36" fmla="*/ 54172 h 50392"/>
                <a:gd name="connsiteX37" fmla="*/ 221729 w 226768"/>
                <a:gd name="connsiteY37" fmla="*/ 54172 h 50392"/>
                <a:gd name="connsiteX38" fmla="*/ 225509 w 226768"/>
                <a:gd name="connsiteY38" fmla="*/ 52913 h 50392"/>
                <a:gd name="connsiteX39" fmla="*/ 228028 w 226768"/>
                <a:gd name="connsiteY39" fmla="*/ 51653 h 50392"/>
                <a:gd name="connsiteX40" fmla="*/ 230548 w 226768"/>
                <a:gd name="connsiteY40" fmla="*/ 49133 h 50392"/>
                <a:gd name="connsiteX41" fmla="*/ 233067 w 226768"/>
                <a:gd name="connsiteY41" fmla="*/ 46614 h 50392"/>
                <a:gd name="connsiteX42" fmla="*/ 236847 w 226768"/>
                <a:gd name="connsiteY42" fmla="*/ 41574 h 50392"/>
                <a:gd name="connsiteX43" fmla="*/ 238107 w 226768"/>
                <a:gd name="connsiteY43" fmla="*/ 39055 h 50392"/>
                <a:gd name="connsiteX44" fmla="*/ 236847 w 226768"/>
                <a:gd name="connsiteY44" fmla="*/ 36535 h 50392"/>
                <a:gd name="connsiteX45" fmla="*/ 234327 w 226768"/>
                <a:gd name="connsiteY45" fmla="*/ 35275 h 50392"/>
                <a:gd name="connsiteX46" fmla="*/ 231808 w 226768"/>
                <a:gd name="connsiteY46" fmla="*/ 36535 h 50392"/>
                <a:gd name="connsiteX47" fmla="*/ 228028 w 226768"/>
                <a:gd name="connsiteY47" fmla="*/ 41574 h 50392"/>
                <a:gd name="connsiteX48" fmla="*/ 226768 w 226768"/>
                <a:gd name="connsiteY48" fmla="*/ 44094 h 50392"/>
                <a:gd name="connsiteX49" fmla="*/ 225509 w 226768"/>
                <a:gd name="connsiteY49" fmla="*/ 46614 h 50392"/>
                <a:gd name="connsiteX50" fmla="*/ 224249 w 226768"/>
                <a:gd name="connsiteY50" fmla="*/ 46614 h 50392"/>
                <a:gd name="connsiteX51" fmla="*/ 222989 w 226768"/>
                <a:gd name="connsiteY51" fmla="*/ 46614 h 50392"/>
                <a:gd name="connsiteX52" fmla="*/ 214170 w 226768"/>
                <a:gd name="connsiteY52" fmla="*/ 47873 h 50392"/>
                <a:gd name="connsiteX53" fmla="*/ 204092 w 226768"/>
                <a:gd name="connsiteY53" fmla="*/ 47873 h 50392"/>
                <a:gd name="connsiteX54" fmla="*/ 183934 w 226768"/>
                <a:gd name="connsiteY54" fmla="*/ 47873 h 50392"/>
                <a:gd name="connsiteX55" fmla="*/ 168817 w 226768"/>
                <a:gd name="connsiteY55" fmla="*/ 47873 h 50392"/>
                <a:gd name="connsiteX56" fmla="*/ 152439 w 226768"/>
                <a:gd name="connsiteY56" fmla="*/ 47873 h 50392"/>
                <a:gd name="connsiteX57" fmla="*/ 153699 w 226768"/>
                <a:gd name="connsiteY57" fmla="*/ 47873 h 50392"/>
                <a:gd name="connsiteX58" fmla="*/ 151179 w 226768"/>
                <a:gd name="connsiteY58" fmla="*/ 47873 h 50392"/>
                <a:gd name="connsiteX59" fmla="*/ 138581 w 226768"/>
                <a:gd name="connsiteY59" fmla="*/ 47873 h 50392"/>
                <a:gd name="connsiteX60" fmla="*/ 125982 w 226768"/>
                <a:gd name="connsiteY60" fmla="*/ 49133 h 50392"/>
                <a:gd name="connsiteX61" fmla="*/ 113384 w 226768"/>
                <a:gd name="connsiteY61" fmla="*/ 49133 h 50392"/>
                <a:gd name="connsiteX62" fmla="*/ 102046 w 226768"/>
                <a:gd name="connsiteY62" fmla="*/ 49133 h 50392"/>
                <a:gd name="connsiteX63" fmla="*/ 91967 w 226768"/>
                <a:gd name="connsiteY63" fmla="*/ 49133 h 50392"/>
                <a:gd name="connsiteX64" fmla="*/ 80629 w 226768"/>
                <a:gd name="connsiteY64" fmla="*/ 49133 h 50392"/>
                <a:gd name="connsiteX65" fmla="*/ 81889 w 226768"/>
                <a:gd name="connsiteY65" fmla="*/ 49133 h 50392"/>
                <a:gd name="connsiteX66" fmla="*/ 66771 w 226768"/>
                <a:gd name="connsiteY66" fmla="*/ 49133 h 50392"/>
                <a:gd name="connsiteX67" fmla="*/ 59212 w 226768"/>
                <a:gd name="connsiteY67" fmla="*/ 49133 h 50392"/>
                <a:gd name="connsiteX68" fmla="*/ 52913 w 226768"/>
                <a:gd name="connsiteY68" fmla="*/ 49133 h 50392"/>
                <a:gd name="connsiteX69" fmla="*/ 41574 w 226768"/>
                <a:gd name="connsiteY69" fmla="*/ 49133 h 50392"/>
                <a:gd name="connsiteX70" fmla="*/ 35275 w 226768"/>
                <a:gd name="connsiteY70" fmla="*/ 49133 h 50392"/>
                <a:gd name="connsiteX71" fmla="*/ 30236 w 226768"/>
                <a:gd name="connsiteY71" fmla="*/ 49133 h 50392"/>
                <a:gd name="connsiteX72" fmla="*/ 25196 w 226768"/>
                <a:gd name="connsiteY72" fmla="*/ 49133 h 50392"/>
                <a:gd name="connsiteX73" fmla="*/ 18897 w 226768"/>
                <a:gd name="connsiteY73" fmla="*/ 49133 h 50392"/>
                <a:gd name="connsiteX74" fmla="*/ 16378 w 226768"/>
                <a:gd name="connsiteY74" fmla="*/ 49133 h 50392"/>
                <a:gd name="connsiteX75" fmla="*/ 18897 w 226768"/>
                <a:gd name="connsiteY75" fmla="*/ 47873 h 50392"/>
                <a:gd name="connsiteX76" fmla="*/ 26456 w 226768"/>
                <a:gd name="connsiteY76" fmla="*/ 42834 h 50392"/>
                <a:gd name="connsiteX77" fmla="*/ 35275 w 226768"/>
                <a:gd name="connsiteY77" fmla="*/ 39055 h 50392"/>
                <a:gd name="connsiteX78" fmla="*/ 54173 w 226768"/>
                <a:gd name="connsiteY78" fmla="*/ 31496 h 50392"/>
                <a:gd name="connsiteX79" fmla="*/ 78109 w 226768"/>
                <a:gd name="connsiteY79" fmla="*/ 22677 h 50392"/>
                <a:gd name="connsiteX80" fmla="*/ 100786 w 226768"/>
                <a:gd name="connsiteY80" fmla="*/ 12598 h 50392"/>
                <a:gd name="connsiteX81" fmla="*/ 103306 w 226768"/>
                <a:gd name="connsiteY81" fmla="*/ 7559 h 50392"/>
                <a:gd name="connsiteX82" fmla="*/ 99526 w 226768"/>
                <a:gd name="connsiteY82" fmla="*/ 0 h 50392"/>
                <a:gd name="connsiteX83" fmla="*/ 17638 w 226768"/>
                <a:gd name="connsiteY83" fmla="*/ 44094 h 50392"/>
                <a:gd name="connsiteX84" fmla="*/ 17638 w 226768"/>
                <a:gd name="connsiteY84" fmla="*/ 44094 h 50392"/>
                <a:gd name="connsiteX85" fmla="*/ 17638 w 226768"/>
                <a:gd name="connsiteY85" fmla="*/ 44094 h 50392"/>
                <a:gd name="connsiteX86" fmla="*/ 7559 w 226768"/>
                <a:gd name="connsiteY86" fmla="*/ 44094 h 50392"/>
                <a:gd name="connsiteX87" fmla="*/ 7559 w 226768"/>
                <a:gd name="connsiteY87" fmla="*/ 44094 h 50392"/>
                <a:gd name="connsiteX88" fmla="*/ 7559 w 226768"/>
                <a:gd name="connsiteY88" fmla="*/ 44094 h 50392"/>
                <a:gd name="connsiteX89" fmla="*/ 85668 w 226768"/>
                <a:gd name="connsiteY89" fmla="*/ 54172 h 50392"/>
                <a:gd name="connsiteX90" fmla="*/ 85668 w 226768"/>
                <a:gd name="connsiteY90" fmla="*/ 54172 h 50392"/>
                <a:gd name="connsiteX91" fmla="*/ 85668 w 226768"/>
                <a:gd name="connsiteY91" fmla="*/ 54172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26768" h="50392">
                  <a:moveTo>
                    <a:pt x="99526" y="0"/>
                  </a:moveTo>
                  <a:cubicBezTo>
                    <a:pt x="99526" y="0"/>
                    <a:pt x="98266" y="0"/>
                    <a:pt x="99526" y="0"/>
                  </a:cubicBezTo>
                  <a:cubicBezTo>
                    <a:pt x="98266" y="0"/>
                    <a:pt x="97007" y="0"/>
                    <a:pt x="95747" y="0"/>
                  </a:cubicBezTo>
                  <a:cubicBezTo>
                    <a:pt x="86928" y="2520"/>
                    <a:pt x="78109" y="6299"/>
                    <a:pt x="68031" y="10078"/>
                  </a:cubicBezTo>
                  <a:cubicBezTo>
                    <a:pt x="64251" y="11338"/>
                    <a:pt x="60472" y="12598"/>
                    <a:pt x="56692" y="15118"/>
                  </a:cubicBezTo>
                  <a:cubicBezTo>
                    <a:pt x="52913" y="16378"/>
                    <a:pt x="49133" y="17637"/>
                    <a:pt x="46614" y="18897"/>
                  </a:cubicBezTo>
                  <a:cubicBezTo>
                    <a:pt x="39055" y="22677"/>
                    <a:pt x="31496" y="25196"/>
                    <a:pt x="23937" y="28976"/>
                  </a:cubicBezTo>
                  <a:cubicBezTo>
                    <a:pt x="20157" y="31496"/>
                    <a:pt x="16378" y="32755"/>
                    <a:pt x="12598" y="35275"/>
                  </a:cubicBezTo>
                  <a:cubicBezTo>
                    <a:pt x="11339" y="36535"/>
                    <a:pt x="8819" y="37795"/>
                    <a:pt x="7559" y="39055"/>
                  </a:cubicBezTo>
                  <a:cubicBezTo>
                    <a:pt x="6299" y="40315"/>
                    <a:pt x="3780" y="41574"/>
                    <a:pt x="2520" y="42834"/>
                  </a:cubicBezTo>
                  <a:cubicBezTo>
                    <a:pt x="1260" y="44094"/>
                    <a:pt x="0" y="45354"/>
                    <a:pt x="0" y="46614"/>
                  </a:cubicBezTo>
                  <a:cubicBezTo>
                    <a:pt x="0" y="47873"/>
                    <a:pt x="0" y="47873"/>
                    <a:pt x="0" y="49133"/>
                  </a:cubicBezTo>
                  <a:cubicBezTo>
                    <a:pt x="0" y="49133"/>
                    <a:pt x="0" y="50393"/>
                    <a:pt x="0" y="50393"/>
                  </a:cubicBezTo>
                  <a:cubicBezTo>
                    <a:pt x="1260" y="51653"/>
                    <a:pt x="2520" y="52913"/>
                    <a:pt x="5040" y="54172"/>
                  </a:cubicBezTo>
                  <a:cubicBezTo>
                    <a:pt x="6299" y="54172"/>
                    <a:pt x="8819" y="55432"/>
                    <a:pt x="11339" y="55432"/>
                  </a:cubicBezTo>
                  <a:cubicBezTo>
                    <a:pt x="15118" y="55432"/>
                    <a:pt x="18897" y="55432"/>
                    <a:pt x="23937" y="55432"/>
                  </a:cubicBezTo>
                  <a:cubicBezTo>
                    <a:pt x="23937" y="55432"/>
                    <a:pt x="22677" y="55432"/>
                    <a:pt x="22677" y="55432"/>
                  </a:cubicBezTo>
                  <a:cubicBezTo>
                    <a:pt x="25196" y="55432"/>
                    <a:pt x="28976" y="55432"/>
                    <a:pt x="31496" y="55432"/>
                  </a:cubicBezTo>
                  <a:cubicBezTo>
                    <a:pt x="35275" y="55432"/>
                    <a:pt x="37795" y="55432"/>
                    <a:pt x="41574" y="55432"/>
                  </a:cubicBezTo>
                  <a:cubicBezTo>
                    <a:pt x="46614" y="55432"/>
                    <a:pt x="52913" y="55432"/>
                    <a:pt x="57952" y="55432"/>
                  </a:cubicBezTo>
                  <a:cubicBezTo>
                    <a:pt x="64251" y="55432"/>
                    <a:pt x="70550" y="55432"/>
                    <a:pt x="75589" y="55432"/>
                  </a:cubicBezTo>
                  <a:cubicBezTo>
                    <a:pt x="75589" y="55432"/>
                    <a:pt x="75589" y="55432"/>
                    <a:pt x="74330" y="55432"/>
                  </a:cubicBezTo>
                  <a:cubicBezTo>
                    <a:pt x="78109" y="55432"/>
                    <a:pt x="80629" y="55432"/>
                    <a:pt x="84408" y="55432"/>
                  </a:cubicBezTo>
                  <a:cubicBezTo>
                    <a:pt x="88188" y="55432"/>
                    <a:pt x="90707" y="55432"/>
                    <a:pt x="94487" y="55432"/>
                  </a:cubicBezTo>
                  <a:cubicBezTo>
                    <a:pt x="98266" y="55432"/>
                    <a:pt x="102046" y="55432"/>
                    <a:pt x="105825" y="55432"/>
                  </a:cubicBezTo>
                  <a:lnTo>
                    <a:pt x="104566" y="55432"/>
                  </a:lnTo>
                  <a:cubicBezTo>
                    <a:pt x="108345" y="55432"/>
                    <a:pt x="110865" y="55432"/>
                    <a:pt x="114644" y="55432"/>
                  </a:cubicBezTo>
                  <a:cubicBezTo>
                    <a:pt x="118424" y="55432"/>
                    <a:pt x="122203" y="55432"/>
                    <a:pt x="124723" y="55432"/>
                  </a:cubicBezTo>
                  <a:cubicBezTo>
                    <a:pt x="128502" y="55432"/>
                    <a:pt x="131022" y="55432"/>
                    <a:pt x="134801" y="54172"/>
                  </a:cubicBezTo>
                  <a:cubicBezTo>
                    <a:pt x="138581" y="54172"/>
                    <a:pt x="141100" y="54172"/>
                    <a:pt x="144880" y="54172"/>
                  </a:cubicBezTo>
                  <a:cubicBezTo>
                    <a:pt x="148659" y="54172"/>
                    <a:pt x="152439" y="54172"/>
                    <a:pt x="156218" y="54172"/>
                  </a:cubicBezTo>
                  <a:cubicBezTo>
                    <a:pt x="158738" y="54172"/>
                    <a:pt x="159998" y="54172"/>
                    <a:pt x="162518" y="54172"/>
                  </a:cubicBezTo>
                  <a:cubicBezTo>
                    <a:pt x="163777" y="54172"/>
                    <a:pt x="166297" y="54172"/>
                    <a:pt x="167557" y="54172"/>
                  </a:cubicBezTo>
                  <a:cubicBezTo>
                    <a:pt x="175116" y="54172"/>
                    <a:pt x="182674" y="55432"/>
                    <a:pt x="190233" y="55432"/>
                  </a:cubicBezTo>
                  <a:cubicBezTo>
                    <a:pt x="194013" y="55432"/>
                    <a:pt x="197792" y="55432"/>
                    <a:pt x="201572" y="55432"/>
                  </a:cubicBezTo>
                  <a:cubicBezTo>
                    <a:pt x="205351" y="55432"/>
                    <a:pt x="210391" y="55432"/>
                    <a:pt x="214170" y="54172"/>
                  </a:cubicBezTo>
                  <a:cubicBezTo>
                    <a:pt x="215430" y="54172"/>
                    <a:pt x="217950" y="54172"/>
                    <a:pt x="219210" y="54172"/>
                  </a:cubicBezTo>
                  <a:cubicBezTo>
                    <a:pt x="220469" y="54172"/>
                    <a:pt x="220469" y="54172"/>
                    <a:pt x="221729" y="54172"/>
                  </a:cubicBezTo>
                  <a:cubicBezTo>
                    <a:pt x="222989" y="54172"/>
                    <a:pt x="224249" y="54172"/>
                    <a:pt x="225509" y="52913"/>
                  </a:cubicBezTo>
                  <a:cubicBezTo>
                    <a:pt x="226768" y="52913"/>
                    <a:pt x="226768" y="51653"/>
                    <a:pt x="228028" y="51653"/>
                  </a:cubicBezTo>
                  <a:cubicBezTo>
                    <a:pt x="229288" y="50393"/>
                    <a:pt x="229288" y="50393"/>
                    <a:pt x="230548" y="49133"/>
                  </a:cubicBezTo>
                  <a:cubicBezTo>
                    <a:pt x="230548" y="47873"/>
                    <a:pt x="231808" y="47873"/>
                    <a:pt x="233067" y="46614"/>
                  </a:cubicBezTo>
                  <a:cubicBezTo>
                    <a:pt x="234327" y="45354"/>
                    <a:pt x="235587" y="42834"/>
                    <a:pt x="236847" y="41574"/>
                  </a:cubicBezTo>
                  <a:cubicBezTo>
                    <a:pt x="238107" y="40315"/>
                    <a:pt x="238107" y="39055"/>
                    <a:pt x="238107" y="39055"/>
                  </a:cubicBezTo>
                  <a:cubicBezTo>
                    <a:pt x="238107" y="37795"/>
                    <a:pt x="236847" y="36535"/>
                    <a:pt x="236847" y="36535"/>
                  </a:cubicBezTo>
                  <a:cubicBezTo>
                    <a:pt x="235587" y="36535"/>
                    <a:pt x="234327" y="35275"/>
                    <a:pt x="234327" y="35275"/>
                  </a:cubicBezTo>
                  <a:cubicBezTo>
                    <a:pt x="233067" y="35275"/>
                    <a:pt x="231808" y="36535"/>
                    <a:pt x="231808" y="36535"/>
                  </a:cubicBezTo>
                  <a:cubicBezTo>
                    <a:pt x="230548" y="37795"/>
                    <a:pt x="229288" y="40315"/>
                    <a:pt x="228028" y="41574"/>
                  </a:cubicBezTo>
                  <a:cubicBezTo>
                    <a:pt x="226768" y="42834"/>
                    <a:pt x="226768" y="42834"/>
                    <a:pt x="226768" y="44094"/>
                  </a:cubicBezTo>
                  <a:cubicBezTo>
                    <a:pt x="226768" y="45354"/>
                    <a:pt x="225509" y="45354"/>
                    <a:pt x="225509" y="46614"/>
                  </a:cubicBezTo>
                  <a:cubicBezTo>
                    <a:pt x="225509" y="46614"/>
                    <a:pt x="225509" y="46614"/>
                    <a:pt x="224249" y="46614"/>
                  </a:cubicBezTo>
                  <a:cubicBezTo>
                    <a:pt x="224249" y="46614"/>
                    <a:pt x="222989" y="46614"/>
                    <a:pt x="222989" y="46614"/>
                  </a:cubicBezTo>
                  <a:cubicBezTo>
                    <a:pt x="220469" y="47873"/>
                    <a:pt x="216690" y="47873"/>
                    <a:pt x="214170" y="47873"/>
                  </a:cubicBezTo>
                  <a:cubicBezTo>
                    <a:pt x="210391" y="47873"/>
                    <a:pt x="206611" y="47873"/>
                    <a:pt x="204092" y="47873"/>
                  </a:cubicBezTo>
                  <a:cubicBezTo>
                    <a:pt x="197792" y="47873"/>
                    <a:pt x="190233" y="47873"/>
                    <a:pt x="183934" y="47873"/>
                  </a:cubicBezTo>
                  <a:cubicBezTo>
                    <a:pt x="178895" y="47873"/>
                    <a:pt x="173856" y="47873"/>
                    <a:pt x="168817" y="47873"/>
                  </a:cubicBezTo>
                  <a:cubicBezTo>
                    <a:pt x="163777" y="47873"/>
                    <a:pt x="157478" y="47873"/>
                    <a:pt x="152439" y="47873"/>
                  </a:cubicBezTo>
                  <a:lnTo>
                    <a:pt x="153699" y="47873"/>
                  </a:lnTo>
                  <a:cubicBezTo>
                    <a:pt x="152439" y="47873"/>
                    <a:pt x="152439" y="47873"/>
                    <a:pt x="151179" y="47873"/>
                  </a:cubicBezTo>
                  <a:cubicBezTo>
                    <a:pt x="147399" y="47873"/>
                    <a:pt x="142360" y="47873"/>
                    <a:pt x="138581" y="47873"/>
                  </a:cubicBezTo>
                  <a:cubicBezTo>
                    <a:pt x="134801" y="47873"/>
                    <a:pt x="131022" y="47873"/>
                    <a:pt x="125982" y="49133"/>
                  </a:cubicBezTo>
                  <a:cubicBezTo>
                    <a:pt x="122203" y="49133"/>
                    <a:pt x="118424" y="49133"/>
                    <a:pt x="113384" y="49133"/>
                  </a:cubicBezTo>
                  <a:cubicBezTo>
                    <a:pt x="109605" y="49133"/>
                    <a:pt x="105825" y="49133"/>
                    <a:pt x="102046" y="49133"/>
                  </a:cubicBezTo>
                  <a:cubicBezTo>
                    <a:pt x="98266" y="49133"/>
                    <a:pt x="94487" y="49133"/>
                    <a:pt x="91967" y="49133"/>
                  </a:cubicBezTo>
                  <a:cubicBezTo>
                    <a:pt x="88188" y="49133"/>
                    <a:pt x="84408" y="49133"/>
                    <a:pt x="80629" y="49133"/>
                  </a:cubicBezTo>
                  <a:cubicBezTo>
                    <a:pt x="80629" y="49133"/>
                    <a:pt x="80629" y="49133"/>
                    <a:pt x="81889" y="49133"/>
                  </a:cubicBezTo>
                  <a:cubicBezTo>
                    <a:pt x="76849" y="49133"/>
                    <a:pt x="71810" y="49133"/>
                    <a:pt x="66771" y="49133"/>
                  </a:cubicBezTo>
                  <a:cubicBezTo>
                    <a:pt x="64251" y="49133"/>
                    <a:pt x="61732" y="49133"/>
                    <a:pt x="59212" y="49133"/>
                  </a:cubicBezTo>
                  <a:cubicBezTo>
                    <a:pt x="56692" y="49133"/>
                    <a:pt x="55433" y="49133"/>
                    <a:pt x="52913" y="49133"/>
                  </a:cubicBezTo>
                  <a:cubicBezTo>
                    <a:pt x="49133" y="49133"/>
                    <a:pt x="45354" y="49133"/>
                    <a:pt x="41574" y="49133"/>
                  </a:cubicBezTo>
                  <a:cubicBezTo>
                    <a:pt x="39055" y="49133"/>
                    <a:pt x="37795" y="49133"/>
                    <a:pt x="35275" y="49133"/>
                  </a:cubicBezTo>
                  <a:cubicBezTo>
                    <a:pt x="34015" y="49133"/>
                    <a:pt x="31496" y="49133"/>
                    <a:pt x="30236" y="49133"/>
                  </a:cubicBezTo>
                  <a:cubicBezTo>
                    <a:pt x="28976" y="49133"/>
                    <a:pt x="26456" y="49133"/>
                    <a:pt x="25196" y="49133"/>
                  </a:cubicBezTo>
                  <a:cubicBezTo>
                    <a:pt x="22677" y="49133"/>
                    <a:pt x="21417" y="49133"/>
                    <a:pt x="18897" y="49133"/>
                  </a:cubicBezTo>
                  <a:cubicBezTo>
                    <a:pt x="17638" y="49133"/>
                    <a:pt x="17638" y="49133"/>
                    <a:pt x="16378" y="49133"/>
                  </a:cubicBezTo>
                  <a:cubicBezTo>
                    <a:pt x="17638" y="49133"/>
                    <a:pt x="17638" y="47873"/>
                    <a:pt x="18897" y="47873"/>
                  </a:cubicBezTo>
                  <a:cubicBezTo>
                    <a:pt x="21417" y="46614"/>
                    <a:pt x="23937" y="45354"/>
                    <a:pt x="26456" y="42834"/>
                  </a:cubicBezTo>
                  <a:cubicBezTo>
                    <a:pt x="28976" y="41574"/>
                    <a:pt x="32755" y="40315"/>
                    <a:pt x="35275" y="39055"/>
                  </a:cubicBezTo>
                  <a:cubicBezTo>
                    <a:pt x="41574" y="36535"/>
                    <a:pt x="47874" y="34015"/>
                    <a:pt x="54173" y="31496"/>
                  </a:cubicBezTo>
                  <a:cubicBezTo>
                    <a:pt x="61732" y="27716"/>
                    <a:pt x="69290" y="25196"/>
                    <a:pt x="78109" y="22677"/>
                  </a:cubicBezTo>
                  <a:cubicBezTo>
                    <a:pt x="85668" y="20157"/>
                    <a:pt x="93227" y="16378"/>
                    <a:pt x="100786" y="12598"/>
                  </a:cubicBezTo>
                  <a:cubicBezTo>
                    <a:pt x="103306" y="11338"/>
                    <a:pt x="103306" y="8819"/>
                    <a:pt x="103306" y="7559"/>
                  </a:cubicBezTo>
                  <a:cubicBezTo>
                    <a:pt x="100786" y="1260"/>
                    <a:pt x="100786" y="1260"/>
                    <a:pt x="99526" y="0"/>
                  </a:cubicBezTo>
                  <a:moveTo>
                    <a:pt x="17638" y="44094"/>
                  </a:moveTo>
                  <a:cubicBezTo>
                    <a:pt x="16378" y="44094"/>
                    <a:pt x="16378" y="44094"/>
                    <a:pt x="17638" y="44094"/>
                  </a:cubicBezTo>
                  <a:cubicBezTo>
                    <a:pt x="16378" y="44094"/>
                    <a:pt x="16378" y="44094"/>
                    <a:pt x="17638" y="44094"/>
                  </a:cubicBezTo>
                  <a:moveTo>
                    <a:pt x="7559" y="44094"/>
                  </a:moveTo>
                  <a:cubicBezTo>
                    <a:pt x="7559" y="44094"/>
                    <a:pt x="7559" y="44094"/>
                    <a:pt x="7559" y="44094"/>
                  </a:cubicBezTo>
                  <a:cubicBezTo>
                    <a:pt x="7559" y="44094"/>
                    <a:pt x="7559" y="44094"/>
                    <a:pt x="7559" y="44094"/>
                  </a:cubicBezTo>
                  <a:moveTo>
                    <a:pt x="85668" y="54172"/>
                  </a:moveTo>
                  <a:cubicBezTo>
                    <a:pt x="85668" y="54172"/>
                    <a:pt x="85668" y="54172"/>
                    <a:pt x="85668" y="54172"/>
                  </a:cubicBezTo>
                  <a:cubicBezTo>
                    <a:pt x="85668" y="54172"/>
                    <a:pt x="85668" y="54172"/>
                    <a:pt x="85668" y="54172"/>
                  </a:cubicBezTo>
                </a:path>
              </a:pathLst>
            </a:custGeom>
            <a:solidFill>
              <a:srgbClr val="001675"/>
            </a:solidFill>
            <a:ln w="12584" cap="flat">
              <a:noFill/>
              <a:prstDash val="solid"/>
              <a:miter/>
            </a:ln>
          </p:spPr>
          <p:txBody>
            <a:bodyPr rtlCol="0" anchor="ctr"/>
            <a:lstStyle/>
            <a:p>
              <a:endParaRPr lang="zh-CN" altLang="en-US"/>
            </a:p>
          </p:txBody>
        </p:sp>
        <p:sp>
          <p:nvSpPr>
            <p:cNvPr id="10229" name="任意多边形: 形状 10228"/>
            <p:cNvSpPr/>
            <p:nvPr/>
          </p:nvSpPr>
          <p:spPr>
            <a:xfrm>
              <a:off x="4739676" y="4654807"/>
              <a:ext cx="201572" cy="50393"/>
            </a:xfrm>
            <a:custGeom>
              <a:avLst/>
              <a:gdLst>
                <a:gd name="connsiteX0" fmla="*/ 191987 w 201571"/>
                <a:gd name="connsiteY0" fmla="*/ 2520 h 50392"/>
                <a:gd name="connsiteX1" fmla="*/ 198286 w 201571"/>
                <a:gd name="connsiteY1" fmla="*/ 3780 h 50392"/>
                <a:gd name="connsiteX2" fmla="*/ 204585 w 201571"/>
                <a:gd name="connsiteY2" fmla="*/ 5040 h 50392"/>
                <a:gd name="connsiteX3" fmla="*/ 208365 w 201571"/>
                <a:gd name="connsiteY3" fmla="*/ 6299 h 50392"/>
                <a:gd name="connsiteX4" fmla="*/ 209625 w 201571"/>
                <a:gd name="connsiteY4" fmla="*/ 8819 h 50392"/>
                <a:gd name="connsiteX5" fmla="*/ 209625 w 201571"/>
                <a:gd name="connsiteY5" fmla="*/ 10079 h 50392"/>
                <a:gd name="connsiteX6" fmla="*/ 210885 w 201571"/>
                <a:gd name="connsiteY6" fmla="*/ 16378 h 50392"/>
                <a:gd name="connsiteX7" fmla="*/ 210885 w 201571"/>
                <a:gd name="connsiteY7" fmla="*/ 23937 h 50392"/>
                <a:gd name="connsiteX8" fmla="*/ 210885 w 201571"/>
                <a:gd name="connsiteY8" fmla="*/ 28976 h 50392"/>
                <a:gd name="connsiteX9" fmla="*/ 209625 w 201571"/>
                <a:gd name="connsiteY9" fmla="*/ 34015 h 50392"/>
                <a:gd name="connsiteX10" fmla="*/ 205845 w 201571"/>
                <a:gd name="connsiteY10" fmla="*/ 37795 h 50392"/>
                <a:gd name="connsiteX11" fmla="*/ 202066 w 201571"/>
                <a:gd name="connsiteY11" fmla="*/ 36535 h 50392"/>
                <a:gd name="connsiteX12" fmla="*/ 200806 w 201571"/>
                <a:gd name="connsiteY12" fmla="*/ 34015 h 50392"/>
                <a:gd name="connsiteX13" fmla="*/ 200806 w 201571"/>
                <a:gd name="connsiteY13" fmla="*/ 23937 h 50392"/>
                <a:gd name="connsiteX14" fmla="*/ 200806 w 201571"/>
                <a:gd name="connsiteY14" fmla="*/ 15118 h 50392"/>
                <a:gd name="connsiteX15" fmla="*/ 200806 w 201571"/>
                <a:gd name="connsiteY15" fmla="*/ 13858 h 50392"/>
                <a:gd name="connsiteX16" fmla="*/ 200806 w 201571"/>
                <a:gd name="connsiteY16" fmla="*/ 13858 h 50392"/>
                <a:gd name="connsiteX17" fmla="*/ 194507 w 201571"/>
                <a:gd name="connsiteY17" fmla="*/ 12598 h 50392"/>
                <a:gd name="connsiteX18" fmla="*/ 186948 w 201571"/>
                <a:gd name="connsiteY18" fmla="*/ 11339 h 50392"/>
                <a:gd name="connsiteX19" fmla="*/ 179389 w 201571"/>
                <a:gd name="connsiteY19" fmla="*/ 11339 h 50392"/>
                <a:gd name="connsiteX20" fmla="*/ 171830 w 201571"/>
                <a:gd name="connsiteY20" fmla="*/ 11339 h 50392"/>
                <a:gd name="connsiteX21" fmla="*/ 157972 w 201571"/>
                <a:gd name="connsiteY21" fmla="*/ 11339 h 50392"/>
                <a:gd name="connsiteX22" fmla="*/ 145374 w 201571"/>
                <a:gd name="connsiteY22" fmla="*/ 11339 h 50392"/>
                <a:gd name="connsiteX23" fmla="*/ 142854 w 201571"/>
                <a:gd name="connsiteY23" fmla="*/ 11339 h 50392"/>
                <a:gd name="connsiteX24" fmla="*/ 127736 w 201571"/>
                <a:gd name="connsiteY24" fmla="*/ 11339 h 50392"/>
                <a:gd name="connsiteX25" fmla="*/ 118918 w 201571"/>
                <a:gd name="connsiteY25" fmla="*/ 11339 h 50392"/>
                <a:gd name="connsiteX26" fmla="*/ 112618 w 201571"/>
                <a:gd name="connsiteY26" fmla="*/ 11339 h 50392"/>
                <a:gd name="connsiteX27" fmla="*/ 108839 w 201571"/>
                <a:gd name="connsiteY27" fmla="*/ 11339 h 50392"/>
                <a:gd name="connsiteX28" fmla="*/ 97500 w 201571"/>
                <a:gd name="connsiteY28" fmla="*/ 15118 h 50392"/>
                <a:gd name="connsiteX29" fmla="*/ 91201 w 201571"/>
                <a:gd name="connsiteY29" fmla="*/ 17638 h 50392"/>
                <a:gd name="connsiteX30" fmla="*/ 84902 w 201571"/>
                <a:gd name="connsiteY30" fmla="*/ 20157 h 50392"/>
                <a:gd name="connsiteX31" fmla="*/ 78603 w 201571"/>
                <a:gd name="connsiteY31" fmla="*/ 22677 h 50392"/>
                <a:gd name="connsiteX32" fmla="*/ 72304 w 201571"/>
                <a:gd name="connsiteY32" fmla="*/ 25196 h 50392"/>
                <a:gd name="connsiteX33" fmla="*/ 64745 w 201571"/>
                <a:gd name="connsiteY33" fmla="*/ 27716 h 50392"/>
                <a:gd name="connsiteX34" fmla="*/ 58446 w 201571"/>
                <a:gd name="connsiteY34" fmla="*/ 30236 h 50392"/>
                <a:gd name="connsiteX35" fmla="*/ 31990 w 201571"/>
                <a:gd name="connsiteY35" fmla="*/ 41574 h 50392"/>
                <a:gd name="connsiteX36" fmla="*/ 19392 w 201571"/>
                <a:gd name="connsiteY36" fmla="*/ 46614 h 50392"/>
                <a:gd name="connsiteX37" fmla="*/ 5533 w 201571"/>
                <a:gd name="connsiteY37" fmla="*/ 52913 h 50392"/>
                <a:gd name="connsiteX38" fmla="*/ 494 w 201571"/>
                <a:gd name="connsiteY38" fmla="*/ 50393 h 50392"/>
                <a:gd name="connsiteX39" fmla="*/ 3014 w 201571"/>
                <a:gd name="connsiteY39" fmla="*/ 45354 h 50392"/>
                <a:gd name="connsiteX40" fmla="*/ 18132 w 201571"/>
                <a:gd name="connsiteY40" fmla="*/ 37795 h 50392"/>
                <a:gd name="connsiteX41" fmla="*/ 30730 w 201571"/>
                <a:gd name="connsiteY41" fmla="*/ 31496 h 50392"/>
                <a:gd name="connsiteX42" fmla="*/ 44588 w 201571"/>
                <a:gd name="connsiteY42" fmla="*/ 25196 h 50392"/>
                <a:gd name="connsiteX43" fmla="*/ 58446 w 201571"/>
                <a:gd name="connsiteY43" fmla="*/ 18897 h 50392"/>
                <a:gd name="connsiteX44" fmla="*/ 64745 w 201571"/>
                <a:gd name="connsiteY44" fmla="*/ 16378 h 50392"/>
                <a:gd name="connsiteX45" fmla="*/ 71044 w 201571"/>
                <a:gd name="connsiteY45" fmla="*/ 13858 h 50392"/>
                <a:gd name="connsiteX46" fmla="*/ 77344 w 201571"/>
                <a:gd name="connsiteY46" fmla="*/ 11339 h 50392"/>
                <a:gd name="connsiteX47" fmla="*/ 83643 w 201571"/>
                <a:gd name="connsiteY47" fmla="*/ 8819 h 50392"/>
                <a:gd name="connsiteX48" fmla="*/ 89942 w 201571"/>
                <a:gd name="connsiteY48" fmla="*/ 6299 h 50392"/>
                <a:gd name="connsiteX49" fmla="*/ 96241 w 201571"/>
                <a:gd name="connsiteY49" fmla="*/ 3780 h 50392"/>
                <a:gd name="connsiteX50" fmla="*/ 102540 w 201571"/>
                <a:gd name="connsiteY50" fmla="*/ 1260 h 50392"/>
                <a:gd name="connsiteX51" fmla="*/ 110099 w 201571"/>
                <a:gd name="connsiteY51" fmla="*/ 0 h 50392"/>
                <a:gd name="connsiteX52" fmla="*/ 117658 w 201571"/>
                <a:gd name="connsiteY52" fmla="*/ 0 h 50392"/>
                <a:gd name="connsiteX53" fmla="*/ 122697 w 201571"/>
                <a:gd name="connsiteY53" fmla="*/ 0 h 50392"/>
                <a:gd name="connsiteX54" fmla="*/ 131516 w 201571"/>
                <a:gd name="connsiteY54" fmla="*/ 0 h 50392"/>
                <a:gd name="connsiteX55" fmla="*/ 141594 w 201571"/>
                <a:gd name="connsiteY55" fmla="*/ 0 h 50392"/>
                <a:gd name="connsiteX56" fmla="*/ 164271 w 201571"/>
                <a:gd name="connsiteY56" fmla="*/ 0 h 50392"/>
                <a:gd name="connsiteX57" fmla="*/ 171830 w 201571"/>
                <a:gd name="connsiteY57" fmla="*/ 0 h 50392"/>
                <a:gd name="connsiteX58" fmla="*/ 178129 w 201571"/>
                <a:gd name="connsiteY58" fmla="*/ 0 h 50392"/>
                <a:gd name="connsiteX59" fmla="*/ 184429 w 201571"/>
                <a:gd name="connsiteY59" fmla="*/ 0 h 50392"/>
                <a:gd name="connsiteX60" fmla="*/ 186948 w 201571"/>
                <a:gd name="connsiteY60" fmla="*/ 0 h 50392"/>
                <a:gd name="connsiteX61" fmla="*/ 191987 w 201571"/>
                <a:gd name="connsiteY61" fmla="*/ 2520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01571" h="50392">
                  <a:moveTo>
                    <a:pt x="191987" y="2520"/>
                  </a:moveTo>
                  <a:cubicBezTo>
                    <a:pt x="194507" y="2520"/>
                    <a:pt x="195767" y="2520"/>
                    <a:pt x="198286" y="3780"/>
                  </a:cubicBezTo>
                  <a:cubicBezTo>
                    <a:pt x="200806" y="3780"/>
                    <a:pt x="203326" y="3780"/>
                    <a:pt x="204585" y="5040"/>
                  </a:cubicBezTo>
                  <a:cubicBezTo>
                    <a:pt x="205845" y="5040"/>
                    <a:pt x="207105" y="6299"/>
                    <a:pt x="208365" y="6299"/>
                  </a:cubicBezTo>
                  <a:cubicBezTo>
                    <a:pt x="209625" y="7559"/>
                    <a:pt x="209625" y="7559"/>
                    <a:pt x="209625" y="8819"/>
                  </a:cubicBezTo>
                  <a:cubicBezTo>
                    <a:pt x="209625" y="8819"/>
                    <a:pt x="209625" y="8819"/>
                    <a:pt x="209625" y="10079"/>
                  </a:cubicBezTo>
                  <a:cubicBezTo>
                    <a:pt x="210885" y="11339"/>
                    <a:pt x="210885" y="13858"/>
                    <a:pt x="210885" y="16378"/>
                  </a:cubicBezTo>
                  <a:cubicBezTo>
                    <a:pt x="210885" y="18897"/>
                    <a:pt x="210885" y="21417"/>
                    <a:pt x="210885" y="23937"/>
                  </a:cubicBezTo>
                  <a:cubicBezTo>
                    <a:pt x="210885" y="25196"/>
                    <a:pt x="210885" y="27716"/>
                    <a:pt x="210885" y="28976"/>
                  </a:cubicBezTo>
                  <a:cubicBezTo>
                    <a:pt x="210885" y="30236"/>
                    <a:pt x="210885" y="32755"/>
                    <a:pt x="209625" y="34015"/>
                  </a:cubicBezTo>
                  <a:cubicBezTo>
                    <a:pt x="209625" y="36535"/>
                    <a:pt x="208365" y="37795"/>
                    <a:pt x="205845" y="37795"/>
                  </a:cubicBezTo>
                  <a:cubicBezTo>
                    <a:pt x="204585" y="37795"/>
                    <a:pt x="203326" y="37795"/>
                    <a:pt x="202066" y="36535"/>
                  </a:cubicBezTo>
                  <a:cubicBezTo>
                    <a:pt x="200806" y="36535"/>
                    <a:pt x="200806" y="35275"/>
                    <a:pt x="200806" y="34015"/>
                  </a:cubicBezTo>
                  <a:cubicBezTo>
                    <a:pt x="200806" y="30236"/>
                    <a:pt x="200806" y="26456"/>
                    <a:pt x="200806" y="23937"/>
                  </a:cubicBezTo>
                  <a:cubicBezTo>
                    <a:pt x="200806" y="21417"/>
                    <a:pt x="200806" y="18897"/>
                    <a:pt x="200806" y="15118"/>
                  </a:cubicBezTo>
                  <a:cubicBezTo>
                    <a:pt x="200806" y="15118"/>
                    <a:pt x="200806" y="13858"/>
                    <a:pt x="200806" y="13858"/>
                  </a:cubicBezTo>
                  <a:cubicBezTo>
                    <a:pt x="200806" y="13858"/>
                    <a:pt x="200806" y="13858"/>
                    <a:pt x="200806" y="13858"/>
                  </a:cubicBezTo>
                  <a:cubicBezTo>
                    <a:pt x="198286" y="13858"/>
                    <a:pt x="197027" y="12598"/>
                    <a:pt x="194507" y="12598"/>
                  </a:cubicBezTo>
                  <a:cubicBezTo>
                    <a:pt x="191987" y="12598"/>
                    <a:pt x="189468" y="11339"/>
                    <a:pt x="186948" y="11339"/>
                  </a:cubicBezTo>
                  <a:cubicBezTo>
                    <a:pt x="184429" y="11339"/>
                    <a:pt x="181909" y="11339"/>
                    <a:pt x="179389" y="11339"/>
                  </a:cubicBezTo>
                  <a:cubicBezTo>
                    <a:pt x="176870" y="11339"/>
                    <a:pt x="174350" y="11339"/>
                    <a:pt x="171830" y="11339"/>
                  </a:cubicBezTo>
                  <a:cubicBezTo>
                    <a:pt x="166791" y="11339"/>
                    <a:pt x="163011" y="11339"/>
                    <a:pt x="157972" y="11339"/>
                  </a:cubicBezTo>
                  <a:cubicBezTo>
                    <a:pt x="154192" y="11339"/>
                    <a:pt x="149153" y="11339"/>
                    <a:pt x="145374" y="11339"/>
                  </a:cubicBezTo>
                  <a:cubicBezTo>
                    <a:pt x="144114" y="11339"/>
                    <a:pt x="144114" y="11339"/>
                    <a:pt x="142854" y="11339"/>
                  </a:cubicBezTo>
                  <a:cubicBezTo>
                    <a:pt x="137815" y="11339"/>
                    <a:pt x="132776" y="11339"/>
                    <a:pt x="127736" y="11339"/>
                  </a:cubicBezTo>
                  <a:cubicBezTo>
                    <a:pt x="125217" y="11339"/>
                    <a:pt x="121437" y="11339"/>
                    <a:pt x="118918" y="11339"/>
                  </a:cubicBezTo>
                  <a:cubicBezTo>
                    <a:pt x="116398" y="11339"/>
                    <a:pt x="113878" y="11339"/>
                    <a:pt x="112618" y="11339"/>
                  </a:cubicBezTo>
                  <a:cubicBezTo>
                    <a:pt x="111359" y="11339"/>
                    <a:pt x="110099" y="11339"/>
                    <a:pt x="108839" y="11339"/>
                  </a:cubicBezTo>
                  <a:cubicBezTo>
                    <a:pt x="105059" y="12598"/>
                    <a:pt x="101280" y="13858"/>
                    <a:pt x="97500" y="15118"/>
                  </a:cubicBezTo>
                  <a:cubicBezTo>
                    <a:pt x="94981" y="16378"/>
                    <a:pt x="92461" y="16378"/>
                    <a:pt x="91201" y="17638"/>
                  </a:cubicBezTo>
                  <a:cubicBezTo>
                    <a:pt x="88682" y="18897"/>
                    <a:pt x="87422" y="18897"/>
                    <a:pt x="84902" y="20157"/>
                  </a:cubicBezTo>
                  <a:cubicBezTo>
                    <a:pt x="82383" y="21417"/>
                    <a:pt x="79863" y="21417"/>
                    <a:pt x="78603" y="22677"/>
                  </a:cubicBezTo>
                  <a:cubicBezTo>
                    <a:pt x="76084" y="23937"/>
                    <a:pt x="73564" y="23937"/>
                    <a:pt x="72304" y="25196"/>
                  </a:cubicBezTo>
                  <a:cubicBezTo>
                    <a:pt x="69785" y="26456"/>
                    <a:pt x="67265" y="26456"/>
                    <a:pt x="64745" y="27716"/>
                  </a:cubicBezTo>
                  <a:cubicBezTo>
                    <a:pt x="62226" y="28976"/>
                    <a:pt x="60966" y="28976"/>
                    <a:pt x="58446" y="30236"/>
                  </a:cubicBezTo>
                  <a:cubicBezTo>
                    <a:pt x="49627" y="34015"/>
                    <a:pt x="40808" y="36535"/>
                    <a:pt x="31990" y="41574"/>
                  </a:cubicBezTo>
                  <a:cubicBezTo>
                    <a:pt x="28210" y="42834"/>
                    <a:pt x="24431" y="45354"/>
                    <a:pt x="19392" y="46614"/>
                  </a:cubicBezTo>
                  <a:cubicBezTo>
                    <a:pt x="14352" y="49133"/>
                    <a:pt x="9313" y="51653"/>
                    <a:pt x="5533" y="52913"/>
                  </a:cubicBezTo>
                  <a:cubicBezTo>
                    <a:pt x="3014" y="54173"/>
                    <a:pt x="494" y="52913"/>
                    <a:pt x="494" y="50393"/>
                  </a:cubicBezTo>
                  <a:cubicBezTo>
                    <a:pt x="-766" y="47874"/>
                    <a:pt x="494" y="46614"/>
                    <a:pt x="3014" y="45354"/>
                  </a:cubicBezTo>
                  <a:cubicBezTo>
                    <a:pt x="8053" y="42834"/>
                    <a:pt x="13093" y="40315"/>
                    <a:pt x="18132" y="37795"/>
                  </a:cubicBezTo>
                  <a:cubicBezTo>
                    <a:pt x="23171" y="35275"/>
                    <a:pt x="26951" y="32755"/>
                    <a:pt x="30730" y="31496"/>
                  </a:cubicBezTo>
                  <a:cubicBezTo>
                    <a:pt x="34509" y="28976"/>
                    <a:pt x="39549" y="27716"/>
                    <a:pt x="44588" y="25196"/>
                  </a:cubicBezTo>
                  <a:cubicBezTo>
                    <a:pt x="49627" y="22677"/>
                    <a:pt x="53407" y="21417"/>
                    <a:pt x="58446" y="18897"/>
                  </a:cubicBezTo>
                  <a:cubicBezTo>
                    <a:pt x="60966" y="17638"/>
                    <a:pt x="63485" y="16378"/>
                    <a:pt x="64745" y="16378"/>
                  </a:cubicBezTo>
                  <a:cubicBezTo>
                    <a:pt x="67265" y="15118"/>
                    <a:pt x="69785" y="15118"/>
                    <a:pt x="71044" y="13858"/>
                  </a:cubicBezTo>
                  <a:cubicBezTo>
                    <a:pt x="73564" y="12598"/>
                    <a:pt x="76084" y="12598"/>
                    <a:pt x="77344" y="11339"/>
                  </a:cubicBezTo>
                  <a:cubicBezTo>
                    <a:pt x="79863" y="10079"/>
                    <a:pt x="81123" y="10079"/>
                    <a:pt x="83643" y="8819"/>
                  </a:cubicBezTo>
                  <a:cubicBezTo>
                    <a:pt x="86162" y="7559"/>
                    <a:pt x="88682" y="7559"/>
                    <a:pt x="89942" y="6299"/>
                  </a:cubicBezTo>
                  <a:cubicBezTo>
                    <a:pt x="92461" y="5040"/>
                    <a:pt x="94981" y="5040"/>
                    <a:pt x="96241" y="3780"/>
                  </a:cubicBezTo>
                  <a:cubicBezTo>
                    <a:pt x="98760" y="2520"/>
                    <a:pt x="100020" y="2520"/>
                    <a:pt x="102540" y="1260"/>
                  </a:cubicBezTo>
                  <a:cubicBezTo>
                    <a:pt x="105059" y="0"/>
                    <a:pt x="107579" y="0"/>
                    <a:pt x="110099" y="0"/>
                  </a:cubicBezTo>
                  <a:cubicBezTo>
                    <a:pt x="112618" y="0"/>
                    <a:pt x="115138" y="0"/>
                    <a:pt x="117658" y="0"/>
                  </a:cubicBezTo>
                  <a:cubicBezTo>
                    <a:pt x="118918" y="0"/>
                    <a:pt x="121437" y="0"/>
                    <a:pt x="122697" y="0"/>
                  </a:cubicBezTo>
                  <a:cubicBezTo>
                    <a:pt x="125217" y="0"/>
                    <a:pt x="128996" y="0"/>
                    <a:pt x="131516" y="0"/>
                  </a:cubicBezTo>
                  <a:cubicBezTo>
                    <a:pt x="135295" y="0"/>
                    <a:pt x="137815" y="0"/>
                    <a:pt x="141594" y="0"/>
                  </a:cubicBezTo>
                  <a:cubicBezTo>
                    <a:pt x="149153" y="0"/>
                    <a:pt x="156712" y="0"/>
                    <a:pt x="164271" y="0"/>
                  </a:cubicBezTo>
                  <a:cubicBezTo>
                    <a:pt x="166791" y="0"/>
                    <a:pt x="169311" y="0"/>
                    <a:pt x="171830" y="0"/>
                  </a:cubicBezTo>
                  <a:cubicBezTo>
                    <a:pt x="174350" y="0"/>
                    <a:pt x="176870" y="0"/>
                    <a:pt x="178129" y="0"/>
                  </a:cubicBezTo>
                  <a:cubicBezTo>
                    <a:pt x="180649" y="0"/>
                    <a:pt x="183169" y="0"/>
                    <a:pt x="184429" y="0"/>
                  </a:cubicBezTo>
                  <a:cubicBezTo>
                    <a:pt x="185688" y="0"/>
                    <a:pt x="186948" y="0"/>
                    <a:pt x="186948" y="0"/>
                  </a:cubicBezTo>
                  <a:cubicBezTo>
                    <a:pt x="189468" y="2520"/>
                    <a:pt x="190728" y="2520"/>
                    <a:pt x="191987" y="2520"/>
                  </a:cubicBezTo>
                </a:path>
              </a:pathLst>
            </a:custGeom>
            <a:solidFill>
              <a:srgbClr val="001675"/>
            </a:solidFill>
            <a:ln w="12584" cap="flat">
              <a:noFill/>
              <a:prstDash val="solid"/>
              <a:miter/>
            </a:ln>
          </p:spPr>
          <p:txBody>
            <a:bodyPr rtlCol="0" anchor="ctr"/>
            <a:lstStyle/>
            <a:p>
              <a:endParaRPr lang="zh-CN" altLang="en-US"/>
            </a:p>
          </p:txBody>
        </p:sp>
        <p:sp>
          <p:nvSpPr>
            <p:cNvPr id="10230" name="任意多边形: 形状 10229"/>
            <p:cNvSpPr/>
            <p:nvPr/>
          </p:nvSpPr>
          <p:spPr>
            <a:xfrm>
              <a:off x="4888830" y="2681924"/>
              <a:ext cx="163777" cy="138581"/>
            </a:xfrm>
            <a:custGeom>
              <a:avLst/>
              <a:gdLst>
                <a:gd name="connsiteX0" fmla="*/ 17637 w 163777"/>
                <a:gd name="connsiteY0" fmla="*/ 3780 h 138580"/>
                <a:gd name="connsiteX1" fmla="*/ 18897 w 163777"/>
                <a:gd name="connsiteY1" fmla="*/ 6299 h 138580"/>
                <a:gd name="connsiteX2" fmla="*/ 18897 w 163777"/>
                <a:gd name="connsiteY2" fmla="*/ 8819 h 138580"/>
                <a:gd name="connsiteX3" fmla="*/ 13858 w 163777"/>
                <a:gd name="connsiteY3" fmla="*/ 20157 h 138580"/>
                <a:gd name="connsiteX4" fmla="*/ 11338 w 163777"/>
                <a:gd name="connsiteY4" fmla="*/ 25196 h 138580"/>
                <a:gd name="connsiteX5" fmla="*/ 11338 w 163777"/>
                <a:gd name="connsiteY5" fmla="*/ 26456 h 138580"/>
                <a:gd name="connsiteX6" fmla="*/ 11338 w 163777"/>
                <a:gd name="connsiteY6" fmla="*/ 26456 h 138580"/>
                <a:gd name="connsiteX7" fmla="*/ 11338 w 163777"/>
                <a:gd name="connsiteY7" fmla="*/ 26456 h 138580"/>
                <a:gd name="connsiteX8" fmla="*/ 12598 w 163777"/>
                <a:gd name="connsiteY8" fmla="*/ 26456 h 138580"/>
                <a:gd name="connsiteX9" fmla="*/ 13858 w 163777"/>
                <a:gd name="connsiteY9" fmla="*/ 26456 h 138580"/>
                <a:gd name="connsiteX10" fmla="*/ 13858 w 163777"/>
                <a:gd name="connsiteY10" fmla="*/ 26456 h 138580"/>
                <a:gd name="connsiteX11" fmla="*/ 15118 w 163777"/>
                <a:gd name="connsiteY11" fmla="*/ 26456 h 138580"/>
                <a:gd name="connsiteX12" fmla="*/ 16378 w 163777"/>
                <a:gd name="connsiteY12" fmla="*/ 26456 h 138580"/>
                <a:gd name="connsiteX13" fmla="*/ 21417 w 163777"/>
                <a:gd name="connsiteY13" fmla="*/ 26456 h 138580"/>
                <a:gd name="connsiteX14" fmla="*/ 22677 w 163777"/>
                <a:gd name="connsiteY14" fmla="*/ 26456 h 138580"/>
                <a:gd name="connsiteX15" fmla="*/ 30236 w 163777"/>
                <a:gd name="connsiteY15" fmla="*/ 26456 h 138580"/>
                <a:gd name="connsiteX16" fmla="*/ 30236 w 163777"/>
                <a:gd name="connsiteY16" fmla="*/ 26456 h 138580"/>
                <a:gd name="connsiteX17" fmla="*/ 31496 w 163777"/>
                <a:gd name="connsiteY17" fmla="*/ 26456 h 138580"/>
                <a:gd name="connsiteX18" fmla="*/ 32755 w 163777"/>
                <a:gd name="connsiteY18" fmla="*/ 26456 h 138580"/>
                <a:gd name="connsiteX19" fmla="*/ 37795 w 163777"/>
                <a:gd name="connsiteY19" fmla="*/ 26456 h 138580"/>
                <a:gd name="connsiteX20" fmla="*/ 42834 w 163777"/>
                <a:gd name="connsiteY20" fmla="*/ 26456 h 138580"/>
                <a:gd name="connsiteX21" fmla="*/ 52913 w 163777"/>
                <a:gd name="connsiteY21" fmla="*/ 26456 h 138580"/>
                <a:gd name="connsiteX22" fmla="*/ 64251 w 163777"/>
                <a:gd name="connsiteY22" fmla="*/ 26456 h 138580"/>
                <a:gd name="connsiteX23" fmla="*/ 68030 w 163777"/>
                <a:gd name="connsiteY23" fmla="*/ 26456 h 138580"/>
                <a:gd name="connsiteX24" fmla="*/ 74329 w 163777"/>
                <a:gd name="connsiteY24" fmla="*/ 26456 h 138580"/>
                <a:gd name="connsiteX25" fmla="*/ 84408 w 163777"/>
                <a:gd name="connsiteY25" fmla="*/ 26456 h 138580"/>
                <a:gd name="connsiteX26" fmla="*/ 85668 w 163777"/>
                <a:gd name="connsiteY26" fmla="*/ 26456 h 138580"/>
                <a:gd name="connsiteX27" fmla="*/ 98266 w 163777"/>
                <a:gd name="connsiteY27" fmla="*/ 26456 h 138580"/>
                <a:gd name="connsiteX28" fmla="*/ 105825 w 163777"/>
                <a:gd name="connsiteY28" fmla="*/ 26456 h 138580"/>
                <a:gd name="connsiteX29" fmla="*/ 120943 w 163777"/>
                <a:gd name="connsiteY29" fmla="*/ 27716 h 138580"/>
                <a:gd name="connsiteX30" fmla="*/ 125982 w 163777"/>
                <a:gd name="connsiteY30" fmla="*/ 28976 h 138580"/>
                <a:gd name="connsiteX31" fmla="*/ 127242 w 163777"/>
                <a:gd name="connsiteY31" fmla="*/ 28976 h 138580"/>
                <a:gd name="connsiteX32" fmla="*/ 128502 w 163777"/>
                <a:gd name="connsiteY32" fmla="*/ 28976 h 138580"/>
                <a:gd name="connsiteX33" fmla="*/ 132281 w 163777"/>
                <a:gd name="connsiteY33" fmla="*/ 30236 h 138580"/>
                <a:gd name="connsiteX34" fmla="*/ 134801 w 163777"/>
                <a:gd name="connsiteY34" fmla="*/ 31496 h 138580"/>
                <a:gd name="connsiteX35" fmla="*/ 137321 w 163777"/>
                <a:gd name="connsiteY35" fmla="*/ 32755 h 138580"/>
                <a:gd name="connsiteX36" fmla="*/ 139840 w 163777"/>
                <a:gd name="connsiteY36" fmla="*/ 35275 h 138580"/>
                <a:gd name="connsiteX37" fmla="*/ 143620 w 163777"/>
                <a:gd name="connsiteY37" fmla="*/ 39055 h 138580"/>
                <a:gd name="connsiteX38" fmla="*/ 146140 w 163777"/>
                <a:gd name="connsiteY38" fmla="*/ 42834 h 138580"/>
                <a:gd name="connsiteX39" fmla="*/ 146140 w 163777"/>
                <a:gd name="connsiteY39" fmla="*/ 42834 h 138580"/>
                <a:gd name="connsiteX40" fmla="*/ 148659 w 163777"/>
                <a:gd name="connsiteY40" fmla="*/ 46613 h 138580"/>
                <a:gd name="connsiteX41" fmla="*/ 151179 w 163777"/>
                <a:gd name="connsiteY41" fmla="*/ 51653 h 138580"/>
                <a:gd name="connsiteX42" fmla="*/ 152439 w 163777"/>
                <a:gd name="connsiteY42" fmla="*/ 55432 h 138580"/>
                <a:gd name="connsiteX43" fmla="*/ 156218 w 163777"/>
                <a:gd name="connsiteY43" fmla="*/ 65511 h 138580"/>
                <a:gd name="connsiteX44" fmla="*/ 159998 w 163777"/>
                <a:gd name="connsiteY44" fmla="*/ 76849 h 138580"/>
                <a:gd name="connsiteX45" fmla="*/ 163777 w 163777"/>
                <a:gd name="connsiteY45" fmla="*/ 97006 h 138580"/>
                <a:gd name="connsiteX46" fmla="*/ 163777 w 163777"/>
                <a:gd name="connsiteY46" fmla="*/ 98266 h 138580"/>
                <a:gd name="connsiteX47" fmla="*/ 166297 w 163777"/>
                <a:gd name="connsiteY47" fmla="*/ 119683 h 138580"/>
                <a:gd name="connsiteX48" fmla="*/ 166297 w 163777"/>
                <a:gd name="connsiteY48" fmla="*/ 120943 h 138580"/>
                <a:gd name="connsiteX49" fmla="*/ 166297 w 163777"/>
                <a:gd name="connsiteY49" fmla="*/ 123463 h 138580"/>
                <a:gd name="connsiteX50" fmla="*/ 165037 w 163777"/>
                <a:gd name="connsiteY50" fmla="*/ 125982 h 138580"/>
                <a:gd name="connsiteX51" fmla="*/ 163777 w 163777"/>
                <a:gd name="connsiteY51" fmla="*/ 127242 h 138580"/>
                <a:gd name="connsiteX52" fmla="*/ 163777 w 163777"/>
                <a:gd name="connsiteY52" fmla="*/ 127242 h 138580"/>
                <a:gd name="connsiteX53" fmla="*/ 162517 w 163777"/>
                <a:gd name="connsiteY53" fmla="*/ 128502 h 138580"/>
                <a:gd name="connsiteX54" fmla="*/ 159998 w 163777"/>
                <a:gd name="connsiteY54" fmla="*/ 131022 h 138580"/>
                <a:gd name="connsiteX55" fmla="*/ 154958 w 163777"/>
                <a:gd name="connsiteY55" fmla="*/ 133541 h 138580"/>
                <a:gd name="connsiteX56" fmla="*/ 151179 w 163777"/>
                <a:gd name="connsiteY56" fmla="*/ 134801 h 138580"/>
                <a:gd name="connsiteX57" fmla="*/ 149919 w 163777"/>
                <a:gd name="connsiteY57" fmla="*/ 134801 h 138580"/>
                <a:gd name="connsiteX58" fmla="*/ 148659 w 163777"/>
                <a:gd name="connsiteY58" fmla="*/ 134801 h 138580"/>
                <a:gd name="connsiteX59" fmla="*/ 144880 w 163777"/>
                <a:gd name="connsiteY59" fmla="*/ 136061 h 138580"/>
                <a:gd name="connsiteX60" fmla="*/ 141100 w 163777"/>
                <a:gd name="connsiteY60" fmla="*/ 137321 h 138580"/>
                <a:gd name="connsiteX61" fmla="*/ 139840 w 163777"/>
                <a:gd name="connsiteY61" fmla="*/ 137321 h 138580"/>
                <a:gd name="connsiteX62" fmla="*/ 137321 w 163777"/>
                <a:gd name="connsiteY62" fmla="*/ 138581 h 138580"/>
                <a:gd name="connsiteX63" fmla="*/ 129762 w 163777"/>
                <a:gd name="connsiteY63" fmla="*/ 141100 h 138580"/>
                <a:gd name="connsiteX64" fmla="*/ 122203 w 163777"/>
                <a:gd name="connsiteY64" fmla="*/ 143620 h 138580"/>
                <a:gd name="connsiteX65" fmla="*/ 124722 w 163777"/>
                <a:gd name="connsiteY65" fmla="*/ 124723 h 138580"/>
                <a:gd name="connsiteX66" fmla="*/ 124722 w 163777"/>
                <a:gd name="connsiteY66" fmla="*/ 119683 h 138580"/>
                <a:gd name="connsiteX67" fmla="*/ 120943 w 163777"/>
                <a:gd name="connsiteY67" fmla="*/ 119683 h 138580"/>
                <a:gd name="connsiteX68" fmla="*/ 115904 w 163777"/>
                <a:gd name="connsiteY68" fmla="*/ 119683 h 138580"/>
                <a:gd name="connsiteX69" fmla="*/ 100786 w 163777"/>
                <a:gd name="connsiteY69" fmla="*/ 117164 h 138580"/>
                <a:gd name="connsiteX70" fmla="*/ 97007 w 163777"/>
                <a:gd name="connsiteY70" fmla="*/ 115904 h 138580"/>
                <a:gd name="connsiteX71" fmla="*/ 97007 w 163777"/>
                <a:gd name="connsiteY71" fmla="*/ 115904 h 138580"/>
                <a:gd name="connsiteX72" fmla="*/ 83148 w 163777"/>
                <a:gd name="connsiteY72" fmla="*/ 113384 h 138580"/>
                <a:gd name="connsiteX73" fmla="*/ 64251 w 163777"/>
                <a:gd name="connsiteY73" fmla="*/ 107085 h 138580"/>
                <a:gd name="connsiteX74" fmla="*/ 46614 w 163777"/>
                <a:gd name="connsiteY74" fmla="*/ 98266 h 138580"/>
                <a:gd name="connsiteX75" fmla="*/ 39055 w 163777"/>
                <a:gd name="connsiteY75" fmla="*/ 93227 h 138580"/>
                <a:gd name="connsiteX76" fmla="*/ 31496 w 163777"/>
                <a:gd name="connsiteY76" fmla="*/ 86928 h 138580"/>
                <a:gd name="connsiteX77" fmla="*/ 20157 w 163777"/>
                <a:gd name="connsiteY77" fmla="*/ 71810 h 138580"/>
                <a:gd name="connsiteX78" fmla="*/ 11338 w 163777"/>
                <a:gd name="connsiteY78" fmla="*/ 55432 h 138580"/>
                <a:gd name="connsiteX79" fmla="*/ 3780 w 163777"/>
                <a:gd name="connsiteY79" fmla="*/ 36535 h 138580"/>
                <a:gd name="connsiteX80" fmla="*/ 0 w 163777"/>
                <a:gd name="connsiteY80" fmla="*/ 25196 h 138580"/>
                <a:gd name="connsiteX81" fmla="*/ 0 w 163777"/>
                <a:gd name="connsiteY81" fmla="*/ 25196 h 138580"/>
                <a:gd name="connsiteX82" fmla="*/ 2520 w 163777"/>
                <a:gd name="connsiteY82" fmla="*/ 22677 h 138580"/>
                <a:gd name="connsiteX83" fmla="*/ 5039 w 163777"/>
                <a:gd name="connsiteY83" fmla="*/ 17638 h 138580"/>
                <a:gd name="connsiteX84" fmla="*/ 5039 w 163777"/>
                <a:gd name="connsiteY84" fmla="*/ 17638 h 138580"/>
                <a:gd name="connsiteX85" fmla="*/ 6299 w 163777"/>
                <a:gd name="connsiteY85" fmla="*/ 13858 h 138580"/>
                <a:gd name="connsiteX86" fmla="*/ 6299 w 163777"/>
                <a:gd name="connsiteY86" fmla="*/ 12598 h 138580"/>
                <a:gd name="connsiteX87" fmla="*/ 7559 w 163777"/>
                <a:gd name="connsiteY87" fmla="*/ 10079 h 138580"/>
                <a:gd name="connsiteX88" fmla="*/ 11338 w 163777"/>
                <a:gd name="connsiteY88" fmla="*/ 1260 h 138580"/>
                <a:gd name="connsiteX89" fmla="*/ 13858 w 163777"/>
                <a:gd name="connsiteY89" fmla="*/ 0 h 138580"/>
                <a:gd name="connsiteX90" fmla="*/ 15118 w 163777"/>
                <a:gd name="connsiteY90" fmla="*/ 0 h 138580"/>
                <a:gd name="connsiteX91" fmla="*/ 17637 w 163777"/>
                <a:gd name="connsiteY91" fmla="*/ 378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777" h="138580">
                  <a:moveTo>
                    <a:pt x="17637" y="3780"/>
                  </a:moveTo>
                  <a:cubicBezTo>
                    <a:pt x="18897" y="3780"/>
                    <a:pt x="18897" y="5039"/>
                    <a:pt x="18897" y="6299"/>
                  </a:cubicBezTo>
                  <a:cubicBezTo>
                    <a:pt x="18897" y="7559"/>
                    <a:pt x="18897" y="7559"/>
                    <a:pt x="18897" y="8819"/>
                  </a:cubicBezTo>
                  <a:cubicBezTo>
                    <a:pt x="17637" y="12598"/>
                    <a:pt x="15118" y="16378"/>
                    <a:pt x="13858" y="20157"/>
                  </a:cubicBezTo>
                  <a:cubicBezTo>
                    <a:pt x="12598" y="21417"/>
                    <a:pt x="12598" y="22677"/>
                    <a:pt x="11338" y="25196"/>
                  </a:cubicBezTo>
                  <a:cubicBezTo>
                    <a:pt x="11338" y="25196"/>
                    <a:pt x="11338" y="25196"/>
                    <a:pt x="11338" y="26456"/>
                  </a:cubicBezTo>
                  <a:lnTo>
                    <a:pt x="11338" y="26456"/>
                  </a:lnTo>
                  <a:lnTo>
                    <a:pt x="11338" y="26456"/>
                  </a:lnTo>
                  <a:cubicBezTo>
                    <a:pt x="11338" y="26456"/>
                    <a:pt x="12598" y="26456"/>
                    <a:pt x="12598" y="26456"/>
                  </a:cubicBezTo>
                  <a:cubicBezTo>
                    <a:pt x="12598" y="26456"/>
                    <a:pt x="13858" y="26456"/>
                    <a:pt x="13858" y="26456"/>
                  </a:cubicBezTo>
                  <a:cubicBezTo>
                    <a:pt x="13858" y="26456"/>
                    <a:pt x="13858" y="26456"/>
                    <a:pt x="13858" y="26456"/>
                  </a:cubicBezTo>
                  <a:cubicBezTo>
                    <a:pt x="13858" y="26456"/>
                    <a:pt x="15118" y="26456"/>
                    <a:pt x="15118" y="26456"/>
                  </a:cubicBezTo>
                  <a:cubicBezTo>
                    <a:pt x="15118" y="26456"/>
                    <a:pt x="15118" y="26456"/>
                    <a:pt x="16378" y="26456"/>
                  </a:cubicBezTo>
                  <a:cubicBezTo>
                    <a:pt x="17637" y="26456"/>
                    <a:pt x="20157" y="26456"/>
                    <a:pt x="21417" y="26456"/>
                  </a:cubicBezTo>
                  <a:lnTo>
                    <a:pt x="22677" y="26456"/>
                  </a:lnTo>
                  <a:cubicBezTo>
                    <a:pt x="25196" y="26456"/>
                    <a:pt x="27716" y="26456"/>
                    <a:pt x="30236" y="26456"/>
                  </a:cubicBezTo>
                  <a:lnTo>
                    <a:pt x="30236" y="26456"/>
                  </a:lnTo>
                  <a:cubicBezTo>
                    <a:pt x="30236" y="26456"/>
                    <a:pt x="31496" y="26456"/>
                    <a:pt x="31496" y="26456"/>
                  </a:cubicBezTo>
                  <a:lnTo>
                    <a:pt x="32755" y="26456"/>
                  </a:lnTo>
                  <a:cubicBezTo>
                    <a:pt x="34015" y="26456"/>
                    <a:pt x="36535" y="26456"/>
                    <a:pt x="37795" y="26456"/>
                  </a:cubicBezTo>
                  <a:cubicBezTo>
                    <a:pt x="39055" y="26456"/>
                    <a:pt x="40314" y="26456"/>
                    <a:pt x="42834" y="26456"/>
                  </a:cubicBezTo>
                  <a:cubicBezTo>
                    <a:pt x="46614" y="26456"/>
                    <a:pt x="50393" y="26456"/>
                    <a:pt x="52913" y="26456"/>
                  </a:cubicBezTo>
                  <a:cubicBezTo>
                    <a:pt x="56692" y="26456"/>
                    <a:pt x="60472" y="26456"/>
                    <a:pt x="64251" y="26456"/>
                  </a:cubicBezTo>
                  <a:cubicBezTo>
                    <a:pt x="65511" y="26456"/>
                    <a:pt x="66771" y="26456"/>
                    <a:pt x="68030" y="26456"/>
                  </a:cubicBezTo>
                  <a:cubicBezTo>
                    <a:pt x="70550" y="26456"/>
                    <a:pt x="71810" y="26456"/>
                    <a:pt x="74329" y="26456"/>
                  </a:cubicBezTo>
                  <a:cubicBezTo>
                    <a:pt x="78109" y="26456"/>
                    <a:pt x="80629" y="26456"/>
                    <a:pt x="84408" y="26456"/>
                  </a:cubicBezTo>
                  <a:lnTo>
                    <a:pt x="85668" y="26456"/>
                  </a:lnTo>
                  <a:cubicBezTo>
                    <a:pt x="89448" y="26456"/>
                    <a:pt x="93227" y="26456"/>
                    <a:pt x="98266" y="26456"/>
                  </a:cubicBezTo>
                  <a:cubicBezTo>
                    <a:pt x="100786" y="26456"/>
                    <a:pt x="103306" y="26456"/>
                    <a:pt x="105825" y="26456"/>
                  </a:cubicBezTo>
                  <a:cubicBezTo>
                    <a:pt x="110865" y="26456"/>
                    <a:pt x="115904" y="27716"/>
                    <a:pt x="120943" y="27716"/>
                  </a:cubicBezTo>
                  <a:cubicBezTo>
                    <a:pt x="122203" y="27716"/>
                    <a:pt x="124722" y="27716"/>
                    <a:pt x="125982" y="28976"/>
                  </a:cubicBezTo>
                  <a:lnTo>
                    <a:pt x="127242" y="28976"/>
                  </a:lnTo>
                  <a:cubicBezTo>
                    <a:pt x="127242" y="28976"/>
                    <a:pt x="128502" y="28976"/>
                    <a:pt x="128502" y="28976"/>
                  </a:cubicBezTo>
                  <a:cubicBezTo>
                    <a:pt x="129762" y="28976"/>
                    <a:pt x="131022" y="28976"/>
                    <a:pt x="132281" y="30236"/>
                  </a:cubicBezTo>
                  <a:cubicBezTo>
                    <a:pt x="133541" y="30236"/>
                    <a:pt x="133541" y="30236"/>
                    <a:pt x="134801" y="31496"/>
                  </a:cubicBezTo>
                  <a:cubicBezTo>
                    <a:pt x="136061" y="31496"/>
                    <a:pt x="137321" y="32755"/>
                    <a:pt x="137321" y="32755"/>
                  </a:cubicBezTo>
                  <a:cubicBezTo>
                    <a:pt x="138581" y="32755"/>
                    <a:pt x="139840" y="34015"/>
                    <a:pt x="139840" y="35275"/>
                  </a:cubicBezTo>
                  <a:cubicBezTo>
                    <a:pt x="141100" y="36535"/>
                    <a:pt x="142360" y="37795"/>
                    <a:pt x="143620" y="39055"/>
                  </a:cubicBezTo>
                  <a:cubicBezTo>
                    <a:pt x="144880" y="40314"/>
                    <a:pt x="144880" y="41574"/>
                    <a:pt x="146140" y="42834"/>
                  </a:cubicBezTo>
                  <a:lnTo>
                    <a:pt x="146140" y="42834"/>
                  </a:lnTo>
                  <a:cubicBezTo>
                    <a:pt x="147399" y="44094"/>
                    <a:pt x="147399" y="45354"/>
                    <a:pt x="148659" y="46613"/>
                  </a:cubicBezTo>
                  <a:cubicBezTo>
                    <a:pt x="149919" y="47873"/>
                    <a:pt x="149919" y="50393"/>
                    <a:pt x="151179" y="51653"/>
                  </a:cubicBezTo>
                  <a:cubicBezTo>
                    <a:pt x="151179" y="52913"/>
                    <a:pt x="152439" y="54172"/>
                    <a:pt x="152439" y="55432"/>
                  </a:cubicBezTo>
                  <a:cubicBezTo>
                    <a:pt x="153699" y="59212"/>
                    <a:pt x="154958" y="61731"/>
                    <a:pt x="156218" y="65511"/>
                  </a:cubicBezTo>
                  <a:cubicBezTo>
                    <a:pt x="157478" y="69290"/>
                    <a:pt x="158738" y="73070"/>
                    <a:pt x="159998" y="76849"/>
                  </a:cubicBezTo>
                  <a:cubicBezTo>
                    <a:pt x="161258" y="83148"/>
                    <a:pt x="162517" y="89448"/>
                    <a:pt x="163777" y="97006"/>
                  </a:cubicBezTo>
                  <a:lnTo>
                    <a:pt x="163777" y="98266"/>
                  </a:lnTo>
                  <a:cubicBezTo>
                    <a:pt x="165037" y="104565"/>
                    <a:pt x="166297" y="112124"/>
                    <a:pt x="166297" y="119683"/>
                  </a:cubicBezTo>
                  <a:cubicBezTo>
                    <a:pt x="166297" y="119683"/>
                    <a:pt x="166297" y="120943"/>
                    <a:pt x="166297" y="120943"/>
                  </a:cubicBezTo>
                  <a:cubicBezTo>
                    <a:pt x="166297" y="122203"/>
                    <a:pt x="166297" y="122203"/>
                    <a:pt x="166297" y="123463"/>
                  </a:cubicBezTo>
                  <a:cubicBezTo>
                    <a:pt x="166297" y="124723"/>
                    <a:pt x="165037" y="124723"/>
                    <a:pt x="165037" y="125982"/>
                  </a:cubicBezTo>
                  <a:cubicBezTo>
                    <a:pt x="165037" y="125982"/>
                    <a:pt x="163777" y="127242"/>
                    <a:pt x="163777" y="127242"/>
                  </a:cubicBezTo>
                  <a:lnTo>
                    <a:pt x="163777" y="127242"/>
                  </a:lnTo>
                  <a:cubicBezTo>
                    <a:pt x="163777" y="127242"/>
                    <a:pt x="162517" y="128502"/>
                    <a:pt x="162517" y="128502"/>
                  </a:cubicBezTo>
                  <a:cubicBezTo>
                    <a:pt x="161258" y="129762"/>
                    <a:pt x="161258" y="129762"/>
                    <a:pt x="159998" y="131022"/>
                  </a:cubicBezTo>
                  <a:cubicBezTo>
                    <a:pt x="158738" y="132281"/>
                    <a:pt x="156218" y="132281"/>
                    <a:pt x="154958" y="133541"/>
                  </a:cubicBezTo>
                  <a:cubicBezTo>
                    <a:pt x="153699" y="133541"/>
                    <a:pt x="152439" y="134801"/>
                    <a:pt x="151179" y="134801"/>
                  </a:cubicBezTo>
                  <a:cubicBezTo>
                    <a:pt x="151179" y="134801"/>
                    <a:pt x="149919" y="134801"/>
                    <a:pt x="149919" y="134801"/>
                  </a:cubicBezTo>
                  <a:cubicBezTo>
                    <a:pt x="149919" y="134801"/>
                    <a:pt x="148659" y="134801"/>
                    <a:pt x="148659" y="134801"/>
                  </a:cubicBezTo>
                  <a:cubicBezTo>
                    <a:pt x="147399" y="134801"/>
                    <a:pt x="146140" y="134801"/>
                    <a:pt x="144880" y="136061"/>
                  </a:cubicBezTo>
                  <a:cubicBezTo>
                    <a:pt x="143620" y="136061"/>
                    <a:pt x="142360" y="137321"/>
                    <a:pt x="141100" y="137321"/>
                  </a:cubicBezTo>
                  <a:lnTo>
                    <a:pt x="139840" y="137321"/>
                  </a:lnTo>
                  <a:cubicBezTo>
                    <a:pt x="138581" y="137321"/>
                    <a:pt x="138581" y="138581"/>
                    <a:pt x="137321" y="138581"/>
                  </a:cubicBezTo>
                  <a:cubicBezTo>
                    <a:pt x="134801" y="139840"/>
                    <a:pt x="132281" y="139840"/>
                    <a:pt x="129762" y="141100"/>
                  </a:cubicBezTo>
                  <a:cubicBezTo>
                    <a:pt x="127242" y="142360"/>
                    <a:pt x="124722" y="142360"/>
                    <a:pt x="122203" y="143620"/>
                  </a:cubicBezTo>
                  <a:cubicBezTo>
                    <a:pt x="123463" y="138581"/>
                    <a:pt x="123463" y="132281"/>
                    <a:pt x="124722" y="124723"/>
                  </a:cubicBezTo>
                  <a:cubicBezTo>
                    <a:pt x="124722" y="123463"/>
                    <a:pt x="124722" y="122203"/>
                    <a:pt x="124722" y="119683"/>
                  </a:cubicBezTo>
                  <a:cubicBezTo>
                    <a:pt x="123463" y="119683"/>
                    <a:pt x="122203" y="119683"/>
                    <a:pt x="120943" y="119683"/>
                  </a:cubicBezTo>
                  <a:cubicBezTo>
                    <a:pt x="119683" y="119683"/>
                    <a:pt x="117164" y="119683"/>
                    <a:pt x="115904" y="119683"/>
                  </a:cubicBezTo>
                  <a:cubicBezTo>
                    <a:pt x="110865" y="119683"/>
                    <a:pt x="104566" y="118424"/>
                    <a:pt x="100786" y="117164"/>
                  </a:cubicBezTo>
                  <a:cubicBezTo>
                    <a:pt x="99526" y="117164"/>
                    <a:pt x="98266" y="117164"/>
                    <a:pt x="97007" y="115904"/>
                  </a:cubicBezTo>
                  <a:lnTo>
                    <a:pt x="97007" y="115904"/>
                  </a:lnTo>
                  <a:cubicBezTo>
                    <a:pt x="93227" y="114644"/>
                    <a:pt x="88188" y="114644"/>
                    <a:pt x="83148" y="113384"/>
                  </a:cubicBezTo>
                  <a:cubicBezTo>
                    <a:pt x="76849" y="112124"/>
                    <a:pt x="70550" y="109605"/>
                    <a:pt x="64251" y="107085"/>
                  </a:cubicBezTo>
                  <a:cubicBezTo>
                    <a:pt x="56692" y="103305"/>
                    <a:pt x="51653" y="100786"/>
                    <a:pt x="46614" y="98266"/>
                  </a:cubicBezTo>
                  <a:cubicBezTo>
                    <a:pt x="44094" y="97006"/>
                    <a:pt x="41574" y="94487"/>
                    <a:pt x="39055" y="93227"/>
                  </a:cubicBezTo>
                  <a:cubicBezTo>
                    <a:pt x="36535" y="90707"/>
                    <a:pt x="34015" y="89448"/>
                    <a:pt x="31496" y="86928"/>
                  </a:cubicBezTo>
                  <a:cubicBezTo>
                    <a:pt x="27716" y="83148"/>
                    <a:pt x="23937" y="78109"/>
                    <a:pt x="20157" y="71810"/>
                  </a:cubicBezTo>
                  <a:cubicBezTo>
                    <a:pt x="16378" y="65511"/>
                    <a:pt x="13858" y="60472"/>
                    <a:pt x="11338" y="55432"/>
                  </a:cubicBezTo>
                  <a:cubicBezTo>
                    <a:pt x="8819" y="49133"/>
                    <a:pt x="6299" y="41574"/>
                    <a:pt x="3780" y="36535"/>
                  </a:cubicBezTo>
                  <a:cubicBezTo>
                    <a:pt x="2520" y="32755"/>
                    <a:pt x="1260" y="30236"/>
                    <a:pt x="0" y="25196"/>
                  </a:cubicBezTo>
                  <a:lnTo>
                    <a:pt x="0" y="25196"/>
                  </a:lnTo>
                  <a:cubicBezTo>
                    <a:pt x="1260" y="25196"/>
                    <a:pt x="1260" y="23937"/>
                    <a:pt x="2520" y="22677"/>
                  </a:cubicBezTo>
                  <a:cubicBezTo>
                    <a:pt x="3780" y="21417"/>
                    <a:pt x="3780" y="20157"/>
                    <a:pt x="5039" y="17638"/>
                  </a:cubicBezTo>
                  <a:lnTo>
                    <a:pt x="5039" y="17638"/>
                  </a:lnTo>
                  <a:cubicBezTo>
                    <a:pt x="5039" y="16378"/>
                    <a:pt x="6299" y="15118"/>
                    <a:pt x="6299" y="13858"/>
                  </a:cubicBezTo>
                  <a:lnTo>
                    <a:pt x="6299" y="12598"/>
                  </a:lnTo>
                  <a:lnTo>
                    <a:pt x="7559" y="10079"/>
                  </a:lnTo>
                  <a:lnTo>
                    <a:pt x="11338" y="1260"/>
                  </a:lnTo>
                  <a:cubicBezTo>
                    <a:pt x="11338" y="0"/>
                    <a:pt x="12598" y="0"/>
                    <a:pt x="13858" y="0"/>
                  </a:cubicBezTo>
                  <a:cubicBezTo>
                    <a:pt x="13858" y="0"/>
                    <a:pt x="15118" y="0"/>
                    <a:pt x="15118" y="0"/>
                  </a:cubicBezTo>
                  <a:cubicBezTo>
                    <a:pt x="16378" y="2520"/>
                    <a:pt x="16378" y="2520"/>
                    <a:pt x="17637" y="3780"/>
                  </a:cubicBezTo>
                </a:path>
              </a:pathLst>
            </a:custGeom>
            <a:solidFill>
              <a:srgbClr val="001675"/>
            </a:solidFill>
            <a:ln w="12584" cap="flat">
              <a:noFill/>
              <a:prstDash val="solid"/>
              <a:miter/>
            </a:ln>
          </p:spPr>
          <p:txBody>
            <a:bodyPr rtlCol="0" anchor="ctr"/>
            <a:lstStyle/>
            <a:p>
              <a:endParaRPr lang="zh-CN" altLang="en-US"/>
            </a:p>
          </p:txBody>
        </p:sp>
        <p:sp>
          <p:nvSpPr>
            <p:cNvPr id="10231" name="任意多边形: 形状 10230"/>
            <p:cNvSpPr/>
            <p:nvPr/>
          </p:nvSpPr>
          <p:spPr>
            <a:xfrm>
              <a:off x="5134495" y="3200971"/>
              <a:ext cx="340152" cy="377947"/>
            </a:xfrm>
            <a:custGeom>
              <a:avLst/>
              <a:gdLst>
                <a:gd name="connsiteX0" fmla="*/ 306137 w 340152"/>
                <a:gd name="connsiteY0" fmla="*/ 1260 h 377946"/>
                <a:gd name="connsiteX1" fmla="*/ 312436 w 340152"/>
                <a:gd name="connsiteY1" fmla="*/ 2520 h 377946"/>
                <a:gd name="connsiteX2" fmla="*/ 319995 w 340152"/>
                <a:gd name="connsiteY2" fmla="*/ 6299 h 377946"/>
                <a:gd name="connsiteX3" fmla="*/ 321255 w 340152"/>
                <a:gd name="connsiteY3" fmla="*/ 7559 h 377946"/>
                <a:gd name="connsiteX4" fmla="*/ 328814 w 340152"/>
                <a:gd name="connsiteY4" fmla="*/ 11339 h 377946"/>
                <a:gd name="connsiteX5" fmla="*/ 332593 w 340152"/>
                <a:gd name="connsiteY5" fmla="*/ 15118 h 377946"/>
                <a:gd name="connsiteX6" fmla="*/ 337633 w 340152"/>
                <a:gd name="connsiteY6" fmla="*/ 26456 h 377946"/>
                <a:gd name="connsiteX7" fmla="*/ 340152 w 340152"/>
                <a:gd name="connsiteY7" fmla="*/ 36535 h 377946"/>
                <a:gd name="connsiteX8" fmla="*/ 340152 w 340152"/>
                <a:gd name="connsiteY8" fmla="*/ 36535 h 377946"/>
                <a:gd name="connsiteX9" fmla="*/ 340152 w 340152"/>
                <a:gd name="connsiteY9" fmla="*/ 36535 h 377946"/>
                <a:gd name="connsiteX10" fmla="*/ 341412 w 340152"/>
                <a:gd name="connsiteY10" fmla="*/ 44094 h 377946"/>
                <a:gd name="connsiteX11" fmla="*/ 341412 w 340152"/>
                <a:gd name="connsiteY11" fmla="*/ 62991 h 377946"/>
                <a:gd name="connsiteX12" fmla="*/ 340152 w 340152"/>
                <a:gd name="connsiteY12" fmla="*/ 81889 h 377946"/>
                <a:gd name="connsiteX13" fmla="*/ 340152 w 340152"/>
                <a:gd name="connsiteY13" fmla="*/ 81889 h 377946"/>
                <a:gd name="connsiteX14" fmla="*/ 340152 w 340152"/>
                <a:gd name="connsiteY14" fmla="*/ 81889 h 377946"/>
                <a:gd name="connsiteX15" fmla="*/ 338892 w 340152"/>
                <a:gd name="connsiteY15" fmla="*/ 88188 h 377946"/>
                <a:gd name="connsiteX16" fmla="*/ 333853 w 340152"/>
                <a:gd name="connsiteY16" fmla="*/ 103306 h 377946"/>
                <a:gd name="connsiteX17" fmla="*/ 331334 w 340152"/>
                <a:gd name="connsiteY17" fmla="*/ 107085 h 377946"/>
                <a:gd name="connsiteX18" fmla="*/ 319995 w 340152"/>
                <a:gd name="connsiteY18" fmla="*/ 120943 h 377946"/>
                <a:gd name="connsiteX19" fmla="*/ 308657 w 340152"/>
                <a:gd name="connsiteY19" fmla="*/ 133541 h 377946"/>
                <a:gd name="connsiteX20" fmla="*/ 308657 w 340152"/>
                <a:gd name="connsiteY20" fmla="*/ 133541 h 377946"/>
                <a:gd name="connsiteX21" fmla="*/ 297318 w 340152"/>
                <a:gd name="connsiteY21" fmla="*/ 144880 h 377946"/>
                <a:gd name="connsiteX22" fmla="*/ 284720 w 340152"/>
                <a:gd name="connsiteY22" fmla="*/ 157478 h 377946"/>
                <a:gd name="connsiteX23" fmla="*/ 273382 w 340152"/>
                <a:gd name="connsiteY23" fmla="*/ 168816 h 377946"/>
                <a:gd name="connsiteX24" fmla="*/ 272122 w 340152"/>
                <a:gd name="connsiteY24" fmla="*/ 170076 h 377946"/>
                <a:gd name="connsiteX25" fmla="*/ 269602 w 340152"/>
                <a:gd name="connsiteY25" fmla="*/ 172596 h 377946"/>
                <a:gd name="connsiteX26" fmla="*/ 246925 w 340152"/>
                <a:gd name="connsiteY26" fmla="*/ 194013 h 377946"/>
                <a:gd name="connsiteX27" fmla="*/ 234327 w 340152"/>
                <a:gd name="connsiteY27" fmla="*/ 205351 h 377946"/>
                <a:gd name="connsiteX28" fmla="*/ 222989 w 340152"/>
                <a:gd name="connsiteY28" fmla="*/ 215430 h 377946"/>
                <a:gd name="connsiteX29" fmla="*/ 221729 w 340152"/>
                <a:gd name="connsiteY29" fmla="*/ 216690 h 377946"/>
                <a:gd name="connsiteX30" fmla="*/ 216690 w 340152"/>
                <a:gd name="connsiteY30" fmla="*/ 221729 h 377946"/>
                <a:gd name="connsiteX31" fmla="*/ 209131 w 340152"/>
                <a:gd name="connsiteY31" fmla="*/ 228028 h 377946"/>
                <a:gd name="connsiteX32" fmla="*/ 194013 w 340152"/>
                <a:gd name="connsiteY32" fmla="*/ 240626 h 377946"/>
                <a:gd name="connsiteX33" fmla="*/ 181414 w 340152"/>
                <a:gd name="connsiteY33" fmla="*/ 249445 h 377946"/>
                <a:gd name="connsiteX34" fmla="*/ 167557 w 340152"/>
                <a:gd name="connsiteY34" fmla="*/ 259524 h 377946"/>
                <a:gd name="connsiteX35" fmla="*/ 158738 w 340152"/>
                <a:gd name="connsiteY35" fmla="*/ 267083 h 377946"/>
                <a:gd name="connsiteX36" fmla="*/ 156218 w 340152"/>
                <a:gd name="connsiteY36" fmla="*/ 269602 h 377946"/>
                <a:gd name="connsiteX37" fmla="*/ 149919 w 340152"/>
                <a:gd name="connsiteY37" fmla="*/ 274642 h 377946"/>
                <a:gd name="connsiteX38" fmla="*/ 142360 w 340152"/>
                <a:gd name="connsiteY38" fmla="*/ 280941 h 377946"/>
                <a:gd name="connsiteX39" fmla="*/ 142360 w 340152"/>
                <a:gd name="connsiteY39" fmla="*/ 280941 h 377946"/>
                <a:gd name="connsiteX40" fmla="*/ 129762 w 340152"/>
                <a:gd name="connsiteY40" fmla="*/ 292279 h 377946"/>
                <a:gd name="connsiteX41" fmla="*/ 117164 w 340152"/>
                <a:gd name="connsiteY41" fmla="*/ 304877 h 377946"/>
                <a:gd name="connsiteX42" fmla="*/ 112124 w 340152"/>
                <a:gd name="connsiteY42" fmla="*/ 311177 h 377946"/>
                <a:gd name="connsiteX43" fmla="*/ 108345 w 340152"/>
                <a:gd name="connsiteY43" fmla="*/ 317476 h 377946"/>
                <a:gd name="connsiteX44" fmla="*/ 105825 w 340152"/>
                <a:gd name="connsiteY44" fmla="*/ 323775 h 377946"/>
                <a:gd name="connsiteX45" fmla="*/ 105825 w 340152"/>
                <a:gd name="connsiteY45" fmla="*/ 325034 h 377946"/>
                <a:gd name="connsiteX46" fmla="*/ 99526 w 340152"/>
                <a:gd name="connsiteY46" fmla="*/ 340152 h 377946"/>
                <a:gd name="connsiteX47" fmla="*/ 99526 w 340152"/>
                <a:gd name="connsiteY47" fmla="*/ 340152 h 377946"/>
                <a:gd name="connsiteX48" fmla="*/ 95747 w 340152"/>
                <a:gd name="connsiteY48" fmla="*/ 347711 h 377946"/>
                <a:gd name="connsiteX49" fmla="*/ 93227 w 340152"/>
                <a:gd name="connsiteY49" fmla="*/ 352751 h 377946"/>
                <a:gd name="connsiteX50" fmla="*/ 91967 w 340152"/>
                <a:gd name="connsiteY50" fmla="*/ 355270 h 377946"/>
                <a:gd name="connsiteX51" fmla="*/ 89448 w 340152"/>
                <a:gd name="connsiteY51" fmla="*/ 359050 h 377946"/>
                <a:gd name="connsiteX52" fmla="*/ 88188 w 340152"/>
                <a:gd name="connsiteY52" fmla="*/ 361569 h 377946"/>
                <a:gd name="connsiteX53" fmla="*/ 80629 w 340152"/>
                <a:gd name="connsiteY53" fmla="*/ 371648 h 377946"/>
                <a:gd name="connsiteX54" fmla="*/ 74329 w 340152"/>
                <a:gd name="connsiteY54" fmla="*/ 377947 h 377946"/>
                <a:gd name="connsiteX55" fmla="*/ 71810 w 340152"/>
                <a:gd name="connsiteY55" fmla="*/ 380467 h 377946"/>
                <a:gd name="connsiteX56" fmla="*/ 71810 w 340152"/>
                <a:gd name="connsiteY56" fmla="*/ 380467 h 377946"/>
                <a:gd name="connsiteX57" fmla="*/ 68030 w 340152"/>
                <a:gd name="connsiteY57" fmla="*/ 382986 h 377946"/>
                <a:gd name="connsiteX58" fmla="*/ 62991 w 340152"/>
                <a:gd name="connsiteY58" fmla="*/ 385506 h 377946"/>
                <a:gd name="connsiteX59" fmla="*/ 56692 w 340152"/>
                <a:gd name="connsiteY59" fmla="*/ 388026 h 377946"/>
                <a:gd name="connsiteX60" fmla="*/ 51653 w 340152"/>
                <a:gd name="connsiteY60" fmla="*/ 389286 h 377946"/>
                <a:gd name="connsiteX61" fmla="*/ 50393 w 340152"/>
                <a:gd name="connsiteY61" fmla="*/ 389286 h 377946"/>
                <a:gd name="connsiteX62" fmla="*/ 47874 w 340152"/>
                <a:gd name="connsiteY62" fmla="*/ 389286 h 377946"/>
                <a:gd name="connsiteX63" fmla="*/ 47874 w 340152"/>
                <a:gd name="connsiteY63" fmla="*/ 389286 h 377946"/>
                <a:gd name="connsiteX64" fmla="*/ 47874 w 340152"/>
                <a:gd name="connsiteY64" fmla="*/ 389286 h 377946"/>
                <a:gd name="connsiteX65" fmla="*/ 47874 w 340152"/>
                <a:gd name="connsiteY65" fmla="*/ 389286 h 377946"/>
                <a:gd name="connsiteX66" fmla="*/ 47874 w 340152"/>
                <a:gd name="connsiteY66" fmla="*/ 389286 h 377946"/>
                <a:gd name="connsiteX67" fmla="*/ 47874 w 340152"/>
                <a:gd name="connsiteY67" fmla="*/ 389286 h 377946"/>
                <a:gd name="connsiteX68" fmla="*/ 47874 w 340152"/>
                <a:gd name="connsiteY68" fmla="*/ 389286 h 377946"/>
                <a:gd name="connsiteX69" fmla="*/ 39055 w 340152"/>
                <a:gd name="connsiteY69" fmla="*/ 386766 h 377946"/>
                <a:gd name="connsiteX70" fmla="*/ 39055 w 340152"/>
                <a:gd name="connsiteY70" fmla="*/ 386766 h 377946"/>
                <a:gd name="connsiteX71" fmla="*/ 31496 w 340152"/>
                <a:gd name="connsiteY71" fmla="*/ 382986 h 377946"/>
                <a:gd name="connsiteX72" fmla="*/ 28976 w 340152"/>
                <a:gd name="connsiteY72" fmla="*/ 381727 h 377946"/>
                <a:gd name="connsiteX73" fmla="*/ 27716 w 340152"/>
                <a:gd name="connsiteY73" fmla="*/ 381727 h 377946"/>
                <a:gd name="connsiteX74" fmla="*/ 23937 w 340152"/>
                <a:gd name="connsiteY74" fmla="*/ 379207 h 377946"/>
                <a:gd name="connsiteX75" fmla="*/ 21417 w 340152"/>
                <a:gd name="connsiteY75" fmla="*/ 376687 h 377946"/>
                <a:gd name="connsiteX76" fmla="*/ 21417 w 340152"/>
                <a:gd name="connsiteY76" fmla="*/ 376687 h 377946"/>
                <a:gd name="connsiteX77" fmla="*/ 15118 w 340152"/>
                <a:gd name="connsiteY77" fmla="*/ 369128 h 377946"/>
                <a:gd name="connsiteX78" fmla="*/ 15118 w 340152"/>
                <a:gd name="connsiteY78" fmla="*/ 367869 h 377946"/>
                <a:gd name="connsiteX79" fmla="*/ 13858 w 340152"/>
                <a:gd name="connsiteY79" fmla="*/ 365349 h 377946"/>
                <a:gd name="connsiteX80" fmla="*/ 11338 w 340152"/>
                <a:gd name="connsiteY80" fmla="*/ 361569 h 377946"/>
                <a:gd name="connsiteX81" fmla="*/ 7559 w 340152"/>
                <a:gd name="connsiteY81" fmla="*/ 352751 h 377946"/>
                <a:gd name="connsiteX82" fmla="*/ 3780 w 340152"/>
                <a:gd name="connsiteY82" fmla="*/ 342672 h 377946"/>
                <a:gd name="connsiteX83" fmla="*/ 3780 w 340152"/>
                <a:gd name="connsiteY83" fmla="*/ 341412 h 377946"/>
                <a:gd name="connsiteX84" fmla="*/ 0 w 340152"/>
                <a:gd name="connsiteY84" fmla="*/ 323775 h 377946"/>
                <a:gd name="connsiteX85" fmla="*/ 0 w 340152"/>
                <a:gd name="connsiteY85" fmla="*/ 316216 h 377946"/>
                <a:gd name="connsiteX86" fmla="*/ 0 w 340152"/>
                <a:gd name="connsiteY86" fmla="*/ 313696 h 377946"/>
                <a:gd name="connsiteX87" fmla="*/ 0 w 340152"/>
                <a:gd name="connsiteY87" fmla="*/ 307397 h 377946"/>
                <a:gd name="connsiteX88" fmla="*/ 0 w 340152"/>
                <a:gd name="connsiteY88" fmla="*/ 304877 h 377946"/>
                <a:gd name="connsiteX89" fmla="*/ 0 w 340152"/>
                <a:gd name="connsiteY89" fmla="*/ 304877 h 377946"/>
                <a:gd name="connsiteX90" fmla="*/ 0 w 340152"/>
                <a:gd name="connsiteY90" fmla="*/ 304877 h 377946"/>
                <a:gd name="connsiteX91" fmla="*/ 0 w 340152"/>
                <a:gd name="connsiteY91" fmla="*/ 299838 h 377946"/>
                <a:gd name="connsiteX92" fmla="*/ 0 w 340152"/>
                <a:gd name="connsiteY92" fmla="*/ 297318 h 377946"/>
                <a:gd name="connsiteX93" fmla="*/ 0 w 340152"/>
                <a:gd name="connsiteY93" fmla="*/ 294799 h 377946"/>
                <a:gd name="connsiteX94" fmla="*/ 0 w 340152"/>
                <a:gd name="connsiteY94" fmla="*/ 289759 h 377946"/>
                <a:gd name="connsiteX95" fmla="*/ 2520 w 340152"/>
                <a:gd name="connsiteY95" fmla="*/ 282201 h 377946"/>
                <a:gd name="connsiteX96" fmla="*/ 2520 w 340152"/>
                <a:gd name="connsiteY96" fmla="*/ 282201 h 377946"/>
                <a:gd name="connsiteX97" fmla="*/ 2520 w 340152"/>
                <a:gd name="connsiteY97" fmla="*/ 280941 h 377946"/>
                <a:gd name="connsiteX98" fmla="*/ 5039 w 340152"/>
                <a:gd name="connsiteY98" fmla="*/ 272122 h 377946"/>
                <a:gd name="connsiteX99" fmla="*/ 5039 w 340152"/>
                <a:gd name="connsiteY99" fmla="*/ 270862 h 377946"/>
                <a:gd name="connsiteX100" fmla="*/ 5039 w 340152"/>
                <a:gd name="connsiteY100" fmla="*/ 270862 h 377946"/>
                <a:gd name="connsiteX101" fmla="*/ 11338 w 340152"/>
                <a:gd name="connsiteY101" fmla="*/ 257004 h 377946"/>
                <a:gd name="connsiteX102" fmla="*/ 12598 w 340152"/>
                <a:gd name="connsiteY102" fmla="*/ 254484 h 377946"/>
                <a:gd name="connsiteX103" fmla="*/ 12598 w 340152"/>
                <a:gd name="connsiteY103" fmla="*/ 254484 h 377946"/>
                <a:gd name="connsiteX104" fmla="*/ 15118 w 340152"/>
                <a:gd name="connsiteY104" fmla="*/ 249445 h 377946"/>
                <a:gd name="connsiteX105" fmla="*/ 20157 w 340152"/>
                <a:gd name="connsiteY105" fmla="*/ 240626 h 377946"/>
                <a:gd name="connsiteX106" fmla="*/ 20157 w 340152"/>
                <a:gd name="connsiteY106" fmla="*/ 240626 h 377946"/>
                <a:gd name="connsiteX107" fmla="*/ 27716 w 340152"/>
                <a:gd name="connsiteY107" fmla="*/ 226768 h 377946"/>
                <a:gd name="connsiteX108" fmla="*/ 37795 w 340152"/>
                <a:gd name="connsiteY108" fmla="*/ 211650 h 377946"/>
                <a:gd name="connsiteX109" fmla="*/ 49133 w 340152"/>
                <a:gd name="connsiteY109" fmla="*/ 196533 h 377946"/>
                <a:gd name="connsiteX110" fmla="*/ 69290 w 340152"/>
                <a:gd name="connsiteY110" fmla="*/ 172596 h 377946"/>
                <a:gd name="connsiteX111" fmla="*/ 71810 w 340152"/>
                <a:gd name="connsiteY111" fmla="*/ 170076 h 377946"/>
                <a:gd name="connsiteX112" fmla="*/ 95747 w 340152"/>
                <a:gd name="connsiteY112" fmla="*/ 144880 h 377946"/>
                <a:gd name="connsiteX113" fmla="*/ 104566 w 340152"/>
                <a:gd name="connsiteY113" fmla="*/ 137321 h 377946"/>
                <a:gd name="connsiteX114" fmla="*/ 104566 w 340152"/>
                <a:gd name="connsiteY114" fmla="*/ 137321 h 377946"/>
                <a:gd name="connsiteX115" fmla="*/ 104566 w 340152"/>
                <a:gd name="connsiteY115" fmla="*/ 137321 h 377946"/>
                <a:gd name="connsiteX116" fmla="*/ 104566 w 340152"/>
                <a:gd name="connsiteY116" fmla="*/ 137321 h 377946"/>
                <a:gd name="connsiteX117" fmla="*/ 120943 w 340152"/>
                <a:gd name="connsiteY117" fmla="*/ 120943 h 377946"/>
                <a:gd name="connsiteX118" fmla="*/ 146140 w 340152"/>
                <a:gd name="connsiteY118" fmla="*/ 97007 h 377946"/>
                <a:gd name="connsiteX119" fmla="*/ 159998 w 340152"/>
                <a:gd name="connsiteY119" fmla="*/ 84408 h 377946"/>
                <a:gd name="connsiteX120" fmla="*/ 167557 w 340152"/>
                <a:gd name="connsiteY120" fmla="*/ 78109 h 377946"/>
                <a:gd name="connsiteX121" fmla="*/ 172596 w 340152"/>
                <a:gd name="connsiteY121" fmla="*/ 73070 h 377946"/>
                <a:gd name="connsiteX122" fmla="*/ 176375 w 340152"/>
                <a:gd name="connsiteY122" fmla="*/ 70550 h 377946"/>
                <a:gd name="connsiteX123" fmla="*/ 187714 w 340152"/>
                <a:gd name="connsiteY123" fmla="*/ 60472 h 377946"/>
                <a:gd name="connsiteX124" fmla="*/ 188973 w 340152"/>
                <a:gd name="connsiteY124" fmla="*/ 59212 h 377946"/>
                <a:gd name="connsiteX125" fmla="*/ 191493 w 340152"/>
                <a:gd name="connsiteY125" fmla="*/ 56692 h 377946"/>
                <a:gd name="connsiteX126" fmla="*/ 194013 w 340152"/>
                <a:gd name="connsiteY126" fmla="*/ 52913 h 377946"/>
                <a:gd name="connsiteX127" fmla="*/ 200312 w 340152"/>
                <a:gd name="connsiteY127" fmla="*/ 46614 h 377946"/>
                <a:gd name="connsiteX128" fmla="*/ 200312 w 340152"/>
                <a:gd name="connsiteY128" fmla="*/ 46614 h 377946"/>
                <a:gd name="connsiteX129" fmla="*/ 200312 w 340152"/>
                <a:gd name="connsiteY129" fmla="*/ 46614 h 377946"/>
                <a:gd name="connsiteX130" fmla="*/ 200312 w 340152"/>
                <a:gd name="connsiteY130" fmla="*/ 46614 h 377946"/>
                <a:gd name="connsiteX131" fmla="*/ 200312 w 340152"/>
                <a:gd name="connsiteY131" fmla="*/ 46614 h 377946"/>
                <a:gd name="connsiteX132" fmla="*/ 200312 w 340152"/>
                <a:gd name="connsiteY132" fmla="*/ 46614 h 377946"/>
                <a:gd name="connsiteX133" fmla="*/ 200312 w 340152"/>
                <a:gd name="connsiteY133" fmla="*/ 46614 h 377946"/>
                <a:gd name="connsiteX134" fmla="*/ 204092 w 340152"/>
                <a:gd name="connsiteY134" fmla="*/ 44094 h 377946"/>
                <a:gd name="connsiteX135" fmla="*/ 204092 w 340152"/>
                <a:gd name="connsiteY135" fmla="*/ 44094 h 377946"/>
                <a:gd name="connsiteX136" fmla="*/ 204092 w 340152"/>
                <a:gd name="connsiteY136" fmla="*/ 44094 h 377946"/>
                <a:gd name="connsiteX137" fmla="*/ 204092 w 340152"/>
                <a:gd name="connsiteY137" fmla="*/ 44094 h 377946"/>
                <a:gd name="connsiteX138" fmla="*/ 204092 w 340152"/>
                <a:gd name="connsiteY138" fmla="*/ 44094 h 377946"/>
                <a:gd name="connsiteX139" fmla="*/ 204092 w 340152"/>
                <a:gd name="connsiteY139" fmla="*/ 44094 h 377946"/>
                <a:gd name="connsiteX140" fmla="*/ 204092 w 340152"/>
                <a:gd name="connsiteY140" fmla="*/ 44094 h 377946"/>
                <a:gd name="connsiteX141" fmla="*/ 204092 w 340152"/>
                <a:gd name="connsiteY141" fmla="*/ 44094 h 377946"/>
                <a:gd name="connsiteX142" fmla="*/ 204092 w 340152"/>
                <a:gd name="connsiteY142" fmla="*/ 44094 h 377946"/>
                <a:gd name="connsiteX143" fmla="*/ 204092 w 340152"/>
                <a:gd name="connsiteY143" fmla="*/ 44094 h 377946"/>
                <a:gd name="connsiteX144" fmla="*/ 204092 w 340152"/>
                <a:gd name="connsiteY144" fmla="*/ 44094 h 377946"/>
                <a:gd name="connsiteX145" fmla="*/ 204092 w 340152"/>
                <a:gd name="connsiteY145" fmla="*/ 44094 h 377946"/>
                <a:gd name="connsiteX146" fmla="*/ 204092 w 340152"/>
                <a:gd name="connsiteY146" fmla="*/ 44094 h 377946"/>
                <a:gd name="connsiteX147" fmla="*/ 204092 w 340152"/>
                <a:gd name="connsiteY147" fmla="*/ 44094 h 377946"/>
                <a:gd name="connsiteX148" fmla="*/ 204092 w 340152"/>
                <a:gd name="connsiteY148" fmla="*/ 44094 h 377946"/>
                <a:gd name="connsiteX149" fmla="*/ 204092 w 340152"/>
                <a:gd name="connsiteY149" fmla="*/ 44094 h 377946"/>
                <a:gd name="connsiteX150" fmla="*/ 215430 w 340152"/>
                <a:gd name="connsiteY150" fmla="*/ 35275 h 377946"/>
                <a:gd name="connsiteX151" fmla="*/ 220469 w 340152"/>
                <a:gd name="connsiteY151" fmla="*/ 31496 h 377946"/>
                <a:gd name="connsiteX152" fmla="*/ 225508 w 340152"/>
                <a:gd name="connsiteY152" fmla="*/ 27716 h 377946"/>
                <a:gd name="connsiteX153" fmla="*/ 234327 w 340152"/>
                <a:gd name="connsiteY153" fmla="*/ 22677 h 377946"/>
                <a:gd name="connsiteX154" fmla="*/ 238107 w 340152"/>
                <a:gd name="connsiteY154" fmla="*/ 20157 h 377946"/>
                <a:gd name="connsiteX155" fmla="*/ 238107 w 340152"/>
                <a:gd name="connsiteY155" fmla="*/ 20157 h 377946"/>
                <a:gd name="connsiteX156" fmla="*/ 244406 w 340152"/>
                <a:gd name="connsiteY156" fmla="*/ 16378 h 377946"/>
                <a:gd name="connsiteX157" fmla="*/ 262043 w 340152"/>
                <a:gd name="connsiteY157" fmla="*/ 7559 h 377946"/>
                <a:gd name="connsiteX158" fmla="*/ 283460 w 340152"/>
                <a:gd name="connsiteY158" fmla="*/ 1260 h 377946"/>
                <a:gd name="connsiteX159" fmla="*/ 296058 w 340152"/>
                <a:gd name="connsiteY159" fmla="*/ 0 h 377946"/>
                <a:gd name="connsiteX160" fmla="*/ 306137 w 340152"/>
                <a:gd name="connsiteY160" fmla="*/ 1260 h 377946"/>
                <a:gd name="connsiteX161" fmla="*/ 306137 w 340152"/>
                <a:gd name="connsiteY161" fmla="*/ 1260 h 37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340152" h="377946">
                  <a:moveTo>
                    <a:pt x="306137" y="1260"/>
                  </a:moveTo>
                  <a:cubicBezTo>
                    <a:pt x="307397" y="1260"/>
                    <a:pt x="309917" y="2520"/>
                    <a:pt x="312436" y="2520"/>
                  </a:cubicBezTo>
                  <a:cubicBezTo>
                    <a:pt x="314956" y="3780"/>
                    <a:pt x="317476" y="5039"/>
                    <a:pt x="319995" y="6299"/>
                  </a:cubicBezTo>
                  <a:lnTo>
                    <a:pt x="321255" y="7559"/>
                  </a:lnTo>
                  <a:cubicBezTo>
                    <a:pt x="323775" y="8819"/>
                    <a:pt x="326294" y="10079"/>
                    <a:pt x="328814" y="11339"/>
                  </a:cubicBezTo>
                  <a:cubicBezTo>
                    <a:pt x="330074" y="12598"/>
                    <a:pt x="331334" y="13858"/>
                    <a:pt x="332593" y="15118"/>
                  </a:cubicBezTo>
                  <a:cubicBezTo>
                    <a:pt x="335113" y="18897"/>
                    <a:pt x="336373" y="22677"/>
                    <a:pt x="337633" y="26456"/>
                  </a:cubicBezTo>
                  <a:cubicBezTo>
                    <a:pt x="338892" y="30236"/>
                    <a:pt x="340152" y="32755"/>
                    <a:pt x="340152" y="36535"/>
                  </a:cubicBezTo>
                  <a:lnTo>
                    <a:pt x="340152" y="36535"/>
                  </a:lnTo>
                  <a:lnTo>
                    <a:pt x="340152" y="36535"/>
                  </a:lnTo>
                  <a:cubicBezTo>
                    <a:pt x="341412" y="39055"/>
                    <a:pt x="341412" y="41574"/>
                    <a:pt x="341412" y="44094"/>
                  </a:cubicBezTo>
                  <a:cubicBezTo>
                    <a:pt x="341412" y="50393"/>
                    <a:pt x="341412" y="57952"/>
                    <a:pt x="341412" y="62991"/>
                  </a:cubicBezTo>
                  <a:cubicBezTo>
                    <a:pt x="341412" y="69290"/>
                    <a:pt x="340152" y="75589"/>
                    <a:pt x="340152" y="81889"/>
                  </a:cubicBezTo>
                  <a:lnTo>
                    <a:pt x="340152" y="81889"/>
                  </a:lnTo>
                  <a:lnTo>
                    <a:pt x="340152" y="81889"/>
                  </a:lnTo>
                  <a:cubicBezTo>
                    <a:pt x="340152" y="84408"/>
                    <a:pt x="338892" y="85668"/>
                    <a:pt x="338892" y="88188"/>
                  </a:cubicBezTo>
                  <a:cubicBezTo>
                    <a:pt x="337633" y="93227"/>
                    <a:pt x="336373" y="98266"/>
                    <a:pt x="333853" y="103306"/>
                  </a:cubicBezTo>
                  <a:cubicBezTo>
                    <a:pt x="332593" y="104565"/>
                    <a:pt x="332593" y="105825"/>
                    <a:pt x="331334" y="107085"/>
                  </a:cubicBezTo>
                  <a:cubicBezTo>
                    <a:pt x="327554" y="112124"/>
                    <a:pt x="323775" y="117164"/>
                    <a:pt x="319995" y="120943"/>
                  </a:cubicBezTo>
                  <a:cubicBezTo>
                    <a:pt x="316216" y="124723"/>
                    <a:pt x="312436" y="129762"/>
                    <a:pt x="308657" y="133541"/>
                  </a:cubicBezTo>
                  <a:lnTo>
                    <a:pt x="308657" y="133541"/>
                  </a:lnTo>
                  <a:cubicBezTo>
                    <a:pt x="304877" y="137321"/>
                    <a:pt x="301098" y="141100"/>
                    <a:pt x="297318" y="144880"/>
                  </a:cubicBezTo>
                  <a:cubicBezTo>
                    <a:pt x="293539" y="148659"/>
                    <a:pt x="288499" y="153699"/>
                    <a:pt x="284720" y="157478"/>
                  </a:cubicBezTo>
                  <a:cubicBezTo>
                    <a:pt x="280941" y="161257"/>
                    <a:pt x="277161" y="165037"/>
                    <a:pt x="273382" y="168816"/>
                  </a:cubicBezTo>
                  <a:lnTo>
                    <a:pt x="272122" y="170076"/>
                  </a:lnTo>
                  <a:lnTo>
                    <a:pt x="269602" y="172596"/>
                  </a:lnTo>
                  <a:cubicBezTo>
                    <a:pt x="262043" y="180155"/>
                    <a:pt x="254484" y="187714"/>
                    <a:pt x="246925" y="194013"/>
                  </a:cubicBezTo>
                  <a:cubicBezTo>
                    <a:pt x="243146" y="197792"/>
                    <a:pt x="238107" y="201572"/>
                    <a:pt x="234327" y="205351"/>
                  </a:cubicBezTo>
                  <a:cubicBezTo>
                    <a:pt x="230548" y="209131"/>
                    <a:pt x="226768" y="211650"/>
                    <a:pt x="222989" y="215430"/>
                  </a:cubicBezTo>
                  <a:lnTo>
                    <a:pt x="221729" y="216690"/>
                  </a:lnTo>
                  <a:cubicBezTo>
                    <a:pt x="220469" y="217949"/>
                    <a:pt x="217950" y="219209"/>
                    <a:pt x="216690" y="221729"/>
                  </a:cubicBezTo>
                  <a:cubicBezTo>
                    <a:pt x="214170" y="224249"/>
                    <a:pt x="211651" y="225508"/>
                    <a:pt x="209131" y="228028"/>
                  </a:cubicBezTo>
                  <a:cubicBezTo>
                    <a:pt x="204092" y="231808"/>
                    <a:pt x="199052" y="235587"/>
                    <a:pt x="194013" y="240626"/>
                  </a:cubicBezTo>
                  <a:cubicBezTo>
                    <a:pt x="190233" y="244406"/>
                    <a:pt x="185194" y="246925"/>
                    <a:pt x="181414" y="249445"/>
                  </a:cubicBezTo>
                  <a:cubicBezTo>
                    <a:pt x="176375" y="253225"/>
                    <a:pt x="172596" y="257004"/>
                    <a:pt x="167557" y="259524"/>
                  </a:cubicBezTo>
                  <a:cubicBezTo>
                    <a:pt x="163777" y="262043"/>
                    <a:pt x="161258" y="264563"/>
                    <a:pt x="158738" y="267083"/>
                  </a:cubicBezTo>
                  <a:lnTo>
                    <a:pt x="156218" y="269602"/>
                  </a:lnTo>
                  <a:cubicBezTo>
                    <a:pt x="153699" y="270862"/>
                    <a:pt x="152439" y="273382"/>
                    <a:pt x="149919" y="274642"/>
                  </a:cubicBezTo>
                  <a:cubicBezTo>
                    <a:pt x="147399" y="277161"/>
                    <a:pt x="144880" y="278421"/>
                    <a:pt x="142360" y="280941"/>
                  </a:cubicBezTo>
                  <a:lnTo>
                    <a:pt x="142360" y="280941"/>
                  </a:lnTo>
                  <a:cubicBezTo>
                    <a:pt x="138581" y="284720"/>
                    <a:pt x="133541" y="288500"/>
                    <a:pt x="129762" y="292279"/>
                  </a:cubicBezTo>
                  <a:cubicBezTo>
                    <a:pt x="125982" y="296058"/>
                    <a:pt x="120943" y="299838"/>
                    <a:pt x="117164" y="304877"/>
                  </a:cubicBezTo>
                  <a:cubicBezTo>
                    <a:pt x="115904" y="306137"/>
                    <a:pt x="113384" y="308657"/>
                    <a:pt x="112124" y="311177"/>
                  </a:cubicBezTo>
                  <a:cubicBezTo>
                    <a:pt x="110865" y="312436"/>
                    <a:pt x="109605" y="314956"/>
                    <a:pt x="108345" y="317476"/>
                  </a:cubicBezTo>
                  <a:cubicBezTo>
                    <a:pt x="107085" y="319995"/>
                    <a:pt x="107085" y="321255"/>
                    <a:pt x="105825" y="323775"/>
                  </a:cubicBezTo>
                  <a:lnTo>
                    <a:pt x="105825" y="325034"/>
                  </a:lnTo>
                  <a:cubicBezTo>
                    <a:pt x="103306" y="330074"/>
                    <a:pt x="102046" y="335113"/>
                    <a:pt x="99526" y="340152"/>
                  </a:cubicBezTo>
                  <a:lnTo>
                    <a:pt x="99526" y="340152"/>
                  </a:lnTo>
                  <a:cubicBezTo>
                    <a:pt x="98266" y="342672"/>
                    <a:pt x="97007" y="345192"/>
                    <a:pt x="95747" y="347711"/>
                  </a:cubicBezTo>
                  <a:cubicBezTo>
                    <a:pt x="94487" y="348971"/>
                    <a:pt x="94487" y="351491"/>
                    <a:pt x="93227" y="352751"/>
                  </a:cubicBezTo>
                  <a:cubicBezTo>
                    <a:pt x="93227" y="354010"/>
                    <a:pt x="91967" y="354010"/>
                    <a:pt x="91967" y="355270"/>
                  </a:cubicBezTo>
                  <a:cubicBezTo>
                    <a:pt x="90707" y="356530"/>
                    <a:pt x="90707" y="357790"/>
                    <a:pt x="89448" y="359050"/>
                  </a:cubicBezTo>
                  <a:lnTo>
                    <a:pt x="88188" y="361569"/>
                  </a:lnTo>
                  <a:cubicBezTo>
                    <a:pt x="85668" y="365349"/>
                    <a:pt x="84408" y="369128"/>
                    <a:pt x="80629" y="371648"/>
                  </a:cubicBezTo>
                  <a:cubicBezTo>
                    <a:pt x="78109" y="374168"/>
                    <a:pt x="76849" y="375427"/>
                    <a:pt x="74329" y="377947"/>
                  </a:cubicBezTo>
                  <a:cubicBezTo>
                    <a:pt x="73070" y="379207"/>
                    <a:pt x="71810" y="379207"/>
                    <a:pt x="71810" y="380467"/>
                  </a:cubicBezTo>
                  <a:lnTo>
                    <a:pt x="71810" y="380467"/>
                  </a:lnTo>
                  <a:cubicBezTo>
                    <a:pt x="70550" y="381727"/>
                    <a:pt x="69290" y="382986"/>
                    <a:pt x="68030" y="382986"/>
                  </a:cubicBezTo>
                  <a:cubicBezTo>
                    <a:pt x="66771" y="384246"/>
                    <a:pt x="64251" y="384246"/>
                    <a:pt x="62991" y="385506"/>
                  </a:cubicBezTo>
                  <a:cubicBezTo>
                    <a:pt x="60472" y="386766"/>
                    <a:pt x="59212" y="386766"/>
                    <a:pt x="56692" y="388026"/>
                  </a:cubicBezTo>
                  <a:cubicBezTo>
                    <a:pt x="55432" y="388026"/>
                    <a:pt x="52913" y="389286"/>
                    <a:pt x="51653" y="389286"/>
                  </a:cubicBezTo>
                  <a:cubicBezTo>
                    <a:pt x="51653" y="389286"/>
                    <a:pt x="50393" y="389286"/>
                    <a:pt x="50393" y="389286"/>
                  </a:cubicBezTo>
                  <a:cubicBezTo>
                    <a:pt x="49133" y="389286"/>
                    <a:pt x="49133" y="389286"/>
                    <a:pt x="47874" y="389286"/>
                  </a:cubicBezTo>
                  <a:cubicBezTo>
                    <a:pt x="47874" y="389286"/>
                    <a:pt x="47874" y="389286"/>
                    <a:pt x="47874" y="389286"/>
                  </a:cubicBezTo>
                  <a:cubicBezTo>
                    <a:pt x="47874" y="389286"/>
                    <a:pt x="47874" y="389286"/>
                    <a:pt x="47874" y="389286"/>
                  </a:cubicBezTo>
                  <a:cubicBezTo>
                    <a:pt x="47874" y="389286"/>
                    <a:pt x="47874" y="389286"/>
                    <a:pt x="47874" y="389286"/>
                  </a:cubicBezTo>
                  <a:lnTo>
                    <a:pt x="47874" y="389286"/>
                  </a:lnTo>
                  <a:lnTo>
                    <a:pt x="47874" y="389286"/>
                  </a:lnTo>
                  <a:cubicBezTo>
                    <a:pt x="47874" y="389286"/>
                    <a:pt x="47874" y="389286"/>
                    <a:pt x="47874" y="389286"/>
                  </a:cubicBezTo>
                  <a:cubicBezTo>
                    <a:pt x="44094" y="388026"/>
                    <a:pt x="41574" y="386766"/>
                    <a:pt x="39055" y="386766"/>
                  </a:cubicBezTo>
                  <a:lnTo>
                    <a:pt x="39055" y="386766"/>
                  </a:lnTo>
                  <a:cubicBezTo>
                    <a:pt x="36535" y="385506"/>
                    <a:pt x="34015" y="384246"/>
                    <a:pt x="31496" y="382986"/>
                  </a:cubicBezTo>
                  <a:cubicBezTo>
                    <a:pt x="30236" y="382986"/>
                    <a:pt x="28976" y="381727"/>
                    <a:pt x="28976" y="381727"/>
                  </a:cubicBezTo>
                  <a:lnTo>
                    <a:pt x="27716" y="381727"/>
                  </a:lnTo>
                  <a:cubicBezTo>
                    <a:pt x="26456" y="380467"/>
                    <a:pt x="25196" y="380467"/>
                    <a:pt x="23937" y="379207"/>
                  </a:cubicBezTo>
                  <a:cubicBezTo>
                    <a:pt x="22677" y="377947"/>
                    <a:pt x="22677" y="377947"/>
                    <a:pt x="21417" y="376687"/>
                  </a:cubicBezTo>
                  <a:lnTo>
                    <a:pt x="21417" y="376687"/>
                  </a:lnTo>
                  <a:cubicBezTo>
                    <a:pt x="18897" y="374168"/>
                    <a:pt x="17637" y="371648"/>
                    <a:pt x="15118" y="369128"/>
                  </a:cubicBezTo>
                  <a:lnTo>
                    <a:pt x="15118" y="367869"/>
                  </a:lnTo>
                  <a:cubicBezTo>
                    <a:pt x="15118" y="367869"/>
                    <a:pt x="13858" y="366609"/>
                    <a:pt x="13858" y="365349"/>
                  </a:cubicBezTo>
                  <a:cubicBezTo>
                    <a:pt x="12598" y="364089"/>
                    <a:pt x="12598" y="362829"/>
                    <a:pt x="11338" y="361569"/>
                  </a:cubicBezTo>
                  <a:cubicBezTo>
                    <a:pt x="10079" y="359050"/>
                    <a:pt x="8819" y="355270"/>
                    <a:pt x="7559" y="352751"/>
                  </a:cubicBezTo>
                  <a:cubicBezTo>
                    <a:pt x="6299" y="348971"/>
                    <a:pt x="5039" y="346451"/>
                    <a:pt x="3780" y="342672"/>
                  </a:cubicBezTo>
                  <a:lnTo>
                    <a:pt x="3780" y="341412"/>
                  </a:lnTo>
                  <a:cubicBezTo>
                    <a:pt x="2520" y="336373"/>
                    <a:pt x="1260" y="331334"/>
                    <a:pt x="0" y="323775"/>
                  </a:cubicBezTo>
                  <a:cubicBezTo>
                    <a:pt x="0" y="321255"/>
                    <a:pt x="0" y="318735"/>
                    <a:pt x="0" y="316216"/>
                  </a:cubicBezTo>
                  <a:lnTo>
                    <a:pt x="0" y="313696"/>
                  </a:lnTo>
                  <a:cubicBezTo>
                    <a:pt x="0" y="311177"/>
                    <a:pt x="0" y="309917"/>
                    <a:pt x="0" y="307397"/>
                  </a:cubicBezTo>
                  <a:lnTo>
                    <a:pt x="0" y="304877"/>
                  </a:lnTo>
                  <a:lnTo>
                    <a:pt x="0" y="304877"/>
                  </a:lnTo>
                  <a:lnTo>
                    <a:pt x="0" y="304877"/>
                  </a:lnTo>
                  <a:cubicBezTo>
                    <a:pt x="0" y="303618"/>
                    <a:pt x="0" y="301098"/>
                    <a:pt x="0" y="299838"/>
                  </a:cubicBezTo>
                  <a:lnTo>
                    <a:pt x="0" y="297318"/>
                  </a:lnTo>
                  <a:lnTo>
                    <a:pt x="0" y="294799"/>
                  </a:lnTo>
                  <a:cubicBezTo>
                    <a:pt x="0" y="293539"/>
                    <a:pt x="0" y="291019"/>
                    <a:pt x="0" y="289759"/>
                  </a:cubicBezTo>
                  <a:cubicBezTo>
                    <a:pt x="0" y="287240"/>
                    <a:pt x="1260" y="284720"/>
                    <a:pt x="2520" y="282201"/>
                  </a:cubicBezTo>
                  <a:lnTo>
                    <a:pt x="2520" y="282201"/>
                  </a:lnTo>
                  <a:lnTo>
                    <a:pt x="2520" y="280941"/>
                  </a:lnTo>
                  <a:cubicBezTo>
                    <a:pt x="3780" y="278421"/>
                    <a:pt x="3780" y="274642"/>
                    <a:pt x="5039" y="272122"/>
                  </a:cubicBezTo>
                  <a:lnTo>
                    <a:pt x="5039" y="270862"/>
                  </a:lnTo>
                  <a:lnTo>
                    <a:pt x="5039" y="270862"/>
                  </a:lnTo>
                  <a:cubicBezTo>
                    <a:pt x="6299" y="267083"/>
                    <a:pt x="8819" y="260784"/>
                    <a:pt x="11338" y="257004"/>
                  </a:cubicBezTo>
                  <a:cubicBezTo>
                    <a:pt x="11338" y="255744"/>
                    <a:pt x="12598" y="255744"/>
                    <a:pt x="12598" y="254484"/>
                  </a:cubicBezTo>
                  <a:lnTo>
                    <a:pt x="12598" y="254484"/>
                  </a:lnTo>
                  <a:cubicBezTo>
                    <a:pt x="13858" y="253225"/>
                    <a:pt x="13858" y="250705"/>
                    <a:pt x="15118" y="249445"/>
                  </a:cubicBezTo>
                  <a:cubicBezTo>
                    <a:pt x="16378" y="246925"/>
                    <a:pt x="18897" y="243146"/>
                    <a:pt x="20157" y="240626"/>
                  </a:cubicBezTo>
                  <a:lnTo>
                    <a:pt x="20157" y="240626"/>
                  </a:lnTo>
                  <a:cubicBezTo>
                    <a:pt x="22677" y="236847"/>
                    <a:pt x="25196" y="231808"/>
                    <a:pt x="27716" y="226768"/>
                  </a:cubicBezTo>
                  <a:cubicBezTo>
                    <a:pt x="30236" y="221729"/>
                    <a:pt x="34015" y="216690"/>
                    <a:pt x="37795" y="211650"/>
                  </a:cubicBezTo>
                  <a:cubicBezTo>
                    <a:pt x="41574" y="206611"/>
                    <a:pt x="45354" y="200312"/>
                    <a:pt x="49133" y="196533"/>
                  </a:cubicBezTo>
                  <a:cubicBezTo>
                    <a:pt x="55432" y="187714"/>
                    <a:pt x="61731" y="180155"/>
                    <a:pt x="69290" y="172596"/>
                  </a:cubicBezTo>
                  <a:lnTo>
                    <a:pt x="71810" y="170076"/>
                  </a:lnTo>
                  <a:cubicBezTo>
                    <a:pt x="78109" y="162517"/>
                    <a:pt x="86928" y="153699"/>
                    <a:pt x="95747" y="144880"/>
                  </a:cubicBezTo>
                  <a:cubicBezTo>
                    <a:pt x="98266" y="142360"/>
                    <a:pt x="102046" y="139840"/>
                    <a:pt x="104566" y="137321"/>
                  </a:cubicBezTo>
                  <a:lnTo>
                    <a:pt x="104566" y="137321"/>
                  </a:lnTo>
                  <a:lnTo>
                    <a:pt x="104566" y="137321"/>
                  </a:lnTo>
                  <a:cubicBezTo>
                    <a:pt x="104566" y="137321"/>
                    <a:pt x="104566" y="137321"/>
                    <a:pt x="104566" y="137321"/>
                  </a:cubicBezTo>
                  <a:cubicBezTo>
                    <a:pt x="109605" y="132281"/>
                    <a:pt x="115904" y="127242"/>
                    <a:pt x="120943" y="120943"/>
                  </a:cubicBezTo>
                  <a:cubicBezTo>
                    <a:pt x="129762" y="112124"/>
                    <a:pt x="137321" y="104565"/>
                    <a:pt x="146140" y="97007"/>
                  </a:cubicBezTo>
                  <a:cubicBezTo>
                    <a:pt x="149919" y="93227"/>
                    <a:pt x="154958" y="89448"/>
                    <a:pt x="159998" y="84408"/>
                  </a:cubicBezTo>
                  <a:cubicBezTo>
                    <a:pt x="162517" y="81889"/>
                    <a:pt x="165037" y="80629"/>
                    <a:pt x="167557" y="78109"/>
                  </a:cubicBezTo>
                  <a:cubicBezTo>
                    <a:pt x="168816" y="76849"/>
                    <a:pt x="171336" y="75589"/>
                    <a:pt x="172596" y="73070"/>
                  </a:cubicBezTo>
                  <a:lnTo>
                    <a:pt x="176375" y="70550"/>
                  </a:lnTo>
                  <a:cubicBezTo>
                    <a:pt x="180155" y="66771"/>
                    <a:pt x="183934" y="64251"/>
                    <a:pt x="187714" y="60472"/>
                  </a:cubicBezTo>
                  <a:cubicBezTo>
                    <a:pt x="187714" y="60472"/>
                    <a:pt x="188973" y="59212"/>
                    <a:pt x="188973" y="59212"/>
                  </a:cubicBezTo>
                  <a:lnTo>
                    <a:pt x="191493" y="56692"/>
                  </a:lnTo>
                  <a:cubicBezTo>
                    <a:pt x="192753" y="55432"/>
                    <a:pt x="194013" y="54172"/>
                    <a:pt x="194013" y="52913"/>
                  </a:cubicBezTo>
                  <a:cubicBezTo>
                    <a:pt x="196533" y="50393"/>
                    <a:pt x="197792" y="49133"/>
                    <a:pt x="200312" y="46614"/>
                  </a:cubicBezTo>
                  <a:lnTo>
                    <a:pt x="200312" y="46614"/>
                  </a:lnTo>
                  <a:lnTo>
                    <a:pt x="200312" y="46614"/>
                  </a:lnTo>
                  <a:lnTo>
                    <a:pt x="200312" y="46614"/>
                  </a:lnTo>
                  <a:lnTo>
                    <a:pt x="200312" y="46614"/>
                  </a:lnTo>
                  <a:lnTo>
                    <a:pt x="200312" y="46614"/>
                  </a:lnTo>
                  <a:lnTo>
                    <a:pt x="200312" y="46614"/>
                  </a:lnTo>
                  <a:cubicBezTo>
                    <a:pt x="201572" y="45354"/>
                    <a:pt x="202832" y="45354"/>
                    <a:pt x="204092" y="44094"/>
                  </a:cubicBezTo>
                  <a:cubicBezTo>
                    <a:pt x="204092" y="44094"/>
                    <a:pt x="204092" y="44094"/>
                    <a:pt x="204092" y="44094"/>
                  </a:cubicBezTo>
                  <a:cubicBezTo>
                    <a:pt x="204092" y="44094"/>
                    <a:pt x="204092" y="44094"/>
                    <a:pt x="204092" y="44094"/>
                  </a:cubicBezTo>
                  <a:lnTo>
                    <a:pt x="204092" y="44094"/>
                  </a:lnTo>
                  <a:lnTo>
                    <a:pt x="204092" y="44094"/>
                  </a:lnTo>
                  <a:cubicBezTo>
                    <a:pt x="204092" y="44094"/>
                    <a:pt x="204092" y="44094"/>
                    <a:pt x="204092" y="44094"/>
                  </a:cubicBezTo>
                  <a:cubicBezTo>
                    <a:pt x="204092" y="44094"/>
                    <a:pt x="204092" y="44094"/>
                    <a:pt x="204092" y="44094"/>
                  </a:cubicBezTo>
                  <a:lnTo>
                    <a:pt x="204092" y="44094"/>
                  </a:lnTo>
                  <a:lnTo>
                    <a:pt x="204092" y="44094"/>
                  </a:lnTo>
                  <a:lnTo>
                    <a:pt x="204092" y="44094"/>
                  </a:lnTo>
                  <a:lnTo>
                    <a:pt x="204092" y="44094"/>
                  </a:lnTo>
                  <a:lnTo>
                    <a:pt x="204092" y="44094"/>
                  </a:lnTo>
                  <a:lnTo>
                    <a:pt x="204092" y="44094"/>
                  </a:lnTo>
                  <a:lnTo>
                    <a:pt x="204092" y="44094"/>
                  </a:lnTo>
                  <a:lnTo>
                    <a:pt x="204092" y="44094"/>
                  </a:lnTo>
                  <a:lnTo>
                    <a:pt x="204092" y="44094"/>
                  </a:lnTo>
                  <a:cubicBezTo>
                    <a:pt x="207871" y="41574"/>
                    <a:pt x="211651" y="39055"/>
                    <a:pt x="215430" y="35275"/>
                  </a:cubicBezTo>
                  <a:cubicBezTo>
                    <a:pt x="216690" y="34015"/>
                    <a:pt x="219209" y="32755"/>
                    <a:pt x="220469" y="31496"/>
                  </a:cubicBezTo>
                  <a:cubicBezTo>
                    <a:pt x="221729" y="30236"/>
                    <a:pt x="222989" y="28976"/>
                    <a:pt x="225508" y="27716"/>
                  </a:cubicBezTo>
                  <a:cubicBezTo>
                    <a:pt x="228028" y="25196"/>
                    <a:pt x="231807" y="23937"/>
                    <a:pt x="234327" y="22677"/>
                  </a:cubicBezTo>
                  <a:cubicBezTo>
                    <a:pt x="235587" y="21417"/>
                    <a:pt x="236847" y="21417"/>
                    <a:pt x="238107" y="20157"/>
                  </a:cubicBezTo>
                  <a:lnTo>
                    <a:pt x="238107" y="20157"/>
                  </a:lnTo>
                  <a:cubicBezTo>
                    <a:pt x="240626" y="18897"/>
                    <a:pt x="241886" y="17638"/>
                    <a:pt x="244406" y="16378"/>
                  </a:cubicBezTo>
                  <a:cubicBezTo>
                    <a:pt x="249445" y="13858"/>
                    <a:pt x="255744" y="10079"/>
                    <a:pt x="262043" y="7559"/>
                  </a:cubicBezTo>
                  <a:cubicBezTo>
                    <a:pt x="268343" y="5039"/>
                    <a:pt x="275901" y="2520"/>
                    <a:pt x="283460" y="1260"/>
                  </a:cubicBezTo>
                  <a:cubicBezTo>
                    <a:pt x="288499" y="1260"/>
                    <a:pt x="292279" y="0"/>
                    <a:pt x="296058" y="0"/>
                  </a:cubicBezTo>
                  <a:cubicBezTo>
                    <a:pt x="297318" y="1260"/>
                    <a:pt x="301098" y="1260"/>
                    <a:pt x="306137" y="1260"/>
                  </a:cubicBezTo>
                  <a:lnTo>
                    <a:pt x="306137" y="1260"/>
                  </a:lnTo>
                  <a:close/>
                </a:path>
              </a:pathLst>
            </a:custGeom>
            <a:solidFill>
              <a:srgbClr val="F2A988"/>
            </a:solidFill>
            <a:ln w="12584" cap="flat">
              <a:noFill/>
              <a:prstDash val="solid"/>
              <a:miter/>
            </a:ln>
          </p:spPr>
          <p:txBody>
            <a:bodyPr rtlCol="0" anchor="ctr"/>
            <a:lstStyle/>
            <a:p>
              <a:endParaRPr lang="zh-CN" altLang="en-US"/>
            </a:p>
          </p:txBody>
        </p:sp>
        <p:sp>
          <p:nvSpPr>
            <p:cNvPr id="10232" name="任意多边形: 形状 10231"/>
            <p:cNvSpPr/>
            <p:nvPr/>
          </p:nvSpPr>
          <p:spPr>
            <a:xfrm>
              <a:off x="4877491" y="2488611"/>
              <a:ext cx="251965" cy="415742"/>
            </a:xfrm>
            <a:custGeom>
              <a:avLst/>
              <a:gdLst>
                <a:gd name="connsiteX0" fmla="*/ 172596 w 251964"/>
                <a:gd name="connsiteY0" fmla="*/ 560 h 415741"/>
                <a:gd name="connsiteX1" fmla="*/ 177635 w 251964"/>
                <a:gd name="connsiteY1" fmla="*/ 11898 h 415741"/>
                <a:gd name="connsiteX2" fmla="*/ 177635 w 251964"/>
                <a:gd name="connsiteY2" fmla="*/ 13158 h 415741"/>
                <a:gd name="connsiteX3" fmla="*/ 180155 w 251964"/>
                <a:gd name="connsiteY3" fmla="*/ 16938 h 415741"/>
                <a:gd name="connsiteX4" fmla="*/ 180155 w 251964"/>
                <a:gd name="connsiteY4" fmla="*/ 16938 h 415741"/>
                <a:gd name="connsiteX5" fmla="*/ 182674 w 251964"/>
                <a:gd name="connsiteY5" fmla="*/ 20717 h 415741"/>
                <a:gd name="connsiteX6" fmla="*/ 194013 w 251964"/>
                <a:gd name="connsiteY6" fmla="*/ 30796 h 415741"/>
                <a:gd name="connsiteX7" fmla="*/ 200312 w 251964"/>
                <a:gd name="connsiteY7" fmla="*/ 35835 h 415741"/>
                <a:gd name="connsiteX8" fmla="*/ 211650 w 251964"/>
                <a:gd name="connsiteY8" fmla="*/ 43394 h 415741"/>
                <a:gd name="connsiteX9" fmla="*/ 226768 w 251964"/>
                <a:gd name="connsiteY9" fmla="*/ 49693 h 415741"/>
                <a:gd name="connsiteX10" fmla="*/ 234327 w 251964"/>
                <a:gd name="connsiteY10" fmla="*/ 52213 h 415741"/>
                <a:gd name="connsiteX11" fmla="*/ 238107 w 251964"/>
                <a:gd name="connsiteY11" fmla="*/ 53473 h 415741"/>
                <a:gd name="connsiteX12" fmla="*/ 238107 w 251964"/>
                <a:gd name="connsiteY12" fmla="*/ 53473 h 415741"/>
                <a:gd name="connsiteX13" fmla="*/ 248185 w 251964"/>
                <a:gd name="connsiteY13" fmla="*/ 58512 h 415741"/>
                <a:gd name="connsiteX14" fmla="*/ 255744 w 251964"/>
                <a:gd name="connsiteY14" fmla="*/ 61031 h 415741"/>
                <a:gd name="connsiteX15" fmla="*/ 257004 w 251964"/>
                <a:gd name="connsiteY15" fmla="*/ 61031 h 415741"/>
                <a:gd name="connsiteX16" fmla="*/ 257004 w 251964"/>
                <a:gd name="connsiteY16" fmla="*/ 61031 h 415741"/>
                <a:gd name="connsiteX17" fmla="*/ 257004 w 251964"/>
                <a:gd name="connsiteY17" fmla="*/ 61031 h 415741"/>
                <a:gd name="connsiteX18" fmla="*/ 257004 w 251964"/>
                <a:gd name="connsiteY18" fmla="*/ 61031 h 415741"/>
                <a:gd name="connsiteX19" fmla="*/ 257004 w 251964"/>
                <a:gd name="connsiteY19" fmla="*/ 61031 h 415741"/>
                <a:gd name="connsiteX20" fmla="*/ 258264 w 251964"/>
                <a:gd name="connsiteY20" fmla="*/ 61031 h 415741"/>
                <a:gd name="connsiteX21" fmla="*/ 259524 w 251964"/>
                <a:gd name="connsiteY21" fmla="*/ 62291 h 415741"/>
                <a:gd name="connsiteX22" fmla="*/ 259524 w 251964"/>
                <a:gd name="connsiteY22" fmla="*/ 67331 h 415741"/>
                <a:gd name="connsiteX23" fmla="*/ 258264 w 251964"/>
                <a:gd name="connsiteY23" fmla="*/ 79929 h 415741"/>
                <a:gd name="connsiteX24" fmla="*/ 257004 w 251964"/>
                <a:gd name="connsiteY24" fmla="*/ 86228 h 415741"/>
                <a:gd name="connsiteX25" fmla="*/ 257004 w 251964"/>
                <a:gd name="connsiteY25" fmla="*/ 86228 h 415741"/>
                <a:gd name="connsiteX26" fmla="*/ 255744 w 251964"/>
                <a:gd name="connsiteY26" fmla="*/ 92527 h 415741"/>
                <a:gd name="connsiteX27" fmla="*/ 254484 w 251964"/>
                <a:gd name="connsiteY27" fmla="*/ 105125 h 415741"/>
                <a:gd name="connsiteX28" fmla="*/ 254484 w 251964"/>
                <a:gd name="connsiteY28" fmla="*/ 111424 h 415741"/>
                <a:gd name="connsiteX29" fmla="*/ 254484 w 251964"/>
                <a:gd name="connsiteY29" fmla="*/ 122763 h 415741"/>
                <a:gd name="connsiteX30" fmla="*/ 249445 w 251964"/>
                <a:gd name="connsiteY30" fmla="*/ 126542 h 415741"/>
                <a:gd name="connsiteX31" fmla="*/ 235587 w 251964"/>
                <a:gd name="connsiteY31" fmla="*/ 139140 h 415741"/>
                <a:gd name="connsiteX32" fmla="*/ 235587 w 251964"/>
                <a:gd name="connsiteY32" fmla="*/ 156778 h 415741"/>
                <a:gd name="connsiteX33" fmla="*/ 250705 w 251964"/>
                <a:gd name="connsiteY33" fmla="*/ 159298 h 415741"/>
                <a:gd name="connsiteX34" fmla="*/ 250705 w 251964"/>
                <a:gd name="connsiteY34" fmla="*/ 159298 h 415741"/>
                <a:gd name="connsiteX35" fmla="*/ 250705 w 251964"/>
                <a:gd name="connsiteY35" fmla="*/ 163077 h 415741"/>
                <a:gd name="connsiteX36" fmla="*/ 250705 w 251964"/>
                <a:gd name="connsiteY36" fmla="*/ 164337 h 415741"/>
                <a:gd name="connsiteX37" fmla="*/ 250705 w 251964"/>
                <a:gd name="connsiteY37" fmla="*/ 165597 h 415741"/>
                <a:gd name="connsiteX38" fmla="*/ 250705 w 251964"/>
                <a:gd name="connsiteY38" fmla="*/ 170636 h 415741"/>
                <a:gd name="connsiteX39" fmla="*/ 249445 w 251964"/>
                <a:gd name="connsiteY39" fmla="*/ 178195 h 415741"/>
                <a:gd name="connsiteX40" fmla="*/ 245666 w 251964"/>
                <a:gd name="connsiteY40" fmla="*/ 181975 h 415741"/>
                <a:gd name="connsiteX41" fmla="*/ 243146 w 251964"/>
                <a:gd name="connsiteY41" fmla="*/ 184494 h 415741"/>
                <a:gd name="connsiteX42" fmla="*/ 236847 w 251964"/>
                <a:gd name="connsiteY42" fmla="*/ 190793 h 415741"/>
                <a:gd name="connsiteX43" fmla="*/ 233067 w 251964"/>
                <a:gd name="connsiteY43" fmla="*/ 194573 h 415741"/>
                <a:gd name="connsiteX44" fmla="*/ 228028 w 251964"/>
                <a:gd name="connsiteY44" fmla="*/ 199612 h 415741"/>
                <a:gd name="connsiteX45" fmla="*/ 226768 w 251964"/>
                <a:gd name="connsiteY45" fmla="*/ 204651 h 415741"/>
                <a:gd name="connsiteX46" fmla="*/ 226768 w 251964"/>
                <a:gd name="connsiteY46" fmla="*/ 205911 h 415741"/>
                <a:gd name="connsiteX47" fmla="*/ 226768 w 251964"/>
                <a:gd name="connsiteY47" fmla="*/ 207171 h 415741"/>
                <a:gd name="connsiteX48" fmla="*/ 229288 w 251964"/>
                <a:gd name="connsiteY48" fmla="*/ 212210 h 415741"/>
                <a:gd name="connsiteX49" fmla="*/ 235587 w 251964"/>
                <a:gd name="connsiteY49" fmla="*/ 214730 h 415741"/>
                <a:gd name="connsiteX50" fmla="*/ 235587 w 251964"/>
                <a:gd name="connsiteY50" fmla="*/ 214730 h 415741"/>
                <a:gd name="connsiteX51" fmla="*/ 240626 w 251964"/>
                <a:gd name="connsiteY51" fmla="*/ 213470 h 415741"/>
                <a:gd name="connsiteX52" fmla="*/ 241886 w 251964"/>
                <a:gd name="connsiteY52" fmla="*/ 212210 h 415741"/>
                <a:gd name="connsiteX53" fmla="*/ 240626 w 251964"/>
                <a:gd name="connsiteY53" fmla="*/ 217250 h 415741"/>
                <a:gd name="connsiteX54" fmla="*/ 236847 w 251964"/>
                <a:gd name="connsiteY54" fmla="*/ 229848 h 415741"/>
                <a:gd name="connsiteX55" fmla="*/ 233067 w 251964"/>
                <a:gd name="connsiteY55" fmla="*/ 239926 h 415741"/>
                <a:gd name="connsiteX56" fmla="*/ 230548 w 251964"/>
                <a:gd name="connsiteY56" fmla="*/ 244966 h 415741"/>
                <a:gd name="connsiteX57" fmla="*/ 230548 w 251964"/>
                <a:gd name="connsiteY57" fmla="*/ 246225 h 415741"/>
                <a:gd name="connsiteX58" fmla="*/ 230548 w 251964"/>
                <a:gd name="connsiteY58" fmla="*/ 247485 h 415741"/>
                <a:gd name="connsiteX59" fmla="*/ 228028 w 251964"/>
                <a:gd name="connsiteY59" fmla="*/ 252525 h 415741"/>
                <a:gd name="connsiteX60" fmla="*/ 226768 w 251964"/>
                <a:gd name="connsiteY60" fmla="*/ 253784 h 415741"/>
                <a:gd name="connsiteX61" fmla="*/ 222989 w 251964"/>
                <a:gd name="connsiteY61" fmla="*/ 258824 h 415741"/>
                <a:gd name="connsiteX62" fmla="*/ 220469 w 251964"/>
                <a:gd name="connsiteY62" fmla="*/ 265123 h 415741"/>
                <a:gd name="connsiteX63" fmla="*/ 220469 w 251964"/>
                <a:gd name="connsiteY63" fmla="*/ 265123 h 415741"/>
                <a:gd name="connsiteX64" fmla="*/ 220469 w 251964"/>
                <a:gd name="connsiteY64" fmla="*/ 266383 h 415741"/>
                <a:gd name="connsiteX65" fmla="*/ 220469 w 251964"/>
                <a:gd name="connsiteY65" fmla="*/ 266383 h 415741"/>
                <a:gd name="connsiteX66" fmla="*/ 219209 w 251964"/>
                <a:gd name="connsiteY66" fmla="*/ 268902 h 415741"/>
                <a:gd name="connsiteX67" fmla="*/ 219209 w 251964"/>
                <a:gd name="connsiteY67" fmla="*/ 268902 h 415741"/>
                <a:gd name="connsiteX68" fmla="*/ 217949 w 251964"/>
                <a:gd name="connsiteY68" fmla="*/ 271422 h 415741"/>
                <a:gd name="connsiteX69" fmla="*/ 217949 w 251964"/>
                <a:gd name="connsiteY69" fmla="*/ 271422 h 415741"/>
                <a:gd name="connsiteX70" fmla="*/ 217949 w 251964"/>
                <a:gd name="connsiteY70" fmla="*/ 271422 h 415741"/>
                <a:gd name="connsiteX71" fmla="*/ 216690 w 251964"/>
                <a:gd name="connsiteY71" fmla="*/ 273942 h 415741"/>
                <a:gd name="connsiteX72" fmla="*/ 216690 w 251964"/>
                <a:gd name="connsiteY72" fmla="*/ 275201 h 415741"/>
                <a:gd name="connsiteX73" fmla="*/ 216690 w 251964"/>
                <a:gd name="connsiteY73" fmla="*/ 276461 h 415741"/>
                <a:gd name="connsiteX74" fmla="*/ 217949 w 251964"/>
                <a:gd name="connsiteY74" fmla="*/ 280241 h 415741"/>
                <a:gd name="connsiteX75" fmla="*/ 219209 w 251964"/>
                <a:gd name="connsiteY75" fmla="*/ 290319 h 415741"/>
                <a:gd name="connsiteX76" fmla="*/ 219209 w 251964"/>
                <a:gd name="connsiteY76" fmla="*/ 290319 h 415741"/>
                <a:gd name="connsiteX77" fmla="*/ 220469 w 251964"/>
                <a:gd name="connsiteY77" fmla="*/ 300398 h 415741"/>
                <a:gd name="connsiteX78" fmla="*/ 221729 w 251964"/>
                <a:gd name="connsiteY78" fmla="*/ 310476 h 415741"/>
                <a:gd name="connsiteX79" fmla="*/ 224248 w 251964"/>
                <a:gd name="connsiteY79" fmla="*/ 321815 h 415741"/>
                <a:gd name="connsiteX80" fmla="*/ 230548 w 251964"/>
                <a:gd name="connsiteY80" fmla="*/ 338193 h 415741"/>
                <a:gd name="connsiteX81" fmla="*/ 234327 w 251964"/>
                <a:gd name="connsiteY81" fmla="*/ 347011 h 415741"/>
                <a:gd name="connsiteX82" fmla="*/ 234327 w 251964"/>
                <a:gd name="connsiteY82" fmla="*/ 347011 h 415741"/>
                <a:gd name="connsiteX83" fmla="*/ 236847 w 251964"/>
                <a:gd name="connsiteY83" fmla="*/ 353310 h 415741"/>
                <a:gd name="connsiteX84" fmla="*/ 238107 w 251964"/>
                <a:gd name="connsiteY84" fmla="*/ 354570 h 415741"/>
                <a:gd name="connsiteX85" fmla="*/ 238107 w 251964"/>
                <a:gd name="connsiteY85" fmla="*/ 354570 h 415741"/>
                <a:gd name="connsiteX86" fmla="*/ 240626 w 251964"/>
                <a:gd name="connsiteY86" fmla="*/ 359610 h 415741"/>
                <a:gd name="connsiteX87" fmla="*/ 241886 w 251964"/>
                <a:gd name="connsiteY87" fmla="*/ 364649 h 415741"/>
                <a:gd name="connsiteX88" fmla="*/ 241886 w 251964"/>
                <a:gd name="connsiteY88" fmla="*/ 365909 h 415741"/>
                <a:gd name="connsiteX89" fmla="*/ 241886 w 251964"/>
                <a:gd name="connsiteY89" fmla="*/ 365909 h 415741"/>
                <a:gd name="connsiteX90" fmla="*/ 241886 w 251964"/>
                <a:gd name="connsiteY90" fmla="*/ 365909 h 415741"/>
                <a:gd name="connsiteX91" fmla="*/ 241886 w 251964"/>
                <a:gd name="connsiteY91" fmla="*/ 369688 h 415741"/>
                <a:gd name="connsiteX92" fmla="*/ 241886 w 251964"/>
                <a:gd name="connsiteY92" fmla="*/ 373468 h 415741"/>
                <a:gd name="connsiteX93" fmla="*/ 241886 w 251964"/>
                <a:gd name="connsiteY93" fmla="*/ 374728 h 415741"/>
                <a:gd name="connsiteX94" fmla="*/ 240626 w 251964"/>
                <a:gd name="connsiteY94" fmla="*/ 378507 h 415741"/>
                <a:gd name="connsiteX95" fmla="*/ 236847 w 251964"/>
                <a:gd name="connsiteY95" fmla="*/ 387326 h 415741"/>
                <a:gd name="connsiteX96" fmla="*/ 231807 w 251964"/>
                <a:gd name="connsiteY96" fmla="*/ 393625 h 415741"/>
                <a:gd name="connsiteX97" fmla="*/ 219209 w 251964"/>
                <a:gd name="connsiteY97" fmla="*/ 406223 h 415741"/>
                <a:gd name="connsiteX98" fmla="*/ 210391 w 251964"/>
                <a:gd name="connsiteY98" fmla="*/ 411262 h 415741"/>
                <a:gd name="connsiteX99" fmla="*/ 209131 w 251964"/>
                <a:gd name="connsiteY99" fmla="*/ 412522 h 415741"/>
                <a:gd name="connsiteX100" fmla="*/ 202832 w 251964"/>
                <a:gd name="connsiteY100" fmla="*/ 416302 h 415741"/>
                <a:gd name="connsiteX101" fmla="*/ 185194 w 251964"/>
                <a:gd name="connsiteY101" fmla="*/ 421341 h 415741"/>
                <a:gd name="connsiteX102" fmla="*/ 175115 w 251964"/>
                <a:gd name="connsiteY102" fmla="*/ 421341 h 415741"/>
                <a:gd name="connsiteX103" fmla="*/ 166297 w 251964"/>
                <a:gd name="connsiteY103" fmla="*/ 421341 h 415741"/>
                <a:gd name="connsiteX104" fmla="*/ 165037 w 251964"/>
                <a:gd name="connsiteY104" fmla="*/ 421341 h 415741"/>
                <a:gd name="connsiteX105" fmla="*/ 157478 w 251964"/>
                <a:gd name="connsiteY105" fmla="*/ 420081 h 415741"/>
                <a:gd name="connsiteX106" fmla="*/ 149919 w 251964"/>
                <a:gd name="connsiteY106" fmla="*/ 417561 h 415741"/>
                <a:gd name="connsiteX107" fmla="*/ 137321 w 251964"/>
                <a:gd name="connsiteY107" fmla="*/ 411262 h 415741"/>
                <a:gd name="connsiteX108" fmla="*/ 131022 w 251964"/>
                <a:gd name="connsiteY108" fmla="*/ 406223 h 415741"/>
                <a:gd name="connsiteX109" fmla="*/ 125982 w 251964"/>
                <a:gd name="connsiteY109" fmla="*/ 399924 h 415741"/>
                <a:gd name="connsiteX110" fmla="*/ 123463 w 251964"/>
                <a:gd name="connsiteY110" fmla="*/ 393625 h 415741"/>
                <a:gd name="connsiteX111" fmla="*/ 120943 w 251964"/>
                <a:gd name="connsiteY111" fmla="*/ 386066 h 415741"/>
                <a:gd name="connsiteX112" fmla="*/ 119683 w 251964"/>
                <a:gd name="connsiteY112" fmla="*/ 378507 h 415741"/>
                <a:gd name="connsiteX113" fmla="*/ 119683 w 251964"/>
                <a:gd name="connsiteY113" fmla="*/ 378507 h 415741"/>
                <a:gd name="connsiteX114" fmla="*/ 119683 w 251964"/>
                <a:gd name="connsiteY114" fmla="*/ 378507 h 415741"/>
                <a:gd name="connsiteX115" fmla="*/ 119683 w 251964"/>
                <a:gd name="connsiteY115" fmla="*/ 378507 h 415741"/>
                <a:gd name="connsiteX116" fmla="*/ 125982 w 251964"/>
                <a:gd name="connsiteY116" fmla="*/ 373468 h 415741"/>
                <a:gd name="connsiteX117" fmla="*/ 129762 w 251964"/>
                <a:gd name="connsiteY117" fmla="*/ 368428 h 415741"/>
                <a:gd name="connsiteX118" fmla="*/ 131022 w 251964"/>
                <a:gd name="connsiteY118" fmla="*/ 358350 h 415741"/>
                <a:gd name="connsiteX119" fmla="*/ 128502 w 251964"/>
                <a:gd name="connsiteY119" fmla="*/ 353310 h 415741"/>
                <a:gd name="connsiteX120" fmla="*/ 132281 w 251964"/>
                <a:gd name="connsiteY120" fmla="*/ 336933 h 415741"/>
                <a:gd name="connsiteX121" fmla="*/ 132281 w 251964"/>
                <a:gd name="connsiteY121" fmla="*/ 336933 h 415741"/>
                <a:gd name="connsiteX122" fmla="*/ 132281 w 251964"/>
                <a:gd name="connsiteY122" fmla="*/ 336933 h 415741"/>
                <a:gd name="connsiteX123" fmla="*/ 134801 w 251964"/>
                <a:gd name="connsiteY123" fmla="*/ 318036 h 415741"/>
                <a:gd name="connsiteX124" fmla="*/ 134801 w 251964"/>
                <a:gd name="connsiteY124" fmla="*/ 312996 h 415741"/>
                <a:gd name="connsiteX125" fmla="*/ 131022 w 251964"/>
                <a:gd name="connsiteY125" fmla="*/ 312996 h 415741"/>
                <a:gd name="connsiteX126" fmla="*/ 125982 w 251964"/>
                <a:gd name="connsiteY126" fmla="*/ 312996 h 415741"/>
                <a:gd name="connsiteX127" fmla="*/ 110864 w 251964"/>
                <a:gd name="connsiteY127" fmla="*/ 310476 h 415741"/>
                <a:gd name="connsiteX128" fmla="*/ 107085 w 251964"/>
                <a:gd name="connsiteY128" fmla="*/ 309217 h 415741"/>
                <a:gd name="connsiteX129" fmla="*/ 107085 w 251964"/>
                <a:gd name="connsiteY129" fmla="*/ 309217 h 415741"/>
                <a:gd name="connsiteX130" fmla="*/ 93227 w 251964"/>
                <a:gd name="connsiteY130" fmla="*/ 306697 h 415741"/>
                <a:gd name="connsiteX131" fmla="*/ 74329 w 251964"/>
                <a:gd name="connsiteY131" fmla="*/ 300398 h 415741"/>
                <a:gd name="connsiteX132" fmla="*/ 56692 w 251964"/>
                <a:gd name="connsiteY132" fmla="*/ 291579 h 415741"/>
                <a:gd name="connsiteX133" fmla="*/ 49133 w 251964"/>
                <a:gd name="connsiteY133" fmla="*/ 286540 h 415741"/>
                <a:gd name="connsiteX134" fmla="*/ 41574 w 251964"/>
                <a:gd name="connsiteY134" fmla="*/ 280241 h 415741"/>
                <a:gd name="connsiteX135" fmla="*/ 30236 w 251964"/>
                <a:gd name="connsiteY135" fmla="*/ 265123 h 415741"/>
                <a:gd name="connsiteX136" fmla="*/ 21417 w 251964"/>
                <a:gd name="connsiteY136" fmla="*/ 248745 h 415741"/>
                <a:gd name="connsiteX137" fmla="*/ 13858 w 251964"/>
                <a:gd name="connsiteY137" fmla="*/ 229848 h 415741"/>
                <a:gd name="connsiteX138" fmla="*/ 10078 w 251964"/>
                <a:gd name="connsiteY138" fmla="*/ 218509 h 415741"/>
                <a:gd name="connsiteX139" fmla="*/ 10078 w 251964"/>
                <a:gd name="connsiteY139" fmla="*/ 218509 h 415741"/>
                <a:gd name="connsiteX140" fmla="*/ 10078 w 251964"/>
                <a:gd name="connsiteY140" fmla="*/ 218509 h 415741"/>
                <a:gd name="connsiteX141" fmla="*/ 8819 w 251964"/>
                <a:gd name="connsiteY141" fmla="*/ 212210 h 415741"/>
                <a:gd name="connsiteX142" fmla="*/ 5039 w 251964"/>
                <a:gd name="connsiteY142" fmla="*/ 194573 h 415741"/>
                <a:gd name="connsiteX143" fmla="*/ 5039 w 251964"/>
                <a:gd name="connsiteY143" fmla="*/ 193313 h 415741"/>
                <a:gd name="connsiteX144" fmla="*/ 2520 w 251964"/>
                <a:gd name="connsiteY144" fmla="*/ 174416 h 415741"/>
                <a:gd name="connsiteX145" fmla="*/ 0 w 251964"/>
                <a:gd name="connsiteY145" fmla="*/ 135361 h 415741"/>
                <a:gd name="connsiteX146" fmla="*/ 0 w 251964"/>
                <a:gd name="connsiteY146" fmla="*/ 100086 h 415741"/>
                <a:gd name="connsiteX147" fmla="*/ 0 w 251964"/>
                <a:gd name="connsiteY147" fmla="*/ 96307 h 415741"/>
                <a:gd name="connsiteX148" fmla="*/ 1260 w 251964"/>
                <a:gd name="connsiteY148" fmla="*/ 78669 h 415741"/>
                <a:gd name="connsiteX149" fmla="*/ 3779 w 251964"/>
                <a:gd name="connsiteY149" fmla="*/ 59772 h 415741"/>
                <a:gd name="connsiteX150" fmla="*/ 3779 w 251964"/>
                <a:gd name="connsiteY150" fmla="*/ 55992 h 415741"/>
                <a:gd name="connsiteX151" fmla="*/ 3779 w 251964"/>
                <a:gd name="connsiteY151" fmla="*/ 52213 h 415741"/>
                <a:gd name="connsiteX152" fmla="*/ 5039 w 251964"/>
                <a:gd name="connsiteY152" fmla="*/ 52213 h 415741"/>
                <a:gd name="connsiteX153" fmla="*/ 7559 w 251964"/>
                <a:gd name="connsiteY153" fmla="*/ 52213 h 415741"/>
                <a:gd name="connsiteX154" fmla="*/ 18897 w 251964"/>
                <a:gd name="connsiteY154" fmla="*/ 52213 h 415741"/>
                <a:gd name="connsiteX155" fmla="*/ 20157 w 251964"/>
                <a:gd name="connsiteY155" fmla="*/ 52213 h 415741"/>
                <a:gd name="connsiteX156" fmla="*/ 25196 w 251964"/>
                <a:gd name="connsiteY156" fmla="*/ 53473 h 415741"/>
                <a:gd name="connsiteX157" fmla="*/ 35275 w 251964"/>
                <a:gd name="connsiteY157" fmla="*/ 54732 h 415741"/>
                <a:gd name="connsiteX158" fmla="*/ 47873 w 251964"/>
                <a:gd name="connsiteY158" fmla="*/ 54732 h 415741"/>
                <a:gd name="connsiteX159" fmla="*/ 47873 w 251964"/>
                <a:gd name="connsiteY159" fmla="*/ 54732 h 415741"/>
                <a:gd name="connsiteX160" fmla="*/ 69290 w 251964"/>
                <a:gd name="connsiteY160" fmla="*/ 53473 h 415741"/>
                <a:gd name="connsiteX161" fmla="*/ 90707 w 251964"/>
                <a:gd name="connsiteY161" fmla="*/ 48433 h 415741"/>
                <a:gd name="connsiteX162" fmla="*/ 108345 w 251964"/>
                <a:gd name="connsiteY162" fmla="*/ 43394 h 415741"/>
                <a:gd name="connsiteX163" fmla="*/ 110864 w 251964"/>
                <a:gd name="connsiteY163" fmla="*/ 42134 h 415741"/>
                <a:gd name="connsiteX164" fmla="*/ 110864 w 251964"/>
                <a:gd name="connsiteY164" fmla="*/ 42134 h 415741"/>
                <a:gd name="connsiteX165" fmla="*/ 110864 w 251964"/>
                <a:gd name="connsiteY165" fmla="*/ 42134 h 415741"/>
                <a:gd name="connsiteX166" fmla="*/ 110864 w 251964"/>
                <a:gd name="connsiteY166" fmla="*/ 42134 h 415741"/>
                <a:gd name="connsiteX167" fmla="*/ 110864 w 251964"/>
                <a:gd name="connsiteY167" fmla="*/ 42134 h 415741"/>
                <a:gd name="connsiteX168" fmla="*/ 110864 w 251964"/>
                <a:gd name="connsiteY168" fmla="*/ 42134 h 415741"/>
                <a:gd name="connsiteX169" fmla="*/ 110864 w 251964"/>
                <a:gd name="connsiteY169" fmla="*/ 42134 h 415741"/>
                <a:gd name="connsiteX170" fmla="*/ 112124 w 251964"/>
                <a:gd name="connsiteY170" fmla="*/ 42134 h 415741"/>
                <a:gd name="connsiteX171" fmla="*/ 112124 w 251964"/>
                <a:gd name="connsiteY171" fmla="*/ 42134 h 415741"/>
                <a:gd name="connsiteX172" fmla="*/ 113384 w 251964"/>
                <a:gd name="connsiteY172" fmla="*/ 42134 h 415741"/>
                <a:gd name="connsiteX173" fmla="*/ 113384 w 251964"/>
                <a:gd name="connsiteY173" fmla="*/ 42134 h 415741"/>
                <a:gd name="connsiteX174" fmla="*/ 131022 w 251964"/>
                <a:gd name="connsiteY174" fmla="*/ 33315 h 415741"/>
                <a:gd name="connsiteX175" fmla="*/ 149919 w 251964"/>
                <a:gd name="connsiteY175" fmla="*/ 21977 h 415741"/>
                <a:gd name="connsiteX176" fmla="*/ 158738 w 251964"/>
                <a:gd name="connsiteY176" fmla="*/ 14418 h 415741"/>
                <a:gd name="connsiteX177" fmla="*/ 166297 w 251964"/>
                <a:gd name="connsiteY177" fmla="*/ 6859 h 415741"/>
                <a:gd name="connsiteX178" fmla="*/ 170076 w 251964"/>
                <a:gd name="connsiteY178" fmla="*/ 1820 h 415741"/>
                <a:gd name="connsiteX179" fmla="*/ 171336 w 251964"/>
                <a:gd name="connsiteY179" fmla="*/ 560 h 415741"/>
                <a:gd name="connsiteX180" fmla="*/ 171336 w 251964"/>
                <a:gd name="connsiteY180" fmla="*/ 560 h 415741"/>
                <a:gd name="connsiteX181" fmla="*/ 171336 w 251964"/>
                <a:gd name="connsiteY181" fmla="*/ 560 h 415741"/>
                <a:gd name="connsiteX182" fmla="*/ 172596 w 251964"/>
                <a:gd name="connsiteY182" fmla="*/ 560 h 41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251964" h="415741">
                  <a:moveTo>
                    <a:pt x="172596" y="560"/>
                  </a:moveTo>
                  <a:cubicBezTo>
                    <a:pt x="173855" y="4339"/>
                    <a:pt x="175115" y="8119"/>
                    <a:pt x="177635" y="11898"/>
                  </a:cubicBezTo>
                  <a:lnTo>
                    <a:pt x="177635" y="13158"/>
                  </a:lnTo>
                  <a:cubicBezTo>
                    <a:pt x="177635" y="14418"/>
                    <a:pt x="178895" y="15678"/>
                    <a:pt x="180155" y="16938"/>
                  </a:cubicBezTo>
                  <a:lnTo>
                    <a:pt x="180155" y="16938"/>
                  </a:lnTo>
                  <a:cubicBezTo>
                    <a:pt x="181414" y="18198"/>
                    <a:pt x="181414" y="19457"/>
                    <a:pt x="182674" y="20717"/>
                  </a:cubicBezTo>
                  <a:cubicBezTo>
                    <a:pt x="185194" y="25756"/>
                    <a:pt x="190233" y="28276"/>
                    <a:pt x="194013" y="30796"/>
                  </a:cubicBezTo>
                  <a:cubicBezTo>
                    <a:pt x="196533" y="32055"/>
                    <a:pt x="197792" y="34575"/>
                    <a:pt x="200312" y="35835"/>
                  </a:cubicBezTo>
                  <a:cubicBezTo>
                    <a:pt x="204092" y="38355"/>
                    <a:pt x="207871" y="40874"/>
                    <a:pt x="211650" y="43394"/>
                  </a:cubicBezTo>
                  <a:cubicBezTo>
                    <a:pt x="216690" y="45914"/>
                    <a:pt x="221729" y="48433"/>
                    <a:pt x="226768" y="49693"/>
                  </a:cubicBezTo>
                  <a:cubicBezTo>
                    <a:pt x="229288" y="50953"/>
                    <a:pt x="231807" y="50953"/>
                    <a:pt x="234327" y="52213"/>
                  </a:cubicBezTo>
                  <a:cubicBezTo>
                    <a:pt x="235587" y="52213"/>
                    <a:pt x="236847" y="53473"/>
                    <a:pt x="238107" y="53473"/>
                  </a:cubicBezTo>
                  <a:lnTo>
                    <a:pt x="238107" y="53473"/>
                  </a:lnTo>
                  <a:cubicBezTo>
                    <a:pt x="241886" y="54732"/>
                    <a:pt x="245666" y="57252"/>
                    <a:pt x="248185" y="58512"/>
                  </a:cubicBezTo>
                  <a:cubicBezTo>
                    <a:pt x="250705" y="59772"/>
                    <a:pt x="253225" y="59772"/>
                    <a:pt x="255744" y="61031"/>
                  </a:cubicBezTo>
                  <a:cubicBezTo>
                    <a:pt x="255744" y="61031"/>
                    <a:pt x="257004" y="61031"/>
                    <a:pt x="257004" y="61031"/>
                  </a:cubicBezTo>
                  <a:lnTo>
                    <a:pt x="257004" y="61031"/>
                  </a:lnTo>
                  <a:lnTo>
                    <a:pt x="257004" y="61031"/>
                  </a:lnTo>
                  <a:cubicBezTo>
                    <a:pt x="257004" y="61031"/>
                    <a:pt x="257004" y="61031"/>
                    <a:pt x="257004" y="61031"/>
                  </a:cubicBezTo>
                  <a:lnTo>
                    <a:pt x="257004" y="61031"/>
                  </a:lnTo>
                  <a:lnTo>
                    <a:pt x="258264" y="61031"/>
                  </a:lnTo>
                  <a:cubicBezTo>
                    <a:pt x="258264" y="61031"/>
                    <a:pt x="259524" y="61031"/>
                    <a:pt x="259524" y="62291"/>
                  </a:cubicBezTo>
                  <a:cubicBezTo>
                    <a:pt x="259524" y="63551"/>
                    <a:pt x="259524" y="66071"/>
                    <a:pt x="259524" y="67331"/>
                  </a:cubicBezTo>
                  <a:cubicBezTo>
                    <a:pt x="259524" y="71110"/>
                    <a:pt x="258264" y="74890"/>
                    <a:pt x="258264" y="79929"/>
                  </a:cubicBezTo>
                  <a:cubicBezTo>
                    <a:pt x="258264" y="82448"/>
                    <a:pt x="258264" y="83708"/>
                    <a:pt x="257004" y="86228"/>
                  </a:cubicBezTo>
                  <a:lnTo>
                    <a:pt x="257004" y="86228"/>
                  </a:lnTo>
                  <a:cubicBezTo>
                    <a:pt x="257004" y="88748"/>
                    <a:pt x="257004" y="90007"/>
                    <a:pt x="255744" y="92527"/>
                  </a:cubicBezTo>
                  <a:cubicBezTo>
                    <a:pt x="255744" y="96307"/>
                    <a:pt x="254484" y="101346"/>
                    <a:pt x="254484" y="105125"/>
                  </a:cubicBezTo>
                  <a:cubicBezTo>
                    <a:pt x="254484" y="107645"/>
                    <a:pt x="254484" y="108905"/>
                    <a:pt x="254484" y="111424"/>
                  </a:cubicBezTo>
                  <a:cubicBezTo>
                    <a:pt x="254484" y="115204"/>
                    <a:pt x="254484" y="118983"/>
                    <a:pt x="254484" y="122763"/>
                  </a:cubicBezTo>
                  <a:cubicBezTo>
                    <a:pt x="253225" y="124023"/>
                    <a:pt x="250705" y="125282"/>
                    <a:pt x="249445" y="126542"/>
                  </a:cubicBezTo>
                  <a:cubicBezTo>
                    <a:pt x="244406" y="130322"/>
                    <a:pt x="239366" y="135361"/>
                    <a:pt x="235587" y="139140"/>
                  </a:cubicBezTo>
                  <a:cubicBezTo>
                    <a:pt x="230548" y="144180"/>
                    <a:pt x="230548" y="151739"/>
                    <a:pt x="235587" y="156778"/>
                  </a:cubicBezTo>
                  <a:cubicBezTo>
                    <a:pt x="239366" y="160558"/>
                    <a:pt x="245666" y="161817"/>
                    <a:pt x="250705" y="159298"/>
                  </a:cubicBezTo>
                  <a:lnTo>
                    <a:pt x="250705" y="159298"/>
                  </a:lnTo>
                  <a:cubicBezTo>
                    <a:pt x="250705" y="160558"/>
                    <a:pt x="250705" y="161817"/>
                    <a:pt x="250705" y="163077"/>
                  </a:cubicBezTo>
                  <a:lnTo>
                    <a:pt x="250705" y="164337"/>
                  </a:lnTo>
                  <a:lnTo>
                    <a:pt x="250705" y="165597"/>
                  </a:lnTo>
                  <a:cubicBezTo>
                    <a:pt x="250705" y="166857"/>
                    <a:pt x="250705" y="169376"/>
                    <a:pt x="250705" y="170636"/>
                  </a:cubicBezTo>
                  <a:cubicBezTo>
                    <a:pt x="250705" y="173156"/>
                    <a:pt x="249445" y="175675"/>
                    <a:pt x="249445" y="178195"/>
                  </a:cubicBezTo>
                  <a:cubicBezTo>
                    <a:pt x="248185" y="179455"/>
                    <a:pt x="246925" y="180715"/>
                    <a:pt x="245666" y="181975"/>
                  </a:cubicBezTo>
                  <a:lnTo>
                    <a:pt x="243146" y="184494"/>
                  </a:lnTo>
                  <a:cubicBezTo>
                    <a:pt x="240626" y="187014"/>
                    <a:pt x="238107" y="188274"/>
                    <a:pt x="236847" y="190793"/>
                  </a:cubicBezTo>
                  <a:cubicBezTo>
                    <a:pt x="235587" y="192053"/>
                    <a:pt x="234327" y="193313"/>
                    <a:pt x="233067" y="194573"/>
                  </a:cubicBezTo>
                  <a:cubicBezTo>
                    <a:pt x="231807" y="195832"/>
                    <a:pt x="229288" y="198352"/>
                    <a:pt x="228028" y="199612"/>
                  </a:cubicBezTo>
                  <a:cubicBezTo>
                    <a:pt x="226768" y="200872"/>
                    <a:pt x="226768" y="203392"/>
                    <a:pt x="226768" y="204651"/>
                  </a:cubicBezTo>
                  <a:lnTo>
                    <a:pt x="226768" y="205911"/>
                  </a:lnTo>
                  <a:lnTo>
                    <a:pt x="226768" y="207171"/>
                  </a:lnTo>
                  <a:cubicBezTo>
                    <a:pt x="226768" y="208431"/>
                    <a:pt x="228028" y="210951"/>
                    <a:pt x="229288" y="212210"/>
                  </a:cubicBezTo>
                  <a:cubicBezTo>
                    <a:pt x="230548" y="213470"/>
                    <a:pt x="233067" y="214730"/>
                    <a:pt x="235587" y="214730"/>
                  </a:cubicBezTo>
                  <a:cubicBezTo>
                    <a:pt x="235587" y="214730"/>
                    <a:pt x="235587" y="214730"/>
                    <a:pt x="235587" y="214730"/>
                  </a:cubicBezTo>
                  <a:cubicBezTo>
                    <a:pt x="236847" y="214730"/>
                    <a:pt x="239366" y="214730"/>
                    <a:pt x="240626" y="213470"/>
                  </a:cubicBezTo>
                  <a:cubicBezTo>
                    <a:pt x="241886" y="213470"/>
                    <a:pt x="241886" y="212210"/>
                    <a:pt x="241886" y="212210"/>
                  </a:cubicBezTo>
                  <a:cubicBezTo>
                    <a:pt x="241886" y="213470"/>
                    <a:pt x="240626" y="215990"/>
                    <a:pt x="240626" y="217250"/>
                  </a:cubicBezTo>
                  <a:cubicBezTo>
                    <a:pt x="239366" y="221029"/>
                    <a:pt x="239366" y="224808"/>
                    <a:pt x="236847" y="229848"/>
                  </a:cubicBezTo>
                  <a:cubicBezTo>
                    <a:pt x="235587" y="232367"/>
                    <a:pt x="234327" y="236147"/>
                    <a:pt x="233067" y="239926"/>
                  </a:cubicBezTo>
                  <a:cubicBezTo>
                    <a:pt x="231807" y="241186"/>
                    <a:pt x="231807" y="243706"/>
                    <a:pt x="230548" y="244966"/>
                  </a:cubicBezTo>
                  <a:lnTo>
                    <a:pt x="230548" y="246225"/>
                  </a:lnTo>
                  <a:lnTo>
                    <a:pt x="230548" y="247485"/>
                  </a:lnTo>
                  <a:cubicBezTo>
                    <a:pt x="229288" y="248745"/>
                    <a:pt x="229288" y="251265"/>
                    <a:pt x="228028" y="252525"/>
                  </a:cubicBezTo>
                  <a:lnTo>
                    <a:pt x="226768" y="253784"/>
                  </a:lnTo>
                  <a:cubicBezTo>
                    <a:pt x="225508" y="255044"/>
                    <a:pt x="224248" y="257564"/>
                    <a:pt x="222989" y="258824"/>
                  </a:cubicBezTo>
                  <a:cubicBezTo>
                    <a:pt x="221729" y="261343"/>
                    <a:pt x="220469" y="262603"/>
                    <a:pt x="220469" y="265123"/>
                  </a:cubicBezTo>
                  <a:lnTo>
                    <a:pt x="220469" y="265123"/>
                  </a:lnTo>
                  <a:lnTo>
                    <a:pt x="220469" y="266383"/>
                  </a:lnTo>
                  <a:lnTo>
                    <a:pt x="220469" y="266383"/>
                  </a:lnTo>
                  <a:cubicBezTo>
                    <a:pt x="220469" y="267643"/>
                    <a:pt x="219209" y="267643"/>
                    <a:pt x="219209" y="268902"/>
                  </a:cubicBezTo>
                  <a:lnTo>
                    <a:pt x="219209" y="268902"/>
                  </a:lnTo>
                  <a:cubicBezTo>
                    <a:pt x="219209" y="270162"/>
                    <a:pt x="217949" y="271422"/>
                    <a:pt x="217949" y="271422"/>
                  </a:cubicBezTo>
                  <a:lnTo>
                    <a:pt x="217949" y="271422"/>
                  </a:lnTo>
                  <a:lnTo>
                    <a:pt x="217949" y="271422"/>
                  </a:lnTo>
                  <a:cubicBezTo>
                    <a:pt x="217949" y="272682"/>
                    <a:pt x="216690" y="272682"/>
                    <a:pt x="216690" y="273942"/>
                  </a:cubicBezTo>
                  <a:cubicBezTo>
                    <a:pt x="216690" y="273942"/>
                    <a:pt x="216690" y="275201"/>
                    <a:pt x="216690" y="275201"/>
                  </a:cubicBezTo>
                  <a:lnTo>
                    <a:pt x="216690" y="276461"/>
                  </a:lnTo>
                  <a:cubicBezTo>
                    <a:pt x="216690" y="277721"/>
                    <a:pt x="216690" y="278981"/>
                    <a:pt x="217949" y="280241"/>
                  </a:cubicBezTo>
                  <a:cubicBezTo>
                    <a:pt x="217949" y="284020"/>
                    <a:pt x="219209" y="286540"/>
                    <a:pt x="219209" y="290319"/>
                  </a:cubicBezTo>
                  <a:lnTo>
                    <a:pt x="219209" y="290319"/>
                  </a:lnTo>
                  <a:cubicBezTo>
                    <a:pt x="219209" y="292839"/>
                    <a:pt x="220469" y="296618"/>
                    <a:pt x="220469" y="300398"/>
                  </a:cubicBezTo>
                  <a:cubicBezTo>
                    <a:pt x="220469" y="304177"/>
                    <a:pt x="221729" y="306697"/>
                    <a:pt x="221729" y="310476"/>
                  </a:cubicBezTo>
                  <a:cubicBezTo>
                    <a:pt x="221729" y="314256"/>
                    <a:pt x="222989" y="318036"/>
                    <a:pt x="224248" y="321815"/>
                  </a:cubicBezTo>
                  <a:cubicBezTo>
                    <a:pt x="225508" y="328114"/>
                    <a:pt x="228028" y="333153"/>
                    <a:pt x="230548" y="338193"/>
                  </a:cubicBezTo>
                  <a:cubicBezTo>
                    <a:pt x="231807" y="340712"/>
                    <a:pt x="233067" y="344492"/>
                    <a:pt x="234327" y="347011"/>
                  </a:cubicBezTo>
                  <a:cubicBezTo>
                    <a:pt x="234327" y="347011"/>
                    <a:pt x="234327" y="347011"/>
                    <a:pt x="234327" y="347011"/>
                  </a:cubicBezTo>
                  <a:cubicBezTo>
                    <a:pt x="235587" y="349531"/>
                    <a:pt x="236847" y="352051"/>
                    <a:pt x="236847" y="353310"/>
                  </a:cubicBezTo>
                  <a:cubicBezTo>
                    <a:pt x="236847" y="353310"/>
                    <a:pt x="236847" y="354570"/>
                    <a:pt x="238107" y="354570"/>
                  </a:cubicBezTo>
                  <a:lnTo>
                    <a:pt x="238107" y="354570"/>
                  </a:lnTo>
                  <a:cubicBezTo>
                    <a:pt x="239366" y="355830"/>
                    <a:pt x="239366" y="358350"/>
                    <a:pt x="240626" y="359610"/>
                  </a:cubicBezTo>
                  <a:cubicBezTo>
                    <a:pt x="240626" y="360869"/>
                    <a:pt x="241886" y="362129"/>
                    <a:pt x="241886" y="364649"/>
                  </a:cubicBezTo>
                  <a:cubicBezTo>
                    <a:pt x="241886" y="364649"/>
                    <a:pt x="241886" y="364649"/>
                    <a:pt x="241886" y="365909"/>
                  </a:cubicBezTo>
                  <a:lnTo>
                    <a:pt x="241886" y="365909"/>
                  </a:lnTo>
                  <a:lnTo>
                    <a:pt x="241886" y="365909"/>
                  </a:lnTo>
                  <a:cubicBezTo>
                    <a:pt x="241886" y="367169"/>
                    <a:pt x="241886" y="368428"/>
                    <a:pt x="241886" y="369688"/>
                  </a:cubicBezTo>
                  <a:cubicBezTo>
                    <a:pt x="241886" y="370948"/>
                    <a:pt x="241886" y="372208"/>
                    <a:pt x="241886" y="373468"/>
                  </a:cubicBezTo>
                  <a:lnTo>
                    <a:pt x="241886" y="374728"/>
                  </a:lnTo>
                  <a:cubicBezTo>
                    <a:pt x="241886" y="375987"/>
                    <a:pt x="241886" y="377247"/>
                    <a:pt x="240626" y="378507"/>
                  </a:cubicBezTo>
                  <a:cubicBezTo>
                    <a:pt x="239366" y="381027"/>
                    <a:pt x="238107" y="384806"/>
                    <a:pt x="236847" y="387326"/>
                  </a:cubicBezTo>
                  <a:cubicBezTo>
                    <a:pt x="235587" y="389845"/>
                    <a:pt x="234327" y="391105"/>
                    <a:pt x="231807" y="393625"/>
                  </a:cubicBezTo>
                  <a:cubicBezTo>
                    <a:pt x="228028" y="397404"/>
                    <a:pt x="224248" y="402444"/>
                    <a:pt x="219209" y="406223"/>
                  </a:cubicBezTo>
                  <a:cubicBezTo>
                    <a:pt x="216690" y="407483"/>
                    <a:pt x="214170" y="410002"/>
                    <a:pt x="210391" y="411262"/>
                  </a:cubicBezTo>
                  <a:lnTo>
                    <a:pt x="209131" y="412522"/>
                  </a:lnTo>
                  <a:cubicBezTo>
                    <a:pt x="207871" y="413782"/>
                    <a:pt x="205351" y="415042"/>
                    <a:pt x="202832" y="416302"/>
                  </a:cubicBezTo>
                  <a:cubicBezTo>
                    <a:pt x="197792" y="418821"/>
                    <a:pt x="191493" y="420081"/>
                    <a:pt x="185194" y="421341"/>
                  </a:cubicBezTo>
                  <a:cubicBezTo>
                    <a:pt x="181414" y="421341"/>
                    <a:pt x="178895" y="421341"/>
                    <a:pt x="175115" y="421341"/>
                  </a:cubicBezTo>
                  <a:cubicBezTo>
                    <a:pt x="172596" y="421341"/>
                    <a:pt x="168816" y="421341"/>
                    <a:pt x="166297" y="421341"/>
                  </a:cubicBezTo>
                  <a:cubicBezTo>
                    <a:pt x="166297" y="421341"/>
                    <a:pt x="165037" y="421341"/>
                    <a:pt x="165037" y="421341"/>
                  </a:cubicBezTo>
                  <a:cubicBezTo>
                    <a:pt x="162517" y="421341"/>
                    <a:pt x="159998" y="421341"/>
                    <a:pt x="157478" y="420081"/>
                  </a:cubicBezTo>
                  <a:cubicBezTo>
                    <a:pt x="154958" y="420081"/>
                    <a:pt x="152439" y="418821"/>
                    <a:pt x="149919" y="417561"/>
                  </a:cubicBezTo>
                  <a:cubicBezTo>
                    <a:pt x="146140" y="416302"/>
                    <a:pt x="142360" y="413782"/>
                    <a:pt x="137321" y="411262"/>
                  </a:cubicBezTo>
                  <a:cubicBezTo>
                    <a:pt x="134801" y="410002"/>
                    <a:pt x="132281" y="408743"/>
                    <a:pt x="131022" y="406223"/>
                  </a:cubicBezTo>
                  <a:cubicBezTo>
                    <a:pt x="128502" y="404963"/>
                    <a:pt x="127242" y="402444"/>
                    <a:pt x="125982" y="399924"/>
                  </a:cubicBezTo>
                  <a:cubicBezTo>
                    <a:pt x="124722" y="397404"/>
                    <a:pt x="123463" y="394885"/>
                    <a:pt x="123463" y="393625"/>
                  </a:cubicBezTo>
                  <a:cubicBezTo>
                    <a:pt x="122203" y="391105"/>
                    <a:pt x="122203" y="388585"/>
                    <a:pt x="120943" y="386066"/>
                  </a:cubicBezTo>
                  <a:cubicBezTo>
                    <a:pt x="120943" y="383546"/>
                    <a:pt x="119683" y="381027"/>
                    <a:pt x="119683" y="378507"/>
                  </a:cubicBezTo>
                  <a:lnTo>
                    <a:pt x="119683" y="378507"/>
                  </a:lnTo>
                  <a:cubicBezTo>
                    <a:pt x="119683" y="378507"/>
                    <a:pt x="119683" y="378507"/>
                    <a:pt x="119683" y="378507"/>
                  </a:cubicBezTo>
                  <a:cubicBezTo>
                    <a:pt x="119683" y="378507"/>
                    <a:pt x="119683" y="378507"/>
                    <a:pt x="119683" y="378507"/>
                  </a:cubicBezTo>
                  <a:cubicBezTo>
                    <a:pt x="122203" y="377247"/>
                    <a:pt x="124722" y="375987"/>
                    <a:pt x="125982" y="373468"/>
                  </a:cubicBezTo>
                  <a:cubicBezTo>
                    <a:pt x="127242" y="372208"/>
                    <a:pt x="128502" y="369688"/>
                    <a:pt x="129762" y="368428"/>
                  </a:cubicBezTo>
                  <a:cubicBezTo>
                    <a:pt x="131022" y="365909"/>
                    <a:pt x="131022" y="362129"/>
                    <a:pt x="131022" y="358350"/>
                  </a:cubicBezTo>
                  <a:cubicBezTo>
                    <a:pt x="129762" y="357090"/>
                    <a:pt x="129762" y="354570"/>
                    <a:pt x="128502" y="353310"/>
                  </a:cubicBezTo>
                  <a:cubicBezTo>
                    <a:pt x="129762" y="348271"/>
                    <a:pt x="131022" y="343232"/>
                    <a:pt x="132281" y="336933"/>
                  </a:cubicBezTo>
                  <a:cubicBezTo>
                    <a:pt x="132281" y="336933"/>
                    <a:pt x="132281" y="336933"/>
                    <a:pt x="132281" y="336933"/>
                  </a:cubicBezTo>
                  <a:cubicBezTo>
                    <a:pt x="132281" y="336933"/>
                    <a:pt x="132281" y="336933"/>
                    <a:pt x="132281" y="336933"/>
                  </a:cubicBezTo>
                  <a:cubicBezTo>
                    <a:pt x="133541" y="331893"/>
                    <a:pt x="133541" y="325594"/>
                    <a:pt x="134801" y="318036"/>
                  </a:cubicBezTo>
                  <a:cubicBezTo>
                    <a:pt x="134801" y="316776"/>
                    <a:pt x="134801" y="315516"/>
                    <a:pt x="134801" y="312996"/>
                  </a:cubicBezTo>
                  <a:cubicBezTo>
                    <a:pt x="133541" y="312996"/>
                    <a:pt x="132281" y="312996"/>
                    <a:pt x="131022" y="312996"/>
                  </a:cubicBezTo>
                  <a:cubicBezTo>
                    <a:pt x="129762" y="312996"/>
                    <a:pt x="127242" y="312996"/>
                    <a:pt x="125982" y="312996"/>
                  </a:cubicBezTo>
                  <a:cubicBezTo>
                    <a:pt x="120943" y="312996"/>
                    <a:pt x="114644" y="311736"/>
                    <a:pt x="110864" y="310476"/>
                  </a:cubicBezTo>
                  <a:cubicBezTo>
                    <a:pt x="109605" y="310476"/>
                    <a:pt x="108345" y="310476"/>
                    <a:pt x="107085" y="309217"/>
                  </a:cubicBezTo>
                  <a:lnTo>
                    <a:pt x="107085" y="309217"/>
                  </a:lnTo>
                  <a:cubicBezTo>
                    <a:pt x="103306" y="307957"/>
                    <a:pt x="98266" y="307957"/>
                    <a:pt x="93227" y="306697"/>
                  </a:cubicBezTo>
                  <a:cubicBezTo>
                    <a:pt x="86928" y="305437"/>
                    <a:pt x="80629" y="302917"/>
                    <a:pt x="74329" y="300398"/>
                  </a:cubicBezTo>
                  <a:cubicBezTo>
                    <a:pt x="66770" y="296618"/>
                    <a:pt x="61731" y="294099"/>
                    <a:pt x="56692" y="291579"/>
                  </a:cubicBezTo>
                  <a:cubicBezTo>
                    <a:pt x="54172" y="290319"/>
                    <a:pt x="51653" y="287800"/>
                    <a:pt x="49133" y="286540"/>
                  </a:cubicBezTo>
                  <a:cubicBezTo>
                    <a:pt x="46614" y="284020"/>
                    <a:pt x="44094" y="282760"/>
                    <a:pt x="41574" y="280241"/>
                  </a:cubicBezTo>
                  <a:cubicBezTo>
                    <a:pt x="37795" y="276461"/>
                    <a:pt x="34015" y="271422"/>
                    <a:pt x="30236" y="265123"/>
                  </a:cubicBezTo>
                  <a:cubicBezTo>
                    <a:pt x="26456" y="258824"/>
                    <a:pt x="23937" y="253784"/>
                    <a:pt x="21417" y="248745"/>
                  </a:cubicBezTo>
                  <a:cubicBezTo>
                    <a:pt x="18897" y="242446"/>
                    <a:pt x="16378" y="234887"/>
                    <a:pt x="13858" y="229848"/>
                  </a:cubicBezTo>
                  <a:cubicBezTo>
                    <a:pt x="12598" y="226068"/>
                    <a:pt x="11338" y="223549"/>
                    <a:pt x="10078" y="218509"/>
                  </a:cubicBezTo>
                  <a:cubicBezTo>
                    <a:pt x="10078" y="218509"/>
                    <a:pt x="10078" y="218509"/>
                    <a:pt x="10078" y="218509"/>
                  </a:cubicBezTo>
                  <a:lnTo>
                    <a:pt x="10078" y="218509"/>
                  </a:lnTo>
                  <a:cubicBezTo>
                    <a:pt x="10078" y="215990"/>
                    <a:pt x="8819" y="214730"/>
                    <a:pt x="8819" y="212210"/>
                  </a:cubicBezTo>
                  <a:cubicBezTo>
                    <a:pt x="7559" y="205911"/>
                    <a:pt x="6299" y="200872"/>
                    <a:pt x="5039" y="194573"/>
                  </a:cubicBezTo>
                  <a:lnTo>
                    <a:pt x="5039" y="193313"/>
                  </a:lnTo>
                  <a:cubicBezTo>
                    <a:pt x="3779" y="187014"/>
                    <a:pt x="2520" y="180715"/>
                    <a:pt x="2520" y="174416"/>
                  </a:cubicBezTo>
                  <a:cubicBezTo>
                    <a:pt x="1260" y="163077"/>
                    <a:pt x="0" y="149219"/>
                    <a:pt x="0" y="135361"/>
                  </a:cubicBezTo>
                  <a:cubicBezTo>
                    <a:pt x="0" y="124023"/>
                    <a:pt x="0" y="111424"/>
                    <a:pt x="0" y="100086"/>
                  </a:cubicBezTo>
                  <a:lnTo>
                    <a:pt x="0" y="96307"/>
                  </a:lnTo>
                  <a:cubicBezTo>
                    <a:pt x="0" y="90007"/>
                    <a:pt x="0" y="84968"/>
                    <a:pt x="1260" y="78669"/>
                  </a:cubicBezTo>
                  <a:cubicBezTo>
                    <a:pt x="1260" y="72370"/>
                    <a:pt x="2520" y="66071"/>
                    <a:pt x="3779" y="59772"/>
                  </a:cubicBezTo>
                  <a:lnTo>
                    <a:pt x="3779" y="55992"/>
                  </a:lnTo>
                  <a:cubicBezTo>
                    <a:pt x="3779" y="54732"/>
                    <a:pt x="3779" y="53473"/>
                    <a:pt x="3779" y="52213"/>
                  </a:cubicBezTo>
                  <a:cubicBezTo>
                    <a:pt x="3779" y="52213"/>
                    <a:pt x="3779" y="52213"/>
                    <a:pt x="5039" y="52213"/>
                  </a:cubicBezTo>
                  <a:cubicBezTo>
                    <a:pt x="6299" y="52213"/>
                    <a:pt x="6299" y="52213"/>
                    <a:pt x="7559" y="52213"/>
                  </a:cubicBezTo>
                  <a:cubicBezTo>
                    <a:pt x="11338" y="52213"/>
                    <a:pt x="13858" y="52213"/>
                    <a:pt x="18897" y="52213"/>
                  </a:cubicBezTo>
                  <a:cubicBezTo>
                    <a:pt x="18897" y="52213"/>
                    <a:pt x="20157" y="52213"/>
                    <a:pt x="20157" y="52213"/>
                  </a:cubicBezTo>
                  <a:cubicBezTo>
                    <a:pt x="21417" y="52213"/>
                    <a:pt x="23937" y="52213"/>
                    <a:pt x="25196" y="53473"/>
                  </a:cubicBezTo>
                  <a:cubicBezTo>
                    <a:pt x="27716" y="53473"/>
                    <a:pt x="31496" y="54732"/>
                    <a:pt x="35275" y="54732"/>
                  </a:cubicBezTo>
                  <a:cubicBezTo>
                    <a:pt x="40314" y="54732"/>
                    <a:pt x="44094" y="54732"/>
                    <a:pt x="47873" y="54732"/>
                  </a:cubicBezTo>
                  <a:lnTo>
                    <a:pt x="47873" y="54732"/>
                  </a:lnTo>
                  <a:cubicBezTo>
                    <a:pt x="54172" y="54732"/>
                    <a:pt x="61731" y="53473"/>
                    <a:pt x="69290" y="53473"/>
                  </a:cubicBezTo>
                  <a:cubicBezTo>
                    <a:pt x="76849" y="52213"/>
                    <a:pt x="83148" y="50953"/>
                    <a:pt x="90707" y="48433"/>
                  </a:cubicBezTo>
                  <a:cubicBezTo>
                    <a:pt x="97007" y="47173"/>
                    <a:pt x="103306" y="44654"/>
                    <a:pt x="108345" y="43394"/>
                  </a:cubicBezTo>
                  <a:cubicBezTo>
                    <a:pt x="109605" y="43394"/>
                    <a:pt x="109605" y="42134"/>
                    <a:pt x="110864" y="42134"/>
                  </a:cubicBezTo>
                  <a:lnTo>
                    <a:pt x="110864" y="42134"/>
                  </a:lnTo>
                  <a:lnTo>
                    <a:pt x="110864" y="42134"/>
                  </a:lnTo>
                  <a:lnTo>
                    <a:pt x="110864" y="42134"/>
                  </a:lnTo>
                  <a:lnTo>
                    <a:pt x="110864" y="42134"/>
                  </a:lnTo>
                  <a:lnTo>
                    <a:pt x="110864" y="42134"/>
                  </a:lnTo>
                  <a:lnTo>
                    <a:pt x="110864" y="42134"/>
                  </a:lnTo>
                  <a:lnTo>
                    <a:pt x="112124" y="42134"/>
                  </a:lnTo>
                  <a:lnTo>
                    <a:pt x="112124" y="42134"/>
                  </a:lnTo>
                  <a:cubicBezTo>
                    <a:pt x="112124" y="42134"/>
                    <a:pt x="112124" y="42134"/>
                    <a:pt x="113384" y="42134"/>
                  </a:cubicBezTo>
                  <a:lnTo>
                    <a:pt x="113384" y="42134"/>
                  </a:lnTo>
                  <a:cubicBezTo>
                    <a:pt x="119683" y="39614"/>
                    <a:pt x="125982" y="35835"/>
                    <a:pt x="131022" y="33315"/>
                  </a:cubicBezTo>
                  <a:cubicBezTo>
                    <a:pt x="137321" y="29536"/>
                    <a:pt x="143620" y="27016"/>
                    <a:pt x="149919" y="21977"/>
                  </a:cubicBezTo>
                  <a:cubicBezTo>
                    <a:pt x="152439" y="19457"/>
                    <a:pt x="156218" y="16938"/>
                    <a:pt x="158738" y="14418"/>
                  </a:cubicBezTo>
                  <a:cubicBezTo>
                    <a:pt x="161257" y="11898"/>
                    <a:pt x="163777" y="9379"/>
                    <a:pt x="166297" y="6859"/>
                  </a:cubicBezTo>
                  <a:cubicBezTo>
                    <a:pt x="167556" y="4339"/>
                    <a:pt x="168816" y="3080"/>
                    <a:pt x="170076" y="1820"/>
                  </a:cubicBezTo>
                  <a:lnTo>
                    <a:pt x="171336" y="560"/>
                  </a:lnTo>
                  <a:lnTo>
                    <a:pt x="171336" y="560"/>
                  </a:lnTo>
                  <a:lnTo>
                    <a:pt x="171336" y="560"/>
                  </a:lnTo>
                  <a:cubicBezTo>
                    <a:pt x="172596" y="-700"/>
                    <a:pt x="172596" y="560"/>
                    <a:pt x="172596" y="560"/>
                  </a:cubicBezTo>
                </a:path>
              </a:pathLst>
            </a:custGeom>
            <a:solidFill>
              <a:srgbClr val="F2A988"/>
            </a:solidFill>
            <a:ln w="12584" cap="flat">
              <a:noFill/>
              <a:prstDash val="solid"/>
              <a:miter/>
            </a:ln>
          </p:spPr>
          <p:txBody>
            <a:bodyPr rtlCol="0" anchor="ctr"/>
            <a:lstStyle/>
            <a:p>
              <a:endParaRPr lang="zh-CN" altLang="en-US"/>
            </a:p>
          </p:txBody>
        </p:sp>
        <p:sp>
          <p:nvSpPr>
            <p:cNvPr id="10233" name="任意多边形: 形状 10232"/>
            <p:cNvSpPr/>
            <p:nvPr/>
          </p:nvSpPr>
          <p:spPr>
            <a:xfrm>
              <a:off x="5130716" y="2550903"/>
              <a:ext cx="12598" cy="50393"/>
            </a:xfrm>
            <a:custGeom>
              <a:avLst/>
              <a:gdLst>
                <a:gd name="connsiteX0" fmla="*/ 3779 w 12598"/>
                <a:gd name="connsiteY0" fmla="*/ 0 h 50392"/>
                <a:gd name="connsiteX1" fmla="*/ 3779 w 12598"/>
                <a:gd name="connsiteY1" fmla="*/ 0 h 50392"/>
                <a:gd name="connsiteX2" fmla="*/ 3779 w 12598"/>
                <a:gd name="connsiteY2" fmla="*/ 0 h 50392"/>
                <a:gd name="connsiteX3" fmla="*/ 3779 w 12598"/>
                <a:gd name="connsiteY3" fmla="*/ 0 h 50392"/>
                <a:gd name="connsiteX4" fmla="*/ 3779 w 12598"/>
                <a:gd name="connsiteY4" fmla="*/ 0 h 50392"/>
                <a:gd name="connsiteX5" fmla="*/ 5039 w 12598"/>
                <a:gd name="connsiteY5" fmla="*/ 0 h 50392"/>
                <a:gd name="connsiteX6" fmla="*/ 10078 w 12598"/>
                <a:gd name="connsiteY6" fmla="*/ 1260 h 50392"/>
                <a:gd name="connsiteX7" fmla="*/ 12598 w 12598"/>
                <a:gd name="connsiteY7" fmla="*/ 2520 h 50392"/>
                <a:gd name="connsiteX8" fmla="*/ 12598 w 12598"/>
                <a:gd name="connsiteY8" fmla="*/ 6299 h 50392"/>
                <a:gd name="connsiteX9" fmla="*/ 11338 w 12598"/>
                <a:gd name="connsiteY9" fmla="*/ 13858 h 50392"/>
                <a:gd name="connsiteX10" fmla="*/ 10078 w 12598"/>
                <a:gd name="connsiteY10" fmla="*/ 23937 h 50392"/>
                <a:gd name="connsiteX11" fmla="*/ 10078 w 12598"/>
                <a:gd name="connsiteY11" fmla="*/ 23937 h 50392"/>
                <a:gd name="connsiteX12" fmla="*/ 10078 w 12598"/>
                <a:gd name="connsiteY12" fmla="*/ 23937 h 50392"/>
                <a:gd name="connsiteX13" fmla="*/ 10078 w 12598"/>
                <a:gd name="connsiteY13" fmla="*/ 23937 h 50392"/>
                <a:gd name="connsiteX14" fmla="*/ 10078 w 12598"/>
                <a:gd name="connsiteY14" fmla="*/ 23937 h 50392"/>
                <a:gd name="connsiteX15" fmla="*/ 10078 w 12598"/>
                <a:gd name="connsiteY15" fmla="*/ 23937 h 50392"/>
                <a:gd name="connsiteX16" fmla="*/ 10078 w 12598"/>
                <a:gd name="connsiteY16" fmla="*/ 23937 h 50392"/>
                <a:gd name="connsiteX17" fmla="*/ 8819 w 12598"/>
                <a:gd name="connsiteY17" fmla="*/ 41574 h 50392"/>
                <a:gd name="connsiteX18" fmla="*/ 7559 w 12598"/>
                <a:gd name="connsiteY18" fmla="*/ 55432 h 50392"/>
                <a:gd name="connsiteX19" fmla="*/ 7559 w 12598"/>
                <a:gd name="connsiteY19" fmla="*/ 55432 h 50392"/>
                <a:gd name="connsiteX20" fmla="*/ 0 w 12598"/>
                <a:gd name="connsiteY20" fmla="*/ 60472 h 50392"/>
                <a:gd name="connsiteX21" fmla="*/ 0 w 12598"/>
                <a:gd name="connsiteY21" fmla="*/ 56692 h 50392"/>
                <a:gd name="connsiteX22" fmla="*/ 0 w 12598"/>
                <a:gd name="connsiteY22" fmla="*/ 50393 h 50392"/>
                <a:gd name="connsiteX23" fmla="*/ 0 w 12598"/>
                <a:gd name="connsiteY23" fmla="*/ 47873 h 50392"/>
                <a:gd name="connsiteX24" fmla="*/ 1260 w 12598"/>
                <a:gd name="connsiteY24" fmla="*/ 32755 h 50392"/>
                <a:gd name="connsiteX25" fmla="*/ 1260 w 12598"/>
                <a:gd name="connsiteY25" fmla="*/ 28976 h 50392"/>
                <a:gd name="connsiteX26" fmla="*/ 1260 w 12598"/>
                <a:gd name="connsiteY26" fmla="*/ 25196 h 50392"/>
                <a:gd name="connsiteX27" fmla="*/ 1260 w 12598"/>
                <a:gd name="connsiteY27" fmla="*/ 18897 h 50392"/>
                <a:gd name="connsiteX28" fmla="*/ 1260 w 12598"/>
                <a:gd name="connsiteY28" fmla="*/ 17637 h 50392"/>
                <a:gd name="connsiteX29" fmla="*/ 1260 w 12598"/>
                <a:gd name="connsiteY29" fmla="*/ 8819 h 50392"/>
                <a:gd name="connsiteX30" fmla="*/ 1260 w 12598"/>
                <a:gd name="connsiteY30" fmla="*/ 2520 h 50392"/>
                <a:gd name="connsiteX31" fmla="*/ 3779 w 12598"/>
                <a:gd name="connsiteY31" fmla="*/ 0 h 50392"/>
                <a:gd name="connsiteX32" fmla="*/ 3779 w 12598"/>
                <a:gd name="connsiteY32" fmla="*/ 0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98" h="50392">
                  <a:moveTo>
                    <a:pt x="3779" y="0"/>
                  </a:moveTo>
                  <a:lnTo>
                    <a:pt x="3779" y="0"/>
                  </a:lnTo>
                  <a:lnTo>
                    <a:pt x="3779" y="0"/>
                  </a:lnTo>
                  <a:cubicBezTo>
                    <a:pt x="3779" y="0"/>
                    <a:pt x="3779" y="0"/>
                    <a:pt x="3779" y="0"/>
                  </a:cubicBezTo>
                  <a:lnTo>
                    <a:pt x="3779" y="0"/>
                  </a:lnTo>
                  <a:lnTo>
                    <a:pt x="5039" y="0"/>
                  </a:lnTo>
                  <a:cubicBezTo>
                    <a:pt x="6299" y="0"/>
                    <a:pt x="7559" y="1260"/>
                    <a:pt x="10078" y="1260"/>
                  </a:cubicBezTo>
                  <a:cubicBezTo>
                    <a:pt x="11338" y="1260"/>
                    <a:pt x="12598" y="1260"/>
                    <a:pt x="12598" y="2520"/>
                  </a:cubicBezTo>
                  <a:cubicBezTo>
                    <a:pt x="12598" y="3780"/>
                    <a:pt x="12598" y="5039"/>
                    <a:pt x="12598" y="6299"/>
                  </a:cubicBezTo>
                  <a:cubicBezTo>
                    <a:pt x="12598" y="8819"/>
                    <a:pt x="12598" y="11338"/>
                    <a:pt x="11338" y="13858"/>
                  </a:cubicBezTo>
                  <a:cubicBezTo>
                    <a:pt x="11338" y="17637"/>
                    <a:pt x="11338" y="20157"/>
                    <a:pt x="10078" y="23937"/>
                  </a:cubicBezTo>
                  <a:lnTo>
                    <a:pt x="10078" y="23937"/>
                  </a:lnTo>
                  <a:lnTo>
                    <a:pt x="10078" y="23937"/>
                  </a:lnTo>
                  <a:lnTo>
                    <a:pt x="10078" y="23937"/>
                  </a:lnTo>
                  <a:lnTo>
                    <a:pt x="10078" y="23937"/>
                  </a:lnTo>
                  <a:lnTo>
                    <a:pt x="10078" y="23937"/>
                  </a:lnTo>
                  <a:lnTo>
                    <a:pt x="10078" y="23937"/>
                  </a:lnTo>
                  <a:cubicBezTo>
                    <a:pt x="10078" y="30236"/>
                    <a:pt x="8819" y="36535"/>
                    <a:pt x="8819" y="41574"/>
                  </a:cubicBezTo>
                  <a:cubicBezTo>
                    <a:pt x="8819" y="46613"/>
                    <a:pt x="7559" y="51653"/>
                    <a:pt x="7559" y="55432"/>
                  </a:cubicBezTo>
                  <a:cubicBezTo>
                    <a:pt x="7559" y="55432"/>
                    <a:pt x="7559" y="55432"/>
                    <a:pt x="7559" y="55432"/>
                  </a:cubicBezTo>
                  <a:cubicBezTo>
                    <a:pt x="5039" y="56692"/>
                    <a:pt x="2519" y="59212"/>
                    <a:pt x="0" y="60472"/>
                  </a:cubicBezTo>
                  <a:cubicBezTo>
                    <a:pt x="0" y="59212"/>
                    <a:pt x="0" y="57952"/>
                    <a:pt x="0" y="56692"/>
                  </a:cubicBezTo>
                  <a:cubicBezTo>
                    <a:pt x="0" y="54172"/>
                    <a:pt x="0" y="52913"/>
                    <a:pt x="0" y="50393"/>
                  </a:cubicBezTo>
                  <a:lnTo>
                    <a:pt x="0" y="47873"/>
                  </a:lnTo>
                  <a:cubicBezTo>
                    <a:pt x="0" y="41574"/>
                    <a:pt x="0" y="36535"/>
                    <a:pt x="1260" y="32755"/>
                  </a:cubicBezTo>
                  <a:lnTo>
                    <a:pt x="1260" y="28976"/>
                  </a:lnTo>
                  <a:cubicBezTo>
                    <a:pt x="1260" y="27716"/>
                    <a:pt x="1260" y="26456"/>
                    <a:pt x="1260" y="25196"/>
                  </a:cubicBezTo>
                  <a:cubicBezTo>
                    <a:pt x="1260" y="22677"/>
                    <a:pt x="1260" y="21417"/>
                    <a:pt x="1260" y="18897"/>
                  </a:cubicBezTo>
                  <a:lnTo>
                    <a:pt x="1260" y="17637"/>
                  </a:lnTo>
                  <a:cubicBezTo>
                    <a:pt x="1260" y="15118"/>
                    <a:pt x="1260" y="12598"/>
                    <a:pt x="1260" y="8819"/>
                  </a:cubicBezTo>
                  <a:cubicBezTo>
                    <a:pt x="1260" y="6299"/>
                    <a:pt x="1260" y="5039"/>
                    <a:pt x="1260" y="2520"/>
                  </a:cubicBezTo>
                  <a:cubicBezTo>
                    <a:pt x="3779" y="3780"/>
                    <a:pt x="3779" y="1260"/>
                    <a:pt x="3779" y="0"/>
                  </a:cubicBezTo>
                  <a:lnTo>
                    <a:pt x="3779" y="0"/>
                  </a:lnTo>
                  <a:close/>
                </a:path>
              </a:pathLst>
            </a:custGeom>
            <a:solidFill>
              <a:srgbClr val="001675"/>
            </a:solidFill>
            <a:ln w="12584" cap="flat">
              <a:noFill/>
              <a:prstDash val="solid"/>
              <a:miter/>
            </a:ln>
          </p:spPr>
          <p:txBody>
            <a:bodyPr rtlCol="0" anchor="ctr"/>
            <a:lstStyle/>
            <a:p>
              <a:endParaRPr lang="zh-CN" altLang="en-US"/>
            </a:p>
          </p:txBody>
        </p:sp>
        <p:sp>
          <p:nvSpPr>
            <p:cNvPr id="10234" name="任意多边形: 形状 10233"/>
            <p:cNvSpPr/>
            <p:nvPr/>
          </p:nvSpPr>
          <p:spPr>
            <a:xfrm>
              <a:off x="5108039" y="2549643"/>
              <a:ext cx="25196" cy="125982"/>
            </a:xfrm>
            <a:custGeom>
              <a:avLst/>
              <a:gdLst>
                <a:gd name="connsiteX0" fmla="*/ 25196 w 25196"/>
                <a:gd name="connsiteY0" fmla="*/ 1260 h 125982"/>
                <a:gd name="connsiteX1" fmla="*/ 20157 w 25196"/>
                <a:gd name="connsiteY1" fmla="*/ 0 h 125982"/>
                <a:gd name="connsiteX2" fmla="*/ 17638 w 25196"/>
                <a:gd name="connsiteY2" fmla="*/ 3780 h 125982"/>
                <a:gd name="connsiteX3" fmla="*/ 17638 w 25196"/>
                <a:gd name="connsiteY3" fmla="*/ 6299 h 125982"/>
                <a:gd name="connsiteX4" fmla="*/ 15118 w 25196"/>
                <a:gd name="connsiteY4" fmla="*/ 27716 h 125982"/>
                <a:gd name="connsiteX5" fmla="*/ 12598 w 25196"/>
                <a:gd name="connsiteY5" fmla="*/ 49133 h 125982"/>
                <a:gd name="connsiteX6" fmla="*/ 10079 w 25196"/>
                <a:gd name="connsiteY6" fmla="*/ 69290 h 125982"/>
                <a:gd name="connsiteX7" fmla="*/ 8819 w 25196"/>
                <a:gd name="connsiteY7" fmla="*/ 79369 h 125982"/>
                <a:gd name="connsiteX8" fmla="*/ 7559 w 25196"/>
                <a:gd name="connsiteY8" fmla="*/ 89448 h 125982"/>
                <a:gd name="connsiteX9" fmla="*/ 7559 w 25196"/>
                <a:gd name="connsiteY9" fmla="*/ 91967 h 125982"/>
                <a:gd name="connsiteX10" fmla="*/ 6299 w 25196"/>
                <a:gd name="connsiteY10" fmla="*/ 95747 h 125982"/>
                <a:gd name="connsiteX11" fmla="*/ 6299 w 25196"/>
                <a:gd name="connsiteY11" fmla="*/ 95747 h 125982"/>
                <a:gd name="connsiteX12" fmla="*/ 6299 w 25196"/>
                <a:gd name="connsiteY12" fmla="*/ 95747 h 125982"/>
                <a:gd name="connsiteX13" fmla="*/ 6299 w 25196"/>
                <a:gd name="connsiteY13" fmla="*/ 95747 h 125982"/>
                <a:gd name="connsiteX14" fmla="*/ 6299 w 25196"/>
                <a:gd name="connsiteY14" fmla="*/ 95747 h 125982"/>
                <a:gd name="connsiteX15" fmla="*/ 3780 w 25196"/>
                <a:gd name="connsiteY15" fmla="*/ 109605 h 125982"/>
                <a:gd name="connsiteX16" fmla="*/ 3780 w 25196"/>
                <a:gd name="connsiteY16" fmla="*/ 108345 h 125982"/>
                <a:gd name="connsiteX17" fmla="*/ 3780 w 25196"/>
                <a:gd name="connsiteY17" fmla="*/ 110864 h 125982"/>
                <a:gd name="connsiteX18" fmla="*/ 3780 w 25196"/>
                <a:gd name="connsiteY18" fmla="*/ 109605 h 125982"/>
                <a:gd name="connsiteX19" fmla="*/ 3780 w 25196"/>
                <a:gd name="connsiteY19" fmla="*/ 110864 h 125982"/>
                <a:gd name="connsiteX20" fmla="*/ 2520 w 25196"/>
                <a:gd name="connsiteY20" fmla="*/ 117164 h 125982"/>
                <a:gd name="connsiteX21" fmla="*/ 1260 w 25196"/>
                <a:gd name="connsiteY21" fmla="*/ 123463 h 125982"/>
                <a:gd name="connsiteX22" fmla="*/ 1260 w 25196"/>
                <a:gd name="connsiteY22" fmla="*/ 125982 h 125982"/>
                <a:gd name="connsiteX23" fmla="*/ 1260 w 25196"/>
                <a:gd name="connsiteY23" fmla="*/ 125982 h 125982"/>
                <a:gd name="connsiteX24" fmla="*/ 0 w 25196"/>
                <a:gd name="connsiteY24" fmla="*/ 132281 h 125982"/>
                <a:gd name="connsiteX25" fmla="*/ 3780 w 25196"/>
                <a:gd name="connsiteY25" fmla="*/ 128502 h 125982"/>
                <a:gd name="connsiteX26" fmla="*/ 8819 w 25196"/>
                <a:gd name="connsiteY26" fmla="*/ 123463 h 125982"/>
                <a:gd name="connsiteX27" fmla="*/ 10079 w 25196"/>
                <a:gd name="connsiteY27" fmla="*/ 117164 h 125982"/>
                <a:gd name="connsiteX28" fmla="*/ 12598 w 25196"/>
                <a:gd name="connsiteY28" fmla="*/ 107085 h 125982"/>
                <a:gd name="connsiteX29" fmla="*/ 15118 w 25196"/>
                <a:gd name="connsiteY29" fmla="*/ 86928 h 125982"/>
                <a:gd name="connsiteX30" fmla="*/ 21417 w 25196"/>
                <a:gd name="connsiteY30" fmla="*/ 45354 h 125982"/>
                <a:gd name="connsiteX31" fmla="*/ 22677 w 25196"/>
                <a:gd name="connsiteY31" fmla="*/ 35275 h 125982"/>
                <a:gd name="connsiteX32" fmla="*/ 23937 w 25196"/>
                <a:gd name="connsiteY32" fmla="*/ 23937 h 125982"/>
                <a:gd name="connsiteX33" fmla="*/ 25196 w 25196"/>
                <a:gd name="connsiteY33" fmla="*/ 12598 h 125982"/>
                <a:gd name="connsiteX34" fmla="*/ 26456 w 25196"/>
                <a:gd name="connsiteY34" fmla="*/ 1260 h 125982"/>
                <a:gd name="connsiteX35" fmla="*/ 25196 w 25196"/>
                <a:gd name="connsiteY35" fmla="*/ 1260 h 125982"/>
                <a:gd name="connsiteX36" fmla="*/ 25196 w 25196"/>
                <a:gd name="connsiteY36" fmla="*/ 1260 h 125982"/>
                <a:gd name="connsiteX37" fmla="*/ 3780 w 25196"/>
                <a:gd name="connsiteY37" fmla="*/ 117164 h 125982"/>
                <a:gd name="connsiteX38" fmla="*/ 3780 w 25196"/>
                <a:gd name="connsiteY38" fmla="*/ 117164 h 125982"/>
                <a:gd name="connsiteX39" fmla="*/ 3780 w 25196"/>
                <a:gd name="connsiteY39" fmla="*/ 117164 h 125982"/>
                <a:gd name="connsiteX40" fmla="*/ 2520 w 25196"/>
                <a:gd name="connsiteY40" fmla="*/ 127242 h 125982"/>
                <a:gd name="connsiteX41" fmla="*/ 2520 w 25196"/>
                <a:gd name="connsiteY41" fmla="*/ 127242 h 125982"/>
                <a:gd name="connsiteX42" fmla="*/ 2520 w 25196"/>
                <a:gd name="connsiteY42" fmla="*/ 127242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5196" h="125982">
                  <a:moveTo>
                    <a:pt x="25196" y="1260"/>
                  </a:moveTo>
                  <a:cubicBezTo>
                    <a:pt x="23937" y="1260"/>
                    <a:pt x="21417" y="0"/>
                    <a:pt x="20157" y="0"/>
                  </a:cubicBezTo>
                  <a:cubicBezTo>
                    <a:pt x="18897" y="1260"/>
                    <a:pt x="18897" y="2520"/>
                    <a:pt x="17638" y="3780"/>
                  </a:cubicBezTo>
                  <a:cubicBezTo>
                    <a:pt x="17638" y="5039"/>
                    <a:pt x="17638" y="5039"/>
                    <a:pt x="17638" y="6299"/>
                  </a:cubicBezTo>
                  <a:cubicBezTo>
                    <a:pt x="17638" y="13858"/>
                    <a:pt x="16378" y="20157"/>
                    <a:pt x="15118" y="27716"/>
                  </a:cubicBezTo>
                  <a:cubicBezTo>
                    <a:pt x="13858" y="35275"/>
                    <a:pt x="13858" y="41574"/>
                    <a:pt x="12598" y="49133"/>
                  </a:cubicBezTo>
                  <a:cubicBezTo>
                    <a:pt x="11339" y="55432"/>
                    <a:pt x="11339" y="62991"/>
                    <a:pt x="10079" y="69290"/>
                  </a:cubicBezTo>
                  <a:cubicBezTo>
                    <a:pt x="10079" y="73070"/>
                    <a:pt x="8819" y="75589"/>
                    <a:pt x="8819" y="79369"/>
                  </a:cubicBezTo>
                  <a:cubicBezTo>
                    <a:pt x="8819" y="83148"/>
                    <a:pt x="7559" y="86928"/>
                    <a:pt x="7559" y="89448"/>
                  </a:cubicBezTo>
                  <a:lnTo>
                    <a:pt x="7559" y="91967"/>
                  </a:lnTo>
                  <a:cubicBezTo>
                    <a:pt x="7559" y="93227"/>
                    <a:pt x="7559" y="94487"/>
                    <a:pt x="6299" y="95747"/>
                  </a:cubicBezTo>
                  <a:cubicBezTo>
                    <a:pt x="6299" y="95747"/>
                    <a:pt x="6299" y="95747"/>
                    <a:pt x="6299" y="95747"/>
                  </a:cubicBezTo>
                  <a:cubicBezTo>
                    <a:pt x="6299" y="95747"/>
                    <a:pt x="6299" y="95747"/>
                    <a:pt x="6299" y="95747"/>
                  </a:cubicBezTo>
                  <a:cubicBezTo>
                    <a:pt x="6299" y="95747"/>
                    <a:pt x="6299" y="95747"/>
                    <a:pt x="6299" y="95747"/>
                  </a:cubicBezTo>
                  <a:cubicBezTo>
                    <a:pt x="6299" y="95747"/>
                    <a:pt x="6299" y="95747"/>
                    <a:pt x="6299" y="95747"/>
                  </a:cubicBezTo>
                  <a:cubicBezTo>
                    <a:pt x="5040" y="100786"/>
                    <a:pt x="5040" y="104565"/>
                    <a:pt x="3780" y="109605"/>
                  </a:cubicBezTo>
                  <a:cubicBezTo>
                    <a:pt x="3780" y="109605"/>
                    <a:pt x="3780" y="108345"/>
                    <a:pt x="3780" y="108345"/>
                  </a:cubicBezTo>
                  <a:cubicBezTo>
                    <a:pt x="3780" y="109605"/>
                    <a:pt x="3780" y="109605"/>
                    <a:pt x="3780" y="110864"/>
                  </a:cubicBezTo>
                  <a:lnTo>
                    <a:pt x="3780" y="109605"/>
                  </a:lnTo>
                  <a:cubicBezTo>
                    <a:pt x="3780" y="109605"/>
                    <a:pt x="3780" y="110864"/>
                    <a:pt x="3780" y="110864"/>
                  </a:cubicBezTo>
                  <a:cubicBezTo>
                    <a:pt x="3780" y="113384"/>
                    <a:pt x="2520" y="114644"/>
                    <a:pt x="2520" y="117164"/>
                  </a:cubicBezTo>
                  <a:cubicBezTo>
                    <a:pt x="2520" y="119683"/>
                    <a:pt x="1260" y="120943"/>
                    <a:pt x="1260" y="123463"/>
                  </a:cubicBezTo>
                  <a:cubicBezTo>
                    <a:pt x="1260" y="124723"/>
                    <a:pt x="1260" y="124723"/>
                    <a:pt x="1260" y="125982"/>
                  </a:cubicBezTo>
                  <a:lnTo>
                    <a:pt x="1260" y="125982"/>
                  </a:lnTo>
                  <a:cubicBezTo>
                    <a:pt x="1260" y="128502"/>
                    <a:pt x="0" y="129762"/>
                    <a:pt x="0" y="132281"/>
                  </a:cubicBezTo>
                  <a:cubicBezTo>
                    <a:pt x="1260" y="131022"/>
                    <a:pt x="2520" y="129762"/>
                    <a:pt x="3780" y="128502"/>
                  </a:cubicBezTo>
                  <a:cubicBezTo>
                    <a:pt x="5040" y="127242"/>
                    <a:pt x="7559" y="125982"/>
                    <a:pt x="8819" y="123463"/>
                  </a:cubicBezTo>
                  <a:cubicBezTo>
                    <a:pt x="8819" y="120943"/>
                    <a:pt x="10079" y="118424"/>
                    <a:pt x="10079" y="117164"/>
                  </a:cubicBezTo>
                  <a:cubicBezTo>
                    <a:pt x="11339" y="113384"/>
                    <a:pt x="11339" y="109605"/>
                    <a:pt x="12598" y="107085"/>
                  </a:cubicBezTo>
                  <a:cubicBezTo>
                    <a:pt x="13858" y="100786"/>
                    <a:pt x="15118" y="93227"/>
                    <a:pt x="15118" y="86928"/>
                  </a:cubicBezTo>
                  <a:cubicBezTo>
                    <a:pt x="17638" y="73070"/>
                    <a:pt x="18897" y="59212"/>
                    <a:pt x="21417" y="45354"/>
                  </a:cubicBezTo>
                  <a:cubicBezTo>
                    <a:pt x="21417" y="41574"/>
                    <a:pt x="22677" y="37795"/>
                    <a:pt x="22677" y="35275"/>
                  </a:cubicBezTo>
                  <a:cubicBezTo>
                    <a:pt x="22677" y="31496"/>
                    <a:pt x="23937" y="27716"/>
                    <a:pt x="23937" y="23937"/>
                  </a:cubicBezTo>
                  <a:cubicBezTo>
                    <a:pt x="23937" y="20157"/>
                    <a:pt x="25196" y="16378"/>
                    <a:pt x="25196" y="12598"/>
                  </a:cubicBezTo>
                  <a:cubicBezTo>
                    <a:pt x="25196" y="8819"/>
                    <a:pt x="26456" y="5039"/>
                    <a:pt x="26456" y="1260"/>
                  </a:cubicBezTo>
                  <a:cubicBezTo>
                    <a:pt x="26456" y="2520"/>
                    <a:pt x="26456" y="1260"/>
                    <a:pt x="25196" y="1260"/>
                  </a:cubicBezTo>
                  <a:cubicBezTo>
                    <a:pt x="25196" y="1260"/>
                    <a:pt x="25196" y="1260"/>
                    <a:pt x="25196" y="1260"/>
                  </a:cubicBezTo>
                  <a:moveTo>
                    <a:pt x="3780" y="117164"/>
                  </a:moveTo>
                  <a:cubicBezTo>
                    <a:pt x="3780" y="118424"/>
                    <a:pt x="3780" y="118424"/>
                    <a:pt x="3780" y="117164"/>
                  </a:cubicBezTo>
                  <a:cubicBezTo>
                    <a:pt x="3780" y="118424"/>
                    <a:pt x="3780" y="118424"/>
                    <a:pt x="3780" y="117164"/>
                  </a:cubicBezTo>
                  <a:moveTo>
                    <a:pt x="2520" y="127242"/>
                  </a:moveTo>
                  <a:cubicBezTo>
                    <a:pt x="2520" y="127242"/>
                    <a:pt x="2520" y="127242"/>
                    <a:pt x="2520" y="127242"/>
                  </a:cubicBezTo>
                  <a:cubicBezTo>
                    <a:pt x="2520" y="127242"/>
                    <a:pt x="2520" y="127242"/>
                    <a:pt x="2520" y="127242"/>
                  </a:cubicBezTo>
                </a:path>
              </a:pathLst>
            </a:custGeom>
            <a:solidFill>
              <a:srgbClr val="F2A988"/>
            </a:solidFill>
            <a:ln w="12584" cap="flat">
              <a:noFill/>
              <a:prstDash val="solid"/>
              <a:miter/>
            </a:ln>
          </p:spPr>
          <p:txBody>
            <a:bodyPr rtlCol="0" anchor="ctr"/>
            <a:lstStyle/>
            <a:p>
              <a:endParaRPr lang="zh-CN" altLang="en-US"/>
            </a:p>
          </p:txBody>
        </p:sp>
        <p:sp>
          <p:nvSpPr>
            <p:cNvPr id="10235" name="任意多边形: 形状 10234"/>
            <p:cNvSpPr/>
            <p:nvPr/>
          </p:nvSpPr>
          <p:spPr>
            <a:xfrm>
              <a:off x="5113078" y="2551668"/>
              <a:ext cx="12598" cy="125982"/>
            </a:xfrm>
            <a:custGeom>
              <a:avLst/>
              <a:gdLst>
                <a:gd name="connsiteX0" fmla="*/ 18897 w 12598"/>
                <a:gd name="connsiteY0" fmla="*/ 3014 h 125982"/>
                <a:gd name="connsiteX1" fmla="*/ 18897 w 12598"/>
                <a:gd name="connsiteY1" fmla="*/ 10573 h 125982"/>
                <a:gd name="connsiteX2" fmla="*/ 18897 w 12598"/>
                <a:gd name="connsiteY2" fmla="*/ 18132 h 125982"/>
                <a:gd name="connsiteX3" fmla="*/ 18897 w 12598"/>
                <a:gd name="connsiteY3" fmla="*/ 23171 h 125982"/>
                <a:gd name="connsiteX4" fmla="*/ 18897 w 12598"/>
                <a:gd name="connsiteY4" fmla="*/ 21911 h 125982"/>
                <a:gd name="connsiteX5" fmla="*/ 20157 w 12598"/>
                <a:gd name="connsiteY5" fmla="*/ 29470 h 125982"/>
                <a:gd name="connsiteX6" fmla="*/ 21417 w 12598"/>
                <a:gd name="connsiteY6" fmla="*/ 38289 h 125982"/>
                <a:gd name="connsiteX7" fmla="*/ 21417 w 12598"/>
                <a:gd name="connsiteY7" fmla="*/ 43328 h 125982"/>
                <a:gd name="connsiteX8" fmla="*/ 21417 w 12598"/>
                <a:gd name="connsiteY8" fmla="*/ 48368 h 125982"/>
                <a:gd name="connsiteX9" fmla="*/ 21417 w 12598"/>
                <a:gd name="connsiteY9" fmla="*/ 57186 h 125982"/>
                <a:gd name="connsiteX10" fmla="*/ 21417 w 12598"/>
                <a:gd name="connsiteY10" fmla="*/ 66005 h 125982"/>
                <a:gd name="connsiteX11" fmla="*/ 21417 w 12598"/>
                <a:gd name="connsiteY11" fmla="*/ 69784 h 125982"/>
                <a:gd name="connsiteX12" fmla="*/ 21417 w 12598"/>
                <a:gd name="connsiteY12" fmla="*/ 69784 h 125982"/>
                <a:gd name="connsiteX13" fmla="*/ 21417 w 12598"/>
                <a:gd name="connsiteY13" fmla="*/ 74824 h 125982"/>
                <a:gd name="connsiteX14" fmla="*/ 21417 w 12598"/>
                <a:gd name="connsiteY14" fmla="*/ 79863 h 125982"/>
                <a:gd name="connsiteX15" fmla="*/ 21417 w 12598"/>
                <a:gd name="connsiteY15" fmla="*/ 81123 h 125982"/>
                <a:gd name="connsiteX16" fmla="*/ 21417 w 12598"/>
                <a:gd name="connsiteY16" fmla="*/ 84903 h 125982"/>
                <a:gd name="connsiteX17" fmla="*/ 21417 w 12598"/>
                <a:gd name="connsiteY17" fmla="*/ 87422 h 125982"/>
                <a:gd name="connsiteX18" fmla="*/ 20157 w 12598"/>
                <a:gd name="connsiteY18" fmla="*/ 93721 h 125982"/>
                <a:gd name="connsiteX19" fmla="*/ 18897 w 12598"/>
                <a:gd name="connsiteY19" fmla="*/ 102540 h 125982"/>
                <a:gd name="connsiteX20" fmla="*/ 17637 w 12598"/>
                <a:gd name="connsiteY20" fmla="*/ 110099 h 125982"/>
                <a:gd name="connsiteX21" fmla="*/ 17637 w 12598"/>
                <a:gd name="connsiteY21" fmla="*/ 112619 h 125982"/>
                <a:gd name="connsiteX22" fmla="*/ 16378 w 12598"/>
                <a:gd name="connsiteY22" fmla="*/ 113878 h 125982"/>
                <a:gd name="connsiteX23" fmla="*/ 7559 w 12598"/>
                <a:gd name="connsiteY23" fmla="*/ 121437 h 125982"/>
                <a:gd name="connsiteX24" fmla="*/ 5039 w 12598"/>
                <a:gd name="connsiteY24" fmla="*/ 123957 h 125982"/>
                <a:gd name="connsiteX25" fmla="*/ 0 w 12598"/>
                <a:gd name="connsiteY25" fmla="*/ 127736 h 125982"/>
                <a:gd name="connsiteX26" fmla="*/ 1260 w 12598"/>
                <a:gd name="connsiteY26" fmla="*/ 121437 h 125982"/>
                <a:gd name="connsiteX27" fmla="*/ 3779 w 12598"/>
                <a:gd name="connsiteY27" fmla="*/ 106319 h 125982"/>
                <a:gd name="connsiteX28" fmla="*/ 5039 w 12598"/>
                <a:gd name="connsiteY28" fmla="*/ 97501 h 125982"/>
                <a:gd name="connsiteX29" fmla="*/ 6299 w 12598"/>
                <a:gd name="connsiteY29" fmla="*/ 88682 h 125982"/>
                <a:gd name="connsiteX30" fmla="*/ 7559 w 12598"/>
                <a:gd name="connsiteY30" fmla="*/ 79863 h 125982"/>
                <a:gd name="connsiteX31" fmla="*/ 8819 w 12598"/>
                <a:gd name="connsiteY31" fmla="*/ 71044 h 125982"/>
                <a:gd name="connsiteX32" fmla="*/ 10078 w 12598"/>
                <a:gd name="connsiteY32" fmla="*/ 53407 h 125982"/>
                <a:gd name="connsiteX33" fmla="*/ 10078 w 12598"/>
                <a:gd name="connsiteY33" fmla="*/ 44588 h 125982"/>
                <a:gd name="connsiteX34" fmla="*/ 10078 w 12598"/>
                <a:gd name="connsiteY34" fmla="*/ 34510 h 125982"/>
                <a:gd name="connsiteX35" fmla="*/ 10078 w 12598"/>
                <a:gd name="connsiteY35" fmla="*/ 29470 h 125982"/>
                <a:gd name="connsiteX36" fmla="*/ 10078 w 12598"/>
                <a:gd name="connsiteY36" fmla="*/ 24431 h 125982"/>
                <a:gd name="connsiteX37" fmla="*/ 8819 w 12598"/>
                <a:gd name="connsiteY37" fmla="*/ 15612 h 125982"/>
                <a:gd name="connsiteX38" fmla="*/ 8819 w 12598"/>
                <a:gd name="connsiteY38" fmla="*/ 8053 h 125982"/>
                <a:gd name="connsiteX39" fmla="*/ 8819 w 12598"/>
                <a:gd name="connsiteY39" fmla="*/ 4274 h 125982"/>
                <a:gd name="connsiteX40" fmla="*/ 12598 w 12598"/>
                <a:gd name="connsiteY40" fmla="*/ 494 h 125982"/>
                <a:gd name="connsiteX41" fmla="*/ 13858 w 12598"/>
                <a:gd name="connsiteY41" fmla="*/ 494 h 125982"/>
                <a:gd name="connsiteX42" fmla="*/ 18897 w 12598"/>
                <a:gd name="connsiteY42" fmla="*/ 3014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98" h="125982">
                  <a:moveTo>
                    <a:pt x="18897" y="3014"/>
                  </a:moveTo>
                  <a:cubicBezTo>
                    <a:pt x="18897" y="5534"/>
                    <a:pt x="18897" y="8053"/>
                    <a:pt x="18897" y="10573"/>
                  </a:cubicBezTo>
                  <a:cubicBezTo>
                    <a:pt x="18897" y="13092"/>
                    <a:pt x="18897" y="15612"/>
                    <a:pt x="18897" y="18132"/>
                  </a:cubicBezTo>
                  <a:cubicBezTo>
                    <a:pt x="18897" y="19392"/>
                    <a:pt x="18897" y="21911"/>
                    <a:pt x="18897" y="23171"/>
                  </a:cubicBezTo>
                  <a:cubicBezTo>
                    <a:pt x="18897" y="23171"/>
                    <a:pt x="18897" y="21911"/>
                    <a:pt x="18897" y="21911"/>
                  </a:cubicBezTo>
                  <a:cubicBezTo>
                    <a:pt x="18897" y="24431"/>
                    <a:pt x="18897" y="26951"/>
                    <a:pt x="20157" y="29470"/>
                  </a:cubicBezTo>
                  <a:cubicBezTo>
                    <a:pt x="20157" y="31990"/>
                    <a:pt x="21417" y="35769"/>
                    <a:pt x="21417" y="38289"/>
                  </a:cubicBezTo>
                  <a:cubicBezTo>
                    <a:pt x="21417" y="39549"/>
                    <a:pt x="21417" y="42068"/>
                    <a:pt x="21417" y="43328"/>
                  </a:cubicBezTo>
                  <a:cubicBezTo>
                    <a:pt x="21417" y="44588"/>
                    <a:pt x="21417" y="45848"/>
                    <a:pt x="21417" y="48368"/>
                  </a:cubicBezTo>
                  <a:cubicBezTo>
                    <a:pt x="21417" y="50887"/>
                    <a:pt x="21417" y="53407"/>
                    <a:pt x="21417" y="57186"/>
                  </a:cubicBezTo>
                  <a:cubicBezTo>
                    <a:pt x="21417" y="59706"/>
                    <a:pt x="21417" y="63485"/>
                    <a:pt x="21417" y="66005"/>
                  </a:cubicBezTo>
                  <a:cubicBezTo>
                    <a:pt x="21417" y="67265"/>
                    <a:pt x="21417" y="68525"/>
                    <a:pt x="21417" y="69784"/>
                  </a:cubicBezTo>
                  <a:cubicBezTo>
                    <a:pt x="21417" y="69784"/>
                    <a:pt x="21417" y="69784"/>
                    <a:pt x="21417" y="69784"/>
                  </a:cubicBezTo>
                  <a:cubicBezTo>
                    <a:pt x="21417" y="71044"/>
                    <a:pt x="21417" y="73564"/>
                    <a:pt x="21417" y="74824"/>
                  </a:cubicBezTo>
                  <a:cubicBezTo>
                    <a:pt x="21417" y="76084"/>
                    <a:pt x="21417" y="77343"/>
                    <a:pt x="21417" y="79863"/>
                  </a:cubicBezTo>
                  <a:lnTo>
                    <a:pt x="21417" y="81123"/>
                  </a:lnTo>
                  <a:cubicBezTo>
                    <a:pt x="21417" y="82383"/>
                    <a:pt x="21417" y="83643"/>
                    <a:pt x="21417" y="84903"/>
                  </a:cubicBezTo>
                  <a:cubicBezTo>
                    <a:pt x="21417" y="86162"/>
                    <a:pt x="21417" y="86162"/>
                    <a:pt x="21417" y="87422"/>
                  </a:cubicBezTo>
                  <a:cubicBezTo>
                    <a:pt x="21417" y="89942"/>
                    <a:pt x="21417" y="91202"/>
                    <a:pt x="20157" y="93721"/>
                  </a:cubicBezTo>
                  <a:cubicBezTo>
                    <a:pt x="20157" y="96241"/>
                    <a:pt x="18897" y="98760"/>
                    <a:pt x="18897" y="102540"/>
                  </a:cubicBezTo>
                  <a:cubicBezTo>
                    <a:pt x="18897" y="105060"/>
                    <a:pt x="18897" y="107579"/>
                    <a:pt x="17637" y="110099"/>
                  </a:cubicBezTo>
                  <a:lnTo>
                    <a:pt x="17637" y="112619"/>
                  </a:lnTo>
                  <a:cubicBezTo>
                    <a:pt x="17637" y="112619"/>
                    <a:pt x="16378" y="113878"/>
                    <a:pt x="16378" y="113878"/>
                  </a:cubicBezTo>
                  <a:cubicBezTo>
                    <a:pt x="13858" y="116398"/>
                    <a:pt x="11338" y="118918"/>
                    <a:pt x="7559" y="121437"/>
                  </a:cubicBezTo>
                  <a:lnTo>
                    <a:pt x="5039" y="123957"/>
                  </a:lnTo>
                  <a:cubicBezTo>
                    <a:pt x="3779" y="125217"/>
                    <a:pt x="1260" y="126477"/>
                    <a:pt x="0" y="127736"/>
                  </a:cubicBezTo>
                  <a:cubicBezTo>
                    <a:pt x="0" y="125217"/>
                    <a:pt x="1260" y="123957"/>
                    <a:pt x="1260" y="121437"/>
                  </a:cubicBezTo>
                  <a:cubicBezTo>
                    <a:pt x="2519" y="116398"/>
                    <a:pt x="2519" y="111359"/>
                    <a:pt x="3779" y="106319"/>
                  </a:cubicBezTo>
                  <a:cubicBezTo>
                    <a:pt x="3779" y="103800"/>
                    <a:pt x="5039" y="101280"/>
                    <a:pt x="5039" y="97501"/>
                  </a:cubicBezTo>
                  <a:cubicBezTo>
                    <a:pt x="5039" y="94981"/>
                    <a:pt x="6299" y="91202"/>
                    <a:pt x="6299" y="88682"/>
                  </a:cubicBezTo>
                  <a:cubicBezTo>
                    <a:pt x="6299" y="86162"/>
                    <a:pt x="7559" y="82383"/>
                    <a:pt x="7559" y="79863"/>
                  </a:cubicBezTo>
                  <a:cubicBezTo>
                    <a:pt x="7559" y="77343"/>
                    <a:pt x="7559" y="73564"/>
                    <a:pt x="8819" y="71044"/>
                  </a:cubicBezTo>
                  <a:cubicBezTo>
                    <a:pt x="8819" y="64745"/>
                    <a:pt x="10078" y="59706"/>
                    <a:pt x="10078" y="53407"/>
                  </a:cubicBezTo>
                  <a:cubicBezTo>
                    <a:pt x="10078" y="50887"/>
                    <a:pt x="10078" y="47108"/>
                    <a:pt x="10078" y="44588"/>
                  </a:cubicBezTo>
                  <a:cubicBezTo>
                    <a:pt x="10078" y="40809"/>
                    <a:pt x="10078" y="38289"/>
                    <a:pt x="10078" y="34510"/>
                  </a:cubicBezTo>
                  <a:cubicBezTo>
                    <a:pt x="10078" y="33250"/>
                    <a:pt x="10078" y="30730"/>
                    <a:pt x="10078" y="29470"/>
                  </a:cubicBezTo>
                  <a:cubicBezTo>
                    <a:pt x="10078" y="28210"/>
                    <a:pt x="10078" y="25691"/>
                    <a:pt x="10078" y="24431"/>
                  </a:cubicBezTo>
                  <a:cubicBezTo>
                    <a:pt x="10078" y="21911"/>
                    <a:pt x="8819" y="18132"/>
                    <a:pt x="8819" y="15612"/>
                  </a:cubicBezTo>
                  <a:cubicBezTo>
                    <a:pt x="8819" y="13092"/>
                    <a:pt x="8819" y="10573"/>
                    <a:pt x="8819" y="8053"/>
                  </a:cubicBezTo>
                  <a:cubicBezTo>
                    <a:pt x="8819" y="6793"/>
                    <a:pt x="8819" y="5534"/>
                    <a:pt x="8819" y="4274"/>
                  </a:cubicBezTo>
                  <a:cubicBezTo>
                    <a:pt x="8819" y="1754"/>
                    <a:pt x="10078" y="494"/>
                    <a:pt x="12598" y="494"/>
                  </a:cubicBezTo>
                  <a:cubicBezTo>
                    <a:pt x="12598" y="494"/>
                    <a:pt x="13858" y="494"/>
                    <a:pt x="13858" y="494"/>
                  </a:cubicBezTo>
                  <a:cubicBezTo>
                    <a:pt x="16378" y="-766"/>
                    <a:pt x="18897" y="494"/>
                    <a:pt x="18897" y="3014"/>
                  </a:cubicBezTo>
                </a:path>
              </a:pathLst>
            </a:custGeom>
            <a:solidFill>
              <a:srgbClr val="F2A988"/>
            </a:solidFill>
            <a:ln w="12584" cap="flat">
              <a:noFill/>
              <a:prstDash val="solid"/>
              <a:miter/>
            </a:ln>
          </p:spPr>
          <p:txBody>
            <a:bodyPr rtlCol="0" anchor="ctr"/>
            <a:lstStyle/>
            <a:p>
              <a:endParaRPr lang="zh-CN" altLang="en-US"/>
            </a:p>
          </p:txBody>
        </p:sp>
        <p:sp>
          <p:nvSpPr>
            <p:cNvPr id="10236" name="任意多边形: 形状 10235"/>
            <p:cNvSpPr/>
            <p:nvPr/>
          </p:nvSpPr>
          <p:spPr>
            <a:xfrm>
              <a:off x="5074024" y="2698302"/>
              <a:ext cx="50393" cy="62991"/>
            </a:xfrm>
            <a:custGeom>
              <a:avLst/>
              <a:gdLst>
                <a:gd name="connsiteX0" fmla="*/ 49133 w 50392"/>
                <a:gd name="connsiteY0" fmla="*/ 10079 h 62991"/>
                <a:gd name="connsiteX1" fmla="*/ 46613 w 50392"/>
                <a:gd name="connsiteY1" fmla="*/ 17637 h 62991"/>
                <a:gd name="connsiteX2" fmla="*/ 44094 w 50392"/>
                <a:gd name="connsiteY2" fmla="*/ 25196 h 62991"/>
                <a:gd name="connsiteX3" fmla="*/ 31496 w 50392"/>
                <a:gd name="connsiteY3" fmla="*/ 49133 h 62991"/>
                <a:gd name="connsiteX4" fmla="*/ 25196 w 50392"/>
                <a:gd name="connsiteY4" fmla="*/ 59212 h 62991"/>
                <a:gd name="connsiteX5" fmla="*/ 15118 w 50392"/>
                <a:gd name="connsiteY5" fmla="*/ 71810 h 62991"/>
                <a:gd name="connsiteX6" fmla="*/ 8819 w 50392"/>
                <a:gd name="connsiteY6" fmla="*/ 74330 h 62991"/>
                <a:gd name="connsiteX7" fmla="*/ 2519 w 50392"/>
                <a:gd name="connsiteY7" fmla="*/ 71810 h 62991"/>
                <a:gd name="connsiteX8" fmla="*/ 0 w 50392"/>
                <a:gd name="connsiteY8" fmla="*/ 65511 h 62991"/>
                <a:gd name="connsiteX9" fmla="*/ 2519 w 50392"/>
                <a:gd name="connsiteY9" fmla="*/ 59212 h 62991"/>
                <a:gd name="connsiteX10" fmla="*/ 7559 w 50392"/>
                <a:gd name="connsiteY10" fmla="*/ 54172 h 62991"/>
                <a:gd name="connsiteX11" fmla="*/ 13858 w 50392"/>
                <a:gd name="connsiteY11" fmla="*/ 46613 h 62991"/>
                <a:gd name="connsiteX12" fmla="*/ 20157 w 50392"/>
                <a:gd name="connsiteY12" fmla="*/ 37795 h 62991"/>
                <a:gd name="connsiteX13" fmla="*/ 25196 w 50392"/>
                <a:gd name="connsiteY13" fmla="*/ 27716 h 62991"/>
                <a:gd name="connsiteX14" fmla="*/ 28976 w 50392"/>
                <a:gd name="connsiteY14" fmla="*/ 20157 h 62991"/>
                <a:gd name="connsiteX15" fmla="*/ 31496 w 50392"/>
                <a:gd name="connsiteY15" fmla="*/ 13858 h 62991"/>
                <a:gd name="connsiteX16" fmla="*/ 34015 w 50392"/>
                <a:gd name="connsiteY16" fmla="*/ 6299 h 62991"/>
                <a:gd name="connsiteX17" fmla="*/ 34015 w 50392"/>
                <a:gd name="connsiteY17" fmla="*/ 6299 h 62991"/>
                <a:gd name="connsiteX18" fmla="*/ 37795 w 50392"/>
                <a:gd name="connsiteY18" fmla="*/ 7559 h 62991"/>
                <a:gd name="connsiteX19" fmla="*/ 37795 w 50392"/>
                <a:gd name="connsiteY19" fmla="*/ 7559 h 62991"/>
                <a:gd name="connsiteX20" fmla="*/ 42834 w 50392"/>
                <a:gd name="connsiteY20" fmla="*/ 6299 h 62991"/>
                <a:gd name="connsiteX21" fmla="*/ 47873 w 50392"/>
                <a:gd name="connsiteY21" fmla="*/ 2520 h 62991"/>
                <a:gd name="connsiteX22" fmla="*/ 50393 w 50392"/>
                <a:gd name="connsiteY22" fmla="*/ 0 h 62991"/>
                <a:gd name="connsiteX23" fmla="*/ 49133 w 50392"/>
                <a:gd name="connsiteY23" fmla="*/ 10079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0392" h="62991">
                  <a:moveTo>
                    <a:pt x="49133" y="10079"/>
                  </a:moveTo>
                  <a:cubicBezTo>
                    <a:pt x="47873" y="12598"/>
                    <a:pt x="47873" y="15118"/>
                    <a:pt x="46613" y="17637"/>
                  </a:cubicBezTo>
                  <a:cubicBezTo>
                    <a:pt x="45354" y="20157"/>
                    <a:pt x="45354" y="22677"/>
                    <a:pt x="44094" y="25196"/>
                  </a:cubicBezTo>
                  <a:cubicBezTo>
                    <a:pt x="40314" y="32755"/>
                    <a:pt x="36535" y="41574"/>
                    <a:pt x="31496" y="49133"/>
                  </a:cubicBezTo>
                  <a:cubicBezTo>
                    <a:pt x="28976" y="52913"/>
                    <a:pt x="26456" y="55432"/>
                    <a:pt x="25196" y="59212"/>
                  </a:cubicBezTo>
                  <a:cubicBezTo>
                    <a:pt x="22677" y="62991"/>
                    <a:pt x="18897" y="68030"/>
                    <a:pt x="15118" y="71810"/>
                  </a:cubicBezTo>
                  <a:cubicBezTo>
                    <a:pt x="13858" y="73070"/>
                    <a:pt x="11338" y="74330"/>
                    <a:pt x="8819" y="74330"/>
                  </a:cubicBezTo>
                  <a:cubicBezTo>
                    <a:pt x="6299" y="74330"/>
                    <a:pt x="3779" y="73070"/>
                    <a:pt x="2519" y="71810"/>
                  </a:cubicBezTo>
                  <a:cubicBezTo>
                    <a:pt x="1260" y="70550"/>
                    <a:pt x="0" y="68030"/>
                    <a:pt x="0" y="65511"/>
                  </a:cubicBezTo>
                  <a:cubicBezTo>
                    <a:pt x="0" y="62991"/>
                    <a:pt x="1260" y="61731"/>
                    <a:pt x="2519" y="59212"/>
                  </a:cubicBezTo>
                  <a:cubicBezTo>
                    <a:pt x="3779" y="57952"/>
                    <a:pt x="6299" y="55432"/>
                    <a:pt x="7559" y="54172"/>
                  </a:cubicBezTo>
                  <a:cubicBezTo>
                    <a:pt x="10078" y="51653"/>
                    <a:pt x="11338" y="49133"/>
                    <a:pt x="13858" y="46613"/>
                  </a:cubicBezTo>
                  <a:cubicBezTo>
                    <a:pt x="16378" y="44094"/>
                    <a:pt x="17637" y="40314"/>
                    <a:pt x="20157" y="37795"/>
                  </a:cubicBezTo>
                  <a:cubicBezTo>
                    <a:pt x="21417" y="35275"/>
                    <a:pt x="23937" y="31496"/>
                    <a:pt x="25196" y="27716"/>
                  </a:cubicBezTo>
                  <a:cubicBezTo>
                    <a:pt x="26456" y="25196"/>
                    <a:pt x="27716" y="22677"/>
                    <a:pt x="28976" y="20157"/>
                  </a:cubicBezTo>
                  <a:cubicBezTo>
                    <a:pt x="30236" y="17637"/>
                    <a:pt x="30236" y="16378"/>
                    <a:pt x="31496" y="13858"/>
                  </a:cubicBezTo>
                  <a:cubicBezTo>
                    <a:pt x="32755" y="11338"/>
                    <a:pt x="32755" y="8819"/>
                    <a:pt x="34015" y="6299"/>
                  </a:cubicBezTo>
                  <a:cubicBezTo>
                    <a:pt x="34015" y="6299"/>
                    <a:pt x="34015" y="6299"/>
                    <a:pt x="34015" y="6299"/>
                  </a:cubicBezTo>
                  <a:cubicBezTo>
                    <a:pt x="35275" y="7559"/>
                    <a:pt x="36535" y="7559"/>
                    <a:pt x="37795" y="7559"/>
                  </a:cubicBezTo>
                  <a:cubicBezTo>
                    <a:pt x="37795" y="7559"/>
                    <a:pt x="37795" y="7559"/>
                    <a:pt x="37795" y="7559"/>
                  </a:cubicBezTo>
                  <a:cubicBezTo>
                    <a:pt x="39055" y="7559"/>
                    <a:pt x="41574" y="7559"/>
                    <a:pt x="42834" y="6299"/>
                  </a:cubicBezTo>
                  <a:cubicBezTo>
                    <a:pt x="45354" y="5039"/>
                    <a:pt x="46613" y="3780"/>
                    <a:pt x="47873" y="2520"/>
                  </a:cubicBezTo>
                  <a:cubicBezTo>
                    <a:pt x="49133" y="1260"/>
                    <a:pt x="50393" y="1260"/>
                    <a:pt x="50393" y="0"/>
                  </a:cubicBezTo>
                  <a:cubicBezTo>
                    <a:pt x="51653" y="1260"/>
                    <a:pt x="50393" y="6299"/>
                    <a:pt x="49133" y="10079"/>
                  </a:cubicBezTo>
                </a:path>
              </a:pathLst>
            </a:custGeom>
            <a:solidFill>
              <a:srgbClr val="F2A988"/>
            </a:solidFill>
            <a:ln w="12584" cap="flat">
              <a:noFill/>
              <a:prstDash val="solid"/>
              <a:miter/>
            </a:ln>
          </p:spPr>
          <p:txBody>
            <a:bodyPr rtlCol="0" anchor="ctr"/>
            <a:lstStyle/>
            <a:p>
              <a:endParaRPr lang="zh-CN" altLang="en-US"/>
            </a:p>
          </p:txBody>
        </p:sp>
        <p:sp>
          <p:nvSpPr>
            <p:cNvPr id="10237" name="任意多边形: 形状 10236"/>
            <p:cNvSpPr/>
            <p:nvPr/>
          </p:nvSpPr>
          <p:spPr>
            <a:xfrm>
              <a:off x="5099220" y="2566266"/>
              <a:ext cx="25196" cy="88188"/>
            </a:xfrm>
            <a:custGeom>
              <a:avLst/>
              <a:gdLst>
                <a:gd name="connsiteX0" fmla="*/ 32755 w 25196"/>
                <a:gd name="connsiteY0" fmla="*/ 4794 h 88187"/>
                <a:gd name="connsiteX1" fmla="*/ 31496 w 25196"/>
                <a:gd name="connsiteY1" fmla="*/ 26211 h 88187"/>
                <a:gd name="connsiteX2" fmla="*/ 30236 w 25196"/>
                <a:gd name="connsiteY2" fmla="*/ 48887 h 88187"/>
                <a:gd name="connsiteX3" fmla="*/ 26456 w 25196"/>
                <a:gd name="connsiteY3" fmla="*/ 71564 h 88187"/>
                <a:gd name="connsiteX4" fmla="*/ 23937 w 25196"/>
                <a:gd name="connsiteY4" fmla="*/ 82903 h 88187"/>
                <a:gd name="connsiteX5" fmla="*/ 21417 w 25196"/>
                <a:gd name="connsiteY5" fmla="*/ 91722 h 88187"/>
                <a:gd name="connsiteX6" fmla="*/ 21417 w 25196"/>
                <a:gd name="connsiteY6" fmla="*/ 92981 h 88187"/>
                <a:gd name="connsiteX7" fmla="*/ 20157 w 25196"/>
                <a:gd name="connsiteY7" fmla="*/ 96761 h 88187"/>
                <a:gd name="connsiteX8" fmla="*/ 17637 w 25196"/>
                <a:gd name="connsiteY8" fmla="*/ 99280 h 88187"/>
                <a:gd name="connsiteX9" fmla="*/ 12598 w 25196"/>
                <a:gd name="connsiteY9" fmla="*/ 100540 h 88187"/>
                <a:gd name="connsiteX10" fmla="*/ 10078 w 25196"/>
                <a:gd name="connsiteY10" fmla="*/ 100540 h 88187"/>
                <a:gd name="connsiteX11" fmla="*/ 8819 w 25196"/>
                <a:gd name="connsiteY11" fmla="*/ 100540 h 88187"/>
                <a:gd name="connsiteX12" fmla="*/ 7559 w 25196"/>
                <a:gd name="connsiteY12" fmla="*/ 100540 h 88187"/>
                <a:gd name="connsiteX13" fmla="*/ 0 w 25196"/>
                <a:gd name="connsiteY13" fmla="*/ 92981 h 88187"/>
                <a:gd name="connsiteX14" fmla="*/ 1260 w 25196"/>
                <a:gd name="connsiteY14" fmla="*/ 79123 h 88187"/>
                <a:gd name="connsiteX15" fmla="*/ 1260 w 25196"/>
                <a:gd name="connsiteY15" fmla="*/ 72824 h 88187"/>
                <a:gd name="connsiteX16" fmla="*/ 2519 w 25196"/>
                <a:gd name="connsiteY16" fmla="*/ 62746 h 88187"/>
                <a:gd name="connsiteX17" fmla="*/ 2519 w 25196"/>
                <a:gd name="connsiteY17" fmla="*/ 62746 h 88187"/>
                <a:gd name="connsiteX18" fmla="*/ 2519 w 25196"/>
                <a:gd name="connsiteY18" fmla="*/ 62746 h 88187"/>
                <a:gd name="connsiteX19" fmla="*/ 2519 w 25196"/>
                <a:gd name="connsiteY19" fmla="*/ 62746 h 88187"/>
                <a:gd name="connsiteX20" fmla="*/ 2519 w 25196"/>
                <a:gd name="connsiteY20" fmla="*/ 60226 h 88187"/>
                <a:gd name="connsiteX21" fmla="*/ 5039 w 25196"/>
                <a:gd name="connsiteY21" fmla="*/ 56446 h 88187"/>
                <a:gd name="connsiteX22" fmla="*/ 10078 w 25196"/>
                <a:gd name="connsiteY22" fmla="*/ 53927 h 88187"/>
                <a:gd name="connsiteX23" fmla="*/ 11338 w 25196"/>
                <a:gd name="connsiteY23" fmla="*/ 47628 h 88187"/>
                <a:gd name="connsiteX24" fmla="*/ 13858 w 25196"/>
                <a:gd name="connsiteY24" fmla="*/ 43848 h 88187"/>
                <a:gd name="connsiteX25" fmla="*/ 18897 w 25196"/>
                <a:gd name="connsiteY25" fmla="*/ 42588 h 88187"/>
                <a:gd name="connsiteX26" fmla="*/ 20157 w 25196"/>
                <a:gd name="connsiteY26" fmla="*/ 42588 h 88187"/>
                <a:gd name="connsiteX27" fmla="*/ 21417 w 25196"/>
                <a:gd name="connsiteY27" fmla="*/ 31250 h 88187"/>
                <a:gd name="connsiteX28" fmla="*/ 22677 w 25196"/>
                <a:gd name="connsiteY28" fmla="*/ 6054 h 88187"/>
                <a:gd name="connsiteX29" fmla="*/ 28976 w 25196"/>
                <a:gd name="connsiteY29" fmla="*/ 1014 h 88187"/>
                <a:gd name="connsiteX30" fmla="*/ 28976 w 25196"/>
                <a:gd name="connsiteY30" fmla="*/ 1014 h 88187"/>
                <a:gd name="connsiteX31" fmla="*/ 32755 w 25196"/>
                <a:gd name="connsiteY31" fmla="*/ 4794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196" h="88187">
                  <a:moveTo>
                    <a:pt x="32755" y="4794"/>
                  </a:moveTo>
                  <a:cubicBezTo>
                    <a:pt x="32755" y="12353"/>
                    <a:pt x="32755" y="18652"/>
                    <a:pt x="31496" y="26211"/>
                  </a:cubicBezTo>
                  <a:cubicBezTo>
                    <a:pt x="31496" y="33770"/>
                    <a:pt x="30236" y="41329"/>
                    <a:pt x="30236" y="48887"/>
                  </a:cubicBezTo>
                  <a:cubicBezTo>
                    <a:pt x="28976" y="56446"/>
                    <a:pt x="27716" y="64005"/>
                    <a:pt x="26456" y="71564"/>
                  </a:cubicBezTo>
                  <a:cubicBezTo>
                    <a:pt x="26456" y="75344"/>
                    <a:pt x="25196" y="79123"/>
                    <a:pt x="23937" y="82903"/>
                  </a:cubicBezTo>
                  <a:cubicBezTo>
                    <a:pt x="22677" y="85422"/>
                    <a:pt x="22677" y="89202"/>
                    <a:pt x="21417" y="91722"/>
                  </a:cubicBezTo>
                  <a:cubicBezTo>
                    <a:pt x="21417" y="91722"/>
                    <a:pt x="21417" y="92981"/>
                    <a:pt x="21417" y="92981"/>
                  </a:cubicBezTo>
                  <a:cubicBezTo>
                    <a:pt x="21417" y="94241"/>
                    <a:pt x="21417" y="95501"/>
                    <a:pt x="20157" y="96761"/>
                  </a:cubicBezTo>
                  <a:cubicBezTo>
                    <a:pt x="18897" y="98021"/>
                    <a:pt x="18897" y="99280"/>
                    <a:pt x="17637" y="99280"/>
                  </a:cubicBezTo>
                  <a:cubicBezTo>
                    <a:pt x="16378" y="100540"/>
                    <a:pt x="13858" y="100540"/>
                    <a:pt x="12598" y="100540"/>
                  </a:cubicBezTo>
                  <a:cubicBezTo>
                    <a:pt x="11338" y="100540"/>
                    <a:pt x="11338" y="100540"/>
                    <a:pt x="10078" y="100540"/>
                  </a:cubicBezTo>
                  <a:cubicBezTo>
                    <a:pt x="10078" y="100540"/>
                    <a:pt x="10078" y="100540"/>
                    <a:pt x="8819" y="100540"/>
                  </a:cubicBezTo>
                  <a:cubicBezTo>
                    <a:pt x="8819" y="100540"/>
                    <a:pt x="7559" y="100540"/>
                    <a:pt x="7559" y="100540"/>
                  </a:cubicBezTo>
                  <a:cubicBezTo>
                    <a:pt x="2519" y="100540"/>
                    <a:pt x="0" y="96761"/>
                    <a:pt x="0" y="92981"/>
                  </a:cubicBezTo>
                  <a:cubicBezTo>
                    <a:pt x="0" y="87942"/>
                    <a:pt x="0" y="82903"/>
                    <a:pt x="1260" y="79123"/>
                  </a:cubicBezTo>
                  <a:cubicBezTo>
                    <a:pt x="1260" y="76604"/>
                    <a:pt x="1260" y="74084"/>
                    <a:pt x="1260" y="72824"/>
                  </a:cubicBezTo>
                  <a:cubicBezTo>
                    <a:pt x="1260" y="69045"/>
                    <a:pt x="1260" y="66525"/>
                    <a:pt x="2519" y="62746"/>
                  </a:cubicBezTo>
                  <a:cubicBezTo>
                    <a:pt x="2519" y="62746"/>
                    <a:pt x="2519" y="62746"/>
                    <a:pt x="2519" y="62746"/>
                  </a:cubicBezTo>
                  <a:cubicBezTo>
                    <a:pt x="2519" y="62746"/>
                    <a:pt x="2519" y="62746"/>
                    <a:pt x="2519" y="62746"/>
                  </a:cubicBezTo>
                  <a:lnTo>
                    <a:pt x="2519" y="62746"/>
                  </a:lnTo>
                  <a:cubicBezTo>
                    <a:pt x="2519" y="61486"/>
                    <a:pt x="2519" y="61486"/>
                    <a:pt x="2519" y="60226"/>
                  </a:cubicBezTo>
                  <a:cubicBezTo>
                    <a:pt x="2519" y="58966"/>
                    <a:pt x="3779" y="57706"/>
                    <a:pt x="5039" y="56446"/>
                  </a:cubicBezTo>
                  <a:cubicBezTo>
                    <a:pt x="6299" y="55187"/>
                    <a:pt x="7559" y="55187"/>
                    <a:pt x="10078" y="53927"/>
                  </a:cubicBezTo>
                  <a:cubicBezTo>
                    <a:pt x="10078" y="51407"/>
                    <a:pt x="10078" y="50147"/>
                    <a:pt x="11338" y="47628"/>
                  </a:cubicBezTo>
                  <a:cubicBezTo>
                    <a:pt x="11338" y="46368"/>
                    <a:pt x="12598" y="45108"/>
                    <a:pt x="13858" y="43848"/>
                  </a:cubicBezTo>
                  <a:cubicBezTo>
                    <a:pt x="15118" y="42588"/>
                    <a:pt x="16378" y="42588"/>
                    <a:pt x="18897" y="42588"/>
                  </a:cubicBezTo>
                  <a:cubicBezTo>
                    <a:pt x="18897" y="42588"/>
                    <a:pt x="18897" y="42588"/>
                    <a:pt x="20157" y="42588"/>
                  </a:cubicBezTo>
                  <a:cubicBezTo>
                    <a:pt x="20157" y="38809"/>
                    <a:pt x="21417" y="35029"/>
                    <a:pt x="21417" y="31250"/>
                  </a:cubicBezTo>
                  <a:cubicBezTo>
                    <a:pt x="21417" y="22431"/>
                    <a:pt x="22677" y="14872"/>
                    <a:pt x="22677" y="6054"/>
                  </a:cubicBezTo>
                  <a:cubicBezTo>
                    <a:pt x="22677" y="2274"/>
                    <a:pt x="25196" y="-246"/>
                    <a:pt x="28976" y="1014"/>
                  </a:cubicBezTo>
                  <a:cubicBezTo>
                    <a:pt x="28976" y="1014"/>
                    <a:pt x="28976" y="1014"/>
                    <a:pt x="28976" y="1014"/>
                  </a:cubicBezTo>
                  <a:cubicBezTo>
                    <a:pt x="30236" y="-1505"/>
                    <a:pt x="32755" y="1014"/>
                    <a:pt x="32755" y="4794"/>
                  </a:cubicBezTo>
                </a:path>
              </a:pathLst>
            </a:custGeom>
            <a:solidFill>
              <a:srgbClr val="F2A988"/>
            </a:solidFill>
            <a:ln w="12584" cap="flat">
              <a:noFill/>
              <a:prstDash val="solid"/>
              <a:miter/>
            </a:ln>
          </p:spPr>
          <p:txBody>
            <a:bodyPr rtlCol="0" anchor="ctr"/>
            <a:lstStyle/>
            <a:p>
              <a:endParaRPr lang="zh-CN" altLang="en-US"/>
            </a:p>
          </p:txBody>
        </p:sp>
        <p:sp>
          <p:nvSpPr>
            <p:cNvPr id="10238" name="任意多边形: 形状 10237"/>
            <p:cNvSpPr/>
            <p:nvPr/>
          </p:nvSpPr>
          <p:spPr>
            <a:xfrm>
              <a:off x="5098885" y="2549643"/>
              <a:ext cx="37795" cy="151179"/>
            </a:xfrm>
            <a:custGeom>
              <a:avLst/>
              <a:gdLst>
                <a:gd name="connsiteX0" fmla="*/ 34350 w 37794"/>
                <a:gd name="connsiteY0" fmla="*/ 1260 h 151178"/>
                <a:gd name="connsiteX1" fmla="*/ 35610 w 37794"/>
                <a:gd name="connsiteY1" fmla="*/ 1260 h 151178"/>
                <a:gd name="connsiteX2" fmla="*/ 35610 w 37794"/>
                <a:gd name="connsiteY2" fmla="*/ 1260 h 151178"/>
                <a:gd name="connsiteX3" fmla="*/ 35610 w 37794"/>
                <a:gd name="connsiteY3" fmla="*/ 1260 h 151178"/>
                <a:gd name="connsiteX4" fmla="*/ 35610 w 37794"/>
                <a:gd name="connsiteY4" fmla="*/ 1260 h 151178"/>
                <a:gd name="connsiteX5" fmla="*/ 35610 w 37794"/>
                <a:gd name="connsiteY5" fmla="*/ 1260 h 151178"/>
                <a:gd name="connsiteX6" fmla="*/ 36870 w 37794"/>
                <a:gd name="connsiteY6" fmla="*/ 1260 h 151178"/>
                <a:gd name="connsiteX7" fmla="*/ 41909 w 37794"/>
                <a:gd name="connsiteY7" fmla="*/ 2520 h 151178"/>
                <a:gd name="connsiteX8" fmla="*/ 44429 w 37794"/>
                <a:gd name="connsiteY8" fmla="*/ 3780 h 151178"/>
                <a:gd name="connsiteX9" fmla="*/ 44429 w 37794"/>
                <a:gd name="connsiteY9" fmla="*/ 7559 h 151178"/>
                <a:gd name="connsiteX10" fmla="*/ 43169 w 37794"/>
                <a:gd name="connsiteY10" fmla="*/ 15118 h 151178"/>
                <a:gd name="connsiteX11" fmla="*/ 41909 w 37794"/>
                <a:gd name="connsiteY11" fmla="*/ 25196 h 151178"/>
                <a:gd name="connsiteX12" fmla="*/ 41909 w 37794"/>
                <a:gd name="connsiteY12" fmla="*/ 25196 h 151178"/>
                <a:gd name="connsiteX13" fmla="*/ 41909 w 37794"/>
                <a:gd name="connsiteY13" fmla="*/ 25196 h 151178"/>
                <a:gd name="connsiteX14" fmla="*/ 41909 w 37794"/>
                <a:gd name="connsiteY14" fmla="*/ 25196 h 151178"/>
                <a:gd name="connsiteX15" fmla="*/ 41909 w 37794"/>
                <a:gd name="connsiteY15" fmla="*/ 25196 h 151178"/>
                <a:gd name="connsiteX16" fmla="*/ 41909 w 37794"/>
                <a:gd name="connsiteY16" fmla="*/ 25196 h 151178"/>
                <a:gd name="connsiteX17" fmla="*/ 41909 w 37794"/>
                <a:gd name="connsiteY17" fmla="*/ 25196 h 151178"/>
                <a:gd name="connsiteX18" fmla="*/ 40649 w 37794"/>
                <a:gd name="connsiteY18" fmla="*/ 42834 h 151178"/>
                <a:gd name="connsiteX19" fmla="*/ 39390 w 37794"/>
                <a:gd name="connsiteY19" fmla="*/ 56692 h 151178"/>
                <a:gd name="connsiteX20" fmla="*/ 38130 w 37794"/>
                <a:gd name="connsiteY20" fmla="*/ 61731 h 151178"/>
                <a:gd name="connsiteX21" fmla="*/ 36870 w 37794"/>
                <a:gd name="connsiteY21" fmla="*/ 69290 h 151178"/>
                <a:gd name="connsiteX22" fmla="*/ 36870 w 37794"/>
                <a:gd name="connsiteY22" fmla="*/ 69290 h 151178"/>
                <a:gd name="connsiteX23" fmla="*/ 36870 w 37794"/>
                <a:gd name="connsiteY23" fmla="*/ 69290 h 151178"/>
                <a:gd name="connsiteX24" fmla="*/ 34350 w 37794"/>
                <a:gd name="connsiteY24" fmla="*/ 78109 h 151178"/>
                <a:gd name="connsiteX25" fmla="*/ 29311 w 37794"/>
                <a:gd name="connsiteY25" fmla="*/ 97006 h 151178"/>
                <a:gd name="connsiteX26" fmla="*/ 24272 w 37794"/>
                <a:gd name="connsiteY26" fmla="*/ 113384 h 151178"/>
                <a:gd name="connsiteX27" fmla="*/ 21752 w 37794"/>
                <a:gd name="connsiteY27" fmla="*/ 120943 h 151178"/>
                <a:gd name="connsiteX28" fmla="*/ 20492 w 37794"/>
                <a:gd name="connsiteY28" fmla="*/ 122203 h 151178"/>
                <a:gd name="connsiteX29" fmla="*/ 14193 w 37794"/>
                <a:gd name="connsiteY29" fmla="*/ 128502 h 151178"/>
                <a:gd name="connsiteX30" fmla="*/ 10414 w 37794"/>
                <a:gd name="connsiteY30" fmla="*/ 132281 h 151178"/>
                <a:gd name="connsiteX31" fmla="*/ 5374 w 37794"/>
                <a:gd name="connsiteY31" fmla="*/ 137321 h 151178"/>
                <a:gd name="connsiteX32" fmla="*/ 4114 w 37794"/>
                <a:gd name="connsiteY32" fmla="*/ 142360 h 151178"/>
                <a:gd name="connsiteX33" fmla="*/ 4114 w 37794"/>
                <a:gd name="connsiteY33" fmla="*/ 143620 h 151178"/>
                <a:gd name="connsiteX34" fmla="*/ 4114 w 37794"/>
                <a:gd name="connsiteY34" fmla="*/ 144880 h 151178"/>
                <a:gd name="connsiteX35" fmla="*/ 6634 w 37794"/>
                <a:gd name="connsiteY35" fmla="*/ 149919 h 151178"/>
                <a:gd name="connsiteX36" fmla="*/ 10414 w 37794"/>
                <a:gd name="connsiteY36" fmla="*/ 152439 h 151178"/>
                <a:gd name="connsiteX37" fmla="*/ 10414 w 37794"/>
                <a:gd name="connsiteY37" fmla="*/ 153698 h 151178"/>
                <a:gd name="connsiteX38" fmla="*/ 7894 w 37794"/>
                <a:gd name="connsiteY38" fmla="*/ 157478 h 151178"/>
                <a:gd name="connsiteX39" fmla="*/ 4114 w 37794"/>
                <a:gd name="connsiteY39" fmla="*/ 157478 h 151178"/>
                <a:gd name="connsiteX40" fmla="*/ 335 w 37794"/>
                <a:gd name="connsiteY40" fmla="*/ 151179 h 151178"/>
                <a:gd name="connsiteX41" fmla="*/ 11673 w 37794"/>
                <a:gd name="connsiteY41" fmla="*/ 115904 h 151178"/>
                <a:gd name="connsiteX42" fmla="*/ 17973 w 37794"/>
                <a:gd name="connsiteY42" fmla="*/ 99526 h 151178"/>
                <a:gd name="connsiteX43" fmla="*/ 23012 w 37794"/>
                <a:gd name="connsiteY43" fmla="*/ 81889 h 151178"/>
                <a:gd name="connsiteX44" fmla="*/ 26791 w 37794"/>
                <a:gd name="connsiteY44" fmla="*/ 68031 h 151178"/>
                <a:gd name="connsiteX45" fmla="*/ 29311 w 37794"/>
                <a:gd name="connsiteY45" fmla="*/ 55432 h 151178"/>
                <a:gd name="connsiteX46" fmla="*/ 31831 w 37794"/>
                <a:gd name="connsiteY46" fmla="*/ 37795 h 151178"/>
                <a:gd name="connsiteX47" fmla="*/ 33091 w 37794"/>
                <a:gd name="connsiteY47" fmla="*/ 28976 h 151178"/>
                <a:gd name="connsiteX48" fmla="*/ 33091 w 37794"/>
                <a:gd name="connsiteY48" fmla="*/ 20157 h 151178"/>
                <a:gd name="connsiteX49" fmla="*/ 34350 w 37794"/>
                <a:gd name="connsiteY49" fmla="*/ 1260 h 151178"/>
                <a:gd name="connsiteX50" fmla="*/ 34350 w 37794"/>
                <a:gd name="connsiteY50" fmla="*/ 0 h 151178"/>
                <a:gd name="connsiteX51" fmla="*/ 34350 w 37794"/>
                <a:gd name="connsiteY51" fmla="*/ 1260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7794" h="151178">
                  <a:moveTo>
                    <a:pt x="34350" y="1260"/>
                  </a:moveTo>
                  <a:cubicBezTo>
                    <a:pt x="34350" y="1260"/>
                    <a:pt x="35610" y="1260"/>
                    <a:pt x="35610" y="1260"/>
                  </a:cubicBezTo>
                  <a:lnTo>
                    <a:pt x="35610" y="1260"/>
                  </a:lnTo>
                  <a:lnTo>
                    <a:pt x="35610" y="1260"/>
                  </a:lnTo>
                  <a:cubicBezTo>
                    <a:pt x="35610" y="1260"/>
                    <a:pt x="35610" y="1260"/>
                    <a:pt x="35610" y="1260"/>
                  </a:cubicBezTo>
                  <a:lnTo>
                    <a:pt x="35610" y="1260"/>
                  </a:lnTo>
                  <a:lnTo>
                    <a:pt x="36870" y="1260"/>
                  </a:lnTo>
                  <a:cubicBezTo>
                    <a:pt x="38130" y="1260"/>
                    <a:pt x="39390" y="2520"/>
                    <a:pt x="41909" y="2520"/>
                  </a:cubicBezTo>
                  <a:cubicBezTo>
                    <a:pt x="43169" y="2520"/>
                    <a:pt x="44429" y="2520"/>
                    <a:pt x="44429" y="3780"/>
                  </a:cubicBezTo>
                  <a:cubicBezTo>
                    <a:pt x="44429" y="5039"/>
                    <a:pt x="44429" y="6299"/>
                    <a:pt x="44429" y="7559"/>
                  </a:cubicBezTo>
                  <a:cubicBezTo>
                    <a:pt x="44429" y="10079"/>
                    <a:pt x="44429" y="12598"/>
                    <a:pt x="43169" y="15118"/>
                  </a:cubicBezTo>
                  <a:cubicBezTo>
                    <a:pt x="43169" y="18897"/>
                    <a:pt x="43169" y="21417"/>
                    <a:pt x="41909" y="25196"/>
                  </a:cubicBezTo>
                  <a:lnTo>
                    <a:pt x="41909" y="25196"/>
                  </a:lnTo>
                  <a:lnTo>
                    <a:pt x="41909" y="25196"/>
                  </a:lnTo>
                  <a:lnTo>
                    <a:pt x="41909" y="25196"/>
                  </a:lnTo>
                  <a:lnTo>
                    <a:pt x="41909" y="25196"/>
                  </a:lnTo>
                  <a:lnTo>
                    <a:pt x="41909" y="25196"/>
                  </a:lnTo>
                  <a:lnTo>
                    <a:pt x="41909" y="25196"/>
                  </a:lnTo>
                  <a:cubicBezTo>
                    <a:pt x="41909" y="31496"/>
                    <a:pt x="40649" y="37795"/>
                    <a:pt x="40649" y="42834"/>
                  </a:cubicBezTo>
                  <a:cubicBezTo>
                    <a:pt x="40649" y="47873"/>
                    <a:pt x="39390" y="52913"/>
                    <a:pt x="39390" y="56692"/>
                  </a:cubicBezTo>
                  <a:cubicBezTo>
                    <a:pt x="39390" y="57952"/>
                    <a:pt x="39390" y="60472"/>
                    <a:pt x="38130" y="61731"/>
                  </a:cubicBezTo>
                  <a:cubicBezTo>
                    <a:pt x="38130" y="64251"/>
                    <a:pt x="36870" y="66771"/>
                    <a:pt x="36870" y="69290"/>
                  </a:cubicBezTo>
                  <a:lnTo>
                    <a:pt x="36870" y="69290"/>
                  </a:lnTo>
                  <a:cubicBezTo>
                    <a:pt x="36870" y="69290"/>
                    <a:pt x="36870" y="69290"/>
                    <a:pt x="36870" y="69290"/>
                  </a:cubicBezTo>
                  <a:cubicBezTo>
                    <a:pt x="35610" y="71810"/>
                    <a:pt x="35610" y="75589"/>
                    <a:pt x="34350" y="78109"/>
                  </a:cubicBezTo>
                  <a:cubicBezTo>
                    <a:pt x="33091" y="84408"/>
                    <a:pt x="31831" y="90707"/>
                    <a:pt x="29311" y="97006"/>
                  </a:cubicBezTo>
                  <a:cubicBezTo>
                    <a:pt x="28051" y="102046"/>
                    <a:pt x="25532" y="108345"/>
                    <a:pt x="24272" y="113384"/>
                  </a:cubicBezTo>
                  <a:cubicBezTo>
                    <a:pt x="23012" y="115904"/>
                    <a:pt x="21752" y="118424"/>
                    <a:pt x="21752" y="120943"/>
                  </a:cubicBezTo>
                  <a:lnTo>
                    <a:pt x="20492" y="122203"/>
                  </a:lnTo>
                  <a:cubicBezTo>
                    <a:pt x="17973" y="124723"/>
                    <a:pt x="15453" y="125982"/>
                    <a:pt x="14193" y="128502"/>
                  </a:cubicBezTo>
                  <a:cubicBezTo>
                    <a:pt x="12933" y="129762"/>
                    <a:pt x="11673" y="131022"/>
                    <a:pt x="10414" y="132281"/>
                  </a:cubicBezTo>
                  <a:cubicBezTo>
                    <a:pt x="9154" y="133541"/>
                    <a:pt x="6634" y="136061"/>
                    <a:pt x="5374" y="137321"/>
                  </a:cubicBezTo>
                  <a:cubicBezTo>
                    <a:pt x="4114" y="138581"/>
                    <a:pt x="4114" y="141100"/>
                    <a:pt x="4114" y="142360"/>
                  </a:cubicBezTo>
                  <a:lnTo>
                    <a:pt x="4114" y="143620"/>
                  </a:lnTo>
                  <a:lnTo>
                    <a:pt x="4114" y="144880"/>
                  </a:lnTo>
                  <a:cubicBezTo>
                    <a:pt x="4114" y="146140"/>
                    <a:pt x="5374" y="148659"/>
                    <a:pt x="6634" y="149919"/>
                  </a:cubicBezTo>
                  <a:cubicBezTo>
                    <a:pt x="7894" y="151179"/>
                    <a:pt x="9154" y="152439"/>
                    <a:pt x="10414" y="152439"/>
                  </a:cubicBezTo>
                  <a:cubicBezTo>
                    <a:pt x="10414" y="152439"/>
                    <a:pt x="10414" y="153698"/>
                    <a:pt x="10414" y="153698"/>
                  </a:cubicBezTo>
                  <a:cubicBezTo>
                    <a:pt x="10414" y="154958"/>
                    <a:pt x="9154" y="156218"/>
                    <a:pt x="7894" y="157478"/>
                  </a:cubicBezTo>
                  <a:cubicBezTo>
                    <a:pt x="6634" y="158738"/>
                    <a:pt x="5374" y="158738"/>
                    <a:pt x="4114" y="157478"/>
                  </a:cubicBezTo>
                  <a:cubicBezTo>
                    <a:pt x="1595" y="156218"/>
                    <a:pt x="-925" y="153698"/>
                    <a:pt x="335" y="151179"/>
                  </a:cubicBezTo>
                  <a:cubicBezTo>
                    <a:pt x="4114" y="139840"/>
                    <a:pt x="7894" y="127242"/>
                    <a:pt x="11673" y="115904"/>
                  </a:cubicBezTo>
                  <a:cubicBezTo>
                    <a:pt x="14193" y="110864"/>
                    <a:pt x="15453" y="104565"/>
                    <a:pt x="17973" y="99526"/>
                  </a:cubicBezTo>
                  <a:cubicBezTo>
                    <a:pt x="19232" y="93227"/>
                    <a:pt x="21752" y="88188"/>
                    <a:pt x="23012" y="81889"/>
                  </a:cubicBezTo>
                  <a:cubicBezTo>
                    <a:pt x="24272" y="76849"/>
                    <a:pt x="25532" y="71810"/>
                    <a:pt x="26791" y="68031"/>
                  </a:cubicBezTo>
                  <a:cubicBezTo>
                    <a:pt x="28051" y="64251"/>
                    <a:pt x="29311" y="59212"/>
                    <a:pt x="29311" y="55432"/>
                  </a:cubicBezTo>
                  <a:cubicBezTo>
                    <a:pt x="30571" y="49133"/>
                    <a:pt x="30571" y="44094"/>
                    <a:pt x="31831" y="37795"/>
                  </a:cubicBezTo>
                  <a:cubicBezTo>
                    <a:pt x="31831" y="35275"/>
                    <a:pt x="31831" y="31496"/>
                    <a:pt x="33091" y="28976"/>
                  </a:cubicBezTo>
                  <a:cubicBezTo>
                    <a:pt x="33091" y="26456"/>
                    <a:pt x="33091" y="22677"/>
                    <a:pt x="33091" y="20157"/>
                  </a:cubicBezTo>
                  <a:cubicBezTo>
                    <a:pt x="33091" y="13858"/>
                    <a:pt x="34350" y="7559"/>
                    <a:pt x="34350" y="1260"/>
                  </a:cubicBezTo>
                  <a:cubicBezTo>
                    <a:pt x="34350" y="1260"/>
                    <a:pt x="34350" y="1260"/>
                    <a:pt x="34350" y="0"/>
                  </a:cubicBezTo>
                  <a:cubicBezTo>
                    <a:pt x="33091" y="0"/>
                    <a:pt x="33091" y="0"/>
                    <a:pt x="34350" y="1260"/>
                  </a:cubicBezTo>
                </a:path>
              </a:pathLst>
            </a:custGeom>
            <a:solidFill>
              <a:srgbClr val="F2A988"/>
            </a:solidFill>
            <a:ln w="12584" cap="flat">
              <a:noFill/>
              <a:prstDash val="solid"/>
              <a:miter/>
            </a:ln>
          </p:spPr>
          <p:txBody>
            <a:bodyPr rtlCol="0" anchor="ctr"/>
            <a:lstStyle/>
            <a:p>
              <a:endParaRPr lang="zh-CN" altLang="en-US"/>
            </a:p>
          </p:txBody>
        </p:sp>
        <p:sp>
          <p:nvSpPr>
            <p:cNvPr id="10239" name="任意多边形: 形状 10238"/>
            <p:cNvSpPr/>
            <p:nvPr/>
          </p:nvSpPr>
          <p:spPr>
            <a:xfrm>
              <a:off x="5108039" y="2576099"/>
              <a:ext cx="25196" cy="125982"/>
            </a:xfrm>
            <a:custGeom>
              <a:avLst/>
              <a:gdLst>
                <a:gd name="connsiteX0" fmla="*/ 34015 w 25196"/>
                <a:gd name="connsiteY0" fmla="*/ 0 h 125982"/>
                <a:gd name="connsiteX1" fmla="*/ 34015 w 25196"/>
                <a:gd name="connsiteY1" fmla="*/ 0 h 125982"/>
                <a:gd name="connsiteX2" fmla="*/ 34015 w 25196"/>
                <a:gd name="connsiteY2" fmla="*/ 2520 h 125982"/>
                <a:gd name="connsiteX3" fmla="*/ 34015 w 25196"/>
                <a:gd name="connsiteY3" fmla="*/ 5039 h 125982"/>
                <a:gd name="connsiteX4" fmla="*/ 34015 w 25196"/>
                <a:gd name="connsiteY4" fmla="*/ 15118 h 125982"/>
                <a:gd name="connsiteX5" fmla="*/ 34015 w 25196"/>
                <a:gd name="connsiteY5" fmla="*/ 21417 h 125982"/>
                <a:gd name="connsiteX6" fmla="*/ 32755 w 25196"/>
                <a:gd name="connsiteY6" fmla="*/ 34015 h 125982"/>
                <a:gd name="connsiteX7" fmla="*/ 32755 w 25196"/>
                <a:gd name="connsiteY7" fmla="*/ 39054 h 125982"/>
                <a:gd name="connsiteX8" fmla="*/ 30236 w 25196"/>
                <a:gd name="connsiteY8" fmla="*/ 60472 h 125982"/>
                <a:gd name="connsiteX9" fmla="*/ 30236 w 25196"/>
                <a:gd name="connsiteY9" fmla="*/ 60472 h 125982"/>
                <a:gd name="connsiteX10" fmla="*/ 28976 w 25196"/>
                <a:gd name="connsiteY10" fmla="*/ 75589 h 125982"/>
                <a:gd name="connsiteX11" fmla="*/ 27716 w 25196"/>
                <a:gd name="connsiteY11" fmla="*/ 88188 h 125982"/>
                <a:gd name="connsiteX12" fmla="*/ 27716 w 25196"/>
                <a:gd name="connsiteY12" fmla="*/ 88188 h 125982"/>
                <a:gd name="connsiteX13" fmla="*/ 27716 w 25196"/>
                <a:gd name="connsiteY13" fmla="*/ 93227 h 125982"/>
                <a:gd name="connsiteX14" fmla="*/ 23937 w 25196"/>
                <a:gd name="connsiteY14" fmla="*/ 113384 h 125982"/>
                <a:gd name="connsiteX15" fmla="*/ 23937 w 25196"/>
                <a:gd name="connsiteY15" fmla="*/ 114644 h 125982"/>
                <a:gd name="connsiteX16" fmla="*/ 23937 w 25196"/>
                <a:gd name="connsiteY16" fmla="*/ 115904 h 125982"/>
                <a:gd name="connsiteX17" fmla="*/ 23937 w 25196"/>
                <a:gd name="connsiteY17" fmla="*/ 115904 h 125982"/>
                <a:gd name="connsiteX18" fmla="*/ 23937 w 25196"/>
                <a:gd name="connsiteY18" fmla="*/ 115904 h 125982"/>
                <a:gd name="connsiteX19" fmla="*/ 23937 w 25196"/>
                <a:gd name="connsiteY19" fmla="*/ 115904 h 125982"/>
                <a:gd name="connsiteX20" fmla="*/ 23937 w 25196"/>
                <a:gd name="connsiteY20" fmla="*/ 115904 h 125982"/>
                <a:gd name="connsiteX21" fmla="*/ 23937 w 25196"/>
                <a:gd name="connsiteY21" fmla="*/ 115904 h 125982"/>
                <a:gd name="connsiteX22" fmla="*/ 23937 w 25196"/>
                <a:gd name="connsiteY22" fmla="*/ 115904 h 125982"/>
                <a:gd name="connsiteX23" fmla="*/ 22677 w 25196"/>
                <a:gd name="connsiteY23" fmla="*/ 117164 h 125982"/>
                <a:gd name="connsiteX24" fmla="*/ 18897 w 25196"/>
                <a:gd name="connsiteY24" fmla="*/ 120943 h 125982"/>
                <a:gd name="connsiteX25" fmla="*/ 13858 w 25196"/>
                <a:gd name="connsiteY25" fmla="*/ 124722 h 125982"/>
                <a:gd name="connsiteX26" fmla="*/ 8819 w 25196"/>
                <a:gd name="connsiteY26" fmla="*/ 125982 h 125982"/>
                <a:gd name="connsiteX27" fmla="*/ 8819 w 25196"/>
                <a:gd name="connsiteY27" fmla="*/ 125982 h 125982"/>
                <a:gd name="connsiteX28" fmla="*/ 2520 w 25196"/>
                <a:gd name="connsiteY28" fmla="*/ 123463 h 125982"/>
                <a:gd name="connsiteX29" fmla="*/ 0 w 25196"/>
                <a:gd name="connsiteY29" fmla="*/ 118423 h 125982"/>
                <a:gd name="connsiteX30" fmla="*/ 0 w 25196"/>
                <a:gd name="connsiteY30" fmla="*/ 117164 h 125982"/>
                <a:gd name="connsiteX31" fmla="*/ 0 w 25196"/>
                <a:gd name="connsiteY31" fmla="*/ 115904 h 125982"/>
                <a:gd name="connsiteX32" fmla="*/ 1260 w 25196"/>
                <a:gd name="connsiteY32" fmla="*/ 110864 h 125982"/>
                <a:gd name="connsiteX33" fmla="*/ 6299 w 25196"/>
                <a:gd name="connsiteY33" fmla="*/ 105825 h 125982"/>
                <a:gd name="connsiteX34" fmla="*/ 10079 w 25196"/>
                <a:gd name="connsiteY34" fmla="*/ 102046 h 125982"/>
                <a:gd name="connsiteX35" fmla="*/ 16378 w 25196"/>
                <a:gd name="connsiteY35" fmla="*/ 95746 h 125982"/>
                <a:gd name="connsiteX36" fmla="*/ 18897 w 25196"/>
                <a:gd name="connsiteY36" fmla="*/ 93227 h 125982"/>
                <a:gd name="connsiteX37" fmla="*/ 27716 w 25196"/>
                <a:gd name="connsiteY37" fmla="*/ 85668 h 125982"/>
                <a:gd name="connsiteX38" fmla="*/ 28976 w 25196"/>
                <a:gd name="connsiteY38" fmla="*/ 84408 h 125982"/>
                <a:gd name="connsiteX39" fmla="*/ 28976 w 25196"/>
                <a:gd name="connsiteY39" fmla="*/ 81889 h 125982"/>
                <a:gd name="connsiteX40" fmla="*/ 30236 w 25196"/>
                <a:gd name="connsiteY40" fmla="*/ 74330 h 125982"/>
                <a:gd name="connsiteX41" fmla="*/ 31496 w 25196"/>
                <a:gd name="connsiteY41" fmla="*/ 65511 h 125982"/>
                <a:gd name="connsiteX42" fmla="*/ 32755 w 25196"/>
                <a:gd name="connsiteY42" fmla="*/ 59212 h 125982"/>
                <a:gd name="connsiteX43" fmla="*/ 32755 w 25196"/>
                <a:gd name="connsiteY43" fmla="*/ 56692 h 125982"/>
                <a:gd name="connsiteX44" fmla="*/ 32755 w 25196"/>
                <a:gd name="connsiteY44" fmla="*/ 52913 h 125982"/>
                <a:gd name="connsiteX45" fmla="*/ 32755 w 25196"/>
                <a:gd name="connsiteY45" fmla="*/ 51653 h 125982"/>
                <a:gd name="connsiteX46" fmla="*/ 32755 w 25196"/>
                <a:gd name="connsiteY46" fmla="*/ 46613 h 125982"/>
                <a:gd name="connsiteX47" fmla="*/ 32755 w 25196"/>
                <a:gd name="connsiteY47" fmla="*/ 41574 h 125982"/>
                <a:gd name="connsiteX48" fmla="*/ 34015 w 25196"/>
                <a:gd name="connsiteY48" fmla="*/ 34015 h 125982"/>
                <a:gd name="connsiteX49" fmla="*/ 35275 w 25196"/>
                <a:gd name="connsiteY49" fmla="*/ 28976 h 125982"/>
                <a:gd name="connsiteX50" fmla="*/ 36535 w 25196"/>
                <a:gd name="connsiteY50" fmla="*/ 15118 h 125982"/>
                <a:gd name="connsiteX51" fmla="*/ 34015 w 25196"/>
                <a:gd name="connsiteY51" fmla="*/ 0 h 125982"/>
                <a:gd name="connsiteX52" fmla="*/ 34015 w 25196"/>
                <a:gd name="connsiteY52" fmla="*/ 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5196" h="125982">
                  <a:moveTo>
                    <a:pt x="34015" y="0"/>
                  </a:moveTo>
                  <a:cubicBezTo>
                    <a:pt x="34015" y="0"/>
                    <a:pt x="34015" y="1260"/>
                    <a:pt x="34015" y="0"/>
                  </a:cubicBezTo>
                  <a:cubicBezTo>
                    <a:pt x="34015" y="1260"/>
                    <a:pt x="34015" y="1260"/>
                    <a:pt x="34015" y="2520"/>
                  </a:cubicBezTo>
                  <a:cubicBezTo>
                    <a:pt x="34015" y="3780"/>
                    <a:pt x="34015" y="3780"/>
                    <a:pt x="34015" y="5039"/>
                  </a:cubicBezTo>
                  <a:cubicBezTo>
                    <a:pt x="34015" y="8819"/>
                    <a:pt x="34015" y="11338"/>
                    <a:pt x="34015" y="15118"/>
                  </a:cubicBezTo>
                  <a:cubicBezTo>
                    <a:pt x="34015" y="17637"/>
                    <a:pt x="34015" y="20157"/>
                    <a:pt x="34015" y="21417"/>
                  </a:cubicBezTo>
                  <a:cubicBezTo>
                    <a:pt x="34015" y="25196"/>
                    <a:pt x="34015" y="30236"/>
                    <a:pt x="32755" y="34015"/>
                  </a:cubicBezTo>
                  <a:cubicBezTo>
                    <a:pt x="32755" y="35275"/>
                    <a:pt x="32755" y="37795"/>
                    <a:pt x="32755" y="39054"/>
                  </a:cubicBezTo>
                  <a:cubicBezTo>
                    <a:pt x="32755" y="46613"/>
                    <a:pt x="31496" y="52913"/>
                    <a:pt x="30236" y="60472"/>
                  </a:cubicBezTo>
                  <a:lnTo>
                    <a:pt x="30236" y="60472"/>
                  </a:lnTo>
                  <a:cubicBezTo>
                    <a:pt x="30236" y="65511"/>
                    <a:pt x="28976" y="70550"/>
                    <a:pt x="28976" y="75589"/>
                  </a:cubicBezTo>
                  <a:cubicBezTo>
                    <a:pt x="28976" y="79369"/>
                    <a:pt x="27716" y="84408"/>
                    <a:pt x="27716" y="88188"/>
                  </a:cubicBezTo>
                  <a:lnTo>
                    <a:pt x="27716" y="88188"/>
                  </a:lnTo>
                  <a:cubicBezTo>
                    <a:pt x="27716" y="89447"/>
                    <a:pt x="27716" y="90707"/>
                    <a:pt x="27716" y="93227"/>
                  </a:cubicBezTo>
                  <a:cubicBezTo>
                    <a:pt x="26456" y="100786"/>
                    <a:pt x="25196" y="107085"/>
                    <a:pt x="23937" y="113384"/>
                  </a:cubicBezTo>
                  <a:cubicBezTo>
                    <a:pt x="23937" y="113384"/>
                    <a:pt x="23937" y="114644"/>
                    <a:pt x="23937" y="114644"/>
                  </a:cubicBezTo>
                  <a:cubicBezTo>
                    <a:pt x="23937" y="114644"/>
                    <a:pt x="23937" y="115904"/>
                    <a:pt x="23937" y="115904"/>
                  </a:cubicBezTo>
                  <a:cubicBezTo>
                    <a:pt x="23937" y="115904"/>
                    <a:pt x="23937" y="115904"/>
                    <a:pt x="23937" y="115904"/>
                  </a:cubicBezTo>
                  <a:lnTo>
                    <a:pt x="23937" y="115904"/>
                  </a:lnTo>
                  <a:lnTo>
                    <a:pt x="23937" y="115904"/>
                  </a:lnTo>
                  <a:lnTo>
                    <a:pt x="23937" y="115904"/>
                  </a:lnTo>
                  <a:lnTo>
                    <a:pt x="23937" y="115904"/>
                  </a:lnTo>
                  <a:cubicBezTo>
                    <a:pt x="23937" y="115904"/>
                    <a:pt x="23937" y="115904"/>
                    <a:pt x="23937" y="115904"/>
                  </a:cubicBezTo>
                  <a:cubicBezTo>
                    <a:pt x="23937" y="115904"/>
                    <a:pt x="22677" y="117164"/>
                    <a:pt x="22677" y="117164"/>
                  </a:cubicBezTo>
                  <a:cubicBezTo>
                    <a:pt x="21417" y="118423"/>
                    <a:pt x="20157" y="119683"/>
                    <a:pt x="18897" y="120943"/>
                  </a:cubicBezTo>
                  <a:cubicBezTo>
                    <a:pt x="17638" y="122203"/>
                    <a:pt x="15118" y="124722"/>
                    <a:pt x="13858" y="124722"/>
                  </a:cubicBezTo>
                  <a:cubicBezTo>
                    <a:pt x="12598" y="125982"/>
                    <a:pt x="10079" y="125982"/>
                    <a:pt x="8819" y="125982"/>
                  </a:cubicBezTo>
                  <a:cubicBezTo>
                    <a:pt x="8819" y="125982"/>
                    <a:pt x="8819" y="125982"/>
                    <a:pt x="8819" y="125982"/>
                  </a:cubicBezTo>
                  <a:cubicBezTo>
                    <a:pt x="6299" y="125982"/>
                    <a:pt x="3780" y="124722"/>
                    <a:pt x="2520" y="123463"/>
                  </a:cubicBezTo>
                  <a:cubicBezTo>
                    <a:pt x="1260" y="122203"/>
                    <a:pt x="0" y="120943"/>
                    <a:pt x="0" y="118423"/>
                  </a:cubicBezTo>
                  <a:lnTo>
                    <a:pt x="0" y="117164"/>
                  </a:lnTo>
                  <a:lnTo>
                    <a:pt x="0" y="115904"/>
                  </a:lnTo>
                  <a:cubicBezTo>
                    <a:pt x="0" y="114644"/>
                    <a:pt x="0" y="112124"/>
                    <a:pt x="1260" y="110864"/>
                  </a:cubicBezTo>
                  <a:cubicBezTo>
                    <a:pt x="2520" y="108345"/>
                    <a:pt x="3780" y="107085"/>
                    <a:pt x="6299" y="105825"/>
                  </a:cubicBezTo>
                  <a:cubicBezTo>
                    <a:pt x="7559" y="104565"/>
                    <a:pt x="8819" y="103305"/>
                    <a:pt x="10079" y="102046"/>
                  </a:cubicBezTo>
                  <a:cubicBezTo>
                    <a:pt x="12598" y="99526"/>
                    <a:pt x="15118" y="98266"/>
                    <a:pt x="16378" y="95746"/>
                  </a:cubicBezTo>
                  <a:lnTo>
                    <a:pt x="18897" y="93227"/>
                  </a:lnTo>
                  <a:cubicBezTo>
                    <a:pt x="21417" y="90707"/>
                    <a:pt x="23937" y="88188"/>
                    <a:pt x="27716" y="85668"/>
                  </a:cubicBezTo>
                  <a:cubicBezTo>
                    <a:pt x="27716" y="85668"/>
                    <a:pt x="28976" y="84408"/>
                    <a:pt x="28976" y="84408"/>
                  </a:cubicBezTo>
                  <a:lnTo>
                    <a:pt x="28976" y="81889"/>
                  </a:lnTo>
                  <a:cubicBezTo>
                    <a:pt x="28976" y="79369"/>
                    <a:pt x="28976" y="76849"/>
                    <a:pt x="30236" y="74330"/>
                  </a:cubicBezTo>
                  <a:cubicBezTo>
                    <a:pt x="30236" y="70550"/>
                    <a:pt x="31496" y="68030"/>
                    <a:pt x="31496" y="65511"/>
                  </a:cubicBezTo>
                  <a:cubicBezTo>
                    <a:pt x="31496" y="62991"/>
                    <a:pt x="31496" y="61731"/>
                    <a:pt x="32755" y="59212"/>
                  </a:cubicBezTo>
                  <a:cubicBezTo>
                    <a:pt x="32755" y="57952"/>
                    <a:pt x="32755" y="57952"/>
                    <a:pt x="32755" y="56692"/>
                  </a:cubicBezTo>
                  <a:cubicBezTo>
                    <a:pt x="32755" y="55432"/>
                    <a:pt x="32755" y="54172"/>
                    <a:pt x="32755" y="52913"/>
                  </a:cubicBezTo>
                  <a:lnTo>
                    <a:pt x="32755" y="51653"/>
                  </a:lnTo>
                  <a:cubicBezTo>
                    <a:pt x="32755" y="50393"/>
                    <a:pt x="32755" y="49133"/>
                    <a:pt x="32755" y="46613"/>
                  </a:cubicBezTo>
                  <a:cubicBezTo>
                    <a:pt x="32755" y="45354"/>
                    <a:pt x="32755" y="42834"/>
                    <a:pt x="32755" y="41574"/>
                  </a:cubicBezTo>
                  <a:cubicBezTo>
                    <a:pt x="32755" y="39054"/>
                    <a:pt x="34015" y="36535"/>
                    <a:pt x="34015" y="34015"/>
                  </a:cubicBezTo>
                  <a:cubicBezTo>
                    <a:pt x="34015" y="32755"/>
                    <a:pt x="35275" y="30236"/>
                    <a:pt x="35275" y="28976"/>
                  </a:cubicBezTo>
                  <a:cubicBezTo>
                    <a:pt x="36535" y="25196"/>
                    <a:pt x="36535" y="20157"/>
                    <a:pt x="36535" y="15118"/>
                  </a:cubicBezTo>
                  <a:cubicBezTo>
                    <a:pt x="32755" y="12598"/>
                    <a:pt x="32755" y="6299"/>
                    <a:pt x="34015" y="0"/>
                  </a:cubicBezTo>
                  <a:lnTo>
                    <a:pt x="34015" y="0"/>
                  </a:lnTo>
                  <a:close/>
                </a:path>
              </a:pathLst>
            </a:custGeom>
            <a:solidFill>
              <a:srgbClr val="001675"/>
            </a:solidFill>
            <a:ln w="12584" cap="flat">
              <a:noFill/>
              <a:prstDash val="solid"/>
              <a:miter/>
            </a:ln>
          </p:spPr>
          <p:txBody>
            <a:bodyPr rtlCol="0" anchor="ctr"/>
            <a:lstStyle/>
            <a:p>
              <a:endParaRPr lang="zh-CN" altLang="en-US"/>
            </a:p>
          </p:txBody>
        </p:sp>
        <p:sp>
          <p:nvSpPr>
            <p:cNvPr id="10240" name="任意多边形: 形状 10239"/>
            <p:cNvSpPr/>
            <p:nvPr/>
          </p:nvSpPr>
          <p:spPr>
            <a:xfrm>
              <a:off x="5068985" y="2586178"/>
              <a:ext cx="62991" cy="188973"/>
            </a:xfrm>
            <a:custGeom>
              <a:avLst/>
              <a:gdLst>
                <a:gd name="connsiteX0" fmla="*/ 69290 w 62991"/>
                <a:gd name="connsiteY0" fmla="*/ 3779 h 188973"/>
                <a:gd name="connsiteX1" fmla="*/ 65511 w 62991"/>
                <a:gd name="connsiteY1" fmla="*/ 0 h 188973"/>
                <a:gd name="connsiteX2" fmla="*/ 65511 w 62991"/>
                <a:gd name="connsiteY2" fmla="*/ 0 h 188973"/>
                <a:gd name="connsiteX3" fmla="*/ 61731 w 62991"/>
                <a:gd name="connsiteY3" fmla="*/ 2520 h 188973"/>
                <a:gd name="connsiteX4" fmla="*/ 59211 w 62991"/>
                <a:gd name="connsiteY4" fmla="*/ 13858 h 188973"/>
                <a:gd name="connsiteX5" fmla="*/ 57952 w 62991"/>
                <a:gd name="connsiteY5" fmla="*/ 25196 h 188973"/>
                <a:gd name="connsiteX6" fmla="*/ 55432 w 62991"/>
                <a:gd name="connsiteY6" fmla="*/ 41574 h 188973"/>
                <a:gd name="connsiteX7" fmla="*/ 54172 w 62991"/>
                <a:gd name="connsiteY7" fmla="*/ 57952 h 188973"/>
                <a:gd name="connsiteX8" fmla="*/ 51652 w 62991"/>
                <a:gd name="connsiteY8" fmla="*/ 75589 h 188973"/>
                <a:gd name="connsiteX9" fmla="*/ 49133 w 62991"/>
                <a:gd name="connsiteY9" fmla="*/ 91967 h 188973"/>
                <a:gd name="connsiteX10" fmla="*/ 46613 w 62991"/>
                <a:gd name="connsiteY10" fmla="*/ 104565 h 188973"/>
                <a:gd name="connsiteX11" fmla="*/ 45353 w 62991"/>
                <a:gd name="connsiteY11" fmla="*/ 112124 h 188973"/>
                <a:gd name="connsiteX12" fmla="*/ 44094 w 62991"/>
                <a:gd name="connsiteY12" fmla="*/ 117163 h 188973"/>
                <a:gd name="connsiteX13" fmla="*/ 40314 w 62991"/>
                <a:gd name="connsiteY13" fmla="*/ 128502 h 188973"/>
                <a:gd name="connsiteX14" fmla="*/ 35275 w 62991"/>
                <a:gd name="connsiteY14" fmla="*/ 138581 h 188973"/>
                <a:gd name="connsiteX15" fmla="*/ 26456 w 62991"/>
                <a:gd name="connsiteY15" fmla="*/ 153698 h 188973"/>
                <a:gd name="connsiteX16" fmla="*/ 20157 w 62991"/>
                <a:gd name="connsiteY16" fmla="*/ 161257 h 188973"/>
                <a:gd name="connsiteX17" fmla="*/ 15118 w 62991"/>
                <a:gd name="connsiteY17" fmla="*/ 167556 h 188973"/>
                <a:gd name="connsiteX18" fmla="*/ 12598 w 62991"/>
                <a:gd name="connsiteY18" fmla="*/ 171336 h 188973"/>
                <a:gd name="connsiteX19" fmla="*/ 8819 w 62991"/>
                <a:gd name="connsiteY19" fmla="*/ 175115 h 188973"/>
                <a:gd name="connsiteX20" fmla="*/ 3779 w 62991"/>
                <a:gd name="connsiteY20" fmla="*/ 177635 h 188973"/>
                <a:gd name="connsiteX21" fmla="*/ 0 w 62991"/>
                <a:gd name="connsiteY21" fmla="*/ 181414 h 188973"/>
                <a:gd name="connsiteX22" fmla="*/ 0 w 62991"/>
                <a:gd name="connsiteY22" fmla="*/ 186454 h 188973"/>
                <a:gd name="connsiteX23" fmla="*/ 5039 w 62991"/>
                <a:gd name="connsiteY23" fmla="*/ 190233 h 188973"/>
                <a:gd name="connsiteX24" fmla="*/ 11338 w 62991"/>
                <a:gd name="connsiteY24" fmla="*/ 190233 h 188973"/>
                <a:gd name="connsiteX25" fmla="*/ 20157 w 62991"/>
                <a:gd name="connsiteY25" fmla="*/ 185194 h 188973"/>
                <a:gd name="connsiteX26" fmla="*/ 26456 w 62991"/>
                <a:gd name="connsiteY26" fmla="*/ 178895 h 188973"/>
                <a:gd name="connsiteX27" fmla="*/ 30236 w 62991"/>
                <a:gd name="connsiteY27" fmla="*/ 172596 h 188973"/>
                <a:gd name="connsiteX28" fmla="*/ 35275 w 62991"/>
                <a:gd name="connsiteY28" fmla="*/ 166297 h 188973"/>
                <a:gd name="connsiteX29" fmla="*/ 42834 w 62991"/>
                <a:gd name="connsiteY29" fmla="*/ 153698 h 188973"/>
                <a:gd name="connsiteX30" fmla="*/ 46613 w 62991"/>
                <a:gd name="connsiteY30" fmla="*/ 146139 h 188973"/>
                <a:gd name="connsiteX31" fmla="*/ 49133 w 62991"/>
                <a:gd name="connsiteY31" fmla="*/ 138581 h 188973"/>
                <a:gd name="connsiteX32" fmla="*/ 54172 w 62991"/>
                <a:gd name="connsiteY32" fmla="*/ 122203 h 188973"/>
                <a:gd name="connsiteX33" fmla="*/ 55432 w 62991"/>
                <a:gd name="connsiteY33" fmla="*/ 113384 h 188973"/>
                <a:gd name="connsiteX34" fmla="*/ 56692 w 62991"/>
                <a:gd name="connsiteY34" fmla="*/ 104565 h 188973"/>
                <a:gd name="connsiteX35" fmla="*/ 59211 w 62991"/>
                <a:gd name="connsiteY35" fmla="*/ 85668 h 188973"/>
                <a:gd name="connsiteX36" fmla="*/ 60471 w 62991"/>
                <a:gd name="connsiteY36" fmla="*/ 76849 h 188973"/>
                <a:gd name="connsiteX37" fmla="*/ 61731 w 62991"/>
                <a:gd name="connsiteY37" fmla="*/ 68030 h 188973"/>
                <a:gd name="connsiteX38" fmla="*/ 62991 w 62991"/>
                <a:gd name="connsiteY38" fmla="*/ 51653 h 188973"/>
                <a:gd name="connsiteX39" fmla="*/ 64251 w 62991"/>
                <a:gd name="connsiteY39" fmla="*/ 44094 h 188973"/>
                <a:gd name="connsiteX40" fmla="*/ 65511 w 62991"/>
                <a:gd name="connsiteY40" fmla="*/ 35275 h 188973"/>
                <a:gd name="connsiteX41" fmla="*/ 66770 w 62991"/>
                <a:gd name="connsiteY41" fmla="*/ 18897 h 188973"/>
                <a:gd name="connsiteX42" fmla="*/ 66770 w 62991"/>
                <a:gd name="connsiteY42" fmla="*/ 11338 h 188973"/>
                <a:gd name="connsiteX43" fmla="*/ 66770 w 62991"/>
                <a:gd name="connsiteY43" fmla="*/ 7559 h 188973"/>
                <a:gd name="connsiteX44" fmla="*/ 69290 w 62991"/>
                <a:gd name="connsiteY44" fmla="*/ 3779 h 188973"/>
                <a:gd name="connsiteX45" fmla="*/ 49133 w 62991"/>
                <a:gd name="connsiteY45" fmla="*/ 91967 h 188973"/>
                <a:gd name="connsiteX46" fmla="*/ 49133 w 62991"/>
                <a:gd name="connsiteY46" fmla="*/ 91967 h 188973"/>
                <a:gd name="connsiteX47" fmla="*/ 49133 w 62991"/>
                <a:gd name="connsiteY47" fmla="*/ 91967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991" h="188973">
                  <a:moveTo>
                    <a:pt x="69290" y="3779"/>
                  </a:moveTo>
                  <a:cubicBezTo>
                    <a:pt x="69290" y="1260"/>
                    <a:pt x="68030" y="0"/>
                    <a:pt x="65511" y="0"/>
                  </a:cubicBezTo>
                  <a:cubicBezTo>
                    <a:pt x="65511" y="0"/>
                    <a:pt x="65511" y="0"/>
                    <a:pt x="65511" y="0"/>
                  </a:cubicBezTo>
                  <a:cubicBezTo>
                    <a:pt x="64251" y="0"/>
                    <a:pt x="62991" y="1260"/>
                    <a:pt x="61731" y="2520"/>
                  </a:cubicBezTo>
                  <a:cubicBezTo>
                    <a:pt x="60471" y="6299"/>
                    <a:pt x="59211" y="10078"/>
                    <a:pt x="59211" y="13858"/>
                  </a:cubicBezTo>
                  <a:cubicBezTo>
                    <a:pt x="59211" y="17637"/>
                    <a:pt x="59211" y="21417"/>
                    <a:pt x="57952" y="25196"/>
                  </a:cubicBezTo>
                  <a:cubicBezTo>
                    <a:pt x="56692" y="30236"/>
                    <a:pt x="56692" y="36535"/>
                    <a:pt x="55432" y="41574"/>
                  </a:cubicBezTo>
                  <a:cubicBezTo>
                    <a:pt x="54172" y="46613"/>
                    <a:pt x="54172" y="52913"/>
                    <a:pt x="54172" y="57952"/>
                  </a:cubicBezTo>
                  <a:cubicBezTo>
                    <a:pt x="52912" y="64251"/>
                    <a:pt x="52912" y="69290"/>
                    <a:pt x="51652" y="75589"/>
                  </a:cubicBezTo>
                  <a:cubicBezTo>
                    <a:pt x="50393" y="80629"/>
                    <a:pt x="50393" y="85668"/>
                    <a:pt x="49133" y="91967"/>
                  </a:cubicBezTo>
                  <a:cubicBezTo>
                    <a:pt x="47873" y="95746"/>
                    <a:pt x="47873" y="99526"/>
                    <a:pt x="46613" y="104565"/>
                  </a:cubicBezTo>
                  <a:cubicBezTo>
                    <a:pt x="46613" y="107085"/>
                    <a:pt x="45353" y="109605"/>
                    <a:pt x="45353" y="112124"/>
                  </a:cubicBezTo>
                  <a:cubicBezTo>
                    <a:pt x="45353" y="113384"/>
                    <a:pt x="44094" y="115904"/>
                    <a:pt x="44094" y="117163"/>
                  </a:cubicBezTo>
                  <a:cubicBezTo>
                    <a:pt x="42834" y="120943"/>
                    <a:pt x="41574" y="124722"/>
                    <a:pt x="40314" y="128502"/>
                  </a:cubicBezTo>
                  <a:cubicBezTo>
                    <a:pt x="39054" y="132281"/>
                    <a:pt x="37795" y="134801"/>
                    <a:pt x="35275" y="138581"/>
                  </a:cubicBezTo>
                  <a:cubicBezTo>
                    <a:pt x="32755" y="143620"/>
                    <a:pt x="28976" y="148659"/>
                    <a:pt x="26456" y="153698"/>
                  </a:cubicBezTo>
                  <a:cubicBezTo>
                    <a:pt x="25196" y="156218"/>
                    <a:pt x="22677" y="158738"/>
                    <a:pt x="20157" y="161257"/>
                  </a:cubicBezTo>
                  <a:cubicBezTo>
                    <a:pt x="18897" y="163777"/>
                    <a:pt x="17637" y="165037"/>
                    <a:pt x="15118" y="167556"/>
                  </a:cubicBezTo>
                  <a:cubicBezTo>
                    <a:pt x="13858" y="168816"/>
                    <a:pt x="12598" y="170076"/>
                    <a:pt x="12598" y="171336"/>
                  </a:cubicBezTo>
                  <a:cubicBezTo>
                    <a:pt x="11338" y="172596"/>
                    <a:pt x="10078" y="173855"/>
                    <a:pt x="8819" y="175115"/>
                  </a:cubicBezTo>
                  <a:cubicBezTo>
                    <a:pt x="7559" y="176375"/>
                    <a:pt x="5039" y="177635"/>
                    <a:pt x="3779" y="177635"/>
                  </a:cubicBezTo>
                  <a:cubicBezTo>
                    <a:pt x="2519" y="178895"/>
                    <a:pt x="1260" y="180155"/>
                    <a:pt x="0" y="181414"/>
                  </a:cubicBezTo>
                  <a:cubicBezTo>
                    <a:pt x="0" y="182674"/>
                    <a:pt x="0" y="185194"/>
                    <a:pt x="0" y="186454"/>
                  </a:cubicBezTo>
                  <a:cubicBezTo>
                    <a:pt x="1260" y="187714"/>
                    <a:pt x="2519" y="188974"/>
                    <a:pt x="5039" y="190233"/>
                  </a:cubicBezTo>
                  <a:cubicBezTo>
                    <a:pt x="7559" y="190233"/>
                    <a:pt x="8819" y="190233"/>
                    <a:pt x="11338" y="190233"/>
                  </a:cubicBezTo>
                  <a:cubicBezTo>
                    <a:pt x="13858" y="188974"/>
                    <a:pt x="17637" y="187714"/>
                    <a:pt x="20157" y="185194"/>
                  </a:cubicBezTo>
                  <a:cubicBezTo>
                    <a:pt x="22677" y="182674"/>
                    <a:pt x="25196" y="181414"/>
                    <a:pt x="26456" y="178895"/>
                  </a:cubicBezTo>
                  <a:cubicBezTo>
                    <a:pt x="27716" y="176375"/>
                    <a:pt x="28976" y="175115"/>
                    <a:pt x="30236" y="172596"/>
                  </a:cubicBezTo>
                  <a:cubicBezTo>
                    <a:pt x="31496" y="170076"/>
                    <a:pt x="32755" y="168816"/>
                    <a:pt x="35275" y="166297"/>
                  </a:cubicBezTo>
                  <a:cubicBezTo>
                    <a:pt x="37795" y="162517"/>
                    <a:pt x="40314" y="157478"/>
                    <a:pt x="42834" y="153698"/>
                  </a:cubicBezTo>
                  <a:cubicBezTo>
                    <a:pt x="44094" y="151179"/>
                    <a:pt x="45353" y="148659"/>
                    <a:pt x="46613" y="146139"/>
                  </a:cubicBezTo>
                  <a:cubicBezTo>
                    <a:pt x="47873" y="143620"/>
                    <a:pt x="49133" y="141100"/>
                    <a:pt x="49133" y="138581"/>
                  </a:cubicBezTo>
                  <a:cubicBezTo>
                    <a:pt x="51652" y="133541"/>
                    <a:pt x="52912" y="128502"/>
                    <a:pt x="54172" y="122203"/>
                  </a:cubicBezTo>
                  <a:cubicBezTo>
                    <a:pt x="54172" y="119683"/>
                    <a:pt x="55432" y="117163"/>
                    <a:pt x="55432" y="113384"/>
                  </a:cubicBezTo>
                  <a:cubicBezTo>
                    <a:pt x="55432" y="110864"/>
                    <a:pt x="56692" y="107085"/>
                    <a:pt x="56692" y="104565"/>
                  </a:cubicBezTo>
                  <a:cubicBezTo>
                    <a:pt x="57952" y="98266"/>
                    <a:pt x="59211" y="91967"/>
                    <a:pt x="59211" y="85668"/>
                  </a:cubicBezTo>
                  <a:cubicBezTo>
                    <a:pt x="59211" y="83148"/>
                    <a:pt x="60471" y="80629"/>
                    <a:pt x="60471" y="76849"/>
                  </a:cubicBezTo>
                  <a:cubicBezTo>
                    <a:pt x="60471" y="74330"/>
                    <a:pt x="61731" y="71810"/>
                    <a:pt x="61731" y="68030"/>
                  </a:cubicBezTo>
                  <a:cubicBezTo>
                    <a:pt x="61731" y="62991"/>
                    <a:pt x="62991" y="56692"/>
                    <a:pt x="62991" y="51653"/>
                  </a:cubicBezTo>
                  <a:cubicBezTo>
                    <a:pt x="62991" y="49133"/>
                    <a:pt x="62991" y="46613"/>
                    <a:pt x="64251" y="44094"/>
                  </a:cubicBezTo>
                  <a:cubicBezTo>
                    <a:pt x="64251" y="41574"/>
                    <a:pt x="65511" y="39054"/>
                    <a:pt x="65511" y="35275"/>
                  </a:cubicBezTo>
                  <a:cubicBezTo>
                    <a:pt x="65511" y="30236"/>
                    <a:pt x="66770" y="25196"/>
                    <a:pt x="66770" y="18897"/>
                  </a:cubicBezTo>
                  <a:cubicBezTo>
                    <a:pt x="66770" y="16378"/>
                    <a:pt x="66770" y="13858"/>
                    <a:pt x="66770" y="11338"/>
                  </a:cubicBezTo>
                  <a:cubicBezTo>
                    <a:pt x="66770" y="10078"/>
                    <a:pt x="66770" y="8819"/>
                    <a:pt x="66770" y="7559"/>
                  </a:cubicBezTo>
                  <a:cubicBezTo>
                    <a:pt x="69290" y="6299"/>
                    <a:pt x="69290" y="5039"/>
                    <a:pt x="69290" y="3779"/>
                  </a:cubicBezTo>
                  <a:moveTo>
                    <a:pt x="49133" y="91967"/>
                  </a:moveTo>
                  <a:cubicBezTo>
                    <a:pt x="49133" y="91967"/>
                    <a:pt x="49133" y="91967"/>
                    <a:pt x="49133" y="91967"/>
                  </a:cubicBezTo>
                  <a:cubicBezTo>
                    <a:pt x="49133" y="91967"/>
                    <a:pt x="49133" y="91967"/>
                    <a:pt x="49133" y="91967"/>
                  </a:cubicBezTo>
                </a:path>
              </a:pathLst>
            </a:custGeom>
            <a:solidFill>
              <a:srgbClr val="F2A988"/>
            </a:solidFill>
            <a:ln w="12584" cap="flat">
              <a:noFill/>
              <a:prstDash val="solid"/>
              <a:miter/>
            </a:ln>
          </p:spPr>
          <p:txBody>
            <a:bodyPr rtlCol="0" anchor="ctr"/>
            <a:lstStyle/>
            <a:p>
              <a:endParaRPr lang="zh-CN" altLang="en-US"/>
            </a:p>
          </p:txBody>
        </p:sp>
        <p:sp>
          <p:nvSpPr>
            <p:cNvPr id="10241" name="任意多边形: 形状 10240"/>
            <p:cNvSpPr/>
            <p:nvPr/>
          </p:nvSpPr>
          <p:spPr>
            <a:xfrm>
              <a:off x="5109299" y="2600351"/>
              <a:ext cx="25196" cy="100786"/>
            </a:xfrm>
            <a:custGeom>
              <a:avLst/>
              <a:gdLst>
                <a:gd name="connsiteX0" fmla="*/ 25196 w 25196"/>
                <a:gd name="connsiteY0" fmla="*/ 945 h 100785"/>
                <a:gd name="connsiteX1" fmla="*/ 26456 w 25196"/>
                <a:gd name="connsiteY1" fmla="*/ 4724 h 100785"/>
                <a:gd name="connsiteX2" fmla="*/ 25196 w 25196"/>
                <a:gd name="connsiteY2" fmla="*/ 13543 h 100785"/>
                <a:gd name="connsiteX3" fmla="*/ 25196 w 25196"/>
                <a:gd name="connsiteY3" fmla="*/ 23622 h 100785"/>
                <a:gd name="connsiteX4" fmla="*/ 23937 w 25196"/>
                <a:gd name="connsiteY4" fmla="*/ 42519 h 100785"/>
                <a:gd name="connsiteX5" fmla="*/ 22677 w 25196"/>
                <a:gd name="connsiteY5" fmla="*/ 51338 h 100785"/>
                <a:gd name="connsiteX6" fmla="*/ 22677 w 25196"/>
                <a:gd name="connsiteY6" fmla="*/ 60157 h 100785"/>
                <a:gd name="connsiteX7" fmla="*/ 21417 w 25196"/>
                <a:gd name="connsiteY7" fmla="*/ 70235 h 100785"/>
                <a:gd name="connsiteX8" fmla="*/ 18897 w 25196"/>
                <a:gd name="connsiteY8" fmla="*/ 79054 h 100785"/>
                <a:gd name="connsiteX9" fmla="*/ 16378 w 25196"/>
                <a:gd name="connsiteY9" fmla="*/ 92912 h 100785"/>
                <a:gd name="connsiteX10" fmla="*/ 13858 w 25196"/>
                <a:gd name="connsiteY10" fmla="*/ 100471 h 100785"/>
                <a:gd name="connsiteX11" fmla="*/ 11338 w 25196"/>
                <a:gd name="connsiteY11" fmla="*/ 108030 h 100785"/>
                <a:gd name="connsiteX12" fmla="*/ 8819 w 25196"/>
                <a:gd name="connsiteY12" fmla="*/ 111809 h 100785"/>
                <a:gd name="connsiteX13" fmla="*/ 3780 w 25196"/>
                <a:gd name="connsiteY13" fmla="*/ 111809 h 100785"/>
                <a:gd name="connsiteX14" fmla="*/ 0 w 25196"/>
                <a:gd name="connsiteY14" fmla="*/ 109290 h 100785"/>
                <a:gd name="connsiteX15" fmla="*/ 0 w 25196"/>
                <a:gd name="connsiteY15" fmla="*/ 108030 h 100785"/>
                <a:gd name="connsiteX16" fmla="*/ 0 w 25196"/>
                <a:gd name="connsiteY16" fmla="*/ 105510 h 100785"/>
                <a:gd name="connsiteX17" fmla="*/ 0 w 25196"/>
                <a:gd name="connsiteY17" fmla="*/ 104250 h 100785"/>
                <a:gd name="connsiteX18" fmla="*/ 0 w 25196"/>
                <a:gd name="connsiteY18" fmla="*/ 104250 h 100785"/>
                <a:gd name="connsiteX19" fmla="*/ 3780 w 25196"/>
                <a:gd name="connsiteY19" fmla="*/ 85353 h 100785"/>
                <a:gd name="connsiteX20" fmla="*/ 6299 w 25196"/>
                <a:gd name="connsiteY20" fmla="*/ 75274 h 100785"/>
                <a:gd name="connsiteX21" fmla="*/ 8819 w 25196"/>
                <a:gd name="connsiteY21" fmla="*/ 66456 h 100785"/>
                <a:gd name="connsiteX22" fmla="*/ 10079 w 25196"/>
                <a:gd name="connsiteY22" fmla="*/ 55117 h 100785"/>
                <a:gd name="connsiteX23" fmla="*/ 12598 w 25196"/>
                <a:gd name="connsiteY23" fmla="*/ 39999 h 100785"/>
                <a:gd name="connsiteX24" fmla="*/ 15118 w 25196"/>
                <a:gd name="connsiteY24" fmla="*/ 23622 h 100785"/>
                <a:gd name="connsiteX25" fmla="*/ 16378 w 25196"/>
                <a:gd name="connsiteY25" fmla="*/ 14803 h 100785"/>
                <a:gd name="connsiteX26" fmla="*/ 17637 w 25196"/>
                <a:gd name="connsiteY26" fmla="*/ 5984 h 100785"/>
                <a:gd name="connsiteX27" fmla="*/ 18897 w 25196"/>
                <a:gd name="connsiteY27" fmla="*/ 2205 h 100785"/>
                <a:gd name="connsiteX28" fmla="*/ 22677 w 25196"/>
                <a:gd name="connsiteY28" fmla="*/ 945 h 100785"/>
                <a:gd name="connsiteX29" fmla="*/ 22677 w 25196"/>
                <a:gd name="connsiteY29" fmla="*/ 945 h 100785"/>
                <a:gd name="connsiteX30" fmla="*/ 25196 w 25196"/>
                <a:gd name="connsiteY30" fmla="*/ 94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5196" h="100785">
                  <a:moveTo>
                    <a:pt x="25196" y="945"/>
                  </a:moveTo>
                  <a:cubicBezTo>
                    <a:pt x="26456" y="2205"/>
                    <a:pt x="26456" y="3465"/>
                    <a:pt x="26456" y="4724"/>
                  </a:cubicBezTo>
                  <a:cubicBezTo>
                    <a:pt x="26456" y="7244"/>
                    <a:pt x="25196" y="11024"/>
                    <a:pt x="25196" y="13543"/>
                  </a:cubicBezTo>
                  <a:cubicBezTo>
                    <a:pt x="25196" y="17323"/>
                    <a:pt x="25196" y="19842"/>
                    <a:pt x="25196" y="23622"/>
                  </a:cubicBezTo>
                  <a:cubicBezTo>
                    <a:pt x="25196" y="29921"/>
                    <a:pt x="23937" y="36220"/>
                    <a:pt x="23937" y="42519"/>
                  </a:cubicBezTo>
                  <a:cubicBezTo>
                    <a:pt x="23937" y="45039"/>
                    <a:pt x="23937" y="48818"/>
                    <a:pt x="22677" y="51338"/>
                  </a:cubicBezTo>
                  <a:cubicBezTo>
                    <a:pt x="22677" y="53857"/>
                    <a:pt x="22677" y="57637"/>
                    <a:pt x="22677" y="60157"/>
                  </a:cubicBezTo>
                  <a:cubicBezTo>
                    <a:pt x="22677" y="63936"/>
                    <a:pt x="21417" y="66456"/>
                    <a:pt x="21417" y="70235"/>
                  </a:cubicBezTo>
                  <a:cubicBezTo>
                    <a:pt x="21417" y="72755"/>
                    <a:pt x="20157" y="76534"/>
                    <a:pt x="18897" y="79054"/>
                  </a:cubicBezTo>
                  <a:cubicBezTo>
                    <a:pt x="17637" y="84093"/>
                    <a:pt x="17637" y="87873"/>
                    <a:pt x="16378" y="92912"/>
                  </a:cubicBezTo>
                  <a:cubicBezTo>
                    <a:pt x="16378" y="95432"/>
                    <a:pt x="15118" y="97951"/>
                    <a:pt x="13858" y="100471"/>
                  </a:cubicBezTo>
                  <a:cubicBezTo>
                    <a:pt x="12598" y="102991"/>
                    <a:pt x="11338" y="105510"/>
                    <a:pt x="11338" y="108030"/>
                  </a:cubicBezTo>
                  <a:cubicBezTo>
                    <a:pt x="10079" y="109290"/>
                    <a:pt x="10079" y="110550"/>
                    <a:pt x="8819" y="111809"/>
                  </a:cubicBezTo>
                  <a:cubicBezTo>
                    <a:pt x="7559" y="113069"/>
                    <a:pt x="6299" y="113069"/>
                    <a:pt x="3780" y="111809"/>
                  </a:cubicBezTo>
                  <a:cubicBezTo>
                    <a:pt x="2520" y="111809"/>
                    <a:pt x="1260" y="110550"/>
                    <a:pt x="0" y="109290"/>
                  </a:cubicBezTo>
                  <a:cubicBezTo>
                    <a:pt x="0" y="109290"/>
                    <a:pt x="0" y="108030"/>
                    <a:pt x="0" y="108030"/>
                  </a:cubicBezTo>
                  <a:cubicBezTo>
                    <a:pt x="0" y="106770"/>
                    <a:pt x="0" y="105510"/>
                    <a:pt x="0" y="105510"/>
                  </a:cubicBezTo>
                  <a:cubicBezTo>
                    <a:pt x="0" y="105510"/>
                    <a:pt x="0" y="104250"/>
                    <a:pt x="0" y="104250"/>
                  </a:cubicBezTo>
                  <a:cubicBezTo>
                    <a:pt x="0" y="104250"/>
                    <a:pt x="0" y="104250"/>
                    <a:pt x="0" y="104250"/>
                  </a:cubicBezTo>
                  <a:cubicBezTo>
                    <a:pt x="1260" y="97951"/>
                    <a:pt x="2520" y="91652"/>
                    <a:pt x="3780" y="85353"/>
                  </a:cubicBezTo>
                  <a:cubicBezTo>
                    <a:pt x="5039" y="81574"/>
                    <a:pt x="5039" y="79054"/>
                    <a:pt x="6299" y="75274"/>
                  </a:cubicBezTo>
                  <a:cubicBezTo>
                    <a:pt x="7559" y="72755"/>
                    <a:pt x="7559" y="68975"/>
                    <a:pt x="8819" y="66456"/>
                  </a:cubicBezTo>
                  <a:cubicBezTo>
                    <a:pt x="8819" y="62676"/>
                    <a:pt x="10079" y="58897"/>
                    <a:pt x="10079" y="55117"/>
                  </a:cubicBezTo>
                  <a:cubicBezTo>
                    <a:pt x="11338" y="50078"/>
                    <a:pt x="11338" y="45039"/>
                    <a:pt x="12598" y="39999"/>
                  </a:cubicBezTo>
                  <a:cubicBezTo>
                    <a:pt x="13858" y="34960"/>
                    <a:pt x="13858" y="28661"/>
                    <a:pt x="15118" y="23622"/>
                  </a:cubicBezTo>
                  <a:cubicBezTo>
                    <a:pt x="15118" y="21102"/>
                    <a:pt x="15118" y="17323"/>
                    <a:pt x="16378" y="14803"/>
                  </a:cubicBezTo>
                  <a:cubicBezTo>
                    <a:pt x="16378" y="12283"/>
                    <a:pt x="17637" y="8504"/>
                    <a:pt x="17637" y="5984"/>
                  </a:cubicBezTo>
                  <a:cubicBezTo>
                    <a:pt x="17637" y="4724"/>
                    <a:pt x="17637" y="3465"/>
                    <a:pt x="18897" y="2205"/>
                  </a:cubicBezTo>
                  <a:cubicBezTo>
                    <a:pt x="20157" y="945"/>
                    <a:pt x="21417" y="945"/>
                    <a:pt x="22677" y="945"/>
                  </a:cubicBezTo>
                  <a:cubicBezTo>
                    <a:pt x="22677" y="945"/>
                    <a:pt x="22677" y="945"/>
                    <a:pt x="22677" y="945"/>
                  </a:cubicBezTo>
                  <a:cubicBezTo>
                    <a:pt x="22677" y="-315"/>
                    <a:pt x="23937" y="-315"/>
                    <a:pt x="25196" y="945"/>
                  </a:cubicBezTo>
                </a:path>
              </a:pathLst>
            </a:custGeom>
            <a:solidFill>
              <a:srgbClr val="F2A988"/>
            </a:solidFill>
            <a:ln w="12584" cap="flat">
              <a:noFill/>
              <a:prstDash val="solid"/>
              <a:miter/>
            </a:ln>
          </p:spPr>
          <p:txBody>
            <a:bodyPr rtlCol="0" anchor="ctr"/>
            <a:lstStyle/>
            <a:p>
              <a:endParaRPr lang="zh-CN" altLang="en-US"/>
            </a:p>
          </p:txBody>
        </p:sp>
        <p:sp>
          <p:nvSpPr>
            <p:cNvPr id="10242" name="任意多边形: 形状 10241"/>
            <p:cNvSpPr/>
            <p:nvPr/>
          </p:nvSpPr>
          <p:spPr>
            <a:xfrm>
              <a:off x="5075284" y="2550903"/>
              <a:ext cx="62991" cy="214170"/>
            </a:xfrm>
            <a:custGeom>
              <a:avLst/>
              <a:gdLst>
                <a:gd name="connsiteX0" fmla="*/ 59211 w 62991"/>
                <a:gd name="connsiteY0" fmla="*/ 0 h 214169"/>
                <a:gd name="connsiteX1" fmla="*/ 59211 w 62991"/>
                <a:gd name="connsiteY1" fmla="*/ 0 h 214169"/>
                <a:gd name="connsiteX2" fmla="*/ 59211 w 62991"/>
                <a:gd name="connsiteY2" fmla="*/ 0 h 214169"/>
                <a:gd name="connsiteX3" fmla="*/ 59211 w 62991"/>
                <a:gd name="connsiteY3" fmla="*/ 0 h 214169"/>
                <a:gd name="connsiteX4" fmla="*/ 60471 w 62991"/>
                <a:gd name="connsiteY4" fmla="*/ 0 h 214169"/>
                <a:gd name="connsiteX5" fmla="*/ 65511 w 62991"/>
                <a:gd name="connsiteY5" fmla="*/ 1260 h 214169"/>
                <a:gd name="connsiteX6" fmla="*/ 68030 w 62991"/>
                <a:gd name="connsiteY6" fmla="*/ 2520 h 214169"/>
                <a:gd name="connsiteX7" fmla="*/ 68030 w 62991"/>
                <a:gd name="connsiteY7" fmla="*/ 6299 h 214169"/>
                <a:gd name="connsiteX8" fmla="*/ 66770 w 62991"/>
                <a:gd name="connsiteY8" fmla="*/ 13858 h 214169"/>
                <a:gd name="connsiteX9" fmla="*/ 66770 w 62991"/>
                <a:gd name="connsiteY9" fmla="*/ 17637 h 214169"/>
                <a:gd name="connsiteX10" fmla="*/ 66770 w 62991"/>
                <a:gd name="connsiteY10" fmla="*/ 22677 h 214169"/>
                <a:gd name="connsiteX11" fmla="*/ 66770 w 62991"/>
                <a:gd name="connsiteY11" fmla="*/ 23937 h 214169"/>
                <a:gd name="connsiteX12" fmla="*/ 66770 w 62991"/>
                <a:gd name="connsiteY12" fmla="*/ 23937 h 214169"/>
                <a:gd name="connsiteX13" fmla="*/ 66770 w 62991"/>
                <a:gd name="connsiteY13" fmla="*/ 23937 h 214169"/>
                <a:gd name="connsiteX14" fmla="*/ 66770 w 62991"/>
                <a:gd name="connsiteY14" fmla="*/ 23937 h 214169"/>
                <a:gd name="connsiteX15" fmla="*/ 66770 w 62991"/>
                <a:gd name="connsiteY15" fmla="*/ 23937 h 214169"/>
                <a:gd name="connsiteX16" fmla="*/ 66770 w 62991"/>
                <a:gd name="connsiteY16" fmla="*/ 23937 h 214169"/>
                <a:gd name="connsiteX17" fmla="*/ 66770 w 62991"/>
                <a:gd name="connsiteY17" fmla="*/ 23937 h 214169"/>
                <a:gd name="connsiteX18" fmla="*/ 66770 w 62991"/>
                <a:gd name="connsiteY18" fmla="*/ 23937 h 214169"/>
                <a:gd name="connsiteX19" fmla="*/ 66770 w 62991"/>
                <a:gd name="connsiteY19" fmla="*/ 23937 h 214169"/>
                <a:gd name="connsiteX20" fmla="*/ 66770 w 62991"/>
                <a:gd name="connsiteY20" fmla="*/ 25196 h 214169"/>
                <a:gd name="connsiteX21" fmla="*/ 66770 w 62991"/>
                <a:gd name="connsiteY21" fmla="*/ 26456 h 214169"/>
                <a:gd name="connsiteX22" fmla="*/ 66770 w 62991"/>
                <a:gd name="connsiteY22" fmla="*/ 28976 h 214169"/>
                <a:gd name="connsiteX23" fmla="*/ 66770 w 62991"/>
                <a:gd name="connsiteY23" fmla="*/ 39054 h 214169"/>
                <a:gd name="connsiteX24" fmla="*/ 66770 w 62991"/>
                <a:gd name="connsiteY24" fmla="*/ 45354 h 214169"/>
                <a:gd name="connsiteX25" fmla="*/ 65511 w 62991"/>
                <a:gd name="connsiteY25" fmla="*/ 57952 h 214169"/>
                <a:gd name="connsiteX26" fmla="*/ 65511 w 62991"/>
                <a:gd name="connsiteY26" fmla="*/ 62991 h 214169"/>
                <a:gd name="connsiteX27" fmla="*/ 62991 w 62991"/>
                <a:gd name="connsiteY27" fmla="*/ 84408 h 214169"/>
                <a:gd name="connsiteX28" fmla="*/ 62991 w 62991"/>
                <a:gd name="connsiteY28" fmla="*/ 84408 h 214169"/>
                <a:gd name="connsiteX29" fmla="*/ 61731 w 62991"/>
                <a:gd name="connsiteY29" fmla="*/ 99526 h 214169"/>
                <a:gd name="connsiteX30" fmla="*/ 60471 w 62991"/>
                <a:gd name="connsiteY30" fmla="*/ 112124 h 214169"/>
                <a:gd name="connsiteX31" fmla="*/ 60471 w 62991"/>
                <a:gd name="connsiteY31" fmla="*/ 112124 h 214169"/>
                <a:gd name="connsiteX32" fmla="*/ 60471 w 62991"/>
                <a:gd name="connsiteY32" fmla="*/ 117164 h 214169"/>
                <a:gd name="connsiteX33" fmla="*/ 56692 w 62991"/>
                <a:gd name="connsiteY33" fmla="*/ 137321 h 214169"/>
                <a:gd name="connsiteX34" fmla="*/ 56692 w 62991"/>
                <a:gd name="connsiteY34" fmla="*/ 138581 h 214169"/>
                <a:gd name="connsiteX35" fmla="*/ 56692 w 62991"/>
                <a:gd name="connsiteY35" fmla="*/ 139840 h 214169"/>
                <a:gd name="connsiteX36" fmla="*/ 56692 w 62991"/>
                <a:gd name="connsiteY36" fmla="*/ 139840 h 214169"/>
                <a:gd name="connsiteX37" fmla="*/ 56692 w 62991"/>
                <a:gd name="connsiteY37" fmla="*/ 139840 h 214169"/>
                <a:gd name="connsiteX38" fmla="*/ 56692 w 62991"/>
                <a:gd name="connsiteY38" fmla="*/ 139840 h 214169"/>
                <a:gd name="connsiteX39" fmla="*/ 56692 w 62991"/>
                <a:gd name="connsiteY39" fmla="*/ 139840 h 214169"/>
                <a:gd name="connsiteX40" fmla="*/ 56692 w 62991"/>
                <a:gd name="connsiteY40" fmla="*/ 139840 h 214169"/>
                <a:gd name="connsiteX41" fmla="*/ 55432 w 62991"/>
                <a:gd name="connsiteY41" fmla="*/ 144880 h 214169"/>
                <a:gd name="connsiteX42" fmla="*/ 52912 w 62991"/>
                <a:gd name="connsiteY42" fmla="*/ 153698 h 214169"/>
                <a:gd name="connsiteX43" fmla="*/ 46613 w 62991"/>
                <a:gd name="connsiteY43" fmla="*/ 171336 h 214169"/>
                <a:gd name="connsiteX44" fmla="*/ 39054 w 62991"/>
                <a:gd name="connsiteY44" fmla="*/ 188974 h 214169"/>
                <a:gd name="connsiteX45" fmla="*/ 30236 w 62991"/>
                <a:gd name="connsiteY45" fmla="*/ 202831 h 214169"/>
                <a:gd name="connsiteX46" fmla="*/ 22677 w 62991"/>
                <a:gd name="connsiteY46" fmla="*/ 211650 h 214169"/>
                <a:gd name="connsiteX47" fmla="*/ 17637 w 62991"/>
                <a:gd name="connsiteY47" fmla="*/ 215430 h 214169"/>
                <a:gd name="connsiteX48" fmla="*/ 12598 w 62991"/>
                <a:gd name="connsiteY48" fmla="*/ 219209 h 214169"/>
                <a:gd name="connsiteX49" fmla="*/ 7559 w 62991"/>
                <a:gd name="connsiteY49" fmla="*/ 221729 h 214169"/>
                <a:gd name="connsiteX50" fmla="*/ 2519 w 62991"/>
                <a:gd name="connsiteY50" fmla="*/ 219209 h 214169"/>
                <a:gd name="connsiteX51" fmla="*/ 0 w 62991"/>
                <a:gd name="connsiteY51" fmla="*/ 214170 h 214169"/>
                <a:gd name="connsiteX52" fmla="*/ 2519 w 62991"/>
                <a:gd name="connsiteY52" fmla="*/ 209131 h 214169"/>
                <a:gd name="connsiteX53" fmla="*/ 13858 w 62991"/>
                <a:gd name="connsiteY53" fmla="*/ 200312 h 214169"/>
                <a:gd name="connsiteX54" fmla="*/ 17637 w 62991"/>
                <a:gd name="connsiteY54" fmla="*/ 195273 h 214169"/>
                <a:gd name="connsiteX55" fmla="*/ 21417 w 62991"/>
                <a:gd name="connsiteY55" fmla="*/ 188974 h 214169"/>
                <a:gd name="connsiteX56" fmla="*/ 28976 w 62991"/>
                <a:gd name="connsiteY56" fmla="*/ 175115 h 214169"/>
                <a:gd name="connsiteX57" fmla="*/ 30236 w 62991"/>
                <a:gd name="connsiteY57" fmla="*/ 171336 h 214169"/>
                <a:gd name="connsiteX58" fmla="*/ 32755 w 62991"/>
                <a:gd name="connsiteY58" fmla="*/ 165037 h 214169"/>
                <a:gd name="connsiteX59" fmla="*/ 35275 w 62991"/>
                <a:gd name="connsiteY59" fmla="*/ 158738 h 214169"/>
                <a:gd name="connsiteX60" fmla="*/ 37795 w 62991"/>
                <a:gd name="connsiteY60" fmla="*/ 152439 h 214169"/>
                <a:gd name="connsiteX61" fmla="*/ 41574 w 62991"/>
                <a:gd name="connsiteY61" fmla="*/ 138581 h 214169"/>
                <a:gd name="connsiteX62" fmla="*/ 44094 w 62991"/>
                <a:gd name="connsiteY62" fmla="*/ 127242 h 214169"/>
                <a:gd name="connsiteX63" fmla="*/ 46613 w 62991"/>
                <a:gd name="connsiteY63" fmla="*/ 109605 h 214169"/>
                <a:gd name="connsiteX64" fmla="*/ 49133 w 62991"/>
                <a:gd name="connsiteY64" fmla="*/ 90707 h 214169"/>
                <a:gd name="connsiteX65" fmla="*/ 51652 w 62991"/>
                <a:gd name="connsiteY65" fmla="*/ 73070 h 214169"/>
                <a:gd name="connsiteX66" fmla="*/ 52912 w 62991"/>
                <a:gd name="connsiteY66" fmla="*/ 64251 h 214169"/>
                <a:gd name="connsiteX67" fmla="*/ 54172 w 62991"/>
                <a:gd name="connsiteY67" fmla="*/ 54172 h 214169"/>
                <a:gd name="connsiteX68" fmla="*/ 56692 w 62991"/>
                <a:gd name="connsiteY68" fmla="*/ 36535 h 214169"/>
                <a:gd name="connsiteX69" fmla="*/ 57952 w 62991"/>
                <a:gd name="connsiteY69" fmla="*/ 27716 h 214169"/>
                <a:gd name="connsiteX70" fmla="*/ 59211 w 62991"/>
                <a:gd name="connsiteY70" fmla="*/ 20157 h 214169"/>
                <a:gd name="connsiteX71" fmla="*/ 60471 w 62991"/>
                <a:gd name="connsiteY71" fmla="*/ 16378 h 214169"/>
                <a:gd name="connsiteX72" fmla="*/ 61731 w 62991"/>
                <a:gd name="connsiteY72" fmla="*/ 7559 h 214169"/>
                <a:gd name="connsiteX73" fmla="*/ 61731 w 62991"/>
                <a:gd name="connsiteY73" fmla="*/ 7559 h 214169"/>
                <a:gd name="connsiteX74" fmla="*/ 62991 w 62991"/>
                <a:gd name="connsiteY74" fmla="*/ 1260 h 214169"/>
                <a:gd name="connsiteX75" fmla="*/ 59211 w 62991"/>
                <a:gd name="connsiteY75" fmla="*/ 0 h 214169"/>
                <a:gd name="connsiteX76" fmla="*/ 59211 w 62991"/>
                <a:gd name="connsiteY76" fmla="*/ 0 h 21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2991" h="214169">
                  <a:moveTo>
                    <a:pt x="59211" y="0"/>
                  </a:moveTo>
                  <a:lnTo>
                    <a:pt x="59211" y="0"/>
                  </a:lnTo>
                  <a:cubicBezTo>
                    <a:pt x="59211" y="0"/>
                    <a:pt x="59211" y="0"/>
                    <a:pt x="59211" y="0"/>
                  </a:cubicBezTo>
                  <a:lnTo>
                    <a:pt x="59211" y="0"/>
                  </a:lnTo>
                  <a:lnTo>
                    <a:pt x="60471" y="0"/>
                  </a:lnTo>
                  <a:cubicBezTo>
                    <a:pt x="61731" y="0"/>
                    <a:pt x="62991" y="1260"/>
                    <a:pt x="65511" y="1260"/>
                  </a:cubicBezTo>
                  <a:cubicBezTo>
                    <a:pt x="66770" y="1260"/>
                    <a:pt x="68030" y="1260"/>
                    <a:pt x="68030" y="2520"/>
                  </a:cubicBezTo>
                  <a:cubicBezTo>
                    <a:pt x="68030" y="3780"/>
                    <a:pt x="68030" y="5039"/>
                    <a:pt x="68030" y="6299"/>
                  </a:cubicBezTo>
                  <a:cubicBezTo>
                    <a:pt x="68030" y="8819"/>
                    <a:pt x="66770" y="11338"/>
                    <a:pt x="66770" y="13858"/>
                  </a:cubicBezTo>
                  <a:cubicBezTo>
                    <a:pt x="66770" y="15118"/>
                    <a:pt x="66770" y="16378"/>
                    <a:pt x="66770" y="17637"/>
                  </a:cubicBezTo>
                  <a:cubicBezTo>
                    <a:pt x="66770" y="18897"/>
                    <a:pt x="66770" y="20157"/>
                    <a:pt x="66770" y="22677"/>
                  </a:cubicBezTo>
                  <a:cubicBezTo>
                    <a:pt x="66770" y="22677"/>
                    <a:pt x="66770" y="23937"/>
                    <a:pt x="66770" y="23937"/>
                  </a:cubicBezTo>
                  <a:cubicBezTo>
                    <a:pt x="66770" y="23937"/>
                    <a:pt x="66770" y="23937"/>
                    <a:pt x="66770" y="23937"/>
                  </a:cubicBezTo>
                  <a:lnTo>
                    <a:pt x="66770" y="23937"/>
                  </a:lnTo>
                  <a:lnTo>
                    <a:pt x="66770" y="23937"/>
                  </a:lnTo>
                  <a:lnTo>
                    <a:pt x="66770" y="23937"/>
                  </a:lnTo>
                  <a:lnTo>
                    <a:pt x="66770" y="23937"/>
                  </a:lnTo>
                  <a:lnTo>
                    <a:pt x="66770" y="23937"/>
                  </a:lnTo>
                  <a:lnTo>
                    <a:pt x="66770" y="23937"/>
                  </a:lnTo>
                  <a:lnTo>
                    <a:pt x="66770" y="23937"/>
                  </a:lnTo>
                  <a:cubicBezTo>
                    <a:pt x="66770" y="23937"/>
                    <a:pt x="66770" y="25196"/>
                    <a:pt x="66770" y="25196"/>
                  </a:cubicBezTo>
                  <a:cubicBezTo>
                    <a:pt x="66770" y="25196"/>
                    <a:pt x="66770" y="26456"/>
                    <a:pt x="66770" y="26456"/>
                  </a:cubicBezTo>
                  <a:cubicBezTo>
                    <a:pt x="66770" y="27716"/>
                    <a:pt x="66770" y="27716"/>
                    <a:pt x="66770" y="28976"/>
                  </a:cubicBezTo>
                  <a:cubicBezTo>
                    <a:pt x="66770" y="32755"/>
                    <a:pt x="66770" y="35275"/>
                    <a:pt x="66770" y="39054"/>
                  </a:cubicBezTo>
                  <a:cubicBezTo>
                    <a:pt x="66770" y="41574"/>
                    <a:pt x="66770" y="44094"/>
                    <a:pt x="66770" y="45354"/>
                  </a:cubicBezTo>
                  <a:cubicBezTo>
                    <a:pt x="66770" y="49133"/>
                    <a:pt x="66770" y="54172"/>
                    <a:pt x="65511" y="57952"/>
                  </a:cubicBezTo>
                  <a:cubicBezTo>
                    <a:pt x="65511" y="59212"/>
                    <a:pt x="65511" y="61731"/>
                    <a:pt x="65511" y="62991"/>
                  </a:cubicBezTo>
                  <a:cubicBezTo>
                    <a:pt x="65511" y="70550"/>
                    <a:pt x="64251" y="76849"/>
                    <a:pt x="62991" y="84408"/>
                  </a:cubicBezTo>
                  <a:lnTo>
                    <a:pt x="62991" y="84408"/>
                  </a:lnTo>
                  <a:cubicBezTo>
                    <a:pt x="62991" y="89447"/>
                    <a:pt x="61731" y="94487"/>
                    <a:pt x="61731" y="99526"/>
                  </a:cubicBezTo>
                  <a:cubicBezTo>
                    <a:pt x="61731" y="103305"/>
                    <a:pt x="60471" y="108345"/>
                    <a:pt x="60471" y="112124"/>
                  </a:cubicBezTo>
                  <a:lnTo>
                    <a:pt x="60471" y="112124"/>
                  </a:lnTo>
                  <a:cubicBezTo>
                    <a:pt x="60471" y="113384"/>
                    <a:pt x="60471" y="114644"/>
                    <a:pt x="60471" y="117164"/>
                  </a:cubicBezTo>
                  <a:cubicBezTo>
                    <a:pt x="59211" y="124722"/>
                    <a:pt x="57952" y="131022"/>
                    <a:pt x="56692" y="137321"/>
                  </a:cubicBezTo>
                  <a:cubicBezTo>
                    <a:pt x="56692" y="137321"/>
                    <a:pt x="56692" y="138581"/>
                    <a:pt x="56692" y="138581"/>
                  </a:cubicBezTo>
                  <a:cubicBezTo>
                    <a:pt x="56692" y="138581"/>
                    <a:pt x="56692" y="139840"/>
                    <a:pt x="56692" y="139840"/>
                  </a:cubicBezTo>
                  <a:cubicBezTo>
                    <a:pt x="56692" y="139840"/>
                    <a:pt x="56692" y="139840"/>
                    <a:pt x="56692" y="139840"/>
                  </a:cubicBezTo>
                  <a:lnTo>
                    <a:pt x="56692" y="139840"/>
                  </a:lnTo>
                  <a:lnTo>
                    <a:pt x="56692" y="139840"/>
                  </a:lnTo>
                  <a:lnTo>
                    <a:pt x="56692" y="139840"/>
                  </a:lnTo>
                  <a:lnTo>
                    <a:pt x="56692" y="139840"/>
                  </a:lnTo>
                  <a:cubicBezTo>
                    <a:pt x="56692" y="141100"/>
                    <a:pt x="55432" y="143620"/>
                    <a:pt x="55432" y="144880"/>
                  </a:cubicBezTo>
                  <a:cubicBezTo>
                    <a:pt x="54172" y="147399"/>
                    <a:pt x="54172" y="151179"/>
                    <a:pt x="52912" y="153698"/>
                  </a:cubicBezTo>
                  <a:cubicBezTo>
                    <a:pt x="51652" y="159998"/>
                    <a:pt x="49133" y="165037"/>
                    <a:pt x="46613" y="171336"/>
                  </a:cubicBezTo>
                  <a:cubicBezTo>
                    <a:pt x="44094" y="177635"/>
                    <a:pt x="41574" y="183934"/>
                    <a:pt x="39054" y="188974"/>
                  </a:cubicBezTo>
                  <a:cubicBezTo>
                    <a:pt x="36535" y="194013"/>
                    <a:pt x="34015" y="199052"/>
                    <a:pt x="30236" y="202831"/>
                  </a:cubicBezTo>
                  <a:cubicBezTo>
                    <a:pt x="27716" y="205351"/>
                    <a:pt x="25196" y="209131"/>
                    <a:pt x="22677" y="211650"/>
                  </a:cubicBezTo>
                  <a:cubicBezTo>
                    <a:pt x="21417" y="212910"/>
                    <a:pt x="20157" y="214170"/>
                    <a:pt x="17637" y="215430"/>
                  </a:cubicBezTo>
                  <a:cubicBezTo>
                    <a:pt x="16378" y="216690"/>
                    <a:pt x="13858" y="217949"/>
                    <a:pt x="12598" y="219209"/>
                  </a:cubicBezTo>
                  <a:cubicBezTo>
                    <a:pt x="11338" y="220469"/>
                    <a:pt x="8819" y="221729"/>
                    <a:pt x="7559" y="221729"/>
                  </a:cubicBezTo>
                  <a:cubicBezTo>
                    <a:pt x="5039" y="221729"/>
                    <a:pt x="3779" y="220469"/>
                    <a:pt x="2519" y="219209"/>
                  </a:cubicBezTo>
                  <a:cubicBezTo>
                    <a:pt x="1260" y="217949"/>
                    <a:pt x="0" y="215430"/>
                    <a:pt x="0" y="214170"/>
                  </a:cubicBezTo>
                  <a:cubicBezTo>
                    <a:pt x="0" y="212910"/>
                    <a:pt x="1260" y="210390"/>
                    <a:pt x="2519" y="209131"/>
                  </a:cubicBezTo>
                  <a:cubicBezTo>
                    <a:pt x="6299" y="206611"/>
                    <a:pt x="10078" y="202831"/>
                    <a:pt x="13858" y="200312"/>
                  </a:cubicBezTo>
                  <a:cubicBezTo>
                    <a:pt x="15118" y="199052"/>
                    <a:pt x="16378" y="196532"/>
                    <a:pt x="17637" y="195273"/>
                  </a:cubicBezTo>
                  <a:cubicBezTo>
                    <a:pt x="18897" y="192753"/>
                    <a:pt x="20157" y="190233"/>
                    <a:pt x="21417" y="188974"/>
                  </a:cubicBezTo>
                  <a:cubicBezTo>
                    <a:pt x="23937" y="183934"/>
                    <a:pt x="26456" y="178895"/>
                    <a:pt x="28976" y="175115"/>
                  </a:cubicBezTo>
                  <a:cubicBezTo>
                    <a:pt x="28976" y="173856"/>
                    <a:pt x="30236" y="172596"/>
                    <a:pt x="30236" y="171336"/>
                  </a:cubicBezTo>
                  <a:cubicBezTo>
                    <a:pt x="31496" y="168816"/>
                    <a:pt x="31496" y="167557"/>
                    <a:pt x="32755" y="165037"/>
                  </a:cubicBezTo>
                  <a:cubicBezTo>
                    <a:pt x="34015" y="162517"/>
                    <a:pt x="34015" y="161257"/>
                    <a:pt x="35275" y="158738"/>
                  </a:cubicBezTo>
                  <a:cubicBezTo>
                    <a:pt x="36535" y="156218"/>
                    <a:pt x="36535" y="154958"/>
                    <a:pt x="37795" y="152439"/>
                  </a:cubicBezTo>
                  <a:cubicBezTo>
                    <a:pt x="39054" y="147399"/>
                    <a:pt x="40314" y="143620"/>
                    <a:pt x="41574" y="138581"/>
                  </a:cubicBezTo>
                  <a:cubicBezTo>
                    <a:pt x="42834" y="134801"/>
                    <a:pt x="42834" y="131022"/>
                    <a:pt x="44094" y="127242"/>
                  </a:cubicBezTo>
                  <a:cubicBezTo>
                    <a:pt x="45353" y="122203"/>
                    <a:pt x="45353" y="115904"/>
                    <a:pt x="46613" y="109605"/>
                  </a:cubicBezTo>
                  <a:cubicBezTo>
                    <a:pt x="47873" y="103305"/>
                    <a:pt x="47873" y="97006"/>
                    <a:pt x="49133" y="90707"/>
                  </a:cubicBezTo>
                  <a:cubicBezTo>
                    <a:pt x="50393" y="84408"/>
                    <a:pt x="50393" y="78109"/>
                    <a:pt x="51652" y="73070"/>
                  </a:cubicBezTo>
                  <a:cubicBezTo>
                    <a:pt x="51652" y="70550"/>
                    <a:pt x="52912" y="66771"/>
                    <a:pt x="52912" y="64251"/>
                  </a:cubicBezTo>
                  <a:cubicBezTo>
                    <a:pt x="52912" y="60472"/>
                    <a:pt x="54172" y="57952"/>
                    <a:pt x="54172" y="54172"/>
                  </a:cubicBezTo>
                  <a:cubicBezTo>
                    <a:pt x="55432" y="47873"/>
                    <a:pt x="55432" y="42834"/>
                    <a:pt x="56692" y="36535"/>
                  </a:cubicBezTo>
                  <a:cubicBezTo>
                    <a:pt x="56692" y="34015"/>
                    <a:pt x="57952" y="30236"/>
                    <a:pt x="57952" y="27716"/>
                  </a:cubicBezTo>
                  <a:cubicBezTo>
                    <a:pt x="57952" y="25196"/>
                    <a:pt x="59211" y="22677"/>
                    <a:pt x="59211" y="20157"/>
                  </a:cubicBezTo>
                  <a:cubicBezTo>
                    <a:pt x="59211" y="18897"/>
                    <a:pt x="59211" y="17637"/>
                    <a:pt x="60471" y="16378"/>
                  </a:cubicBezTo>
                  <a:cubicBezTo>
                    <a:pt x="60471" y="13858"/>
                    <a:pt x="61731" y="10079"/>
                    <a:pt x="61731" y="7559"/>
                  </a:cubicBezTo>
                  <a:cubicBezTo>
                    <a:pt x="61731" y="7559"/>
                    <a:pt x="61731" y="7559"/>
                    <a:pt x="61731" y="7559"/>
                  </a:cubicBezTo>
                  <a:cubicBezTo>
                    <a:pt x="61731" y="5039"/>
                    <a:pt x="62991" y="3780"/>
                    <a:pt x="62991" y="1260"/>
                  </a:cubicBezTo>
                  <a:cubicBezTo>
                    <a:pt x="57952" y="2520"/>
                    <a:pt x="59211" y="1260"/>
                    <a:pt x="59211" y="0"/>
                  </a:cubicBezTo>
                  <a:lnTo>
                    <a:pt x="59211" y="0"/>
                  </a:lnTo>
                  <a:close/>
                </a:path>
              </a:pathLst>
            </a:custGeom>
            <a:solidFill>
              <a:srgbClr val="F2A988"/>
            </a:solidFill>
            <a:ln w="12584" cap="flat">
              <a:noFill/>
              <a:prstDash val="solid"/>
              <a:miter/>
            </a:ln>
          </p:spPr>
          <p:txBody>
            <a:bodyPr rtlCol="0" anchor="ctr"/>
            <a:lstStyle/>
            <a:p>
              <a:endParaRPr lang="zh-CN" altLang="en-US"/>
            </a:p>
          </p:txBody>
        </p:sp>
        <p:sp>
          <p:nvSpPr>
            <p:cNvPr id="10243" name="任意多边形: 形状 10242"/>
            <p:cNvSpPr/>
            <p:nvPr/>
          </p:nvSpPr>
          <p:spPr>
            <a:xfrm>
              <a:off x="5089142" y="2650429"/>
              <a:ext cx="25196" cy="62991"/>
            </a:xfrm>
            <a:custGeom>
              <a:avLst/>
              <a:gdLst>
                <a:gd name="connsiteX0" fmla="*/ 30236 w 25196"/>
                <a:gd name="connsiteY0" fmla="*/ 1260 h 62991"/>
                <a:gd name="connsiteX1" fmla="*/ 27716 w 25196"/>
                <a:gd name="connsiteY1" fmla="*/ 0 h 62991"/>
                <a:gd name="connsiteX2" fmla="*/ 25196 w 25196"/>
                <a:gd name="connsiteY2" fmla="*/ 0 h 62991"/>
                <a:gd name="connsiteX3" fmla="*/ 22677 w 25196"/>
                <a:gd name="connsiteY3" fmla="*/ 5039 h 62991"/>
                <a:gd name="connsiteX4" fmla="*/ 22677 w 25196"/>
                <a:gd name="connsiteY4" fmla="*/ 7559 h 62991"/>
                <a:gd name="connsiteX5" fmla="*/ 22677 w 25196"/>
                <a:gd name="connsiteY5" fmla="*/ 13858 h 62991"/>
                <a:gd name="connsiteX6" fmla="*/ 22677 w 25196"/>
                <a:gd name="connsiteY6" fmla="*/ 13858 h 62991"/>
                <a:gd name="connsiteX7" fmla="*/ 21417 w 25196"/>
                <a:gd name="connsiteY7" fmla="*/ 18897 h 62991"/>
                <a:gd name="connsiteX8" fmla="*/ 21417 w 25196"/>
                <a:gd name="connsiteY8" fmla="*/ 20157 h 62991"/>
                <a:gd name="connsiteX9" fmla="*/ 15118 w 25196"/>
                <a:gd name="connsiteY9" fmla="*/ 23937 h 62991"/>
                <a:gd name="connsiteX10" fmla="*/ 13858 w 25196"/>
                <a:gd name="connsiteY10" fmla="*/ 25196 h 62991"/>
                <a:gd name="connsiteX11" fmla="*/ 10079 w 25196"/>
                <a:gd name="connsiteY11" fmla="*/ 27716 h 62991"/>
                <a:gd name="connsiteX12" fmla="*/ 7559 w 25196"/>
                <a:gd name="connsiteY12" fmla="*/ 31496 h 62991"/>
                <a:gd name="connsiteX13" fmla="*/ 3780 w 25196"/>
                <a:gd name="connsiteY13" fmla="*/ 42834 h 62991"/>
                <a:gd name="connsiteX14" fmla="*/ 1260 w 25196"/>
                <a:gd name="connsiteY14" fmla="*/ 50393 h 62991"/>
                <a:gd name="connsiteX15" fmla="*/ 0 w 25196"/>
                <a:gd name="connsiteY15" fmla="*/ 52913 h 62991"/>
                <a:gd name="connsiteX16" fmla="*/ 0 w 25196"/>
                <a:gd name="connsiteY16" fmla="*/ 57952 h 62991"/>
                <a:gd name="connsiteX17" fmla="*/ 2520 w 25196"/>
                <a:gd name="connsiteY17" fmla="*/ 61731 h 62991"/>
                <a:gd name="connsiteX18" fmla="*/ 2520 w 25196"/>
                <a:gd name="connsiteY18" fmla="*/ 61731 h 62991"/>
                <a:gd name="connsiteX19" fmla="*/ 6299 w 25196"/>
                <a:gd name="connsiteY19" fmla="*/ 64251 h 62991"/>
                <a:gd name="connsiteX20" fmla="*/ 7559 w 25196"/>
                <a:gd name="connsiteY20" fmla="*/ 64251 h 62991"/>
                <a:gd name="connsiteX21" fmla="*/ 11339 w 25196"/>
                <a:gd name="connsiteY21" fmla="*/ 66771 h 62991"/>
                <a:gd name="connsiteX22" fmla="*/ 16378 w 25196"/>
                <a:gd name="connsiteY22" fmla="*/ 66771 h 62991"/>
                <a:gd name="connsiteX23" fmla="*/ 18897 w 25196"/>
                <a:gd name="connsiteY23" fmla="*/ 65511 h 62991"/>
                <a:gd name="connsiteX24" fmla="*/ 22677 w 25196"/>
                <a:gd name="connsiteY24" fmla="*/ 61731 h 62991"/>
                <a:gd name="connsiteX25" fmla="*/ 23937 w 25196"/>
                <a:gd name="connsiteY25" fmla="*/ 59212 h 62991"/>
                <a:gd name="connsiteX26" fmla="*/ 23937 w 25196"/>
                <a:gd name="connsiteY26" fmla="*/ 57952 h 62991"/>
                <a:gd name="connsiteX27" fmla="*/ 25196 w 25196"/>
                <a:gd name="connsiteY27" fmla="*/ 54172 h 62991"/>
                <a:gd name="connsiteX28" fmla="*/ 26456 w 25196"/>
                <a:gd name="connsiteY28" fmla="*/ 45354 h 62991"/>
                <a:gd name="connsiteX29" fmla="*/ 27716 w 25196"/>
                <a:gd name="connsiteY29" fmla="*/ 36535 h 62991"/>
                <a:gd name="connsiteX30" fmla="*/ 28976 w 25196"/>
                <a:gd name="connsiteY30" fmla="*/ 26456 h 62991"/>
                <a:gd name="connsiteX31" fmla="*/ 28976 w 25196"/>
                <a:gd name="connsiteY31" fmla="*/ 23937 h 62991"/>
                <a:gd name="connsiteX32" fmla="*/ 28976 w 25196"/>
                <a:gd name="connsiteY32" fmla="*/ 21417 h 62991"/>
                <a:gd name="connsiteX33" fmla="*/ 30236 w 25196"/>
                <a:gd name="connsiteY33" fmla="*/ 10079 h 62991"/>
                <a:gd name="connsiteX34" fmla="*/ 30236 w 25196"/>
                <a:gd name="connsiteY34" fmla="*/ 5039 h 62991"/>
                <a:gd name="connsiteX35" fmla="*/ 30236 w 25196"/>
                <a:gd name="connsiteY35" fmla="*/ 2520 h 62991"/>
                <a:gd name="connsiteX36" fmla="*/ 30236 w 25196"/>
                <a:gd name="connsiteY36" fmla="*/ 0 h 62991"/>
                <a:gd name="connsiteX37" fmla="*/ 30236 w 25196"/>
                <a:gd name="connsiteY37" fmla="*/ 1260 h 62991"/>
                <a:gd name="connsiteX38" fmla="*/ 22677 w 25196"/>
                <a:gd name="connsiteY38" fmla="*/ 3780 h 62991"/>
                <a:gd name="connsiteX39" fmla="*/ 22677 w 25196"/>
                <a:gd name="connsiteY39" fmla="*/ 3780 h 62991"/>
                <a:gd name="connsiteX40" fmla="*/ 22677 w 25196"/>
                <a:gd name="connsiteY40" fmla="*/ 3780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5196" h="62991">
                  <a:moveTo>
                    <a:pt x="30236" y="1260"/>
                  </a:moveTo>
                  <a:cubicBezTo>
                    <a:pt x="30236" y="0"/>
                    <a:pt x="28976" y="0"/>
                    <a:pt x="27716" y="0"/>
                  </a:cubicBezTo>
                  <a:cubicBezTo>
                    <a:pt x="26456" y="0"/>
                    <a:pt x="26456" y="0"/>
                    <a:pt x="25196" y="0"/>
                  </a:cubicBezTo>
                  <a:cubicBezTo>
                    <a:pt x="22677" y="1260"/>
                    <a:pt x="22677" y="3780"/>
                    <a:pt x="22677" y="5039"/>
                  </a:cubicBezTo>
                  <a:cubicBezTo>
                    <a:pt x="22677" y="6299"/>
                    <a:pt x="22677" y="6299"/>
                    <a:pt x="22677" y="7559"/>
                  </a:cubicBezTo>
                  <a:cubicBezTo>
                    <a:pt x="22677" y="10079"/>
                    <a:pt x="22677" y="11339"/>
                    <a:pt x="22677" y="13858"/>
                  </a:cubicBezTo>
                  <a:cubicBezTo>
                    <a:pt x="22677" y="13858"/>
                    <a:pt x="22677" y="13858"/>
                    <a:pt x="22677" y="13858"/>
                  </a:cubicBezTo>
                  <a:cubicBezTo>
                    <a:pt x="22677" y="15118"/>
                    <a:pt x="22677" y="17638"/>
                    <a:pt x="21417" y="18897"/>
                  </a:cubicBezTo>
                  <a:cubicBezTo>
                    <a:pt x="21417" y="18897"/>
                    <a:pt x="21417" y="20157"/>
                    <a:pt x="21417" y="20157"/>
                  </a:cubicBezTo>
                  <a:cubicBezTo>
                    <a:pt x="18897" y="20157"/>
                    <a:pt x="16378" y="21417"/>
                    <a:pt x="15118" y="23937"/>
                  </a:cubicBezTo>
                  <a:cubicBezTo>
                    <a:pt x="15118" y="23937"/>
                    <a:pt x="15118" y="25196"/>
                    <a:pt x="13858" y="25196"/>
                  </a:cubicBezTo>
                  <a:cubicBezTo>
                    <a:pt x="12598" y="25196"/>
                    <a:pt x="11339" y="26456"/>
                    <a:pt x="10079" y="27716"/>
                  </a:cubicBezTo>
                  <a:cubicBezTo>
                    <a:pt x="8819" y="28976"/>
                    <a:pt x="7559" y="30236"/>
                    <a:pt x="7559" y="31496"/>
                  </a:cubicBezTo>
                  <a:cubicBezTo>
                    <a:pt x="6299" y="35275"/>
                    <a:pt x="5040" y="39055"/>
                    <a:pt x="3780" y="42834"/>
                  </a:cubicBezTo>
                  <a:cubicBezTo>
                    <a:pt x="2520" y="45354"/>
                    <a:pt x="1260" y="47873"/>
                    <a:pt x="1260" y="50393"/>
                  </a:cubicBezTo>
                  <a:cubicBezTo>
                    <a:pt x="0" y="51653"/>
                    <a:pt x="0" y="51653"/>
                    <a:pt x="0" y="52913"/>
                  </a:cubicBezTo>
                  <a:cubicBezTo>
                    <a:pt x="0" y="54172"/>
                    <a:pt x="0" y="56692"/>
                    <a:pt x="0" y="57952"/>
                  </a:cubicBezTo>
                  <a:cubicBezTo>
                    <a:pt x="0" y="59212"/>
                    <a:pt x="1260" y="60472"/>
                    <a:pt x="2520" y="61731"/>
                  </a:cubicBezTo>
                  <a:cubicBezTo>
                    <a:pt x="2520" y="61731"/>
                    <a:pt x="2520" y="61731"/>
                    <a:pt x="2520" y="61731"/>
                  </a:cubicBezTo>
                  <a:cubicBezTo>
                    <a:pt x="3780" y="62991"/>
                    <a:pt x="5040" y="64251"/>
                    <a:pt x="6299" y="64251"/>
                  </a:cubicBezTo>
                  <a:cubicBezTo>
                    <a:pt x="6299" y="64251"/>
                    <a:pt x="7559" y="64251"/>
                    <a:pt x="7559" y="64251"/>
                  </a:cubicBezTo>
                  <a:cubicBezTo>
                    <a:pt x="8819" y="65511"/>
                    <a:pt x="10079" y="66771"/>
                    <a:pt x="11339" y="66771"/>
                  </a:cubicBezTo>
                  <a:cubicBezTo>
                    <a:pt x="12598" y="66771"/>
                    <a:pt x="15118" y="66771"/>
                    <a:pt x="16378" y="66771"/>
                  </a:cubicBezTo>
                  <a:lnTo>
                    <a:pt x="18897" y="65511"/>
                  </a:lnTo>
                  <a:cubicBezTo>
                    <a:pt x="20157" y="64251"/>
                    <a:pt x="21417" y="64251"/>
                    <a:pt x="22677" y="61731"/>
                  </a:cubicBezTo>
                  <a:cubicBezTo>
                    <a:pt x="22677" y="60472"/>
                    <a:pt x="23937" y="60472"/>
                    <a:pt x="23937" y="59212"/>
                  </a:cubicBezTo>
                  <a:cubicBezTo>
                    <a:pt x="23937" y="59212"/>
                    <a:pt x="23937" y="57952"/>
                    <a:pt x="23937" y="57952"/>
                  </a:cubicBezTo>
                  <a:cubicBezTo>
                    <a:pt x="23937" y="56692"/>
                    <a:pt x="23937" y="55432"/>
                    <a:pt x="25196" y="54172"/>
                  </a:cubicBezTo>
                  <a:cubicBezTo>
                    <a:pt x="26456" y="51653"/>
                    <a:pt x="26456" y="49133"/>
                    <a:pt x="26456" y="45354"/>
                  </a:cubicBezTo>
                  <a:cubicBezTo>
                    <a:pt x="26456" y="42834"/>
                    <a:pt x="27716" y="39055"/>
                    <a:pt x="27716" y="36535"/>
                  </a:cubicBezTo>
                  <a:cubicBezTo>
                    <a:pt x="27716" y="32755"/>
                    <a:pt x="28976" y="30236"/>
                    <a:pt x="28976" y="26456"/>
                  </a:cubicBezTo>
                  <a:cubicBezTo>
                    <a:pt x="28976" y="25196"/>
                    <a:pt x="28976" y="25196"/>
                    <a:pt x="28976" y="23937"/>
                  </a:cubicBezTo>
                  <a:cubicBezTo>
                    <a:pt x="28976" y="22677"/>
                    <a:pt x="28976" y="22677"/>
                    <a:pt x="28976" y="21417"/>
                  </a:cubicBezTo>
                  <a:cubicBezTo>
                    <a:pt x="28976" y="17638"/>
                    <a:pt x="30236" y="13858"/>
                    <a:pt x="30236" y="10079"/>
                  </a:cubicBezTo>
                  <a:cubicBezTo>
                    <a:pt x="30236" y="8819"/>
                    <a:pt x="30236" y="6299"/>
                    <a:pt x="30236" y="5039"/>
                  </a:cubicBezTo>
                  <a:cubicBezTo>
                    <a:pt x="30236" y="3780"/>
                    <a:pt x="30236" y="3780"/>
                    <a:pt x="30236" y="2520"/>
                  </a:cubicBezTo>
                  <a:cubicBezTo>
                    <a:pt x="30236" y="1260"/>
                    <a:pt x="30236" y="1260"/>
                    <a:pt x="30236" y="0"/>
                  </a:cubicBezTo>
                  <a:cubicBezTo>
                    <a:pt x="30236" y="2520"/>
                    <a:pt x="30236" y="1260"/>
                    <a:pt x="30236" y="1260"/>
                  </a:cubicBezTo>
                  <a:moveTo>
                    <a:pt x="22677" y="3780"/>
                  </a:moveTo>
                  <a:cubicBezTo>
                    <a:pt x="22677" y="3780"/>
                    <a:pt x="22677" y="3780"/>
                    <a:pt x="22677" y="3780"/>
                  </a:cubicBezTo>
                  <a:cubicBezTo>
                    <a:pt x="22677" y="3780"/>
                    <a:pt x="22677" y="3780"/>
                    <a:pt x="22677" y="3780"/>
                  </a:cubicBezTo>
                </a:path>
              </a:pathLst>
            </a:custGeom>
            <a:solidFill>
              <a:srgbClr val="F2A988"/>
            </a:solidFill>
            <a:ln w="12584" cap="flat">
              <a:noFill/>
              <a:prstDash val="solid"/>
              <a:miter/>
            </a:ln>
          </p:spPr>
          <p:txBody>
            <a:bodyPr rtlCol="0" anchor="ctr"/>
            <a:lstStyle/>
            <a:p>
              <a:endParaRPr lang="zh-CN" altLang="en-US"/>
            </a:p>
          </p:txBody>
        </p:sp>
        <p:sp>
          <p:nvSpPr>
            <p:cNvPr id="10244" name="任意多边形: 形状 10243"/>
            <p:cNvSpPr/>
            <p:nvPr/>
          </p:nvSpPr>
          <p:spPr>
            <a:xfrm>
              <a:off x="4813240" y="2297678"/>
              <a:ext cx="403143" cy="390545"/>
            </a:xfrm>
            <a:custGeom>
              <a:avLst/>
              <a:gdLst>
                <a:gd name="connsiteX0" fmla="*/ 200312 w 403143"/>
                <a:gd name="connsiteY0" fmla="*/ 0 h 390545"/>
                <a:gd name="connsiteX1" fmla="*/ 200312 w 403143"/>
                <a:gd name="connsiteY1" fmla="*/ 0 h 390545"/>
                <a:gd name="connsiteX2" fmla="*/ 214170 w 403143"/>
                <a:gd name="connsiteY2" fmla="*/ 2520 h 390545"/>
                <a:gd name="connsiteX3" fmla="*/ 219209 w 403143"/>
                <a:gd name="connsiteY3" fmla="*/ 3780 h 390545"/>
                <a:gd name="connsiteX4" fmla="*/ 229288 w 403143"/>
                <a:gd name="connsiteY4" fmla="*/ 5039 h 390545"/>
                <a:gd name="connsiteX5" fmla="*/ 245666 w 403143"/>
                <a:gd name="connsiteY5" fmla="*/ 11338 h 390545"/>
                <a:gd name="connsiteX6" fmla="*/ 254484 w 403143"/>
                <a:gd name="connsiteY6" fmla="*/ 16378 h 390545"/>
                <a:gd name="connsiteX7" fmla="*/ 273382 w 403143"/>
                <a:gd name="connsiteY7" fmla="*/ 30236 h 390545"/>
                <a:gd name="connsiteX8" fmla="*/ 277161 w 403143"/>
                <a:gd name="connsiteY8" fmla="*/ 32755 h 390545"/>
                <a:gd name="connsiteX9" fmla="*/ 280941 w 403143"/>
                <a:gd name="connsiteY9" fmla="*/ 36535 h 390545"/>
                <a:gd name="connsiteX10" fmla="*/ 284720 w 403143"/>
                <a:gd name="connsiteY10" fmla="*/ 40314 h 390545"/>
                <a:gd name="connsiteX11" fmla="*/ 289759 w 403143"/>
                <a:gd name="connsiteY11" fmla="*/ 47873 h 390545"/>
                <a:gd name="connsiteX12" fmla="*/ 291019 w 403143"/>
                <a:gd name="connsiteY12" fmla="*/ 49133 h 390545"/>
                <a:gd name="connsiteX13" fmla="*/ 291019 w 403143"/>
                <a:gd name="connsiteY13" fmla="*/ 49133 h 390545"/>
                <a:gd name="connsiteX14" fmla="*/ 297318 w 403143"/>
                <a:gd name="connsiteY14" fmla="*/ 52913 h 390545"/>
                <a:gd name="connsiteX15" fmla="*/ 313696 w 403143"/>
                <a:gd name="connsiteY15" fmla="*/ 50393 h 390545"/>
                <a:gd name="connsiteX16" fmla="*/ 323775 w 403143"/>
                <a:gd name="connsiteY16" fmla="*/ 50393 h 390545"/>
                <a:gd name="connsiteX17" fmla="*/ 325035 w 403143"/>
                <a:gd name="connsiteY17" fmla="*/ 50393 h 390545"/>
                <a:gd name="connsiteX18" fmla="*/ 325035 w 403143"/>
                <a:gd name="connsiteY18" fmla="*/ 50393 h 390545"/>
                <a:gd name="connsiteX19" fmla="*/ 332593 w 403143"/>
                <a:gd name="connsiteY19" fmla="*/ 51653 h 390545"/>
                <a:gd name="connsiteX20" fmla="*/ 337633 w 403143"/>
                <a:gd name="connsiteY20" fmla="*/ 52913 h 390545"/>
                <a:gd name="connsiteX21" fmla="*/ 350231 w 403143"/>
                <a:gd name="connsiteY21" fmla="*/ 57952 h 390545"/>
                <a:gd name="connsiteX22" fmla="*/ 360310 w 403143"/>
                <a:gd name="connsiteY22" fmla="*/ 64251 h 390545"/>
                <a:gd name="connsiteX23" fmla="*/ 376687 w 403143"/>
                <a:gd name="connsiteY23" fmla="*/ 79369 h 390545"/>
                <a:gd name="connsiteX24" fmla="*/ 389285 w 403143"/>
                <a:gd name="connsiteY24" fmla="*/ 98266 h 390545"/>
                <a:gd name="connsiteX25" fmla="*/ 394325 w 403143"/>
                <a:gd name="connsiteY25" fmla="*/ 110864 h 390545"/>
                <a:gd name="connsiteX26" fmla="*/ 398104 w 403143"/>
                <a:gd name="connsiteY26" fmla="*/ 120943 h 390545"/>
                <a:gd name="connsiteX27" fmla="*/ 403143 w 403143"/>
                <a:gd name="connsiteY27" fmla="*/ 144880 h 390545"/>
                <a:gd name="connsiteX28" fmla="*/ 405663 w 403143"/>
                <a:gd name="connsiteY28" fmla="*/ 173856 h 390545"/>
                <a:gd name="connsiteX29" fmla="*/ 405663 w 403143"/>
                <a:gd name="connsiteY29" fmla="*/ 176375 h 390545"/>
                <a:gd name="connsiteX30" fmla="*/ 405663 w 403143"/>
                <a:gd name="connsiteY30" fmla="*/ 177635 h 390545"/>
                <a:gd name="connsiteX31" fmla="*/ 405663 w 403143"/>
                <a:gd name="connsiteY31" fmla="*/ 191493 h 390545"/>
                <a:gd name="connsiteX32" fmla="*/ 404403 w 403143"/>
                <a:gd name="connsiteY32" fmla="*/ 207871 h 390545"/>
                <a:gd name="connsiteX33" fmla="*/ 404403 w 403143"/>
                <a:gd name="connsiteY33" fmla="*/ 207871 h 390545"/>
                <a:gd name="connsiteX34" fmla="*/ 400624 w 403143"/>
                <a:gd name="connsiteY34" fmla="*/ 229288 h 390545"/>
                <a:gd name="connsiteX35" fmla="*/ 396844 w 403143"/>
                <a:gd name="connsiteY35" fmla="*/ 244406 h 390545"/>
                <a:gd name="connsiteX36" fmla="*/ 395584 w 403143"/>
                <a:gd name="connsiteY36" fmla="*/ 249445 h 390545"/>
                <a:gd name="connsiteX37" fmla="*/ 390545 w 403143"/>
                <a:gd name="connsiteY37" fmla="*/ 268342 h 390545"/>
                <a:gd name="connsiteX38" fmla="*/ 381727 w 403143"/>
                <a:gd name="connsiteY38" fmla="*/ 288500 h 390545"/>
                <a:gd name="connsiteX39" fmla="*/ 381727 w 403143"/>
                <a:gd name="connsiteY39" fmla="*/ 288500 h 390545"/>
                <a:gd name="connsiteX40" fmla="*/ 379207 w 403143"/>
                <a:gd name="connsiteY40" fmla="*/ 294799 h 390545"/>
                <a:gd name="connsiteX41" fmla="*/ 377947 w 403143"/>
                <a:gd name="connsiteY41" fmla="*/ 298578 h 390545"/>
                <a:gd name="connsiteX42" fmla="*/ 374168 w 403143"/>
                <a:gd name="connsiteY42" fmla="*/ 308657 h 390545"/>
                <a:gd name="connsiteX43" fmla="*/ 370388 w 403143"/>
                <a:gd name="connsiteY43" fmla="*/ 317475 h 390545"/>
                <a:gd name="connsiteX44" fmla="*/ 370388 w 403143"/>
                <a:gd name="connsiteY44" fmla="*/ 318735 h 390545"/>
                <a:gd name="connsiteX45" fmla="*/ 360310 w 403143"/>
                <a:gd name="connsiteY45" fmla="*/ 337633 h 390545"/>
                <a:gd name="connsiteX46" fmla="*/ 360310 w 403143"/>
                <a:gd name="connsiteY46" fmla="*/ 337633 h 390545"/>
                <a:gd name="connsiteX47" fmla="*/ 359050 w 403143"/>
                <a:gd name="connsiteY47" fmla="*/ 338893 h 390545"/>
                <a:gd name="connsiteX48" fmla="*/ 348971 w 403143"/>
                <a:gd name="connsiteY48" fmla="*/ 356530 h 390545"/>
                <a:gd name="connsiteX49" fmla="*/ 336373 w 403143"/>
                <a:gd name="connsiteY49" fmla="*/ 374167 h 390545"/>
                <a:gd name="connsiteX50" fmla="*/ 327554 w 403143"/>
                <a:gd name="connsiteY50" fmla="*/ 382986 h 390545"/>
                <a:gd name="connsiteX51" fmla="*/ 322515 w 403143"/>
                <a:gd name="connsiteY51" fmla="*/ 388026 h 390545"/>
                <a:gd name="connsiteX52" fmla="*/ 321255 w 403143"/>
                <a:gd name="connsiteY52" fmla="*/ 389286 h 390545"/>
                <a:gd name="connsiteX53" fmla="*/ 314956 w 403143"/>
                <a:gd name="connsiteY53" fmla="*/ 394325 h 390545"/>
                <a:gd name="connsiteX54" fmla="*/ 314956 w 403143"/>
                <a:gd name="connsiteY54" fmla="*/ 394325 h 390545"/>
                <a:gd name="connsiteX55" fmla="*/ 314956 w 403143"/>
                <a:gd name="connsiteY55" fmla="*/ 394325 h 390545"/>
                <a:gd name="connsiteX56" fmla="*/ 314956 w 403143"/>
                <a:gd name="connsiteY56" fmla="*/ 394325 h 390545"/>
                <a:gd name="connsiteX57" fmla="*/ 314956 w 403143"/>
                <a:gd name="connsiteY57" fmla="*/ 394325 h 390545"/>
                <a:gd name="connsiteX58" fmla="*/ 314956 w 403143"/>
                <a:gd name="connsiteY58" fmla="*/ 393065 h 390545"/>
                <a:gd name="connsiteX59" fmla="*/ 314956 w 403143"/>
                <a:gd name="connsiteY59" fmla="*/ 391805 h 390545"/>
                <a:gd name="connsiteX60" fmla="*/ 318736 w 403143"/>
                <a:gd name="connsiteY60" fmla="*/ 371648 h 390545"/>
                <a:gd name="connsiteX61" fmla="*/ 318736 w 403143"/>
                <a:gd name="connsiteY61" fmla="*/ 366609 h 390545"/>
                <a:gd name="connsiteX62" fmla="*/ 318736 w 403143"/>
                <a:gd name="connsiteY62" fmla="*/ 366609 h 390545"/>
                <a:gd name="connsiteX63" fmla="*/ 319995 w 403143"/>
                <a:gd name="connsiteY63" fmla="*/ 354010 h 390545"/>
                <a:gd name="connsiteX64" fmla="*/ 321255 w 403143"/>
                <a:gd name="connsiteY64" fmla="*/ 338893 h 390545"/>
                <a:gd name="connsiteX65" fmla="*/ 321255 w 403143"/>
                <a:gd name="connsiteY65" fmla="*/ 338893 h 390545"/>
                <a:gd name="connsiteX66" fmla="*/ 323775 w 403143"/>
                <a:gd name="connsiteY66" fmla="*/ 317475 h 390545"/>
                <a:gd name="connsiteX67" fmla="*/ 323775 w 403143"/>
                <a:gd name="connsiteY67" fmla="*/ 312436 h 390545"/>
                <a:gd name="connsiteX68" fmla="*/ 325035 w 403143"/>
                <a:gd name="connsiteY68" fmla="*/ 299838 h 390545"/>
                <a:gd name="connsiteX69" fmla="*/ 325035 w 403143"/>
                <a:gd name="connsiteY69" fmla="*/ 293539 h 390545"/>
                <a:gd name="connsiteX70" fmla="*/ 325035 w 403143"/>
                <a:gd name="connsiteY70" fmla="*/ 283460 h 390545"/>
                <a:gd name="connsiteX71" fmla="*/ 325035 w 403143"/>
                <a:gd name="connsiteY71" fmla="*/ 280941 h 390545"/>
                <a:gd name="connsiteX72" fmla="*/ 325035 w 403143"/>
                <a:gd name="connsiteY72" fmla="*/ 279681 h 390545"/>
                <a:gd name="connsiteX73" fmla="*/ 325035 w 403143"/>
                <a:gd name="connsiteY73" fmla="*/ 278421 h 390545"/>
                <a:gd name="connsiteX74" fmla="*/ 325035 w 403143"/>
                <a:gd name="connsiteY74" fmla="*/ 278421 h 390545"/>
                <a:gd name="connsiteX75" fmla="*/ 325035 w 403143"/>
                <a:gd name="connsiteY75" fmla="*/ 278421 h 390545"/>
                <a:gd name="connsiteX76" fmla="*/ 325035 w 403143"/>
                <a:gd name="connsiteY76" fmla="*/ 278421 h 390545"/>
                <a:gd name="connsiteX77" fmla="*/ 325035 w 403143"/>
                <a:gd name="connsiteY77" fmla="*/ 278421 h 390545"/>
                <a:gd name="connsiteX78" fmla="*/ 325035 w 403143"/>
                <a:gd name="connsiteY78" fmla="*/ 278421 h 390545"/>
                <a:gd name="connsiteX79" fmla="*/ 325035 w 403143"/>
                <a:gd name="connsiteY79" fmla="*/ 278421 h 390545"/>
                <a:gd name="connsiteX80" fmla="*/ 326294 w 403143"/>
                <a:gd name="connsiteY80" fmla="*/ 268342 h 390545"/>
                <a:gd name="connsiteX81" fmla="*/ 327554 w 403143"/>
                <a:gd name="connsiteY81" fmla="*/ 260783 h 390545"/>
                <a:gd name="connsiteX82" fmla="*/ 327554 w 403143"/>
                <a:gd name="connsiteY82" fmla="*/ 257004 h 390545"/>
                <a:gd name="connsiteX83" fmla="*/ 325035 w 403143"/>
                <a:gd name="connsiteY83" fmla="*/ 255744 h 390545"/>
                <a:gd name="connsiteX84" fmla="*/ 319995 w 403143"/>
                <a:gd name="connsiteY84" fmla="*/ 254484 h 390545"/>
                <a:gd name="connsiteX85" fmla="*/ 318736 w 403143"/>
                <a:gd name="connsiteY85" fmla="*/ 254484 h 390545"/>
                <a:gd name="connsiteX86" fmla="*/ 318736 w 403143"/>
                <a:gd name="connsiteY86" fmla="*/ 254484 h 390545"/>
                <a:gd name="connsiteX87" fmla="*/ 318736 w 403143"/>
                <a:gd name="connsiteY87" fmla="*/ 254484 h 390545"/>
                <a:gd name="connsiteX88" fmla="*/ 318736 w 403143"/>
                <a:gd name="connsiteY88" fmla="*/ 254484 h 390545"/>
                <a:gd name="connsiteX89" fmla="*/ 317476 w 403143"/>
                <a:gd name="connsiteY89" fmla="*/ 254484 h 390545"/>
                <a:gd name="connsiteX90" fmla="*/ 309917 w 403143"/>
                <a:gd name="connsiteY90" fmla="*/ 251965 h 390545"/>
                <a:gd name="connsiteX91" fmla="*/ 299838 w 403143"/>
                <a:gd name="connsiteY91" fmla="*/ 246925 h 390545"/>
                <a:gd name="connsiteX92" fmla="*/ 299838 w 403143"/>
                <a:gd name="connsiteY92" fmla="*/ 246925 h 390545"/>
                <a:gd name="connsiteX93" fmla="*/ 296058 w 403143"/>
                <a:gd name="connsiteY93" fmla="*/ 245666 h 390545"/>
                <a:gd name="connsiteX94" fmla="*/ 288499 w 403143"/>
                <a:gd name="connsiteY94" fmla="*/ 243146 h 390545"/>
                <a:gd name="connsiteX95" fmla="*/ 273382 w 403143"/>
                <a:gd name="connsiteY95" fmla="*/ 236847 h 390545"/>
                <a:gd name="connsiteX96" fmla="*/ 262043 w 403143"/>
                <a:gd name="connsiteY96" fmla="*/ 229288 h 390545"/>
                <a:gd name="connsiteX97" fmla="*/ 255744 w 403143"/>
                <a:gd name="connsiteY97" fmla="*/ 224249 h 390545"/>
                <a:gd name="connsiteX98" fmla="*/ 244406 w 403143"/>
                <a:gd name="connsiteY98" fmla="*/ 214170 h 390545"/>
                <a:gd name="connsiteX99" fmla="*/ 241886 w 403143"/>
                <a:gd name="connsiteY99" fmla="*/ 210390 h 390545"/>
                <a:gd name="connsiteX100" fmla="*/ 241886 w 403143"/>
                <a:gd name="connsiteY100" fmla="*/ 210390 h 390545"/>
                <a:gd name="connsiteX101" fmla="*/ 239366 w 403143"/>
                <a:gd name="connsiteY101" fmla="*/ 206611 h 390545"/>
                <a:gd name="connsiteX102" fmla="*/ 239366 w 403143"/>
                <a:gd name="connsiteY102" fmla="*/ 205351 h 390545"/>
                <a:gd name="connsiteX103" fmla="*/ 234327 w 403143"/>
                <a:gd name="connsiteY103" fmla="*/ 194013 h 390545"/>
                <a:gd name="connsiteX104" fmla="*/ 233067 w 403143"/>
                <a:gd name="connsiteY104" fmla="*/ 192753 h 390545"/>
                <a:gd name="connsiteX105" fmla="*/ 231807 w 403143"/>
                <a:gd name="connsiteY105" fmla="*/ 194013 h 390545"/>
                <a:gd name="connsiteX106" fmla="*/ 230548 w 403143"/>
                <a:gd name="connsiteY106" fmla="*/ 195273 h 390545"/>
                <a:gd name="connsiteX107" fmla="*/ 226768 w 403143"/>
                <a:gd name="connsiteY107" fmla="*/ 200312 h 390545"/>
                <a:gd name="connsiteX108" fmla="*/ 219209 w 403143"/>
                <a:gd name="connsiteY108" fmla="*/ 207871 h 390545"/>
                <a:gd name="connsiteX109" fmla="*/ 210391 w 403143"/>
                <a:gd name="connsiteY109" fmla="*/ 215430 h 390545"/>
                <a:gd name="connsiteX110" fmla="*/ 191493 w 403143"/>
                <a:gd name="connsiteY110" fmla="*/ 226768 h 390545"/>
                <a:gd name="connsiteX111" fmla="*/ 173856 w 403143"/>
                <a:gd name="connsiteY111" fmla="*/ 235587 h 390545"/>
                <a:gd name="connsiteX112" fmla="*/ 173856 w 403143"/>
                <a:gd name="connsiteY112" fmla="*/ 235587 h 390545"/>
                <a:gd name="connsiteX113" fmla="*/ 172596 w 403143"/>
                <a:gd name="connsiteY113" fmla="*/ 235587 h 390545"/>
                <a:gd name="connsiteX114" fmla="*/ 172596 w 403143"/>
                <a:gd name="connsiteY114" fmla="*/ 235587 h 390545"/>
                <a:gd name="connsiteX115" fmla="*/ 171336 w 403143"/>
                <a:gd name="connsiteY115" fmla="*/ 235587 h 390545"/>
                <a:gd name="connsiteX116" fmla="*/ 171336 w 403143"/>
                <a:gd name="connsiteY116" fmla="*/ 235587 h 390545"/>
                <a:gd name="connsiteX117" fmla="*/ 171336 w 403143"/>
                <a:gd name="connsiteY117" fmla="*/ 235587 h 390545"/>
                <a:gd name="connsiteX118" fmla="*/ 171336 w 403143"/>
                <a:gd name="connsiteY118" fmla="*/ 235587 h 390545"/>
                <a:gd name="connsiteX119" fmla="*/ 172596 w 403143"/>
                <a:gd name="connsiteY119" fmla="*/ 235587 h 390545"/>
                <a:gd name="connsiteX120" fmla="*/ 152439 w 403143"/>
                <a:gd name="connsiteY120" fmla="*/ 243146 h 390545"/>
                <a:gd name="connsiteX121" fmla="*/ 131022 w 403143"/>
                <a:gd name="connsiteY121" fmla="*/ 248185 h 390545"/>
                <a:gd name="connsiteX122" fmla="*/ 109605 w 403143"/>
                <a:gd name="connsiteY122" fmla="*/ 249445 h 390545"/>
                <a:gd name="connsiteX123" fmla="*/ 109605 w 403143"/>
                <a:gd name="connsiteY123" fmla="*/ 249445 h 390545"/>
                <a:gd name="connsiteX124" fmla="*/ 97007 w 403143"/>
                <a:gd name="connsiteY124" fmla="*/ 249445 h 390545"/>
                <a:gd name="connsiteX125" fmla="*/ 86928 w 403143"/>
                <a:gd name="connsiteY125" fmla="*/ 248185 h 390545"/>
                <a:gd name="connsiteX126" fmla="*/ 81889 w 403143"/>
                <a:gd name="connsiteY126" fmla="*/ 246925 h 390545"/>
                <a:gd name="connsiteX127" fmla="*/ 80629 w 403143"/>
                <a:gd name="connsiteY127" fmla="*/ 246925 h 390545"/>
                <a:gd name="connsiteX128" fmla="*/ 69290 w 403143"/>
                <a:gd name="connsiteY128" fmla="*/ 246925 h 390545"/>
                <a:gd name="connsiteX129" fmla="*/ 66771 w 403143"/>
                <a:gd name="connsiteY129" fmla="*/ 246925 h 390545"/>
                <a:gd name="connsiteX130" fmla="*/ 61731 w 403143"/>
                <a:gd name="connsiteY130" fmla="*/ 246925 h 390545"/>
                <a:gd name="connsiteX131" fmla="*/ 60472 w 403143"/>
                <a:gd name="connsiteY131" fmla="*/ 246925 h 390545"/>
                <a:gd name="connsiteX132" fmla="*/ 59212 w 403143"/>
                <a:gd name="connsiteY132" fmla="*/ 246925 h 390545"/>
                <a:gd name="connsiteX133" fmla="*/ 50393 w 403143"/>
                <a:gd name="connsiteY133" fmla="*/ 244406 h 390545"/>
                <a:gd name="connsiteX134" fmla="*/ 31496 w 403143"/>
                <a:gd name="connsiteY134" fmla="*/ 235587 h 390545"/>
                <a:gd name="connsiteX135" fmla="*/ 25196 w 403143"/>
                <a:gd name="connsiteY135" fmla="*/ 231808 h 390545"/>
                <a:gd name="connsiteX136" fmla="*/ 22677 w 403143"/>
                <a:gd name="connsiteY136" fmla="*/ 229288 h 390545"/>
                <a:gd name="connsiteX137" fmla="*/ 22677 w 403143"/>
                <a:gd name="connsiteY137" fmla="*/ 229288 h 390545"/>
                <a:gd name="connsiteX138" fmla="*/ 20157 w 403143"/>
                <a:gd name="connsiteY138" fmla="*/ 228028 h 390545"/>
                <a:gd name="connsiteX139" fmla="*/ 13858 w 403143"/>
                <a:gd name="connsiteY139" fmla="*/ 220469 h 390545"/>
                <a:gd name="connsiteX140" fmla="*/ 8819 w 403143"/>
                <a:gd name="connsiteY140" fmla="*/ 212910 h 390545"/>
                <a:gd name="connsiteX141" fmla="*/ 2520 w 403143"/>
                <a:gd name="connsiteY141" fmla="*/ 197792 h 390545"/>
                <a:gd name="connsiteX142" fmla="*/ 0 w 403143"/>
                <a:gd name="connsiteY142" fmla="*/ 185194 h 390545"/>
                <a:gd name="connsiteX143" fmla="*/ 0 w 403143"/>
                <a:gd name="connsiteY143" fmla="*/ 183934 h 390545"/>
                <a:gd name="connsiteX144" fmla="*/ 0 w 403143"/>
                <a:gd name="connsiteY144" fmla="*/ 180155 h 390545"/>
                <a:gd name="connsiteX145" fmla="*/ 0 w 403143"/>
                <a:gd name="connsiteY145" fmla="*/ 178895 h 390545"/>
                <a:gd name="connsiteX146" fmla="*/ 0 w 403143"/>
                <a:gd name="connsiteY146" fmla="*/ 170076 h 390545"/>
                <a:gd name="connsiteX147" fmla="*/ 0 w 403143"/>
                <a:gd name="connsiteY147" fmla="*/ 168816 h 390545"/>
                <a:gd name="connsiteX148" fmla="*/ 0 w 403143"/>
                <a:gd name="connsiteY148" fmla="*/ 168816 h 390545"/>
                <a:gd name="connsiteX149" fmla="*/ 0 w 403143"/>
                <a:gd name="connsiteY149" fmla="*/ 165037 h 390545"/>
                <a:gd name="connsiteX150" fmla="*/ 0 w 403143"/>
                <a:gd name="connsiteY150" fmla="*/ 158738 h 390545"/>
                <a:gd name="connsiteX151" fmla="*/ 1260 w 403143"/>
                <a:gd name="connsiteY151" fmla="*/ 147399 h 390545"/>
                <a:gd name="connsiteX152" fmla="*/ 1260 w 403143"/>
                <a:gd name="connsiteY152" fmla="*/ 146140 h 390545"/>
                <a:gd name="connsiteX153" fmla="*/ 2520 w 403143"/>
                <a:gd name="connsiteY153" fmla="*/ 136061 h 390545"/>
                <a:gd name="connsiteX154" fmla="*/ 5039 w 403143"/>
                <a:gd name="connsiteY154" fmla="*/ 125982 h 390545"/>
                <a:gd name="connsiteX155" fmla="*/ 8819 w 403143"/>
                <a:gd name="connsiteY155" fmla="*/ 115904 h 390545"/>
                <a:gd name="connsiteX156" fmla="*/ 13858 w 403143"/>
                <a:gd name="connsiteY156" fmla="*/ 107085 h 390545"/>
                <a:gd name="connsiteX157" fmla="*/ 26456 w 403143"/>
                <a:gd name="connsiteY157" fmla="*/ 88188 h 390545"/>
                <a:gd name="connsiteX158" fmla="*/ 32755 w 403143"/>
                <a:gd name="connsiteY158" fmla="*/ 79369 h 390545"/>
                <a:gd name="connsiteX159" fmla="*/ 39055 w 403143"/>
                <a:gd name="connsiteY159" fmla="*/ 73070 h 390545"/>
                <a:gd name="connsiteX160" fmla="*/ 39055 w 403143"/>
                <a:gd name="connsiteY160" fmla="*/ 73070 h 390545"/>
                <a:gd name="connsiteX161" fmla="*/ 39055 w 403143"/>
                <a:gd name="connsiteY161" fmla="*/ 73070 h 390545"/>
                <a:gd name="connsiteX162" fmla="*/ 46614 w 403143"/>
                <a:gd name="connsiteY162" fmla="*/ 65511 h 390545"/>
                <a:gd name="connsiteX163" fmla="*/ 66771 w 403143"/>
                <a:gd name="connsiteY163" fmla="*/ 49133 h 390545"/>
                <a:gd name="connsiteX164" fmla="*/ 69290 w 403143"/>
                <a:gd name="connsiteY164" fmla="*/ 47873 h 390545"/>
                <a:gd name="connsiteX165" fmla="*/ 75589 w 403143"/>
                <a:gd name="connsiteY165" fmla="*/ 42834 h 390545"/>
                <a:gd name="connsiteX166" fmla="*/ 78109 w 403143"/>
                <a:gd name="connsiteY166" fmla="*/ 41574 h 390545"/>
                <a:gd name="connsiteX167" fmla="*/ 78109 w 403143"/>
                <a:gd name="connsiteY167" fmla="*/ 41574 h 390545"/>
                <a:gd name="connsiteX168" fmla="*/ 84408 w 403143"/>
                <a:gd name="connsiteY168" fmla="*/ 36535 h 390545"/>
                <a:gd name="connsiteX169" fmla="*/ 85668 w 403143"/>
                <a:gd name="connsiteY169" fmla="*/ 36535 h 390545"/>
                <a:gd name="connsiteX170" fmla="*/ 94487 w 403143"/>
                <a:gd name="connsiteY170" fmla="*/ 31496 h 390545"/>
                <a:gd name="connsiteX171" fmla="*/ 103306 w 403143"/>
                <a:gd name="connsiteY171" fmla="*/ 26456 h 390545"/>
                <a:gd name="connsiteX172" fmla="*/ 124722 w 403143"/>
                <a:gd name="connsiteY172" fmla="*/ 17638 h 390545"/>
                <a:gd name="connsiteX173" fmla="*/ 131022 w 403143"/>
                <a:gd name="connsiteY173" fmla="*/ 16378 h 390545"/>
                <a:gd name="connsiteX174" fmla="*/ 132281 w 403143"/>
                <a:gd name="connsiteY174" fmla="*/ 16378 h 390545"/>
                <a:gd name="connsiteX175" fmla="*/ 134801 w 403143"/>
                <a:gd name="connsiteY175" fmla="*/ 15118 h 390545"/>
                <a:gd name="connsiteX176" fmla="*/ 144880 w 403143"/>
                <a:gd name="connsiteY176" fmla="*/ 12598 h 390545"/>
                <a:gd name="connsiteX177" fmla="*/ 168816 w 403143"/>
                <a:gd name="connsiteY177" fmla="*/ 8819 h 390545"/>
                <a:gd name="connsiteX178" fmla="*/ 175115 w 403143"/>
                <a:gd name="connsiteY178" fmla="*/ 8819 h 390545"/>
                <a:gd name="connsiteX179" fmla="*/ 175115 w 403143"/>
                <a:gd name="connsiteY179" fmla="*/ 8819 h 390545"/>
                <a:gd name="connsiteX180" fmla="*/ 177635 w 403143"/>
                <a:gd name="connsiteY180" fmla="*/ 8819 h 390545"/>
                <a:gd name="connsiteX181" fmla="*/ 187714 w 403143"/>
                <a:gd name="connsiteY181" fmla="*/ 8819 h 390545"/>
                <a:gd name="connsiteX182" fmla="*/ 200312 w 403143"/>
                <a:gd name="connsiteY182" fmla="*/ 0 h 39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403143" h="390545">
                  <a:moveTo>
                    <a:pt x="200312" y="0"/>
                  </a:moveTo>
                  <a:cubicBezTo>
                    <a:pt x="201572" y="0"/>
                    <a:pt x="201572" y="0"/>
                    <a:pt x="200312" y="0"/>
                  </a:cubicBezTo>
                  <a:cubicBezTo>
                    <a:pt x="205351" y="0"/>
                    <a:pt x="209131" y="1260"/>
                    <a:pt x="214170" y="2520"/>
                  </a:cubicBezTo>
                  <a:cubicBezTo>
                    <a:pt x="215430" y="2520"/>
                    <a:pt x="216690" y="3780"/>
                    <a:pt x="219209" y="3780"/>
                  </a:cubicBezTo>
                  <a:cubicBezTo>
                    <a:pt x="222989" y="3780"/>
                    <a:pt x="226768" y="5039"/>
                    <a:pt x="229288" y="5039"/>
                  </a:cubicBezTo>
                  <a:cubicBezTo>
                    <a:pt x="235587" y="6299"/>
                    <a:pt x="240626" y="8819"/>
                    <a:pt x="245666" y="11338"/>
                  </a:cubicBezTo>
                  <a:cubicBezTo>
                    <a:pt x="249445" y="12598"/>
                    <a:pt x="251965" y="15118"/>
                    <a:pt x="254484" y="16378"/>
                  </a:cubicBezTo>
                  <a:cubicBezTo>
                    <a:pt x="262043" y="20157"/>
                    <a:pt x="267083" y="25196"/>
                    <a:pt x="273382" y="30236"/>
                  </a:cubicBezTo>
                  <a:cubicBezTo>
                    <a:pt x="274642" y="31496"/>
                    <a:pt x="275901" y="32755"/>
                    <a:pt x="277161" y="32755"/>
                  </a:cubicBezTo>
                  <a:cubicBezTo>
                    <a:pt x="278421" y="34015"/>
                    <a:pt x="279681" y="35275"/>
                    <a:pt x="280941" y="36535"/>
                  </a:cubicBezTo>
                  <a:cubicBezTo>
                    <a:pt x="282200" y="37795"/>
                    <a:pt x="283460" y="39055"/>
                    <a:pt x="284720" y="40314"/>
                  </a:cubicBezTo>
                  <a:cubicBezTo>
                    <a:pt x="287240" y="42834"/>
                    <a:pt x="288499" y="45354"/>
                    <a:pt x="289759" y="47873"/>
                  </a:cubicBezTo>
                  <a:lnTo>
                    <a:pt x="291019" y="49133"/>
                  </a:lnTo>
                  <a:lnTo>
                    <a:pt x="291019" y="49133"/>
                  </a:lnTo>
                  <a:cubicBezTo>
                    <a:pt x="293539" y="50393"/>
                    <a:pt x="296058" y="51653"/>
                    <a:pt x="297318" y="52913"/>
                  </a:cubicBezTo>
                  <a:cubicBezTo>
                    <a:pt x="303617" y="51653"/>
                    <a:pt x="308657" y="50393"/>
                    <a:pt x="313696" y="50393"/>
                  </a:cubicBezTo>
                  <a:cubicBezTo>
                    <a:pt x="317476" y="50393"/>
                    <a:pt x="319995" y="50393"/>
                    <a:pt x="323775" y="50393"/>
                  </a:cubicBezTo>
                  <a:cubicBezTo>
                    <a:pt x="323775" y="50393"/>
                    <a:pt x="323775" y="50393"/>
                    <a:pt x="325035" y="50393"/>
                  </a:cubicBezTo>
                  <a:lnTo>
                    <a:pt x="325035" y="50393"/>
                  </a:lnTo>
                  <a:cubicBezTo>
                    <a:pt x="327554" y="50393"/>
                    <a:pt x="330074" y="50393"/>
                    <a:pt x="332593" y="51653"/>
                  </a:cubicBezTo>
                  <a:cubicBezTo>
                    <a:pt x="333853" y="51653"/>
                    <a:pt x="336373" y="52913"/>
                    <a:pt x="337633" y="52913"/>
                  </a:cubicBezTo>
                  <a:cubicBezTo>
                    <a:pt x="341412" y="54172"/>
                    <a:pt x="346451" y="55432"/>
                    <a:pt x="350231" y="57952"/>
                  </a:cubicBezTo>
                  <a:cubicBezTo>
                    <a:pt x="354010" y="59212"/>
                    <a:pt x="356530" y="61731"/>
                    <a:pt x="360310" y="64251"/>
                  </a:cubicBezTo>
                  <a:cubicBezTo>
                    <a:pt x="365349" y="68031"/>
                    <a:pt x="370388" y="73070"/>
                    <a:pt x="376687" y="79369"/>
                  </a:cubicBezTo>
                  <a:cubicBezTo>
                    <a:pt x="382986" y="85668"/>
                    <a:pt x="386766" y="91967"/>
                    <a:pt x="389285" y="98266"/>
                  </a:cubicBezTo>
                  <a:cubicBezTo>
                    <a:pt x="391805" y="103305"/>
                    <a:pt x="393065" y="107085"/>
                    <a:pt x="394325" y="110864"/>
                  </a:cubicBezTo>
                  <a:cubicBezTo>
                    <a:pt x="395584" y="114644"/>
                    <a:pt x="396844" y="118424"/>
                    <a:pt x="398104" y="120943"/>
                  </a:cubicBezTo>
                  <a:cubicBezTo>
                    <a:pt x="400624" y="127242"/>
                    <a:pt x="401884" y="134801"/>
                    <a:pt x="403143" y="144880"/>
                  </a:cubicBezTo>
                  <a:cubicBezTo>
                    <a:pt x="404403" y="154958"/>
                    <a:pt x="404403" y="163777"/>
                    <a:pt x="405663" y="173856"/>
                  </a:cubicBezTo>
                  <a:lnTo>
                    <a:pt x="405663" y="176375"/>
                  </a:lnTo>
                  <a:lnTo>
                    <a:pt x="405663" y="177635"/>
                  </a:lnTo>
                  <a:cubicBezTo>
                    <a:pt x="405663" y="182674"/>
                    <a:pt x="405663" y="187714"/>
                    <a:pt x="405663" y="191493"/>
                  </a:cubicBezTo>
                  <a:cubicBezTo>
                    <a:pt x="405663" y="196533"/>
                    <a:pt x="405663" y="201572"/>
                    <a:pt x="404403" y="207871"/>
                  </a:cubicBezTo>
                  <a:lnTo>
                    <a:pt x="404403" y="207871"/>
                  </a:lnTo>
                  <a:cubicBezTo>
                    <a:pt x="403143" y="215430"/>
                    <a:pt x="403143" y="222989"/>
                    <a:pt x="400624" y="229288"/>
                  </a:cubicBezTo>
                  <a:cubicBezTo>
                    <a:pt x="399364" y="234327"/>
                    <a:pt x="398104" y="239366"/>
                    <a:pt x="396844" y="244406"/>
                  </a:cubicBezTo>
                  <a:cubicBezTo>
                    <a:pt x="396844" y="245666"/>
                    <a:pt x="395584" y="248185"/>
                    <a:pt x="395584" y="249445"/>
                  </a:cubicBezTo>
                  <a:cubicBezTo>
                    <a:pt x="394325" y="255744"/>
                    <a:pt x="391805" y="262043"/>
                    <a:pt x="390545" y="268342"/>
                  </a:cubicBezTo>
                  <a:cubicBezTo>
                    <a:pt x="388026" y="274642"/>
                    <a:pt x="385506" y="282201"/>
                    <a:pt x="381727" y="288500"/>
                  </a:cubicBezTo>
                  <a:lnTo>
                    <a:pt x="381727" y="288500"/>
                  </a:lnTo>
                  <a:cubicBezTo>
                    <a:pt x="380467" y="289759"/>
                    <a:pt x="380467" y="292279"/>
                    <a:pt x="379207" y="294799"/>
                  </a:cubicBezTo>
                  <a:cubicBezTo>
                    <a:pt x="379207" y="296058"/>
                    <a:pt x="377947" y="297318"/>
                    <a:pt x="377947" y="298578"/>
                  </a:cubicBezTo>
                  <a:cubicBezTo>
                    <a:pt x="376687" y="302358"/>
                    <a:pt x="375428" y="306137"/>
                    <a:pt x="374168" y="308657"/>
                  </a:cubicBezTo>
                  <a:cubicBezTo>
                    <a:pt x="372908" y="312436"/>
                    <a:pt x="371648" y="314956"/>
                    <a:pt x="370388" y="317475"/>
                  </a:cubicBezTo>
                  <a:lnTo>
                    <a:pt x="370388" y="318735"/>
                  </a:lnTo>
                  <a:cubicBezTo>
                    <a:pt x="367869" y="325034"/>
                    <a:pt x="364089" y="331334"/>
                    <a:pt x="360310" y="337633"/>
                  </a:cubicBezTo>
                  <a:lnTo>
                    <a:pt x="360310" y="337633"/>
                  </a:lnTo>
                  <a:lnTo>
                    <a:pt x="359050" y="338893"/>
                  </a:lnTo>
                  <a:cubicBezTo>
                    <a:pt x="355270" y="345192"/>
                    <a:pt x="351491" y="351491"/>
                    <a:pt x="348971" y="356530"/>
                  </a:cubicBezTo>
                  <a:cubicBezTo>
                    <a:pt x="345192" y="362829"/>
                    <a:pt x="340152" y="369128"/>
                    <a:pt x="336373" y="374167"/>
                  </a:cubicBezTo>
                  <a:cubicBezTo>
                    <a:pt x="333853" y="376687"/>
                    <a:pt x="331334" y="380467"/>
                    <a:pt x="327554" y="382986"/>
                  </a:cubicBezTo>
                  <a:cubicBezTo>
                    <a:pt x="326294" y="385506"/>
                    <a:pt x="323775" y="386766"/>
                    <a:pt x="322515" y="388026"/>
                  </a:cubicBezTo>
                  <a:lnTo>
                    <a:pt x="321255" y="389286"/>
                  </a:lnTo>
                  <a:cubicBezTo>
                    <a:pt x="318736" y="390545"/>
                    <a:pt x="317476" y="393065"/>
                    <a:pt x="314956" y="394325"/>
                  </a:cubicBezTo>
                  <a:lnTo>
                    <a:pt x="314956" y="394325"/>
                  </a:lnTo>
                  <a:lnTo>
                    <a:pt x="314956" y="394325"/>
                  </a:lnTo>
                  <a:lnTo>
                    <a:pt x="314956" y="394325"/>
                  </a:lnTo>
                  <a:lnTo>
                    <a:pt x="314956" y="394325"/>
                  </a:lnTo>
                  <a:cubicBezTo>
                    <a:pt x="314956" y="394325"/>
                    <a:pt x="314956" y="393065"/>
                    <a:pt x="314956" y="393065"/>
                  </a:cubicBezTo>
                  <a:cubicBezTo>
                    <a:pt x="314956" y="393065"/>
                    <a:pt x="314956" y="391805"/>
                    <a:pt x="314956" y="391805"/>
                  </a:cubicBezTo>
                  <a:cubicBezTo>
                    <a:pt x="316216" y="385506"/>
                    <a:pt x="317476" y="379207"/>
                    <a:pt x="318736" y="371648"/>
                  </a:cubicBezTo>
                  <a:cubicBezTo>
                    <a:pt x="318736" y="370388"/>
                    <a:pt x="318736" y="369128"/>
                    <a:pt x="318736" y="366609"/>
                  </a:cubicBezTo>
                  <a:lnTo>
                    <a:pt x="318736" y="366609"/>
                  </a:lnTo>
                  <a:cubicBezTo>
                    <a:pt x="318736" y="362829"/>
                    <a:pt x="319995" y="357790"/>
                    <a:pt x="319995" y="354010"/>
                  </a:cubicBezTo>
                  <a:cubicBezTo>
                    <a:pt x="319995" y="348971"/>
                    <a:pt x="321255" y="343932"/>
                    <a:pt x="321255" y="338893"/>
                  </a:cubicBezTo>
                  <a:lnTo>
                    <a:pt x="321255" y="338893"/>
                  </a:lnTo>
                  <a:cubicBezTo>
                    <a:pt x="322515" y="332593"/>
                    <a:pt x="322515" y="325034"/>
                    <a:pt x="323775" y="317475"/>
                  </a:cubicBezTo>
                  <a:cubicBezTo>
                    <a:pt x="323775" y="316216"/>
                    <a:pt x="323775" y="313696"/>
                    <a:pt x="323775" y="312436"/>
                  </a:cubicBezTo>
                  <a:cubicBezTo>
                    <a:pt x="323775" y="308657"/>
                    <a:pt x="325035" y="303618"/>
                    <a:pt x="325035" y="299838"/>
                  </a:cubicBezTo>
                  <a:cubicBezTo>
                    <a:pt x="325035" y="297318"/>
                    <a:pt x="325035" y="294799"/>
                    <a:pt x="325035" y="293539"/>
                  </a:cubicBezTo>
                  <a:cubicBezTo>
                    <a:pt x="325035" y="291019"/>
                    <a:pt x="325035" y="287240"/>
                    <a:pt x="325035" y="283460"/>
                  </a:cubicBezTo>
                  <a:cubicBezTo>
                    <a:pt x="325035" y="282201"/>
                    <a:pt x="325035" y="282201"/>
                    <a:pt x="325035" y="280941"/>
                  </a:cubicBezTo>
                  <a:cubicBezTo>
                    <a:pt x="325035" y="280941"/>
                    <a:pt x="325035" y="279681"/>
                    <a:pt x="325035" y="279681"/>
                  </a:cubicBezTo>
                  <a:cubicBezTo>
                    <a:pt x="325035" y="279681"/>
                    <a:pt x="325035" y="278421"/>
                    <a:pt x="325035" y="278421"/>
                  </a:cubicBezTo>
                  <a:lnTo>
                    <a:pt x="325035" y="278421"/>
                  </a:lnTo>
                  <a:lnTo>
                    <a:pt x="325035" y="278421"/>
                  </a:lnTo>
                  <a:lnTo>
                    <a:pt x="325035" y="278421"/>
                  </a:lnTo>
                  <a:lnTo>
                    <a:pt x="325035" y="278421"/>
                  </a:lnTo>
                  <a:lnTo>
                    <a:pt x="325035" y="278421"/>
                  </a:lnTo>
                  <a:lnTo>
                    <a:pt x="325035" y="278421"/>
                  </a:lnTo>
                  <a:cubicBezTo>
                    <a:pt x="325035" y="274642"/>
                    <a:pt x="325035" y="272122"/>
                    <a:pt x="326294" y="268342"/>
                  </a:cubicBezTo>
                  <a:cubicBezTo>
                    <a:pt x="326294" y="265823"/>
                    <a:pt x="326294" y="263303"/>
                    <a:pt x="327554" y="260783"/>
                  </a:cubicBezTo>
                  <a:cubicBezTo>
                    <a:pt x="327554" y="259524"/>
                    <a:pt x="327554" y="258264"/>
                    <a:pt x="327554" y="257004"/>
                  </a:cubicBezTo>
                  <a:cubicBezTo>
                    <a:pt x="326294" y="257004"/>
                    <a:pt x="325035" y="257004"/>
                    <a:pt x="325035" y="255744"/>
                  </a:cubicBezTo>
                  <a:cubicBezTo>
                    <a:pt x="323775" y="255744"/>
                    <a:pt x="322515" y="254484"/>
                    <a:pt x="319995" y="254484"/>
                  </a:cubicBezTo>
                  <a:lnTo>
                    <a:pt x="318736" y="254484"/>
                  </a:lnTo>
                  <a:lnTo>
                    <a:pt x="318736" y="254484"/>
                  </a:lnTo>
                  <a:lnTo>
                    <a:pt x="318736" y="254484"/>
                  </a:lnTo>
                  <a:lnTo>
                    <a:pt x="318736" y="254484"/>
                  </a:lnTo>
                  <a:cubicBezTo>
                    <a:pt x="318736" y="254484"/>
                    <a:pt x="317476" y="254484"/>
                    <a:pt x="317476" y="254484"/>
                  </a:cubicBezTo>
                  <a:cubicBezTo>
                    <a:pt x="314956" y="253225"/>
                    <a:pt x="312436" y="253225"/>
                    <a:pt x="309917" y="251965"/>
                  </a:cubicBezTo>
                  <a:cubicBezTo>
                    <a:pt x="306137" y="250705"/>
                    <a:pt x="302358" y="248185"/>
                    <a:pt x="299838" y="246925"/>
                  </a:cubicBezTo>
                  <a:lnTo>
                    <a:pt x="299838" y="246925"/>
                  </a:lnTo>
                  <a:cubicBezTo>
                    <a:pt x="298578" y="246925"/>
                    <a:pt x="297318" y="245666"/>
                    <a:pt x="296058" y="245666"/>
                  </a:cubicBezTo>
                  <a:cubicBezTo>
                    <a:pt x="293539" y="244406"/>
                    <a:pt x="291019" y="244406"/>
                    <a:pt x="288499" y="243146"/>
                  </a:cubicBezTo>
                  <a:cubicBezTo>
                    <a:pt x="283460" y="241886"/>
                    <a:pt x="277161" y="239366"/>
                    <a:pt x="273382" y="236847"/>
                  </a:cubicBezTo>
                  <a:cubicBezTo>
                    <a:pt x="269602" y="234327"/>
                    <a:pt x="265823" y="231808"/>
                    <a:pt x="262043" y="229288"/>
                  </a:cubicBezTo>
                  <a:cubicBezTo>
                    <a:pt x="259524" y="228028"/>
                    <a:pt x="258264" y="226768"/>
                    <a:pt x="255744" y="224249"/>
                  </a:cubicBezTo>
                  <a:cubicBezTo>
                    <a:pt x="251965" y="221729"/>
                    <a:pt x="246925" y="217949"/>
                    <a:pt x="244406" y="214170"/>
                  </a:cubicBezTo>
                  <a:cubicBezTo>
                    <a:pt x="243146" y="212910"/>
                    <a:pt x="243146" y="211650"/>
                    <a:pt x="241886" y="210390"/>
                  </a:cubicBezTo>
                  <a:lnTo>
                    <a:pt x="241886" y="210390"/>
                  </a:lnTo>
                  <a:cubicBezTo>
                    <a:pt x="240626" y="209131"/>
                    <a:pt x="240626" y="207871"/>
                    <a:pt x="239366" y="206611"/>
                  </a:cubicBezTo>
                  <a:lnTo>
                    <a:pt x="239366" y="205351"/>
                  </a:lnTo>
                  <a:cubicBezTo>
                    <a:pt x="238107" y="201572"/>
                    <a:pt x="235587" y="197792"/>
                    <a:pt x="234327" y="194013"/>
                  </a:cubicBezTo>
                  <a:cubicBezTo>
                    <a:pt x="234327" y="194013"/>
                    <a:pt x="234327" y="192753"/>
                    <a:pt x="233067" y="192753"/>
                  </a:cubicBezTo>
                  <a:lnTo>
                    <a:pt x="231807" y="194013"/>
                  </a:lnTo>
                  <a:lnTo>
                    <a:pt x="230548" y="195273"/>
                  </a:lnTo>
                  <a:cubicBezTo>
                    <a:pt x="229288" y="196533"/>
                    <a:pt x="228028" y="197792"/>
                    <a:pt x="226768" y="200312"/>
                  </a:cubicBezTo>
                  <a:cubicBezTo>
                    <a:pt x="224249" y="202832"/>
                    <a:pt x="221729" y="205351"/>
                    <a:pt x="219209" y="207871"/>
                  </a:cubicBezTo>
                  <a:cubicBezTo>
                    <a:pt x="216690" y="210390"/>
                    <a:pt x="212910" y="212910"/>
                    <a:pt x="210391" y="215430"/>
                  </a:cubicBezTo>
                  <a:cubicBezTo>
                    <a:pt x="204092" y="219209"/>
                    <a:pt x="197792" y="222989"/>
                    <a:pt x="191493" y="226768"/>
                  </a:cubicBezTo>
                  <a:cubicBezTo>
                    <a:pt x="186454" y="229288"/>
                    <a:pt x="180155" y="233067"/>
                    <a:pt x="173856" y="235587"/>
                  </a:cubicBezTo>
                  <a:lnTo>
                    <a:pt x="173856" y="235587"/>
                  </a:lnTo>
                  <a:cubicBezTo>
                    <a:pt x="173856" y="235587"/>
                    <a:pt x="173856" y="235587"/>
                    <a:pt x="172596" y="235587"/>
                  </a:cubicBezTo>
                  <a:lnTo>
                    <a:pt x="172596" y="235587"/>
                  </a:lnTo>
                  <a:lnTo>
                    <a:pt x="171336" y="235587"/>
                  </a:lnTo>
                  <a:lnTo>
                    <a:pt x="171336" y="235587"/>
                  </a:lnTo>
                  <a:lnTo>
                    <a:pt x="171336" y="235587"/>
                  </a:lnTo>
                  <a:lnTo>
                    <a:pt x="171336" y="235587"/>
                  </a:lnTo>
                  <a:lnTo>
                    <a:pt x="172596" y="235587"/>
                  </a:lnTo>
                  <a:cubicBezTo>
                    <a:pt x="166297" y="238107"/>
                    <a:pt x="159998" y="240626"/>
                    <a:pt x="152439" y="243146"/>
                  </a:cubicBezTo>
                  <a:cubicBezTo>
                    <a:pt x="144880" y="245666"/>
                    <a:pt x="137321" y="246925"/>
                    <a:pt x="131022" y="248185"/>
                  </a:cubicBezTo>
                  <a:cubicBezTo>
                    <a:pt x="123463" y="249445"/>
                    <a:pt x="115904" y="249445"/>
                    <a:pt x="109605" y="249445"/>
                  </a:cubicBezTo>
                  <a:lnTo>
                    <a:pt x="109605" y="249445"/>
                  </a:lnTo>
                  <a:cubicBezTo>
                    <a:pt x="105825" y="249445"/>
                    <a:pt x="100786" y="249445"/>
                    <a:pt x="97007" y="249445"/>
                  </a:cubicBezTo>
                  <a:cubicBezTo>
                    <a:pt x="93227" y="249445"/>
                    <a:pt x="89448" y="248185"/>
                    <a:pt x="86928" y="248185"/>
                  </a:cubicBezTo>
                  <a:cubicBezTo>
                    <a:pt x="85668" y="248185"/>
                    <a:pt x="83148" y="248185"/>
                    <a:pt x="81889" y="246925"/>
                  </a:cubicBezTo>
                  <a:cubicBezTo>
                    <a:pt x="81889" y="246925"/>
                    <a:pt x="80629" y="246925"/>
                    <a:pt x="80629" y="246925"/>
                  </a:cubicBezTo>
                  <a:cubicBezTo>
                    <a:pt x="76849" y="246925"/>
                    <a:pt x="73070" y="246925"/>
                    <a:pt x="69290" y="246925"/>
                  </a:cubicBezTo>
                  <a:cubicBezTo>
                    <a:pt x="68030" y="246925"/>
                    <a:pt x="68030" y="246925"/>
                    <a:pt x="66771" y="246925"/>
                  </a:cubicBezTo>
                  <a:cubicBezTo>
                    <a:pt x="65511" y="246925"/>
                    <a:pt x="64251" y="246925"/>
                    <a:pt x="61731" y="246925"/>
                  </a:cubicBezTo>
                  <a:lnTo>
                    <a:pt x="60472" y="246925"/>
                  </a:lnTo>
                  <a:lnTo>
                    <a:pt x="59212" y="246925"/>
                  </a:lnTo>
                  <a:cubicBezTo>
                    <a:pt x="56692" y="246925"/>
                    <a:pt x="52913" y="245666"/>
                    <a:pt x="50393" y="244406"/>
                  </a:cubicBezTo>
                  <a:cubicBezTo>
                    <a:pt x="44094" y="241886"/>
                    <a:pt x="37795" y="239366"/>
                    <a:pt x="31496" y="235587"/>
                  </a:cubicBezTo>
                  <a:cubicBezTo>
                    <a:pt x="28976" y="234327"/>
                    <a:pt x="27716" y="233067"/>
                    <a:pt x="25196" y="231808"/>
                  </a:cubicBezTo>
                  <a:cubicBezTo>
                    <a:pt x="23937" y="230548"/>
                    <a:pt x="22677" y="229288"/>
                    <a:pt x="22677" y="229288"/>
                  </a:cubicBezTo>
                  <a:lnTo>
                    <a:pt x="22677" y="229288"/>
                  </a:lnTo>
                  <a:cubicBezTo>
                    <a:pt x="21417" y="229288"/>
                    <a:pt x="21417" y="228028"/>
                    <a:pt x="20157" y="228028"/>
                  </a:cubicBezTo>
                  <a:cubicBezTo>
                    <a:pt x="17637" y="225508"/>
                    <a:pt x="16378" y="224249"/>
                    <a:pt x="13858" y="220469"/>
                  </a:cubicBezTo>
                  <a:cubicBezTo>
                    <a:pt x="11338" y="217949"/>
                    <a:pt x="10079" y="215430"/>
                    <a:pt x="8819" y="212910"/>
                  </a:cubicBezTo>
                  <a:cubicBezTo>
                    <a:pt x="6299" y="209131"/>
                    <a:pt x="3780" y="204091"/>
                    <a:pt x="2520" y="197792"/>
                  </a:cubicBezTo>
                  <a:cubicBezTo>
                    <a:pt x="1260" y="192753"/>
                    <a:pt x="1260" y="188974"/>
                    <a:pt x="0" y="185194"/>
                  </a:cubicBezTo>
                  <a:lnTo>
                    <a:pt x="0" y="183934"/>
                  </a:lnTo>
                  <a:cubicBezTo>
                    <a:pt x="0" y="182674"/>
                    <a:pt x="0" y="181415"/>
                    <a:pt x="0" y="180155"/>
                  </a:cubicBezTo>
                  <a:lnTo>
                    <a:pt x="0" y="178895"/>
                  </a:lnTo>
                  <a:cubicBezTo>
                    <a:pt x="0" y="176375"/>
                    <a:pt x="0" y="172596"/>
                    <a:pt x="0" y="170076"/>
                  </a:cubicBezTo>
                  <a:cubicBezTo>
                    <a:pt x="0" y="170076"/>
                    <a:pt x="0" y="168816"/>
                    <a:pt x="0" y="168816"/>
                  </a:cubicBezTo>
                  <a:lnTo>
                    <a:pt x="0" y="168816"/>
                  </a:lnTo>
                  <a:cubicBezTo>
                    <a:pt x="0" y="167557"/>
                    <a:pt x="0" y="166297"/>
                    <a:pt x="0" y="165037"/>
                  </a:cubicBezTo>
                  <a:lnTo>
                    <a:pt x="0" y="158738"/>
                  </a:lnTo>
                  <a:cubicBezTo>
                    <a:pt x="0" y="154958"/>
                    <a:pt x="1260" y="151179"/>
                    <a:pt x="1260" y="147399"/>
                  </a:cubicBezTo>
                  <a:lnTo>
                    <a:pt x="1260" y="146140"/>
                  </a:lnTo>
                  <a:cubicBezTo>
                    <a:pt x="1260" y="142360"/>
                    <a:pt x="2520" y="139840"/>
                    <a:pt x="2520" y="136061"/>
                  </a:cubicBezTo>
                  <a:cubicBezTo>
                    <a:pt x="3780" y="132281"/>
                    <a:pt x="3780" y="129762"/>
                    <a:pt x="5039" y="125982"/>
                  </a:cubicBezTo>
                  <a:cubicBezTo>
                    <a:pt x="6299" y="122203"/>
                    <a:pt x="7559" y="119683"/>
                    <a:pt x="8819" y="115904"/>
                  </a:cubicBezTo>
                  <a:cubicBezTo>
                    <a:pt x="10079" y="113384"/>
                    <a:pt x="11338" y="110864"/>
                    <a:pt x="13858" y="107085"/>
                  </a:cubicBezTo>
                  <a:cubicBezTo>
                    <a:pt x="17637" y="99526"/>
                    <a:pt x="22677" y="93227"/>
                    <a:pt x="26456" y="88188"/>
                  </a:cubicBezTo>
                  <a:cubicBezTo>
                    <a:pt x="28976" y="84408"/>
                    <a:pt x="30236" y="81889"/>
                    <a:pt x="32755" y="79369"/>
                  </a:cubicBezTo>
                  <a:cubicBezTo>
                    <a:pt x="34015" y="76849"/>
                    <a:pt x="36535" y="74330"/>
                    <a:pt x="39055" y="73070"/>
                  </a:cubicBezTo>
                  <a:lnTo>
                    <a:pt x="39055" y="73070"/>
                  </a:lnTo>
                  <a:lnTo>
                    <a:pt x="39055" y="73070"/>
                  </a:lnTo>
                  <a:cubicBezTo>
                    <a:pt x="41574" y="70550"/>
                    <a:pt x="44094" y="68031"/>
                    <a:pt x="46614" y="65511"/>
                  </a:cubicBezTo>
                  <a:cubicBezTo>
                    <a:pt x="52913" y="60472"/>
                    <a:pt x="59212" y="55432"/>
                    <a:pt x="66771" y="49133"/>
                  </a:cubicBezTo>
                  <a:cubicBezTo>
                    <a:pt x="68030" y="49133"/>
                    <a:pt x="68030" y="47873"/>
                    <a:pt x="69290" y="47873"/>
                  </a:cubicBezTo>
                  <a:cubicBezTo>
                    <a:pt x="70550" y="46614"/>
                    <a:pt x="73070" y="45354"/>
                    <a:pt x="75589" y="42834"/>
                  </a:cubicBezTo>
                  <a:lnTo>
                    <a:pt x="78109" y="41574"/>
                  </a:lnTo>
                  <a:lnTo>
                    <a:pt x="78109" y="41574"/>
                  </a:lnTo>
                  <a:cubicBezTo>
                    <a:pt x="80629" y="40314"/>
                    <a:pt x="81889" y="39055"/>
                    <a:pt x="84408" y="36535"/>
                  </a:cubicBezTo>
                  <a:lnTo>
                    <a:pt x="85668" y="36535"/>
                  </a:lnTo>
                  <a:cubicBezTo>
                    <a:pt x="88188" y="34015"/>
                    <a:pt x="91967" y="32755"/>
                    <a:pt x="94487" y="31496"/>
                  </a:cubicBezTo>
                  <a:cubicBezTo>
                    <a:pt x="98266" y="28976"/>
                    <a:pt x="100786" y="27716"/>
                    <a:pt x="103306" y="26456"/>
                  </a:cubicBezTo>
                  <a:cubicBezTo>
                    <a:pt x="109605" y="23937"/>
                    <a:pt x="117164" y="20157"/>
                    <a:pt x="124722" y="17638"/>
                  </a:cubicBezTo>
                  <a:cubicBezTo>
                    <a:pt x="127242" y="16378"/>
                    <a:pt x="128502" y="16378"/>
                    <a:pt x="131022" y="16378"/>
                  </a:cubicBezTo>
                  <a:lnTo>
                    <a:pt x="132281" y="16378"/>
                  </a:lnTo>
                  <a:cubicBezTo>
                    <a:pt x="133541" y="16378"/>
                    <a:pt x="133541" y="16378"/>
                    <a:pt x="134801" y="15118"/>
                  </a:cubicBezTo>
                  <a:cubicBezTo>
                    <a:pt x="138581" y="13858"/>
                    <a:pt x="142360" y="13858"/>
                    <a:pt x="144880" y="12598"/>
                  </a:cubicBezTo>
                  <a:cubicBezTo>
                    <a:pt x="152439" y="10079"/>
                    <a:pt x="161258" y="10079"/>
                    <a:pt x="168816" y="8819"/>
                  </a:cubicBezTo>
                  <a:cubicBezTo>
                    <a:pt x="171336" y="8819"/>
                    <a:pt x="173856" y="8819"/>
                    <a:pt x="175115" y="8819"/>
                  </a:cubicBezTo>
                  <a:lnTo>
                    <a:pt x="175115" y="8819"/>
                  </a:lnTo>
                  <a:cubicBezTo>
                    <a:pt x="176375" y="8819"/>
                    <a:pt x="176375" y="8819"/>
                    <a:pt x="177635" y="8819"/>
                  </a:cubicBezTo>
                  <a:cubicBezTo>
                    <a:pt x="181414" y="8819"/>
                    <a:pt x="185194" y="8819"/>
                    <a:pt x="187714" y="8819"/>
                  </a:cubicBezTo>
                  <a:cubicBezTo>
                    <a:pt x="194013" y="0"/>
                    <a:pt x="197792" y="0"/>
                    <a:pt x="200312" y="0"/>
                  </a:cubicBezTo>
                </a:path>
              </a:pathLst>
            </a:custGeom>
            <a:solidFill>
              <a:srgbClr val="001675"/>
            </a:solidFill>
            <a:ln w="12584" cap="flat">
              <a:noFill/>
              <a:prstDash val="solid"/>
              <a:miter/>
            </a:ln>
          </p:spPr>
          <p:txBody>
            <a:bodyPr rtlCol="0" anchor="ctr"/>
            <a:lstStyle/>
            <a:p>
              <a:endParaRPr lang="zh-CN" altLang="en-US"/>
            </a:p>
          </p:txBody>
        </p:sp>
        <p:sp>
          <p:nvSpPr>
            <p:cNvPr id="10245" name="任意多边形: 形状 10244"/>
            <p:cNvSpPr/>
            <p:nvPr/>
          </p:nvSpPr>
          <p:spPr>
            <a:xfrm>
              <a:off x="5066465" y="2317835"/>
              <a:ext cx="50393" cy="62991"/>
            </a:xfrm>
            <a:custGeom>
              <a:avLst/>
              <a:gdLst>
                <a:gd name="connsiteX0" fmla="*/ 7559 w 50392"/>
                <a:gd name="connsiteY0" fmla="*/ 1260 h 62991"/>
                <a:gd name="connsiteX1" fmla="*/ 23937 w 50392"/>
                <a:gd name="connsiteY1" fmla="*/ 13858 h 62991"/>
                <a:gd name="connsiteX2" fmla="*/ 31496 w 50392"/>
                <a:gd name="connsiteY2" fmla="*/ 18897 h 62991"/>
                <a:gd name="connsiteX3" fmla="*/ 39055 w 50392"/>
                <a:gd name="connsiteY3" fmla="*/ 25196 h 62991"/>
                <a:gd name="connsiteX4" fmla="*/ 45354 w 50392"/>
                <a:gd name="connsiteY4" fmla="*/ 31496 h 62991"/>
                <a:gd name="connsiteX5" fmla="*/ 50393 w 50392"/>
                <a:gd name="connsiteY5" fmla="*/ 37795 h 62991"/>
                <a:gd name="connsiteX6" fmla="*/ 55432 w 50392"/>
                <a:gd name="connsiteY6" fmla="*/ 45354 h 62991"/>
                <a:gd name="connsiteX7" fmla="*/ 59212 w 50392"/>
                <a:gd name="connsiteY7" fmla="*/ 54172 h 62991"/>
                <a:gd name="connsiteX8" fmla="*/ 61731 w 50392"/>
                <a:gd name="connsiteY8" fmla="*/ 62991 h 62991"/>
                <a:gd name="connsiteX9" fmla="*/ 61731 w 50392"/>
                <a:gd name="connsiteY9" fmla="*/ 64251 h 62991"/>
                <a:gd name="connsiteX10" fmla="*/ 61731 w 50392"/>
                <a:gd name="connsiteY10" fmla="*/ 65511 h 62991"/>
                <a:gd name="connsiteX11" fmla="*/ 60471 w 50392"/>
                <a:gd name="connsiteY11" fmla="*/ 68030 h 62991"/>
                <a:gd name="connsiteX12" fmla="*/ 57952 w 50392"/>
                <a:gd name="connsiteY12" fmla="*/ 70550 h 62991"/>
                <a:gd name="connsiteX13" fmla="*/ 51653 w 50392"/>
                <a:gd name="connsiteY13" fmla="*/ 66771 h 62991"/>
                <a:gd name="connsiteX14" fmla="*/ 49133 w 50392"/>
                <a:gd name="connsiteY14" fmla="*/ 60472 h 62991"/>
                <a:gd name="connsiteX15" fmla="*/ 44094 w 50392"/>
                <a:gd name="connsiteY15" fmla="*/ 50393 h 62991"/>
                <a:gd name="connsiteX16" fmla="*/ 36535 w 50392"/>
                <a:gd name="connsiteY16" fmla="*/ 39055 h 62991"/>
                <a:gd name="connsiteX17" fmla="*/ 20157 w 50392"/>
                <a:gd name="connsiteY17" fmla="*/ 23937 h 62991"/>
                <a:gd name="connsiteX18" fmla="*/ 1260 w 50392"/>
                <a:gd name="connsiteY18" fmla="*/ 8819 h 62991"/>
                <a:gd name="connsiteX19" fmla="*/ 0 w 50392"/>
                <a:gd name="connsiteY19" fmla="*/ 5039 h 62991"/>
                <a:gd name="connsiteX20" fmla="*/ 1260 w 50392"/>
                <a:gd name="connsiteY20" fmla="*/ 1260 h 62991"/>
                <a:gd name="connsiteX21" fmla="*/ 5039 w 50392"/>
                <a:gd name="connsiteY21" fmla="*/ 0 h 62991"/>
                <a:gd name="connsiteX22" fmla="*/ 6299 w 50392"/>
                <a:gd name="connsiteY22" fmla="*/ 0 h 62991"/>
                <a:gd name="connsiteX23" fmla="*/ 7559 w 50392"/>
                <a:gd name="connsiteY23" fmla="*/ 1260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0392" h="62991">
                  <a:moveTo>
                    <a:pt x="7559" y="1260"/>
                  </a:moveTo>
                  <a:cubicBezTo>
                    <a:pt x="12598" y="5039"/>
                    <a:pt x="18897" y="10079"/>
                    <a:pt x="23937" y="13858"/>
                  </a:cubicBezTo>
                  <a:cubicBezTo>
                    <a:pt x="26456" y="15118"/>
                    <a:pt x="28976" y="17637"/>
                    <a:pt x="31496" y="18897"/>
                  </a:cubicBezTo>
                  <a:cubicBezTo>
                    <a:pt x="34015" y="21417"/>
                    <a:pt x="36535" y="22677"/>
                    <a:pt x="39055" y="25196"/>
                  </a:cubicBezTo>
                  <a:cubicBezTo>
                    <a:pt x="41574" y="27716"/>
                    <a:pt x="44094" y="28976"/>
                    <a:pt x="45354" y="31496"/>
                  </a:cubicBezTo>
                  <a:cubicBezTo>
                    <a:pt x="46614" y="32755"/>
                    <a:pt x="47873" y="35275"/>
                    <a:pt x="50393" y="37795"/>
                  </a:cubicBezTo>
                  <a:cubicBezTo>
                    <a:pt x="51653" y="40314"/>
                    <a:pt x="54172" y="42834"/>
                    <a:pt x="55432" y="45354"/>
                  </a:cubicBezTo>
                  <a:cubicBezTo>
                    <a:pt x="56692" y="47873"/>
                    <a:pt x="57952" y="51653"/>
                    <a:pt x="59212" y="54172"/>
                  </a:cubicBezTo>
                  <a:cubicBezTo>
                    <a:pt x="60471" y="56692"/>
                    <a:pt x="60471" y="60472"/>
                    <a:pt x="61731" y="62991"/>
                  </a:cubicBezTo>
                  <a:cubicBezTo>
                    <a:pt x="61731" y="62991"/>
                    <a:pt x="61731" y="62991"/>
                    <a:pt x="61731" y="64251"/>
                  </a:cubicBezTo>
                  <a:cubicBezTo>
                    <a:pt x="61731" y="64251"/>
                    <a:pt x="61731" y="65511"/>
                    <a:pt x="61731" y="65511"/>
                  </a:cubicBezTo>
                  <a:cubicBezTo>
                    <a:pt x="61731" y="66771"/>
                    <a:pt x="61731" y="66771"/>
                    <a:pt x="60471" y="68030"/>
                  </a:cubicBezTo>
                  <a:cubicBezTo>
                    <a:pt x="59212" y="69290"/>
                    <a:pt x="59212" y="70550"/>
                    <a:pt x="57952" y="70550"/>
                  </a:cubicBezTo>
                  <a:cubicBezTo>
                    <a:pt x="55432" y="71810"/>
                    <a:pt x="51653" y="69290"/>
                    <a:pt x="51653" y="66771"/>
                  </a:cubicBezTo>
                  <a:cubicBezTo>
                    <a:pt x="50393" y="64251"/>
                    <a:pt x="50393" y="62991"/>
                    <a:pt x="49133" y="60472"/>
                  </a:cubicBezTo>
                  <a:cubicBezTo>
                    <a:pt x="47873" y="56692"/>
                    <a:pt x="45354" y="54172"/>
                    <a:pt x="44094" y="50393"/>
                  </a:cubicBezTo>
                  <a:cubicBezTo>
                    <a:pt x="41574" y="46613"/>
                    <a:pt x="39055" y="42834"/>
                    <a:pt x="36535" y="39055"/>
                  </a:cubicBezTo>
                  <a:cubicBezTo>
                    <a:pt x="31496" y="34015"/>
                    <a:pt x="25196" y="28976"/>
                    <a:pt x="20157" y="23937"/>
                  </a:cubicBezTo>
                  <a:cubicBezTo>
                    <a:pt x="13858" y="18897"/>
                    <a:pt x="7559" y="13858"/>
                    <a:pt x="1260" y="8819"/>
                  </a:cubicBezTo>
                  <a:cubicBezTo>
                    <a:pt x="0" y="7559"/>
                    <a:pt x="0" y="6299"/>
                    <a:pt x="0" y="5039"/>
                  </a:cubicBezTo>
                  <a:cubicBezTo>
                    <a:pt x="0" y="3779"/>
                    <a:pt x="0" y="2520"/>
                    <a:pt x="1260" y="1260"/>
                  </a:cubicBezTo>
                  <a:cubicBezTo>
                    <a:pt x="2520" y="0"/>
                    <a:pt x="3779" y="0"/>
                    <a:pt x="5039" y="0"/>
                  </a:cubicBezTo>
                  <a:cubicBezTo>
                    <a:pt x="5039" y="0"/>
                    <a:pt x="5039" y="0"/>
                    <a:pt x="6299" y="0"/>
                  </a:cubicBezTo>
                  <a:cubicBezTo>
                    <a:pt x="5039" y="0"/>
                    <a:pt x="6299" y="0"/>
                    <a:pt x="7559" y="1260"/>
                  </a:cubicBezTo>
                </a:path>
              </a:pathLst>
            </a:custGeom>
            <a:solidFill>
              <a:srgbClr val="001675"/>
            </a:solidFill>
            <a:ln w="12584" cap="flat">
              <a:noFill/>
              <a:prstDash val="solid"/>
              <a:miter/>
            </a:ln>
          </p:spPr>
          <p:txBody>
            <a:bodyPr rtlCol="0" anchor="ctr"/>
            <a:lstStyle/>
            <a:p>
              <a:endParaRPr lang="zh-CN" altLang="en-US"/>
            </a:p>
          </p:txBody>
        </p:sp>
        <p:sp>
          <p:nvSpPr>
            <p:cNvPr id="10246" name="任意多边形: 形状 10245"/>
            <p:cNvSpPr/>
            <p:nvPr/>
          </p:nvSpPr>
          <p:spPr>
            <a:xfrm>
              <a:off x="5040008" y="2445077"/>
              <a:ext cx="138581" cy="138581"/>
            </a:xfrm>
            <a:custGeom>
              <a:avLst/>
              <a:gdLst>
                <a:gd name="connsiteX0" fmla="*/ 15118 w 138580"/>
                <a:gd name="connsiteY0" fmla="*/ 0 h 138580"/>
                <a:gd name="connsiteX1" fmla="*/ 15118 w 138580"/>
                <a:gd name="connsiteY1" fmla="*/ 0 h 138580"/>
                <a:gd name="connsiteX2" fmla="*/ 8819 w 138580"/>
                <a:gd name="connsiteY2" fmla="*/ 1260 h 138580"/>
                <a:gd name="connsiteX3" fmla="*/ 5039 w 138580"/>
                <a:gd name="connsiteY3" fmla="*/ 6299 h 138580"/>
                <a:gd name="connsiteX4" fmla="*/ 2520 w 138580"/>
                <a:gd name="connsiteY4" fmla="*/ 15118 h 138580"/>
                <a:gd name="connsiteX5" fmla="*/ 1260 w 138580"/>
                <a:gd name="connsiteY5" fmla="*/ 22677 h 138580"/>
                <a:gd name="connsiteX6" fmla="*/ 0 w 138580"/>
                <a:gd name="connsiteY6" fmla="*/ 35275 h 138580"/>
                <a:gd name="connsiteX7" fmla="*/ 1260 w 138580"/>
                <a:gd name="connsiteY7" fmla="*/ 46614 h 138580"/>
                <a:gd name="connsiteX8" fmla="*/ 3780 w 138580"/>
                <a:gd name="connsiteY8" fmla="*/ 56692 h 138580"/>
                <a:gd name="connsiteX9" fmla="*/ 8819 w 138580"/>
                <a:gd name="connsiteY9" fmla="*/ 68031 h 138580"/>
                <a:gd name="connsiteX10" fmla="*/ 20157 w 138580"/>
                <a:gd name="connsiteY10" fmla="*/ 84408 h 138580"/>
                <a:gd name="connsiteX11" fmla="*/ 35275 w 138580"/>
                <a:gd name="connsiteY11" fmla="*/ 103306 h 138580"/>
                <a:gd name="connsiteX12" fmla="*/ 42834 w 138580"/>
                <a:gd name="connsiteY12" fmla="*/ 110864 h 138580"/>
                <a:gd name="connsiteX13" fmla="*/ 52913 w 138580"/>
                <a:gd name="connsiteY13" fmla="*/ 118424 h 138580"/>
                <a:gd name="connsiteX14" fmla="*/ 71810 w 138580"/>
                <a:gd name="connsiteY14" fmla="*/ 129762 h 138580"/>
                <a:gd name="connsiteX15" fmla="*/ 83148 w 138580"/>
                <a:gd name="connsiteY15" fmla="*/ 134801 h 138580"/>
                <a:gd name="connsiteX16" fmla="*/ 93227 w 138580"/>
                <a:gd name="connsiteY16" fmla="*/ 137321 h 138580"/>
                <a:gd name="connsiteX17" fmla="*/ 109605 w 138580"/>
                <a:gd name="connsiteY17" fmla="*/ 138581 h 138580"/>
                <a:gd name="connsiteX18" fmla="*/ 115904 w 138580"/>
                <a:gd name="connsiteY18" fmla="*/ 138581 h 138580"/>
                <a:gd name="connsiteX19" fmla="*/ 123463 w 138580"/>
                <a:gd name="connsiteY19" fmla="*/ 139840 h 138580"/>
                <a:gd name="connsiteX20" fmla="*/ 125982 w 138580"/>
                <a:gd name="connsiteY20" fmla="*/ 139840 h 138580"/>
                <a:gd name="connsiteX21" fmla="*/ 131022 w 138580"/>
                <a:gd name="connsiteY21" fmla="*/ 139840 h 138580"/>
                <a:gd name="connsiteX22" fmla="*/ 136061 w 138580"/>
                <a:gd name="connsiteY22" fmla="*/ 138581 h 138580"/>
                <a:gd name="connsiteX23" fmla="*/ 142360 w 138580"/>
                <a:gd name="connsiteY23" fmla="*/ 132281 h 138580"/>
                <a:gd name="connsiteX24" fmla="*/ 143620 w 138580"/>
                <a:gd name="connsiteY24" fmla="*/ 124723 h 138580"/>
                <a:gd name="connsiteX25" fmla="*/ 141100 w 138580"/>
                <a:gd name="connsiteY25" fmla="*/ 120943 h 138580"/>
                <a:gd name="connsiteX26" fmla="*/ 133541 w 138580"/>
                <a:gd name="connsiteY26" fmla="*/ 118424 h 138580"/>
                <a:gd name="connsiteX27" fmla="*/ 128502 w 138580"/>
                <a:gd name="connsiteY27" fmla="*/ 118424 h 138580"/>
                <a:gd name="connsiteX28" fmla="*/ 118423 w 138580"/>
                <a:gd name="connsiteY28" fmla="*/ 117164 h 138580"/>
                <a:gd name="connsiteX29" fmla="*/ 109605 w 138580"/>
                <a:gd name="connsiteY29" fmla="*/ 115904 h 138580"/>
                <a:gd name="connsiteX30" fmla="*/ 104566 w 138580"/>
                <a:gd name="connsiteY30" fmla="*/ 115904 h 138580"/>
                <a:gd name="connsiteX31" fmla="*/ 89448 w 138580"/>
                <a:gd name="connsiteY31" fmla="*/ 113384 h 138580"/>
                <a:gd name="connsiteX32" fmla="*/ 76849 w 138580"/>
                <a:gd name="connsiteY32" fmla="*/ 107085 h 138580"/>
                <a:gd name="connsiteX33" fmla="*/ 70550 w 138580"/>
                <a:gd name="connsiteY33" fmla="*/ 103306 h 138580"/>
                <a:gd name="connsiteX34" fmla="*/ 64251 w 138580"/>
                <a:gd name="connsiteY34" fmla="*/ 99526 h 138580"/>
                <a:gd name="connsiteX35" fmla="*/ 57952 w 138580"/>
                <a:gd name="connsiteY35" fmla="*/ 94487 h 138580"/>
                <a:gd name="connsiteX36" fmla="*/ 51653 w 138580"/>
                <a:gd name="connsiteY36" fmla="*/ 88188 h 138580"/>
                <a:gd name="connsiteX37" fmla="*/ 40314 w 138580"/>
                <a:gd name="connsiteY37" fmla="*/ 75589 h 138580"/>
                <a:gd name="connsiteX38" fmla="*/ 23937 w 138580"/>
                <a:gd name="connsiteY38" fmla="*/ 52913 h 138580"/>
                <a:gd name="connsiteX39" fmla="*/ 21417 w 138580"/>
                <a:gd name="connsiteY39" fmla="*/ 45354 h 138580"/>
                <a:gd name="connsiteX40" fmla="*/ 18897 w 138580"/>
                <a:gd name="connsiteY40" fmla="*/ 37795 h 138580"/>
                <a:gd name="connsiteX41" fmla="*/ 18897 w 138580"/>
                <a:gd name="connsiteY41" fmla="*/ 20157 h 138580"/>
                <a:gd name="connsiteX42" fmla="*/ 20157 w 138580"/>
                <a:gd name="connsiteY42" fmla="*/ 15118 h 138580"/>
                <a:gd name="connsiteX43" fmla="*/ 21417 w 138580"/>
                <a:gd name="connsiteY43" fmla="*/ 8819 h 138580"/>
                <a:gd name="connsiteX44" fmla="*/ 15118 w 138580"/>
                <a:gd name="connsiteY44" fmla="*/ 0 h 138580"/>
                <a:gd name="connsiteX45" fmla="*/ 133541 w 138580"/>
                <a:gd name="connsiteY45" fmla="*/ 119683 h 138580"/>
                <a:gd name="connsiteX46" fmla="*/ 133541 w 138580"/>
                <a:gd name="connsiteY46" fmla="*/ 119683 h 138580"/>
                <a:gd name="connsiteX47" fmla="*/ 133541 w 138580"/>
                <a:gd name="connsiteY47" fmla="*/ 119683 h 138580"/>
                <a:gd name="connsiteX48" fmla="*/ 133541 w 138580"/>
                <a:gd name="connsiteY48" fmla="*/ 119683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38580" h="138580">
                  <a:moveTo>
                    <a:pt x="15118" y="0"/>
                  </a:moveTo>
                  <a:cubicBezTo>
                    <a:pt x="15118" y="0"/>
                    <a:pt x="15118" y="0"/>
                    <a:pt x="15118" y="0"/>
                  </a:cubicBezTo>
                  <a:cubicBezTo>
                    <a:pt x="12598" y="0"/>
                    <a:pt x="10079" y="0"/>
                    <a:pt x="8819" y="1260"/>
                  </a:cubicBezTo>
                  <a:cubicBezTo>
                    <a:pt x="7559" y="2520"/>
                    <a:pt x="6299" y="3780"/>
                    <a:pt x="5039" y="6299"/>
                  </a:cubicBezTo>
                  <a:cubicBezTo>
                    <a:pt x="3780" y="8819"/>
                    <a:pt x="3780" y="11339"/>
                    <a:pt x="2520" y="15118"/>
                  </a:cubicBezTo>
                  <a:cubicBezTo>
                    <a:pt x="1260" y="17638"/>
                    <a:pt x="1260" y="20157"/>
                    <a:pt x="1260" y="22677"/>
                  </a:cubicBezTo>
                  <a:cubicBezTo>
                    <a:pt x="1260" y="26456"/>
                    <a:pt x="1260" y="31496"/>
                    <a:pt x="0" y="35275"/>
                  </a:cubicBezTo>
                  <a:cubicBezTo>
                    <a:pt x="0" y="39055"/>
                    <a:pt x="0" y="42834"/>
                    <a:pt x="1260" y="46614"/>
                  </a:cubicBezTo>
                  <a:cubicBezTo>
                    <a:pt x="2520" y="50393"/>
                    <a:pt x="2520" y="54172"/>
                    <a:pt x="3780" y="56692"/>
                  </a:cubicBezTo>
                  <a:cubicBezTo>
                    <a:pt x="5039" y="60472"/>
                    <a:pt x="6299" y="64251"/>
                    <a:pt x="8819" y="68031"/>
                  </a:cubicBezTo>
                  <a:cubicBezTo>
                    <a:pt x="12598" y="74330"/>
                    <a:pt x="16378" y="79369"/>
                    <a:pt x="20157" y="84408"/>
                  </a:cubicBezTo>
                  <a:cubicBezTo>
                    <a:pt x="25196" y="90707"/>
                    <a:pt x="30236" y="97007"/>
                    <a:pt x="35275" y="103306"/>
                  </a:cubicBezTo>
                  <a:cubicBezTo>
                    <a:pt x="37795" y="105825"/>
                    <a:pt x="40314" y="108345"/>
                    <a:pt x="42834" y="110864"/>
                  </a:cubicBezTo>
                  <a:cubicBezTo>
                    <a:pt x="46614" y="113384"/>
                    <a:pt x="49133" y="115904"/>
                    <a:pt x="52913" y="118424"/>
                  </a:cubicBezTo>
                  <a:cubicBezTo>
                    <a:pt x="59212" y="122203"/>
                    <a:pt x="65511" y="125982"/>
                    <a:pt x="71810" y="129762"/>
                  </a:cubicBezTo>
                  <a:cubicBezTo>
                    <a:pt x="75589" y="131022"/>
                    <a:pt x="79369" y="133541"/>
                    <a:pt x="83148" y="134801"/>
                  </a:cubicBezTo>
                  <a:cubicBezTo>
                    <a:pt x="86928" y="136061"/>
                    <a:pt x="90707" y="137321"/>
                    <a:pt x="93227" y="137321"/>
                  </a:cubicBezTo>
                  <a:cubicBezTo>
                    <a:pt x="98266" y="138581"/>
                    <a:pt x="104566" y="138581"/>
                    <a:pt x="109605" y="138581"/>
                  </a:cubicBezTo>
                  <a:cubicBezTo>
                    <a:pt x="112124" y="138581"/>
                    <a:pt x="113384" y="138581"/>
                    <a:pt x="115904" y="138581"/>
                  </a:cubicBezTo>
                  <a:cubicBezTo>
                    <a:pt x="118423" y="138581"/>
                    <a:pt x="120943" y="138581"/>
                    <a:pt x="123463" y="139840"/>
                  </a:cubicBezTo>
                  <a:cubicBezTo>
                    <a:pt x="124722" y="139840"/>
                    <a:pt x="124722" y="139840"/>
                    <a:pt x="125982" y="139840"/>
                  </a:cubicBezTo>
                  <a:cubicBezTo>
                    <a:pt x="127242" y="139840"/>
                    <a:pt x="129762" y="139840"/>
                    <a:pt x="131022" y="139840"/>
                  </a:cubicBezTo>
                  <a:cubicBezTo>
                    <a:pt x="132281" y="139840"/>
                    <a:pt x="133541" y="139840"/>
                    <a:pt x="136061" y="138581"/>
                  </a:cubicBezTo>
                  <a:cubicBezTo>
                    <a:pt x="138581" y="137321"/>
                    <a:pt x="141100" y="136061"/>
                    <a:pt x="142360" y="132281"/>
                  </a:cubicBezTo>
                  <a:cubicBezTo>
                    <a:pt x="143620" y="129762"/>
                    <a:pt x="143620" y="127242"/>
                    <a:pt x="143620" y="124723"/>
                  </a:cubicBezTo>
                  <a:cubicBezTo>
                    <a:pt x="143620" y="123463"/>
                    <a:pt x="142360" y="122203"/>
                    <a:pt x="141100" y="120943"/>
                  </a:cubicBezTo>
                  <a:cubicBezTo>
                    <a:pt x="138581" y="118424"/>
                    <a:pt x="136061" y="118424"/>
                    <a:pt x="133541" y="118424"/>
                  </a:cubicBezTo>
                  <a:cubicBezTo>
                    <a:pt x="132281" y="118424"/>
                    <a:pt x="131022" y="118424"/>
                    <a:pt x="128502" y="118424"/>
                  </a:cubicBezTo>
                  <a:cubicBezTo>
                    <a:pt x="124722" y="118424"/>
                    <a:pt x="122203" y="117164"/>
                    <a:pt x="118423" y="117164"/>
                  </a:cubicBezTo>
                  <a:cubicBezTo>
                    <a:pt x="115904" y="117164"/>
                    <a:pt x="112124" y="117164"/>
                    <a:pt x="109605" y="115904"/>
                  </a:cubicBezTo>
                  <a:cubicBezTo>
                    <a:pt x="108345" y="115904"/>
                    <a:pt x="105825" y="115904"/>
                    <a:pt x="104566" y="115904"/>
                  </a:cubicBezTo>
                  <a:cubicBezTo>
                    <a:pt x="99526" y="114644"/>
                    <a:pt x="94487" y="114644"/>
                    <a:pt x="89448" y="113384"/>
                  </a:cubicBezTo>
                  <a:cubicBezTo>
                    <a:pt x="84408" y="112124"/>
                    <a:pt x="80629" y="109605"/>
                    <a:pt x="76849" y="107085"/>
                  </a:cubicBezTo>
                  <a:cubicBezTo>
                    <a:pt x="74329" y="105825"/>
                    <a:pt x="71810" y="104565"/>
                    <a:pt x="70550" y="103306"/>
                  </a:cubicBezTo>
                  <a:cubicBezTo>
                    <a:pt x="68030" y="102046"/>
                    <a:pt x="66771" y="100786"/>
                    <a:pt x="64251" y="99526"/>
                  </a:cubicBezTo>
                  <a:cubicBezTo>
                    <a:pt x="61731" y="98266"/>
                    <a:pt x="60472" y="97007"/>
                    <a:pt x="57952" y="94487"/>
                  </a:cubicBezTo>
                  <a:cubicBezTo>
                    <a:pt x="55432" y="91967"/>
                    <a:pt x="52913" y="90707"/>
                    <a:pt x="51653" y="88188"/>
                  </a:cubicBezTo>
                  <a:cubicBezTo>
                    <a:pt x="47874" y="84408"/>
                    <a:pt x="44094" y="80629"/>
                    <a:pt x="40314" y="75589"/>
                  </a:cubicBezTo>
                  <a:cubicBezTo>
                    <a:pt x="34015" y="68031"/>
                    <a:pt x="28976" y="60472"/>
                    <a:pt x="23937" y="52913"/>
                  </a:cubicBezTo>
                  <a:cubicBezTo>
                    <a:pt x="22677" y="50393"/>
                    <a:pt x="21417" y="47873"/>
                    <a:pt x="21417" y="45354"/>
                  </a:cubicBezTo>
                  <a:cubicBezTo>
                    <a:pt x="20157" y="42834"/>
                    <a:pt x="20157" y="40315"/>
                    <a:pt x="18897" y="37795"/>
                  </a:cubicBezTo>
                  <a:cubicBezTo>
                    <a:pt x="17637" y="31496"/>
                    <a:pt x="17637" y="25196"/>
                    <a:pt x="18897" y="20157"/>
                  </a:cubicBezTo>
                  <a:cubicBezTo>
                    <a:pt x="18897" y="18897"/>
                    <a:pt x="18897" y="16378"/>
                    <a:pt x="20157" y="15118"/>
                  </a:cubicBezTo>
                  <a:cubicBezTo>
                    <a:pt x="21417" y="12598"/>
                    <a:pt x="21417" y="11339"/>
                    <a:pt x="21417" y="8819"/>
                  </a:cubicBezTo>
                  <a:cubicBezTo>
                    <a:pt x="22677" y="5039"/>
                    <a:pt x="18897" y="1260"/>
                    <a:pt x="15118" y="0"/>
                  </a:cubicBezTo>
                  <a:moveTo>
                    <a:pt x="133541" y="119683"/>
                  </a:moveTo>
                  <a:cubicBezTo>
                    <a:pt x="133541" y="119683"/>
                    <a:pt x="133541" y="119683"/>
                    <a:pt x="133541" y="119683"/>
                  </a:cubicBezTo>
                  <a:lnTo>
                    <a:pt x="133541" y="119683"/>
                  </a:lnTo>
                  <a:cubicBezTo>
                    <a:pt x="133541" y="119683"/>
                    <a:pt x="133541" y="119683"/>
                    <a:pt x="133541" y="119683"/>
                  </a:cubicBezTo>
                </a:path>
              </a:pathLst>
            </a:custGeom>
            <a:solidFill>
              <a:srgbClr val="001675"/>
            </a:solidFill>
            <a:ln w="12584" cap="flat">
              <a:noFill/>
              <a:prstDash val="solid"/>
              <a:miter/>
            </a:ln>
          </p:spPr>
          <p:txBody>
            <a:bodyPr rtlCol="0" anchor="ctr"/>
            <a:lstStyle/>
            <a:p>
              <a:endParaRPr lang="zh-CN" altLang="en-US"/>
            </a:p>
          </p:txBody>
        </p:sp>
        <p:sp>
          <p:nvSpPr>
            <p:cNvPr id="10247" name="任意多边形: 形状 10246"/>
            <p:cNvSpPr/>
            <p:nvPr/>
          </p:nvSpPr>
          <p:spPr>
            <a:xfrm>
              <a:off x="5071819" y="2504289"/>
              <a:ext cx="100786" cy="75589"/>
            </a:xfrm>
            <a:custGeom>
              <a:avLst/>
              <a:gdLst>
                <a:gd name="connsiteX0" fmla="*/ 12283 w 100785"/>
                <a:gd name="connsiteY0" fmla="*/ 0 h 75589"/>
                <a:gd name="connsiteX1" fmla="*/ 16063 w 100785"/>
                <a:gd name="connsiteY1" fmla="*/ 1260 h 75589"/>
                <a:gd name="connsiteX2" fmla="*/ 23622 w 100785"/>
                <a:gd name="connsiteY2" fmla="*/ 5039 h 75589"/>
                <a:gd name="connsiteX3" fmla="*/ 31181 w 100785"/>
                <a:gd name="connsiteY3" fmla="*/ 16378 h 75589"/>
                <a:gd name="connsiteX4" fmla="*/ 42519 w 100785"/>
                <a:gd name="connsiteY4" fmla="*/ 26456 h 75589"/>
                <a:gd name="connsiteX5" fmla="*/ 53858 w 100785"/>
                <a:gd name="connsiteY5" fmla="*/ 35275 h 75589"/>
                <a:gd name="connsiteX6" fmla="*/ 56377 w 100785"/>
                <a:gd name="connsiteY6" fmla="*/ 37795 h 75589"/>
                <a:gd name="connsiteX7" fmla="*/ 65196 w 100785"/>
                <a:gd name="connsiteY7" fmla="*/ 41574 h 75589"/>
                <a:gd name="connsiteX8" fmla="*/ 76534 w 100785"/>
                <a:gd name="connsiteY8" fmla="*/ 47873 h 75589"/>
                <a:gd name="connsiteX9" fmla="*/ 82833 w 100785"/>
                <a:gd name="connsiteY9" fmla="*/ 51653 h 75589"/>
                <a:gd name="connsiteX10" fmla="*/ 91652 w 100785"/>
                <a:gd name="connsiteY10" fmla="*/ 56692 h 75589"/>
                <a:gd name="connsiteX11" fmla="*/ 100471 w 100785"/>
                <a:gd name="connsiteY11" fmla="*/ 57952 h 75589"/>
                <a:gd name="connsiteX12" fmla="*/ 106770 w 100785"/>
                <a:gd name="connsiteY12" fmla="*/ 61731 h 75589"/>
                <a:gd name="connsiteX13" fmla="*/ 108030 w 100785"/>
                <a:gd name="connsiteY13" fmla="*/ 69290 h 75589"/>
                <a:gd name="connsiteX14" fmla="*/ 104251 w 100785"/>
                <a:gd name="connsiteY14" fmla="*/ 75589 h 75589"/>
                <a:gd name="connsiteX15" fmla="*/ 101731 w 100785"/>
                <a:gd name="connsiteY15" fmla="*/ 76849 h 75589"/>
                <a:gd name="connsiteX16" fmla="*/ 96692 w 100785"/>
                <a:gd name="connsiteY16" fmla="*/ 76849 h 75589"/>
                <a:gd name="connsiteX17" fmla="*/ 90392 w 100785"/>
                <a:gd name="connsiteY17" fmla="*/ 75589 h 75589"/>
                <a:gd name="connsiteX18" fmla="*/ 77794 w 100785"/>
                <a:gd name="connsiteY18" fmla="*/ 70550 h 75589"/>
                <a:gd name="connsiteX19" fmla="*/ 67715 w 100785"/>
                <a:gd name="connsiteY19" fmla="*/ 65511 h 75589"/>
                <a:gd name="connsiteX20" fmla="*/ 61416 w 100785"/>
                <a:gd name="connsiteY20" fmla="*/ 62991 h 75589"/>
                <a:gd name="connsiteX21" fmla="*/ 52598 w 100785"/>
                <a:gd name="connsiteY21" fmla="*/ 62991 h 75589"/>
                <a:gd name="connsiteX22" fmla="*/ 46299 w 100785"/>
                <a:gd name="connsiteY22" fmla="*/ 59212 h 75589"/>
                <a:gd name="connsiteX23" fmla="*/ 38740 w 100785"/>
                <a:gd name="connsiteY23" fmla="*/ 54172 h 75589"/>
                <a:gd name="connsiteX24" fmla="*/ 36220 w 100785"/>
                <a:gd name="connsiteY24" fmla="*/ 51653 h 75589"/>
                <a:gd name="connsiteX25" fmla="*/ 31181 w 100785"/>
                <a:gd name="connsiteY25" fmla="*/ 49133 h 75589"/>
                <a:gd name="connsiteX26" fmla="*/ 17322 w 100785"/>
                <a:gd name="connsiteY26" fmla="*/ 39054 h 75589"/>
                <a:gd name="connsiteX27" fmla="*/ 2205 w 100785"/>
                <a:gd name="connsiteY27" fmla="*/ 20157 h 75589"/>
                <a:gd name="connsiteX28" fmla="*/ 945 w 100785"/>
                <a:gd name="connsiteY28" fmla="*/ 17637 h 75589"/>
                <a:gd name="connsiteX29" fmla="*/ 945 w 100785"/>
                <a:gd name="connsiteY29" fmla="*/ 10078 h 75589"/>
                <a:gd name="connsiteX30" fmla="*/ 4724 w 100785"/>
                <a:gd name="connsiteY30" fmla="*/ 5039 h 75589"/>
                <a:gd name="connsiteX31" fmla="*/ 11023 w 100785"/>
                <a:gd name="connsiteY31" fmla="*/ 3779 h 75589"/>
                <a:gd name="connsiteX32" fmla="*/ 12283 w 100785"/>
                <a:gd name="connsiteY32" fmla="*/ 0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785" h="75589">
                  <a:moveTo>
                    <a:pt x="12283" y="0"/>
                  </a:moveTo>
                  <a:cubicBezTo>
                    <a:pt x="13543" y="0"/>
                    <a:pt x="14803" y="1260"/>
                    <a:pt x="16063" y="1260"/>
                  </a:cubicBezTo>
                  <a:cubicBezTo>
                    <a:pt x="18582" y="1260"/>
                    <a:pt x="22362" y="2520"/>
                    <a:pt x="23622" y="5039"/>
                  </a:cubicBezTo>
                  <a:cubicBezTo>
                    <a:pt x="26141" y="8819"/>
                    <a:pt x="28661" y="12598"/>
                    <a:pt x="31181" y="16378"/>
                  </a:cubicBezTo>
                  <a:cubicBezTo>
                    <a:pt x="34960" y="20157"/>
                    <a:pt x="38740" y="22677"/>
                    <a:pt x="42519" y="26456"/>
                  </a:cubicBezTo>
                  <a:cubicBezTo>
                    <a:pt x="46299" y="28976"/>
                    <a:pt x="50078" y="32755"/>
                    <a:pt x="53858" y="35275"/>
                  </a:cubicBezTo>
                  <a:cubicBezTo>
                    <a:pt x="55117" y="36535"/>
                    <a:pt x="56377" y="36535"/>
                    <a:pt x="56377" y="37795"/>
                  </a:cubicBezTo>
                  <a:cubicBezTo>
                    <a:pt x="58897" y="39054"/>
                    <a:pt x="62676" y="40314"/>
                    <a:pt x="65196" y="41574"/>
                  </a:cubicBezTo>
                  <a:cubicBezTo>
                    <a:pt x="68975" y="44094"/>
                    <a:pt x="72755" y="45354"/>
                    <a:pt x="76534" y="47873"/>
                  </a:cubicBezTo>
                  <a:cubicBezTo>
                    <a:pt x="79054" y="49133"/>
                    <a:pt x="80314" y="50393"/>
                    <a:pt x="82833" y="51653"/>
                  </a:cubicBezTo>
                  <a:cubicBezTo>
                    <a:pt x="85353" y="52913"/>
                    <a:pt x="89133" y="55432"/>
                    <a:pt x="91652" y="56692"/>
                  </a:cubicBezTo>
                  <a:cubicBezTo>
                    <a:pt x="94172" y="57952"/>
                    <a:pt x="96692" y="57952"/>
                    <a:pt x="100471" y="57952"/>
                  </a:cubicBezTo>
                  <a:cubicBezTo>
                    <a:pt x="102991" y="57952"/>
                    <a:pt x="105510" y="60471"/>
                    <a:pt x="106770" y="61731"/>
                  </a:cubicBezTo>
                  <a:cubicBezTo>
                    <a:pt x="108030" y="64251"/>
                    <a:pt x="108030" y="66770"/>
                    <a:pt x="108030" y="69290"/>
                  </a:cubicBezTo>
                  <a:cubicBezTo>
                    <a:pt x="108030" y="71810"/>
                    <a:pt x="105510" y="74330"/>
                    <a:pt x="104251" y="75589"/>
                  </a:cubicBezTo>
                  <a:cubicBezTo>
                    <a:pt x="102991" y="75589"/>
                    <a:pt x="102991" y="76849"/>
                    <a:pt x="101731" y="76849"/>
                  </a:cubicBezTo>
                  <a:cubicBezTo>
                    <a:pt x="100471" y="76849"/>
                    <a:pt x="97951" y="76849"/>
                    <a:pt x="96692" y="76849"/>
                  </a:cubicBezTo>
                  <a:cubicBezTo>
                    <a:pt x="94172" y="76849"/>
                    <a:pt x="92912" y="76849"/>
                    <a:pt x="90392" y="75589"/>
                  </a:cubicBezTo>
                  <a:cubicBezTo>
                    <a:pt x="85353" y="74330"/>
                    <a:pt x="81574" y="73070"/>
                    <a:pt x="77794" y="70550"/>
                  </a:cubicBezTo>
                  <a:cubicBezTo>
                    <a:pt x="74015" y="69290"/>
                    <a:pt x="71495" y="66770"/>
                    <a:pt x="67715" y="65511"/>
                  </a:cubicBezTo>
                  <a:cubicBezTo>
                    <a:pt x="65196" y="64251"/>
                    <a:pt x="63936" y="62991"/>
                    <a:pt x="61416" y="62991"/>
                  </a:cubicBezTo>
                  <a:cubicBezTo>
                    <a:pt x="58897" y="64251"/>
                    <a:pt x="56377" y="64251"/>
                    <a:pt x="52598" y="62991"/>
                  </a:cubicBezTo>
                  <a:cubicBezTo>
                    <a:pt x="50078" y="61731"/>
                    <a:pt x="48818" y="60471"/>
                    <a:pt x="46299" y="59212"/>
                  </a:cubicBezTo>
                  <a:cubicBezTo>
                    <a:pt x="43779" y="57952"/>
                    <a:pt x="41259" y="55432"/>
                    <a:pt x="38740" y="54172"/>
                  </a:cubicBezTo>
                  <a:cubicBezTo>
                    <a:pt x="37480" y="52913"/>
                    <a:pt x="37480" y="52913"/>
                    <a:pt x="36220" y="51653"/>
                  </a:cubicBezTo>
                  <a:cubicBezTo>
                    <a:pt x="33700" y="50393"/>
                    <a:pt x="32441" y="49133"/>
                    <a:pt x="31181" y="49133"/>
                  </a:cubicBezTo>
                  <a:cubicBezTo>
                    <a:pt x="26141" y="46613"/>
                    <a:pt x="21102" y="42834"/>
                    <a:pt x="17322" y="39054"/>
                  </a:cubicBezTo>
                  <a:cubicBezTo>
                    <a:pt x="11023" y="34015"/>
                    <a:pt x="5984" y="27716"/>
                    <a:pt x="2205" y="20157"/>
                  </a:cubicBezTo>
                  <a:cubicBezTo>
                    <a:pt x="2205" y="18897"/>
                    <a:pt x="945" y="17637"/>
                    <a:pt x="945" y="17637"/>
                  </a:cubicBezTo>
                  <a:cubicBezTo>
                    <a:pt x="-315" y="15118"/>
                    <a:pt x="-315" y="12598"/>
                    <a:pt x="945" y="10078"/>
                  </a:cubicBezTo>
                  <a:cubicBezTo>
                    <a:pt x="945" y="7559"/>
                    <a:pt x="3465" y="6299"/>
                    <a:pt x="4724" y="5039"/>
                  </a:cubicBezTo>
                  <a:cubicBezTo>
                    <a:pt x="5984" y="3779"/>
                    <a:pt x="8504" y="3779"/>
                    <a:pt x="11023" y="3779"/>
                  </a:cubicBezTo>
                  <a:cubicBezTo>
                    <a:pt x="11023" y="0"/>
                    <a:pt x="12283" y="0"/>
                    <a:pt x="12283" y="0"/>
                  </a:cubicBezTo>
                </a:path>
              </a:pathLst>
            </a:custGeom>
            <a:solidFill>
              <a:srgbClr val="001675"/>
            </a:solidFill>
            <a:ln w="12584" cap="flat">
              <a:noFill/>
              <a:prstDash val="solid"/>
              <a:miter/>
            </a:ln>
          </p:spPr>
          <p:txBody>
            <a:bodyPr rtlCol="0" anchor="ctr"/>
            <a:lstStyle/>
            <a:p>
              <a:endParaRPr lang="zh-CN" altLang="en-US"/>
            </a:p>
          </p:txBody>
        </p:sp>
        <p:sp>
          <p:nvSpPr>
            <p:cNvPr id="10248" name="任意多边形: 形状 10247"/>
            <p:cNvSpPr/>
            <p:nvPr/>
          </p:nvSpPr>
          <p:spPr>
            <a:xfrm>
              <a:off x="4512143" y="2789009"/>
              <a:ext cx="970064" cy="781090"/>
            </a:xfrm>
            <a:custGeom>
              <a:avLst/>
              <a:gdLst>
                <a:gd name="connsiteX0" fmla="*/ 151179 w 970063"/>
                <a:gd name="connsiteY0" fmla="*/ 12598 h 781090"/>
                <a:gd name="connsiteX1" fmla="*/ 157478 w 970063"/>
                <a:gd name="connsiteY1" fmla="*/ 22677 h 781090"/>
                <a:gd name="connsiteX2" fmla="*/ 166297 w 970063"/>
                <a:gd name="connsiteY2" fmla="*/ 30236 h 781090"/>
                <a:gd name="connsiteX3" fmla="*/ 173855 w 970063"/>
                <a:gd name="connsiteY3" fmla="*/ 35275 h 781090"/>
                <a:gd name="connsiteX4" fmla="*/ 185194 w 970063"/>
                <a:gd name="connsiteY4" fmla="*/ 40314 h 781090"/>
                <a:gd name="connsiteX5" fmla="*/ 194013 w 970063"/>
                <a:gd name="connsiteY5" fmla="*/ 44094 h 781090"/>
                <a:gd name="connsiteX6" fmla="*/ 204092 w 970063"/>
                <a:gd name="connsiteY6" fmla="*/ 47873 h 781090"/>
                <a:gd name="connsiteX7" fmla="*/ 205351 w 970063"/>
                <a:gd name="connsiteY7" fmla="*/ 47873 h 781090"/>
                <a:gd name="connsiteX8" fmla="*/ 205351 w 970063"/>
                <a:gd name="connsiteY8" fmla="*/ 47873 h 781090"/>
                <a:gd name="connsiteX9" fmla="*/ 216690 w 970063"/>
                <a:gd name="connsiteY9" fmla="*/ 55432 h 781090"/>
                <a:gd name="connsiteX10" fmla="*/ 225508 w 970063"/>
                <a:gd name="connsiteY10" fmla="*/ 60472 h 781090"/>
                <a:gd name="connsiteX11" fmla="*/ 229288 w 970063"/>
                <a:gd name="connsiteY11" fmla="*/ 62991 h 781090"/>
                <a:gd name="connsiteX12" fmla="*/ 234327 w 970063"/>
                <a:gd name="connsiteY12" fmla="*/ 65511 h 781090"/>
                <a:gd name="connsiteX13" fmla="*/ 255744 w 970063"/>
                <a:gd name="connsiteY13" fmla="*/ 75589 h 781090"/>
                <a:gd name="connsiteX14" fmla="*/ 272122 w 970063"/>
                <a:gd name="connsiteY14" fmla="*/ 80629 h 781090"/>
                <a:gd name="connsiteX15" fmla="*/ 287240 w 970063"/>
                <a:gd name="connsiteY15" fmla="*/ 83148 h 781090"/>
                <a:gd name="connsiteX16" fmla="*/ 288499 w 970063"/>
                <a:gd name="connsiteY16" fmla="*/ 83148 h 781090"/>
                <a:gd name="connsiteX17" fmla="*/ 294799 w 970063"/>
                <a:gd name="connsiteY17" fmla="*/ 84408 h 781090"/>
                <a:gd name="connsiteX18" fmla="*/ 301098 w 970063"/>
                <a:gd name="connsiteY18" fmla="*/ 85668 h 781090"/>
                <a:gd name="connsiteX19" fmla="*/ 302358 w 970063"/>
                <a:gd name="connsiteY19" fmla="*/ 85668 h 781090"/>
                <a:gd name="connsiteX20" fmla="*/ 304877 w 970063"/>
                <a:gd name="connsiteY20" fmla="*/ 85668 h 781090"/>
                <a:gd name="connsiteX21" fmla="*/ 312436 w 970063"/>
                <a:gd name="connsiteY21" fmla="*/ 88188 h 781090"/>
                <a:gd name="connsiteX22" fmla="*/ 309917 w 970063"/>
                <a:gd name="connsiteY22" fmla="*/ 86928 h 781090"/>
                <a:gd name="connsiteX23" fmla="*/ 323775 w 970063"/>
                <a:gd name="connsiteY23" fmla="*/ 91967 h 781090"/>
                <a:gd name="connsiteX24" fmla="*/ 330074 w 970063"/>
                <a:gd name="connsiteY24" fmla="*/ 93227 h 781090"/>
                <a:gd name="connsiteX25" fmla="*/ 336373 w 970063"/>
                <a:gd name="connsiteY25" fmla="*/ 94487 h 781090"/>
                <a:gd name="connsiteX26" fmla="*/ 343932 w 970063"/>
                <a:gd name="connsiteY26" fmla="*/ 95747 h 781090"/>
                <a:gd name="connsiteX27" fmla="*/ 354010 w 970063"/>
                <a:gd name="connsiteY27" fmla="*/ 98266 h 781090"/>
                <a:gd name="connsiteX28" fmla="*/ 362829 w 970063"/>
                <a:gd name="connsiteY28" fmla="*/ 100786 h 781090"/>
                <a:gd name="connsiteX29" fmla="*/ 371648 w 970063"/>
                <a:gd name="connsiteY29" fmla="*/ 103305 h 781090"/>
                <a:gd name="connsiteX30" fmla="*/ 379207 w 970063"/>
                <a:gd name="connsiteY30" fmla="*/ 103305 h 781090"/>
                <a:gd name="connsiteX31" fmla="*/ 384246 w 970063"/>
                <a:gd name="connsiteY31" fmla="*/ 103305 h 781090"/>
                <a:gd name="connsiteX32" fmla="*/ 394325 w 970063"/>
                <a:gd name="connsiteY32" fmla="*/ 103305 h 781090"/>
                <a:gd name="connsiteX33" fmla="*/ 415742 w 970063"/>
                <a:gd name="connsiteY33" fmla="*/ 99526 h 781090"/>
                <a:gd name="connsiteX34" fmla="*/ 419521 w 970063"/>
                <a:gd name="connsiteY34" fmla="*/ 98266 h 781090"/>
                <a:gd name="connsiteX35" fmla="*/ 430860 w 970063"/>
                <a:gd name="connsiteY35" fmla="*/ 95747 h 781090"/>
                <a:gd name="connsiteX36" fmla="*/ 439678 w 970063"/>
                <a:gd name="connsiteY36" fmla="*/ 93227 h 781090"/>
                <a:gd name="connsiteX37" fmla="*/ 458576 w 970063"/>
                <a:gd name="connsiteY37" fmla="*/ 86928 h 781090"/>
                <a:gd name="connsiteX38" fmla="*/ 467395 w 970063"/>
                <a:gd name="connsiteY38" fmla="*/ 84408 h 781090"/>
                <a:gd name="connsiteX39" fmla="*/ 474954 w 970063"/>
                <a:gd name="connsiteY39" fmla="*/ 81889 h 781090"/>
                <a:gd name="connsiteX40" fmla="*/ 482512 w 970063"/>
                <a:gd name="connsiteY40" fmla="*/ 78109 h 781090"/>
                <a:gd name="connsiteX41" fmla="*/ 486292 w 970063"/>
                <a:gd name="connsiteY41" fmla="*/ 75589 h 781090"/>
                <a:gd name="connsiteX42" fmla="*/ 486292 w 970063"/>
                <a:gd name="connsiteY42" fmla="*/ 75589 h 781090"/>
                <a:gd name="connsiteX43" fmla="*/ 486292 w 970063"/>
                <a:gd name="connsiteY43" fmla="*/ 75589 h 781090"/>
                <a:gd name="connsiteX44" fmla="*/ 487552 w 970063"/>
                <a:gd name="connsiteY44" fmla="*/ 83148 h 781090"/>
                <a:gd name="connsiteX45" fmla="*/ 490071 w 970063"/>
                <a:gd name="connsiteY45" fmla="*/ 90707 h 781090"/>
                <a:gd name="connsiteX46" fmla="*/ 492591 w 970063"/>
                <a:gd name="connsiteY46" fmla="*/ 97006 h 781090"/>
                <a:gd name="connsiteX47" fmla="*/ 497630 w 970063"/>
                <a:gd name="connsiteY47" fmla="*/ 103305 h 781090"/>
                <a:gd name="connsiteX48" fmla="*/ 503929 w 970063"/>
                <a:gd name="connsiteY48" fmla="*/ 108345 h 781090"/>
                <a:gd name="connsiteX49" fmla="*/ 516528 w 970063"/>
                <a:gd name="connsiteY49" fmla="*/ 114644 h 781090"/>
                <a:gd name="connsiteX50" fmla="*/ 524087 w 970063"/>
                <a:gd name="connsiteY50" fmla="*/ 117164 h 781090"/>
                <a:gd name="connsiteX51" fmla="*/ 531646 w 970063"/>
                <a:gd name="connsiteY51" fmla="*/ 118424 h 781090"/>
                <a:gd name="connsiteX52" fmla="*/ 532905 w 970063"/>
                <a:gd name="connsiteY52" fmla="*/ 118424 h 781090"/>
                <a:gd name="connsiteX53" fmla="*/ 541724 w 970063"/>
                <a:gd name="connsiteY53" fmla="*/ 118424 h 781090"/>
                <a:gd name="connsiteX54" fmla="*/ 551802 w 970063"/>
                <a:gd name="connsiteY54" fmla="*/ 118424 h 781090"/>
                <a:gd name="connsiteX55" fmla="*/ 569440 w 970063"/>
                <a:gd name="connsiteY55" fmla="*/ 113384 h 781090"/>
                <a:gd name="connsiteX56" fmla="*/ 575739 w 970063"/>
                <a:gd name="connsiteY56" fmla="*/ 109605 h 781090"/>
                <a:gd name="connsiteX57" fmla="*/ 576999 w 970063"/>
                <a:gd name="connsiteY57" fmla="*/ 108345 h 781090"/>
                <a:gd name="connsiteX58" fmla="*/ 585818 w 970063"/>
                <a:gd name="connsiteY58" fmla="*/ 103305 h 781090"/>
                <a:gd name="connsiteX59" fmla="*/ 598416 w 970063"/>
                <a:gd name="connsiteY59" fmla="*/ 90707 h 781090"/>
                <a:gd name="connsiteX60" fmla="*/ 603455 w 970063"/>
                <a:gd name="connsiteY60" fmla="*/ 84408 h 781090"/>
                <a:gd name="connsiteX61" fmla="*/ 607235 w 970063"/>
                <a:gd name="connsiteY61" fmla="*/ 75589 h 781090"/>
                <a:gd name="connsiteX62" fmla="*/ 608494 w 970063"/>
                <a:gd name="connsiteY62" fmla="*/ 71810 h 781090"/>
                <a:gd name="connsiteX63" fmla="*/ 608494 w 970063"/>
                <a:gd name="connsiteY63" fmla="*/ 70550 h 781090"/>
                <a:gd name="connsiteX64" fmla="*/ 608494 w 970063"/>
                <a:gd name="connsiteY64" fmla="*/ 66771 h 781090"/>
                <a:gd name="connsiteX65" fmla="*/ 608494 w 970063"/>
                <a:gd name="connsiteY65" fmla="*/ 62991 h 781090"/>
                <a:gd name="connsiteX66" fmla="*/ 608494 w 970063"/>
                <a:gd name="connsiteY66" fmla="*/ 62991 h 781090"/>
                <a:gd name="connsiteX67" fmla="*/ 608494 w 970063"/>
                <a:gd name="connsiteY67" fmla="*/ 62991 h 781090"/>
                <a:gd name="connsiteX68" fmla="*/ 612274 w 970063"/>
                <a:gd name="connsiteY68" fmla="*/ 64251 h 781090"/>
                <a:gd name="connsiteX69" fmla="*/ 612274 w 970063"/>
                <a:gd name="connsiteY69" fmla="*/ 64251 h 781090"/>
                <a:gd name="connsiteX70" fmla="*/ 613534 w 970063"/>
                <a:gd name="connsiteY70" fmla="*/ 64251 h 781090"/>
                <a:gd name="connsiteX71" fmla="*/ 614794 w 970063"/>
                <a:gd name="connsiteY71" fmla="*/ 64251 h 781090"/>
                <a:gd name="connsiteX72" fmla="*/ 616054 w 970063"/>
                <a:gd name="connsiteY72" fmla="*/ 64251 h 781090"/>
                <a:gd name="connsiteX73" fmla="*/ 626132 w 970063"/>
                <a:gd name="connsiteY73" fmla="*/ 66771 h 781090"/>
                <a:gd name="connsiteX74" fmla="*/ 629912 w 970063"/>
                <a:gd name="connsiteY74" fmla="*/ 68031 h 781090"/>
                <a:gd name="connsiteX75" fmla="*/ 631172 w 970063"/>
                <a:gd name="connsiteY75" fmla="*/ 68031 h 781090"/>
                <a:gd name="connsiteX76" fmla="*/ 632431 w 970063"/>
                <a:gd name="connsiteY76" fmla="*/ 68031 h 781090"/>
                <a:gd name="connsiteX77" fmla="*/ 633691 w 970063"/>
                <a:gd name="connsiteY77" fmla="*/ 68031 h 781090"/>
                <a:gd name="connsiteX78" fmla="*/ 639990 w 970063"/>
                <a:gd name="connsiteY78" fmla="*/ 69290 h 781090"/>
                <a:gd name="connsiteX79" fmla="*/ 643770 w 970063"/>
                <a:gd name="connsiteY79" fmla="*/ 69290 h 781090"/>
                <a:gd name="connsiteX80" fmla="*/ 656368 w 970063"/>
                <a:gd name="connsiteY80" fmla="*/ 71810 h 781090"/>
                <a:gd name="connsiteX81" fmla="*/ 668966 w 970063"/>
                <a:gd name="connsiteY81" fmla="*/ 75589 h 781090"/>
                <a:gd name="connsiteX82" fmla="*/ 670226 w 970063"/>
                <a:gd name="connsiteY82" fmla="*/ 75589 h 781090"/>
                <a:gd name="connsiteX83" fmla="*/ 680305 w 970063"/>
                <a:gd name="connsiteY83" fmla="*/ 78109 h 781090"/>
                <a:gd name="connsiteX84" fmla="*/ 702981 w 970063"/>
                <a:gd name="connsiteY84" fmla="*/ 86928 h 781090"/>
                <a:gd name="connsiteX85" fmla="*/ 714320 w 970063"/>
                <a:gd name="connsiteY85" fmla="*/ 93227 h 781090"/>
                <a:gd name="connsiteX86" fmla="*/ 714320 w 970063"/>
                <a:gd name="connsiteY86" fmla="*/ 93227 h 781090"/>
                <a:gd name="connsiteX87" fmla="*/ 721879 w 970063"/>
                <a:gd name="connsiteY87" fmla="*/ 97006 h 781090"/>
                <a:gd name="connsiteX88" fmla="*/ 740776 w 970063"/>
                <a:gd name="connsiteY88" fmla="*/ 107085 h 781090"/>
                <a:gd name="connsiteX89" fmla="*/ 750855 w 970063"/>
                <a:gd name="connsiteY89" fmla="*/ 114644 h 781090"/>
                <a:gd name="connsiteX90" fmla="*/ 758414 w 970063"/>
                <a:gd name="connsiteY90" fmla="*/ 122203 h 781090"/>
                <a:gd name="connsiteX91" fmla="*/ 772272 w 970063"/>
                <a:gd name="connsiteY91" fmla="*/ 137321 h 781090"/>
                <a:gd name="connsiteX92" fmla="*/ 777311 w 970063"/>
                <a:gd name="connsiteY92" fmla="*/ 143620 h 781090"/>
                <a:gd name="connsiteX93" fmla="*/ 783610 w 970063"/>
                <a:gd name="connsiteY93" fmla="*/ 149919 h 781090"/>
                <a:gd name="connsiteX94" fmla="*/ 791169 w 970063"/>
                <a:gd name="connsiteY94" fmla="*/ 157478 h 781090"/>
                <a:gd name="connsiteX95" fmla="*/ 796208 w 970063"/>
                <a:gd name="connsiteY95" fmla="*/ 165037 h 781090"/>
                <a:gd name="connsiteX96" fmla="*/ 808807 w 970063"/>
                <a:gd name="connsiteY96" fmla="*/ 178895 h 781090"/>
                <a:gd name="connsiteX97" fmla="*/ 812586 w 970063"/>
                <a:gd name="connsiteY97" fmla="*/ 183934 h 781090"/>
                <a:gd name="connsiteX98" fmla="*/ 813846 w 970063"/>
                <a:gd name="connsiteY98" fmla="*/ 185194 h 781090"/>
                <a:gd name="connsiteX99" fmla="*/ 815106 w 970063"/>
                <a:gd name="connsiteY99" fmla="*/ 186454 h 781090"/>
                <a:gd name="connsiteX100" fmla="*/ 816365 w 970063"/>
                <a:gd name="connsiteY100" fmla="*/ 187714 h 781090"/>
                <a:gd name="connsiteX101" fmla="*/ 822664 w 970063"/>
                <a:gd name="connsiteY101" fmla="*/ 195273 h 781090"/>
                <a:gd name="connsiteX102" fmla="*/ 834003 w 970063"/>
                <a:gd name="connsiteY102" fmla="*/ 206611 h 781090"/>
                <a:gd name="connsiteX103" fmla="*/ 834003 w 970063"/>
                <a:gd name="connsiteY103" fmla="*/ 206611 h 781090"/>
                <a:gd name="connsiteX104" fmla="*/ 836523 w 970063"/>
                <a:gd name="connsiteY104" fmla="*/ 209131 h 781090"/>
                <a:gd name="connsiteX105" fmla="*/ 837782 w 970063"/>
                <a:gd name="connsiteY105" fmla="*/ 210390 h 781090"/>
                <a:gd name="connsiteX106" fmla="*/ 846601 w 970063"/>
                <a:gd name="connsiteY106" fmla="*/ 220469 h 781090"/>
                <a:gd name="connsiteX107" fmla="*/ 851641 w 970063"/>
                <a:gd name="connsiteY107" fmla="*/ 226768 h 781090"/>
                <a:gd name="connsiteX108" fmla="*/ 861719 w 970063"/>
                <a:gd name="connsiteY108" fmla="*/ 239366 h 781090"/>
                <a:gd name="connsiteX109" fmla="*/ 861719 w 970063"/>
                <a:gd name="connsiteY109" fmla="*/ 239366 h 781090"/>
                <a:gd name="connsiteX110" fmla="*/ 861719 w 970063"/>
                <a:gd name="connsiteY110" fmla="*/ 239366 h 781090"/>
                <a:gd name="connsiteX111" fmla="*/ 865499 w 970063"/>
                <a:gd name="connsiteY111" fmla="*/ 243146 h 781090"/>
                <a:gd name="connsiteX112" fmla="*/ 869278 w 970063"/>
                <a:gd name="connsiteY112" fmla="*/ 246925 h 781090"/>
                <a:gd name="connsiteX113" fmla="*/ 869278 w 970063"/>
                <a:gd name="connsiteY113" fmla="*/ 246925 h 781090"/>
                <a:gd name="connsiteX114" fmla="*/ 869278 w 970063"/>
                <a:gd name="connsiteY114" fmla="*/ 246925 h 781090"/>
                <a:gd name="connsiteX115" fmla="*/ 869278 w 970063"/>
                <a:gd name="connsiteY115" fmla="*/ 246925 h 781090"/>
                <a:gd name="connsiteX116" fmla="*/ 878097 w 970063"/>
                <a:gd name="connsiteY116" fmla="*/ 258264 h 781090"/>
                <a:gd name="connsiteX117" fmla="*/ 888175 w 970063"/>
                <a:gd name="connsiteY117" fmla="*/ 273382 h 781090"/>
                <a:gd name="connsiteX118" fmla="*/ 889435 w 970063"/>
                <a:gd name="connsiteY118" fmla="*/ 274642 h 781090"/>
                <a:gd name="connsiteX119" fmla="*/ 889435 w 970063"/>
                <a:gd name="connsiteY119" fmla="*/ 275901 h 781090"/>
                <a:gd name="connsiteX120" fmla="*/ 890695 w 970063"/>
                <a:gd name="connsiteY120" fmla="*/ 278421 h 781090"/>
                <a:gd name="connsiteX121" fmla="*/ 902034 w 970063"/>
                <a:gd name="connsiteY121" fmla="*/ 294799 h 781090"/>
                <a:gd name="connsiteX122" fmla="*/ 902034 w 970063"/>
                <a:gd name="connsiteY122" fmla="*/ 296058 h 781090"/>
                <a:gd name="connsiteX123" fmla="*/ 903293 w 970063"/>
                <a:gd name="connsiteY123" fmla="*/ 297318 h 781090"/>
                <a:gd name="connsiteX124" fmla="*/ 908333 w 970063"/>
                <a:gd name="connsiteY124" fmla="*/ 306137 h 781090"/>
                <a:gd name="connsiteX125" fmla="*/ 912112 w 970063"/>
                <a:gd name="connsiteY125" fmla="*/ 311176 h 781090"/>
                <a:gd name="connsiteX126" fmla="*/ 912112 w 970063"/>
                <a:gd name="connsiteY126" fmla="*/ 311176 h 781090"/>
                <a:gd name="connsiteX127" fmla="*/ 914632 w 970063"/>
                <a:gd name="connsiteY127" fmla="*/ 314956 h 781090"/>
                <a:gd name="connsiteX128" fmla="*/ 925970 w 970063"/>
                <a:gd name="connsiteY128" fmla="*/ 332593 h 781090"/>
                <a:gd name="connsiteX129" fmla="*/ 943608 w 970063"/>
                <a:gd name="connsiteY129" fmla="*/ 362829 h 781090"/>
                <a:gd name="connsiteX130" fmla="*/ 947387 w 970063"/>
                <a:gd name="connsiteY130" fmla="*/ 369128 h 781090"/>
                <a:gd name="connsiteX131" fmla="*/ 948647 w 970063"/>
                <a:gd name="connsiteY131" fmla="*/ 371648 h 781090"/>
                <a:gd name="connsiteX132" fmla="*/ 948647 w 970063"/>
                <a:gd name="connsiteY132" fmla="*/ 371648 h 781090"/>
                <a:gd name="connsiteX133" fmla="*/ 948647 w 970063"/>
                <a:gd name="connsiteY133" fmla="*/ 371648 h 781090"/>
                <a:gd name="connsiteX134" fmla="*/ 956206 w 970063"/>
                <a:gd name="connsiteY134" fmla="*/ 385506 h 781090"/>
                <a:gd name="connsiteX135" fmla="*/ 957466 w 970063"/>
                <a:gd name="connsiteY135" fmla="*/ 388026 h 781090"/>
                <a:gd name="connsiteX136" fmla="*/ 957466 w 970063"/>
                <a:gd name="connsiteY136" fmla="*/ 388026 h 781090"/>
                <a:gd name="connsiteX137" fmla="*/ 957466 w 970063"/>
                <a:gd name="connsiteY137" fmla="*/ 388026 h 781090"/>
                <a:gd name="connsiteX138" fmla="*/ 959985 w 970063"/>
                <a:gd name="connsiteY138" fmla="*/ 393065 h 781090"/>
                <a:gd name="connsiteX139" fmla="*/ 963765 w 970063"/>
                <a:gd name="connsiteY139" fmla="*/ 403143 h 781090"/>
                <a:gd name="connsiteX140" fmla="*/ 963765 w 970063"/>
                <a:gd name="connsiteY140" fmla="*/ 403143 h 781090"/>
                <a:gd name="connsiteX141" fmla="*/ 966285 w 970063"/>
                <a:gd name="connsiteY141" fmla="*/ 411962 h 781090"/>
                <a:gd name="connsiteX142" fmla="*/ 968804 w 970063"/>
                <a:gd name="connsiteY142" fmla="*/ 420781 h 781090"/>
                <a:gd name="connsiteX143" fmla="*/ 971324 w 970063"/>
                <a:gd name="connsiteY143" fmla="*/ 442198 h 781090"/>
                <a:gd name="connsiteX144" fmla="*/ 968804 w 970063"/>
                <a:gd name="connsiteY144" fmla="*/ 462355 h 781090"/>
                <a:gd name="connsiteX145" fmla="*/ 966285 w 970063"/>
                <a:gd name="connsiteY145" fmla="*/ 473694 h 781090"/>
                <a:gd name="connsiteX146" fmla="*/ 961245 w 970063"/>
                <a:gd name="connsiteY146" fmla="*/ 483772 h 781090"/>
                <a:gd name="connsiteX147" fmla="*/ 958726 w 970063"/>
                <a:gd name="connsiteY147" fmla="*/ 486292 h 781090"/>
                <a:gd name="connsiteX148" fmla="*/ 958726 w 970063"/>
                <a:gd name="connsiteY148" fmla="*/ 486292 h 781090"/>
                <a:gd name="connsiteX149" fmla="*/ 959985 w 970063"/>
                <a:gd name="connsiteY149" fmla="*/ 467395 h 781090"/>
                <a:gd name="connsiteX150" fmla="*/ 959985 w 970063"/>
                <a:gd name="connsiteY150" fmla="*/ 448497 h 781090"/>
                <a:gd name="connsiteX151" fmla="*/ 958726 w 970063"/>
                <a:gd name="connsiteY151" fmla="*/ 440938 h 781090"/>
                <a:gd name="connsiteX152" fmla="*/ 958726 w 970063"/>
                <a:gd name="connsiteY152" fmla="*/ 440938 h 781090"/>
                <a:gd name="connsiteX153" fmla="*/ 958726 w 970063"/>
                <a:gd name="connsiteY153" fmla="*/ 440938 h 781090"/>
                <a:gd name="connsiteX154" fmla="*/ 956206 w 970063"/>
                <a:gd name="connsiteY154" fmla="*/ 430860 h 781090"/>
                <a:gd name="connsiteX155" fmla="*/ 951167 w 970063"/>
                <a:gd name="connsiteY155" fmla="*/ 419521 h 781090"/>
                <a:gd name="connsiteX156" fmla="*/ 947387 w 970063"/>
                <a:gd name="connsiteY156" fmla="*/ 415742 h 781090"/>
                <a:gd name="connsiteX157" fmla="*/ 939828 w 970063"/>
                <a:gd name="connsiteY157" fmla="*/ 411962 h 781090"/>
                <a:gd name="connsiteX158" fmla="*/ 938568 w 970063"/>
                <a:gd name="connsiteY158" fmla="*/ 410702 h 781090"/>
                <a:gd name="connsiteX159" fmla="*/ 931009 w 970063"/>
                <a:gd name="connsiteY159" fmla="*/ 406923 h 781090"/>
                <a:gd name="connsiteX160" fmla="*/ 924710 w 970063"/>
                <a:gd name="connsiteY160" fmla="*/ 405663 h 781090"/>
                <a:gd name="connsiteX161" fmla="*/ 923450 w 970063"/>
                <a:gd name="connsiteY161" fmla="*/ 405663 h 781090"/>
                <a:gd name="connsiteX162" fmla="*/ 912112 w 970063"/>
                <a:gd name="connsiteY162" fmla="*/ 405663 h 781090"/>
                <a:gd name="connsiteX163" fmla="*/ 899514 w 970063"/>
                <a:gd name="connsiteY163" fmla="*/ 406923 h 781090"/>
                <a:gd name="connsiteX164" fmla="*/ 878097 w 970063"/>
                <a:gd name="connsiteY164" fmla="*/ 413222 h 781090"/>
                <a:gd name="connsiteX165" fmla="*/ 860459 w 970063"/>
                <a:gd name="connsiteY165" fmla="*/ 422041 h 781090"/>
                <a:gd name="connsiteX166" fmla="*/ 854160 w 970063"/>
                <a:gd name="connsiteY166" fmla="*/ 425820 h 781090"/>
                <a:gd name="connsiteX167" fmla="*/ 854160 w 970063"/>
                <a:gd name="connsiteY167" fmla="*/ 425820 h 781090"/>
                <a:gd name="connsiteX168" fmla="*/ 850381 w 970063"/>
                <a:gd name="connsiteY168" fmla="*/ 428340 h 781090"/>
                <a:gd name="connsiteX169" fmla="*/ 841562 w 970063"/>
                <a:gd name="connsiteY169" fmla="*/ 433379 h 781090"/>
                <a:gd name="connsiteX170" fmla="*/ 836523 w 970063"/>
                <a:gd name="connsiteY170" fmla="*/ 437159 h 781090"/>
                <a:gd name="connsiteX171" fmla="*/ 831483 w 970063"/>
                <a:gd name="connsiteY171" fmla="*/ 440938 h 781090"/>
                <a:gd name="connsiteX172" fmla="*/ 820145 w 970063"/>
                <a:gd name="connsiteY172" fmla="*/ 449757 h 781090"/>
                <a:gd name="connsiteX173" fmla="*/ 820145 w 970063"/>
                <a:gd name="connsiteY173" fmla="*/ 449757 h 781090"/>
                <a:gd name="connsiteX174" fmla="*/ 820145 w 970063"/>
                <a:gd name="connsiteY174" fmla="*/ 449757 h 781090"/>
                <a:gd name="connsiteX175" fmla="*/ 820145 w 970063"/>
                <a:gd name="connsiteY175" fmla="*/ 449757 h 781090"/>
                <a:gd name="connsiteX176" fmla="*/ 820145 w 970063"/>
                <a:gd name="connsiteY176" fmla="*/ 449757 h 781090"/>
                <a:gd name="connsiteX177" fmla="*/ 820145 w 970063"/>
                <a:gd name="connsiteY177" fmla="*/ 449757 h 781090"/>
                <a:gd name="connsiteX178" fmla="*/ 820145 w 970063"/>
                <a:gd name="connsiteY178" fmla="*/ 449757 h 781090"/>
                <a:gd name="connsiteX179" fmla="*/ 821405 w 970063"/>
                <a:gd name="connsiteY179" fmla="*/ 449757 h 781090"/>
                <a:gd name="connsiteX180" fmla="*/ 821405 w 970063"/>
                <a:gd name="connsiteY180" fmla="*/ 449757 h 781090"/>
                <a:gd name="connsiteX181" fmla="*/ 817625 w 970063"/>
                <a:gd name="connsiteY181" fmla="*/ 452277 h 781090"/>
                <a:gd name="connsiteX182" fmla="*/ 817625 w 970063"/>
                <a:gd name="connsiteY182" fmla="*/ 452277 h 781090"/>
                <a:gd name="connsiteX183" fmla="*/ 817625 w 970063"/>
                <a:gd name="connsiteY183" fmla="*/ 452277 h 781090"/>
                <a:gd name="connsiteX184" fmla="*/ 817625 w 970063"/>
                <a:gd name="connsiteY184" fmla="*/ 452277 h 781090"/>
                <a:gd name="connsiteX185" fmla="*/ 817625 w 970063"/>
                <a:gd name="connsiteY185" fmla="*/ 452277 h 781090"/>
                <a:gd name="connsiteX186" fmla="*/ 817625 w 970063"/>
                <a:gd name="connsiteY186" fmla="*/ 452277 h 781090"/>
                <a:gd name="connsiteX187" fmla="*/ 816365 w 970063"/>
                <a:gd name="connsiteY187" fmla="*/ 451017 h 781090"/>
                <a:gd name="connsiteX188" fmla="*/ 815106 w 970063"/>
                <a:gd name="connsiteY188" fmla="*/ 449757 h 781090"/>
                <a:gd name="connsiteX189" fmla="*/ 811326 w 970063"/>
                <a:gd name="connsiteY189" fmla="*/ 443458 h 781090"/>
                <a:gd name="connsiteX190" fmla="*/ 799988 w 970063"/>
                <a:gd name="connsiteY190" fmla="*/ 425820 h 781090"/>
                <a:gd name="connsiteX191" fmla="*/ 789909 w 970063"/>
                <a:gd name="connsiteY191" fmla="*/ 410702 h 781090"/>
                <a:gd name="connsiteX192" fmla="*/ 789909 w 970063"/>
                <a:gd name="connsiteY192" fmla="*/ 409443 h 781090"/>
                <a:gd name="connsiteX193" fmla="*/ 789909 w 970063"/>
                <a:gd name="connsiteY193" fmla="*/ 409443 h 781090"/>
                <a:gd name="connsiteX194" fmla="*/ 777311 w 970063"/>
                <a:gd name="connsiteY194" fmla="*/ 389286 h 781090"/>
                <a:gd name="connsiteX195" fmla="*/ 769752 w 970063"/>
                <a:gd name="connsiteY195" fmla="*/ 376687 h 781090"/>
                <a:gd name="connsiteX196" fmla="*/ 769752 w 970063"/>
                <a:gd name="connsiteY196" fmla="*/ 376687 h 781090"/>
                <a:gd name="connsiteX197" fmla="*/ 768492 w 970063"/>
                <a:gd name="connsiteY197" fmla="*/ 375427 h 781090"/>
                <a:gd name="connsiteX198" fmla="*/ 765972 w 970063"/>
                <a:gd name="connsiteY198" fmla="*/ 371648 h 781090"/>
                <a:gd name="connsiteX199" fmla="*/ 765972 w 970063"/>
                <a:gd name="connsiteY199" fmla="*/ 370388 h 781090"/>
                <a:gd name="connsiteX200" fmla="*/ 760933 w 970063"/>
                <a:gd name="connsiteY200" fmla="*/ 362829 h 781090"/>
                <a:gd name="connsiteX201" fmla="*/ 754634 w 970063"/>
                <a:gd name="connsiteY201" fmla="*/ 354010 h 781090"/>
                <a:gd name="connsiteX202" fmla="*/ 750855 w 970063"/>
                <a:gd name="connsiteY202" fmla="*/ 348971 h 781090"/>
                <a:gd name="connsiteX203" fmla="*/ 750855 w 970063"/>
                <a:gd name="connsiteY203" fmla="*/ 347711 h 781090"/>
                <a:gd name="connsiteX204" fmla="*/ 749595 w 970063"/>
                <a:gd name="connsiteY204" fmla="*/ 346451 h 781090"/>
                <a:gd name="connsiteX205" fmla="*/ 742036 w 970063"/>
                <a:gd name="connsiteY205" fmla="*/ 336373 h 781090"/>
                <a:gd name="connsiteX206" fmla="*/ 735737 w 970063"/>
                <a:gd name="connsiteY206" fmla="*/ 326294 h 781090"/>
                <a:gd name="connsiteX207" fmla="*/ 734477 w 970063"/>
                <a:gd name="connsiteY207" fmla="*/ 325034 h 781090"/>
                <a:gd name="connsiteX208" fmla="*/ 734477 w 970063"/>
                <a:gd name="connsiteY208" fmla="*/ 325034 h 781090"/>
                <a:gd name="connsiteX209" fmla="*/ 734477 w 970063"/>
                <a:gd name="connsiteY209" fmla="*/ 325034 h 781090"/>
                <a:gd name="connsiteX210" fmla="*/ 733217 w 970063"/>
                <a:gd name="connsiteY210" fmla="*/ 322515 h 781090"/>
                <a:gd name="connsiteX211" fmla="*/ 730698 w 970063"/>
                <a:gd name="connsiteY211" fmla="*/ 319995 h 781090"/>
                <a:gd name="connsiteX212" fmla="*/ 729438 w 970063"/>
                <a:gd name="connsiteY212" fmla="*/ 318735 h 781090"/>
                <a:gd name="connsiteX213" fmla="*/ 728178 w 970063"/>
                <a:gd name="connsiteY213" fmla="*/ 316216 h 781090"/>
                <a:gd name="connsiteX214" fmla="*/ 728178 w 970063"/>
                <a:gd name="connsiteY214" fmla="*/ 316216 h 781090"/>
                <a:gd name="connsiteX215" fmla="*/ 728178 w 970063"/>
                <a:gd name="connsiteY215" fmla="*/ 316216 h 781090"/>
                <a:gd name="connsiteX216" fmla="*/ 728178 w 970063"/>
                <a:gd name="connsiteY216" fmla="*/ 316216 h 781090"/>
                <a:gd name="connsiteX217" fmla="*/ 728178 w 970063"/>
                <a:gd name="connsiteY217" fmla="*/ 314956 h 781090"/>
                <a:gd name="connsiteX218" fmla="*/ 726918 w 970063"/>
                <a:gd name="connsiteY218" fmla="*/ 313696 h 781090"/>
                <a:gd name="connsiteX219" fmla="*/ 723138 w 970063"/>
                <a:gd name="connsiteY219" fmla="*/ 308657 h 781090"/>
                <a:gd name="connsiteX220" fmla="*/ 721879 w 970063"/>
                <a:gd name="connsiteY220" fmla="*/ 306137 h 781090"/>
                <a:gd name="connsiteX221" fmla="*/ 721879 w 970063"/>
                <a:gd name="connsiteY221" fmla="*/ 304877 h 781090"/>
                <a:gd name="connsiteX222" fmla="*/ 720619 w 970063"/>
                <a:gd name="connsiteY222" fmla="*/ 302358 h 781090"/>
                <a:gd name="connsiteX223" fmla="*/ 716839 w 970063"/>
                <a:gd name="connsiteY223" fmla="*/ 297318 h 781090"/>
                <a:gd name="connsiteX224" fmla="*/ 715579 w 970063"/>
                <a:gd name="connsiteY224" fmla="*/ 296058 h 781090"/>
                <a:gd name="connsiteX225" fmla="*/ 715579 w 970063"/>
                <a:gd name="connsiteY225" fmla="*/ 296058 h 781090"/>
                <a:gd name="connsiteX226" fmla="*/ 713060 w 970063"/>
                <a:gd name="connsiteY226" fmla="*/ 293539 h 781090"/>
                <a:gd name="connsiteX227" fmla="*/ 710540 w 970063"/>
                <a:gd name="connsiteY227" fmla="*/ 291019 h 781090"/>
                <a:gd name="connsiteX228" fmla="*/ 709280 w 970063"/>
                <a:gd name="connsiteY228" fmla="*/ 289759 h 781090"/>
                <a:gd name="connsiteX229" fmla="*/ 706761 w 970063"/>
                <a:gd name="connsiteY229" fmla="*/ 287240 h 781090"/>
                <a:gd name="connsiteX230" fmla="*/ 705501 w 970063"/>
                <a:gd name="connsiteY230" fmla="*/ 285980 h 781090"/>
                <a:gd name="connsiteX231" fmla="*/ 704241 w 970063"/>
                <a:gd name="connsiteY231" fmla="*/ 284720 h 781090"/>
                <a:gd name="connsiteX232" fmla="*/ 704241 w 970063"/>
                <a:gd name="connsiteY232" fmla="*/ 284720 h 781090"/>
                <a:gd name="connsiteX233" fmla="*/ 702981 w 970063"/>
                <a:gd name="connsiteY233" fmla="*/ 283460 h 781090"/>
                <a:gd name="connsiteX234" fmla="*/ 700462 w 970063"/>
                <a:gd name="connsiteY234" fmla="*/ 280941 h 781090"/>
                <a:gd name="connsiteX235" fmla="*/ 697942 w 970063"/>
                <a:gd name="connsiteY235" fmla="*/ 278421 h 781090"/>
                <a:gd name="connsiteX236" fmla="*/ 697942 w 970063"/>
                <a:gd name="connsiteY236" fmla="*/ 278421 h 781090"/>
                <a:gd name="connsiteX237" fmla="*/ 697942 w 970063"/>
                <a:gd name="connsiteY237" fmla="*/ 278421 h 781090"/>
                <a:gd name="connsiteX238" fmla="*/ 695423 w 970063"/>
                <a:gd name="connsiteY238" fmla="*/ 277161 h 781090"/>
                <a:gd name="connsiteX239" fmla="*/ 695423 w 970063"/>
                <a:gd name="connsiteY239" fmla="*/ 277161 h 781090"/>
                <a:gd name="connsiteX240" fmla="*/ 695423 w 970063"/>
                <a:gd name="connsiteY240" fmla="*/ 277161 h 781090"/>
                <a:gd name="connsiteX241" fmla="*/ 694163 w 970063"/>
                <a:gd name="connsiteY241" fmla="*/ 275901 h 781090"/>
                <a:gd name="connsiteX242" fmla="*/ 694163 w 970063"/>
                <a:gd name="connsiteY242" fmla="*/ 275901 h 781090"/>
                <a:gd name="connsiteX243" fmla="*/ 692903 w 970063"/>
                <a:gd name="connsiteY243" fmla="*/ 275901 h 781090"/>
                <a:gd name="connsiteX244" fmla="*/ 692903 w 970063"/>
                <a:gd name="connsiteY244" fmla="*/ 275901 h 781090"/>
                <a:gd name="connsiteX245" fmla="*/ 692903 w 970063"/>
                <a:gd name="connsiteY245" fmla="*/ 277161 h 781090"/>
                <a:gd name="connsiteX246" fmla="*/ 692903 w 970063"/>
                <a:gd name="connsiteY246" fmla="*/ 277161 h 781090"/>
                <a:gd name="connsiteX247" fmla="*/ 692903 w 970063"/>
                <a:gd name="connsiteY247" fmla="*/ 277161 h 781090"/>
                <a:gd name="connsiteX248" fmla="*/ 692903 w 970063"/>
                <a:gd name="connsiteY248" fmla="*/ 277161 h 781090"/>
                <a:gd name="connsiteX249" fmla="*/ 692903 w 970063"/>
                <a:gd name="connsiteY249" fmla="*/ 278421 h 781090"/>
                <a:gd name="connsiteX250" fmla="*/ 692903 w 970063"/>
                <a:gd name="connsiteY250" fmla="*/ 278421 h 781090"/>
                <a:gd name="connsiteX251" fmla="*/ 692903 w 970063"/>
                <a:gd name="connsiteY251" fmla="*/ 280941 h 781090"/>
                <a:gd name="connsiteX252" fmla="*/ 692903 w 970063"/>
                <a:gd name="connsiteY252" fmla="*/ 283460 h 781090"/>
                <a:gd name="connsiteX253" fmla="*/ 692903 w 970063"/>
                <a:gd name="connsiteY253" fmla="*/ 284720 h 781090"/>
                <a:gd name="connsiteX254" fmla="*/ 692903 w 970063"/>
                <a:gd name="connsiteY254" fmla="*/ 285980 h 781090"/>
                <a:gd name="connsiteX255" fmla="*/ 692903 w 970063"/>
                <a:gd name="connsiteY255" fmla="*/ 289759 h 781090"/>
                <a:gd name="connsiteX256" fmla="*/ 692903 w 970063"/>
                <a:gd name="connsiteY256" fmla="*/ 292279 h 781090"/>
                <a:gd name="connsiteX257" fmla="*/ 692903 w 970063"/>
                <a:gd name="connsiteY257" fmla="*/ 293539 h 781090"/>
                <a:gd name="connsiteX258" fmla="*/ 692903 w 970063"/>
                <a:gd name="connsiteY258" fmla="*/ 297318 h 781090"/>
                <a:gd name="connsiteX259" fmla="*/ 692903 w 970063"/>
                <a:gd name="connsiteY259" fmla="*/ 297318 h 781090"/>
                <a:gd name="connsiteX260" fmla="*/ 692903 w 970063"/>
                <a:gd name="connsiteY260" fmla="*/ 297318 h 781090"/>
                <a:gd name="connsiteX261" fmla="*/ 692903 w 970063"/>
                <a:gd name="connsiteY261" fmla="*/ 298578 h 781090"/>
                <a:gd name="connsiteX262" fmla="*/ 692903 w 970063"/>
                <a:gd name="connsiteY262" fmla="*/ 301098 h 781090"/>
                <a:gd name="connsiteX263" fmla="*/ 692903 w 970063"/>
                <a:gd name="connsiteY263" fmla="*/ 301098 h 781090"/>
                <a:gd name="connsiteX264" fmla="*/ 692903 w 970063"/>
                <a:gd name="connsiteY264" fmla="*/ 301098 h 781090"/>
                <a:gd name="connsiteX265" fmla="*/ 692903 w 970063"/>
                <a:gd name="connsiteY265" fmla="*/ 302358 h 781090"/>
                <a:gd name="connsiteX266" fmla="*/ 692903 w 970063"/>
                <a:gd name="connsiteY266" fmla="*/ 303618 h 781090"/>
                <a:gd name="connsiteX267" fmla="*/ 692903 w 970063"/>
                <a:gd name="connsiteY267" fmla="*/ 304877 h 781090"/>
                <a:gd name="connsiteX268" fmla="*/ 694163 w 970063"/>
                <a:gd name="connsiteY268" fmla="*/ 308657 h 781090"/>
                <a:gd name="connsiteX269" fmla="*/ 694163 w 970063"/>
                <a:gd name="connsiteY269" fmla="*/ 309917 h 781090"/>
                <a:gd name="connsiteX270" fmla="*/ 695423 w 970063"/>
                <a:gd name="connsiteY270" fmla="*/ 312436 h 781090"/>
                <a:gd name="connsiteX271" fmla="*/ 695423 w 970063"/>
                <a:gd name="connsiteY271" fmla="*/ 312436 h 781090"/>
                <a:gd name="connsiteX272" fmla="*/ 695423 w 970063"/>
                <a:gd name="connsiteY272" fmla="*/ 314956 h 781090"/>
                <a:gd name="connsiteX273" fmla="*/ 697942 w 970063"/>
                <a:gd name="connsiteY273" fmla="*/ 326294 h 781090"/>
                <a:gd name="connsiteX274" fmla="*/ 699202 w 970063"/>
                <a:gd name="connsiteY274" fmla="*/ 330074 h 781090"/>
                <a:gd name="connsiteX275" fmla="*/ 699202 w 970063"/>
                <a:gd name="connsiteY275" fmla="*/ 331334 h 781090"/>
                <a:gd name="connsiteX276" fmla="*/ 700462 w 970063"/>
                <a:gd name="connsiteY276" fmla="*/ 337633 h 781090"/>
                <a:gd name="connsiteX277" fmla="*/ 701722 w 970063"/>
                <a:gd name="connsiteY277" fmla="*/ 342672 h 781090"/>
                <a:gd name="connsiteX278" fmla="*/ 701722 w 970063"/>
                <a:gd name="connsiteY278" fmla="*/ 342672 h 781090"/>
                <a:gd name="connsiteX279" fmla="*/ 701722 w 970063"/>
                <a:gd name="connsiteY279" fmla="*/ 343932 h 781090"/>
                <a:gd name="connsiteX280" fmla="*/ 702981 w 970063"/>
                <a:gd name="connsiteY280" fmla="*/ 347711 h 781090"/>
                <a:gd name="connsiteX281" fmla="*/ 702981 w 970063"/>
                <a:gd name="connsiteY281" fmla="*/ 350231 h 781090"/>
                <a:gd name="connsiteX282" fmla="*/ 702981 w 970063"/>
                <a:gd name="connsiteY282" fmla="*/ 351491 h 781090"/>
                <a:gd name="connsiteX283" fmla="*/ 702981 w 970063"/>
                <a:gd name="connsiteY283" fmla="*/ 355270 h 781090"/>
                <a:gd name="connsiteX284" fmla="*/ 704241 w 970063"/>
                <a:gd name="connsiteY284" fmla="*/ 361569 h 781090"/>
                <a:gd name="connsiteX285" fmla="*/ 704241 w 970063"/>
                <a:gd name="connsiteY285" fmla="*/ 362829 h 781090"/>
                <a:gd name="connsiteX286" fmla="*/ 706761 w 970063"/>
                <a:gd name="connsiteY286" fmla="*/ 377947 h 781090"/>
                <a:gd name="connsiteX287" fmla="*/ 706761 w 970063"/>
                <a:gd name="connsiteY287" fmla="*/ 377947 h 781090"/>
                <a:gd name="connsiteX288" fmla="*/ 708021 w 970063"/>
                <a:gd name="connsiteY288" fmla="*/ 388026 h 781090"/>
                <a:gd name="connsiteX289" fmla="*/ 708021 w 970063"/>
                <a:gd name="connsiteY289" fmla="*/ 393065 h 781090"/>
                <a:gd name="connsiteX290" fmla="*/ 708021 w 970063"/>
                <a:gd name="connsiteY290" fmla="*/ 394325 h 781090"/>
                <a:gd name="connsiteX291" fmla="*/ 708021 w 970063"/>
                <a:gd name="connsiteY291" fmla="*/ 395585 h 781090"/>
                <a:gd name="connsiteX292" fmla="*/ 708021 w 970063"/>
                <a:gd name="connsiteY292" fmla="*/ 398104 h 781090"/>
                <a:gd name="connsiteX293" fmla="*/ 708021 w 970063"/>
                <a:gd name="connsiteY293" fmla="*/ 403143 h 781090"/>
                <a:gd name="connsiteX294" fmla="*/ 708021 w 970063"/>
                <a:gd name="connsiteY294" fmla="*/ 404403 h 781090"/>
                <a:gd name="connsiteX295" fmla="*/ 708021 w 970063"/>
                <a:gd name="connsiteY295" fmla="*/ 409443 h 781090"/>
                <a:gd name="connsiteX296" fmla="*/ 709280 w 970063"/>
                <a:gd name="connsiteY296" fmla="*/ 419521 h 781090"/>
                <a:gd name="connsiteX297" fmla="*/ 710540 w 970063"/>
                <a:gd name="connsiteY297" fmla="*/ 430860 h 781090"/>
                <a:gd name="connsiteX298" fmla="*/ 710540 w 970063"/>
                <a:gd name="connsiteY298" fmla="*/ 434639 h 781090"/>
                <a:gd name="connsiteX299" fmla="*/ 710540 w 970063"/>
                <a:gd name="connsiteY299" fmla="*/ 435899 h 781090"/>
                <a:gd name="connsiteX300" fmla="*/ 711800 w 970063"/>
                <a:gd name="connsiteY300" fmla="*/ 440938 h 781090"/>
                <a:gd name="connsiteX301" fmla="*/ 713060 w 970063"/>
                <a:gd name="connsiteY301" fmla="*/ 449757 h 781090"/>
                <a:gd name="connsiteX302" fmla="*/ 713060 w 970063"/>
                <a:gd name="connsiteY302" fmla="*/ 449757 h 781090"/>
                <a:gd name="connsiteX303" fmla="*/ 713060 w 970063"/>
                <a:gd name="connsiteY303" fmla="*/ 449757 h 781090"/>
                <a:gd name="connsiteX304" fmla="*/ 713060 w 970063"/>
                <a:gd name="connsiteY304" fmla="*/ 449757 h 781090"/>
                <a:gd name="connsiteX305" fmla="*/ 714320 w 970063"/>
                <a:gd name="connsiteY305" fmla="*/ 454796 h 781090"/>
                <a:gd name="connsiteX306" fmla="*/ 714320 w 970063"/>
                <a:gd name="connsiteY306" fmla="*/ 454796 h 781090"/>
                <a:gd name="connsiteX307" fmla="*/ 715579 w 970063"/>
                <a:gd name="connsiteY307" fmla="*/ 459836 h 781090"/>
                <a:gd name="connsiteX308" fmla="*/ 716839 w 970063"/>
                <a:gd name="connsiteY308" fmla="*/ 461095 h 781090"/>
                <a:gd name="connsiteX309" fmla="*/ 718099 w 970063"/>
                <a:gd name="connsiteY309" fmla="*/ 461095 h 781090"/>
                <a:gd name="connsiteX310" fmla="*/ 719359 w 970063"/>
                <a:gd name="connsiteY310" fmla="*/ 461095 h 781090"/>
                <a:gd name="connsiteX311" fmla="*/ 720619 w 970063"/>
                <a:gd name="connsiteY311" fmla="*/ 461095 h 781090"/>
                <a:gd name="connsiteX312" fmla="*/ 721879 w 970063"/>
                <a:gd name="connsiteY312" fmla="*/ 459836 h 781090"/>
                <a:gd name="connsiteX313" fmla="*/ 721879 w 970063"/>
                <a:gd name="connsiteY313" fmla="*/ 468654 h 781090"/>
                <a:gd name="connsiteX314" fmla="*/ 721879 w 970063"/>
                <a:gd name="connsiteY314" fmla="*/ 473694 h 781090"/>
                <a:gd name="connsiteX315" fmla="*/ 721879 w 970063"/>
                <a:gd name="connsiteY315" fmla="*/ 474953 h 781090"/>
                <a:gd name="connsiteX316" fmla="*/ 721879 w 970063"/>
                <a:gd name="connsiteY316" fmla="*/ 476213 h 781090"/>
                <a:gd name="connsiteX317" fmla="*/ 721879 w 970063"/>
                <a:gd name="connsiteY317" fmla="*/ 477473 h 781090"/>
                <a:gd name="connsiteX318" fmla="*/ 721879 w 970063"/>
                <a:gd name="connsiteY318" fmla="*/ 478733 h 781090"/>
                <a:gd name="connsiteX319" fmla="*/ 721879 w 970063"/>
                <a:gd name="connsiteY319" fmla="*/ 485032 h 781090"/>
                <a:gd name="connsiteX320" fmla="*/ 721879 w 970063"/>
                <a:gd name="connsiteY320" fmla="*/ 487552 h 781090"/>
                <a:gd name="connsiteX321" fmla="*/ 721879 w 970063"/>
                <a:gd name="connsiteY321" fmla="*/ 490071 h 781090"/>
                <a:gd name="connsiteX322" fmla="*/ 721879 w 970063"/>
                <a:gd name="connsiteY322" fmla="*/ 492591 h 781090"/>
                <a:gd name="connsiteX323" fmla="*/ 720619 w 970063"/>
                <a:gd name="connsiteY323" fmla="*/ 510228 h 781090"/>
                <a:gd name="connsiteX324" fmla="*/ 719359 w 970063"/>
                <a:gd name="connsiteY324" fmla="*/ 534165 h 781090"/>
                <a:gd name="connsiteX325" fmla="*/ 719359 w 970063"/>
                <a:gd name="connsiteY325" fmla="*/ 534165 h 781090"/>
                <a:gd name="connsiteX326" fmla="*/ 719359 w 970063"/>
                <a:gd name="connsiteY326" fmla="*/ 534165 h 781090"/>
                <a:gd name="connsiteX327" fmla="*/ 710540 w 970063"/>
                <a:gd name="connsiteY327" fmla="*/ 541724 h 781090"/>
                <a:gd name="connsiteX328" fmla="*/ 686604 w 970063"/>
                <a:gd name="connsiteY328" fmla="*/ 566921 h 781090"/>
                <a:gd name="connsiteX329" fmla="*/ 684084 w 970063"/>
                <a:gd name="connsiteY329" fmla="*/ 569440 h 781090"/>
                <a:gd name="connsiteX330" fmla="*/ 663927 w 970063"/>
                <a:gd name="connsiteY330" fmla="*/ 593377 h 781090"/>
                <a:gd name="connsiteX331" fmla="*/ 652588 w 970063"/>
                <a:gd name="connsiteY331" fmla="*/ 608495 h 781090"/>
                <a:gd name="connsiteX332" fmla="*/ 642510 w 970063"/>
                <a:gd name="connsiteY332" fmla="*/ 623613 h 781090"/>
                <a:gd name="connsiteX333" fmla="*/ 634951 w 970063"/>
                <a:gd name="connsiteY333" fmla="*/ 637471 h 781090"/>
                <a:gd name="connsiteX334" fmla="*/ 634951 w 970063"/>
                <a:gd name="connsiteY334" fmla="*/ 637471 h 781090"/>
                <a:gd name="connsiteX335" fmla="*/ 629912 w 970063"/>
                <a:gd name="connsiteY335" fmla="*/ 646289 h 781090"/>
                <a:gd name="connsiteX336" fmla="*/ 627392 w 970063"/>
                <a:gd name="connsiteY336" fmla="*/ 651329 h 781090"/>
                <a:gd name="connsiteX337" fmla="*/ 627392 w 970063"/>
                <a:gd name="connsiteY337" fmla="*/ 651329 h 781090"/>
                <a:gd name="connsiteX338" fmla="*/ 626132 w 970063"/>
                <a:gd name="connsiteY338" fmla="*/ 653848 h 781090"/>
                <a:gd name="connsiteX339" fmla="*/ 619833 w 970063"/>
                <a:gd name="connsiteY339" fmla="*/ 667706 h 781090"/>
                <a:gd name="connsiteX340" fmla="*/ 619833 w 970063"/>
                <a:gd name="connsiteY340" fmla="*/ 667706 h 781090"/>
                <a:gd name="connsiteX341" fmla="*/ 619833 w 970063"/>
                <a:gd name="connsiteY341" fmla="*/ 668966 h 781090"/>
                <a:gd name="connsiteX342" fmla="*/ 617313 w 970063"/>
                <a:gd name="connsiteY342" fmla="*/ 677785 h 781090"/>
                <a:gd name="connsiteX343" fmla="*/ 617313 w 970063"/>
                <a:gd name="connsiteY343" fmla="*/ 679045 h 781090"/>
                <a:gd name="connsiteX344" fmla="*/ 617313 w 970063"/>
                <a:gd name="connsiteY344" fmla="*/ 679045 h 781090"/>
                <a:gd name="connsiteX345" fmla="*/ 614794 w 970063"/>
                <a:gd name="connsiteY345" fmla="*/ 686604 h 781090"/>
                <a:gd name="connsiteX346" fmla="*/ 614794 w 970063"/>
                <a:gd name="connsiteY346" fmla="*/ 691643 h 781090"/>
                <a:gd name="connsiteX347" fmla="*/ 614794 w 970063"/>
                <a:gd name="connsiteY347" fmla="*/ 694163 h 781090"/>
                <a:gd name="connsiteX348" fmla="*/ 614794 w 970063"/>
                <a:gd name="connsiteY348" fmla="*/ 696682 h 781090"/>
                <a:gd name="connsiteX349" fmla="*/ 614794 w 970063"/>
                <a:gd name="connsiteY349" fmla="*/ 701722 h 781090"/>
                <a:gd name="connsiteX350" fmla="*/ 614794 w 970063"/>
                <a:gd name="connsiteY350" fmla="*/ 701722 h 781090"/>
                <a:gd name="connsiteX351" fmla="*/ 614794 w 970063"/>
                <a:gd name="connsiteY351" fmla="*/ 701722 h 781090"/>
                <a:gd name="connsiteX352" fmla="*/ 614794 w 970063"/>
                <a:gd name="connsiteY352" fmla="*/ 704241 h 781090"/>
                <a:gd name="connsiteX353" fmla="*/ 614794 w 970063"/>
                <a:gd name="connsiteY353" fmla="*/ 710540 h 781090"/>
                <a:gd name="connsiteX354" fmla="*/ 614794 w 970063"/>
                <a:gd name="connsiteY354" fmla="*/ 713060 h 781090"/>
                <a:gd name="connsiteX355" fmla="*/ 614794 w 970063"/>
                <a:gd name="connsiteY355" fmla="*/ 720619 h 781090"/>
                <a:gd name="connsiteX356" fmla="*/ 618573 w 970063"/>
                <a:gd name="connsiteY356" fmla="*/ 738257 h 781090"/>
                <a:gd name="connsiteX357" fmla="*/ 618573 w 970063"/>
                <a:gd name="connsiteY357" fmla="*/ 739516 h 781090"/>
                <a:gd name="connsiteX358" fmla="*/ 622353 w 970063"/>
                <a:gd name="connsiteY358" fmla="*/ 749595 h 781090"/>
                <a:gd name="connsiteX359" fmla="*/ 626132 w 970063"/>
                <a:gd name="connsiteY359" fmla="*/ 758414 h 781090"/>
                <a:gd name="connsiteX360" fmla="*/ 628652 w 970063"/>
                <a:gd name="connsiteY360" fmla="*/ 762193 h 781090"/>
                <a:gd name="connsiteX361" fmla="*/ 629912 w 970063"/>
                <a:gd name="connsiteY361" fmla="*/ 764713 h 781090"/>
                <a:gd name="connsiteX362" fmla="*/ 629912 w 970063"/>
                <a:gd name="connsiteY362" fmla="*/ 765973 h 781090"/>
                <a:gd name="connsiteX363" fmla="*/ 636211 w 970063"/>
                <a:gd name="connsiteY363" fmla="*/ 773532 h 781090"/>
                <a:gd name="connsiteX364" fmla="*/ 636211 w 970063"/>
                <a:gd name="connsiteY364" fmla="*/ 773532 h 781090"/>
                <a:gd name="connsiteX365" fmla="*/ 638731 w 970063"/>
                <a:gd name="connsiteY365" fmla="*/ 776051 h 781090"/>
                <a:gd name="connsiteX366" fmla="*/ 642510 w 970063"/>
                <a:gd name="connsiteY366" fmla="*/ 778571 h 781090"/>
                <a:gd name="connsiteX367" fmla="*/ 643770 w 970063"/>
                <a:gd name="connsiteY367" fmla="*/ 778571 h 781090"/>
                <a:gd name="connsiteX368" fmla="*/ 646289 w 970063"/>
                <a:gd name="connsiteY368" fmla="*/ 779831 h 781090"/>
                <a:gd name="connsiteX369" fmla="*/ 653848 w 970063"/>
                <a:gd name="connsiteY369" fmla="*/ 783610 h 781090"/>
                <a:gd name="connsiteX370" fmla="*/ 653848 w 970063"/>
                <a:gd name="connsiteY370" fmla="*/ 783610 h 781090"/>
                <a:gd name="connsiteX371" fmla="*/ 662667 w 970063"/>
                <a:gd name="connsiteY371" fmla="*/ 786130 h 781090"/>
                <a:gd name="connsiteX372" fmla="*/ 662667 w 970063"/>
                <a:gd name="connsiteY372" fmla="*/ 786130 h 781090"/>
                <a:gd name="connsiteX373" fmla="*/ 662667 w 970063"/>
                <a:gd name="connsiteY373" fmla="*/ 786130 h 781090"/>
                <a:gd name="connsiteX374" fmla="*/ 662667 w 970063"/>
                <a:gd name="connsiteY374" fmla="*/ 786130 h 781090"/>
                <a:gd name="connsiteX375" fmla="*/ 661407 w 970063"/>
                <a:gd name="connsiteY375" fmla="*/ 786130 h 781090"/>
                <a:gd name="connsiteX376" fmla="*/ 660147 w 970063"/>
                <a:gd name="connsiteY376" fmla="*/ 786130 h 781090"/>
                <a:gd name="connsiteX377" fmla="*/ 656368 w 970063"/>
                <a:gd name="connsiteY377" fmla="*/ 786130 h 781090"/>
                <a:gd name="connsiteX378" fmla="*/ 651329 w 970063"/>
                <a:gd name="connsiteY378" fmla="*/ 786130 h 781090"/>
                <a:gd name="connsiteX379" fmla="*/ 631172 w 970063"/>
                <a:gd name="connsiteY379" fmla="*/ 787390 h 781090"/>
                <a:gd name="connsiteX380" fmla="*/ 603455 w 970063"/>
                <a:gd name="connsiteY380" fmla="*/ 787390 h 781090"/>
                <a:gd name="connsiteX381" fmla="*/ 595896 w 970063"/>
                <a:gd name="connsiteY381" fmla="*/ 787390 h 781090"/>
                <a:gd name="connsiteX382" fmla="*/ 593377 w 970063"/>
                <a:gd name="connsiteY382" fmla="*/ 787390 h 781090"/>
                <a:gd name="connsiteX383" fmla="*/ 593377 w 970063"/>
                <a:gd name="connsiteY383" fmla="*/ 787390 h 781090"/>
                <a:gd name="connsiteX384" fmla="*/ 587078 w 970063"/>
                <a:gd name="connsiteY384" fmla="*/ 787390 h 781090"/>
                <a:gd name="connsiteX385" fmla="*/ 578259 w 970063"/>
                <a:gd name="connsiteY385" fmla="*/ 787390 h 781090"/>
                <a:gd name="connsiteX386" fmla="*/ 573220 w 970063"/>
                <a:gd name="connsiteY386" fmla="*/ 787390 h 781090"/>
                <a:gd name="connsiteX387" fmla="*/ 573220 w 970063"/>
                <a:gd name="connsiteY387" fmla="*/ 787390 h 781090"/>
                <a:gd name="connsiteX388" fmla="*/ 573220 w 970063"/>
                <a:gd name="connsiteY388" fmla="*/ 787390 h 781090"/>
                <a:gd name="connsiteX389" fmla="*/ 560621 w 970063"/>
                <a:gd name="connsiteY389" fmla="*/ 787390 h 781090"/>
                <a:gd name="connsiteX390" fmla="*/ 554322 w 970063"/>
                <a:gd name="connsiteY390" fmla="*/ 787390 h 781090"/>
                <a:gd name="connsiteX391" fmla="*/ 553062 w 970063"/>
                <a:gd name="connsiteY391" fmla="*/ 787390 h 781090"/>
                <a:gd name="connsiteX392" fmla="*/ 541724 w 970063"/>
                <a:gd name="connsiteY392" fmla="*/ 787390 h 781090"/>
                <a:gd name="connsiteX393" fmla="*/ 536685 w 970063"/>
                <a:gd name="connsiteY393" fmla="*/ 787390 h 781090"/>
                <a:gd name="connsiteX394" fmla="*/ 535425 w 970063"/>
                <a:gd name="connsiteY394" fmla="*/ 787390 h 781090"/>
                <a:gd name="connsiteX395" fmla="*/ 535425 w 970063"/>
                <a:gd name="connsiteY395" fmla="*/ 787390 h 781090"/>
                <a:gd name="connsiteX396" fmla="*/ 535425 w 970063"/>
                <a:gd name="connsiteY396" fmla="*/ 787390 h 781090"/>
                <a:gd name="connsiteX397" fmla="*/ 524087 w 970063"/>
                <a:gd name="connsiteY397" fmla="*/ 787390 h 781090"/>
                <a:gd name="connsiteX398" fmla="*/ 516528 w 970063"/>
                <a:gd name="connsiteY398" fmla="*/ 787390 h 781090"/>
                <a:gd name="connsiteX399" fmla="*/ 506449 w 970063"/>
                <a:gd name="connsiteY399" fmla="*/ 787390 h 781090"/>
                <a:gd name="connsiteX400" fmla="*/ 488811 w 970063"/>
                <a:gd name="connsiteY400" fmla="*/ 786130 h 781090"/>
                <a:gd name="connsiteX401" fmla="*/ 487552 w 970063"/>
                <a:gd name="connsiteY401" fmla="*/ 786130 h 781090"/>
                <a:gd name="connsiteX402" fmla="*/ 478733 w 970063"/>
                <a:gd name="connsiteY402" fmla="*/ 784870 h 781090"/>
                <a:gd name="connsiteX403" fmla="*/ 477473 w 970063"/>
                <a:gd name="connsiteY403" fmla="*/ 784870 h 781090"/>
                <a:gd name="connsiteX404" fmla="*/ 477473 w 970063"/>
                <a:gd name="connsiteY404" fmla="*/ 784870 h 781090"/>
                <a:gd name="connsiteX405" fmla="*/ 471174 w 970063"/>
                <a:gd name="connsiteY405" fmla="*/ 783610 h 781090"/>
                <a:gd name="connsiteX406" fmla="*/ 468654 w 970063"/>
                <a:gd name="connsiteY406" fmla="*/ 783610 h 781090"/>
                <a:gd name="connsiteX407" fmla="*/ 461095 w 970063"/>
                <a:gd name="connsiteY407" fmla="*/ 783610 h 781090"/>
                <a:gd name="connsiteX408" fmla="*/ 454796 w 970063"/>
                <a:gd name="connsiteY408" fmla="*/ 783610 h 781090"/>
                <a:gd name="connsiteX409" fmla="*/ 453536 w 970063"/>
                <a:gd name="connsiteY409" fmla="*/ 783610 h 781090"/>
                <a:gd name="connsiteX410" fmla="*/ 452276 w 970063"/>
                <a:gd name="connsiteY410" fmla="*/ 783610 h 781090"/>
                <a:gd name="connsiteX411" fmla="*/ 448497 w 970063"/>
                <a:gd name="connsiteY411" fmla="*/ 783610 h 781090"/>
                <a:gd name="connsiteX412" fmla="*/ 448497 w 970063"/>
                <a:gd name="connsiteY412" fmla="*/ 783610 h 781090"/>
                <a:gd name="connsiteX413" fmla="*/ 443458 w 970063"/>
                <a:gd name="connsiteY413" fmla="*/ 783610 h 781090"/>
                <a:gd name="connsiteX414" fmla="*/ 437159 w 970063"/>
                <a:gd name="connsiteY414" fmla="*/ 783610 h 781090"/>
                <a:gd name="connsiteX415" fmla="*/ 434639 w 970063"/>
                <a:gd name="connsiteY415" fmla="*/ 783610 h 781090"/>
                <a:gd name="connsiteX416" fmla="*/ 434639 w 970063"/>
                <a:gd name="connsiteY416" fmla="*/ 783610 h 781090"/>
                <a:gd name="connsiteX417" fmla="*/ 433379 w 970063"/>
                <a:gd name="connsiteY417" fmla="*/ 783610 h 781090"/>
                <a:gd name="connsiteX418" fmla="*/ 423301 w 970063"/>
                <a:gd name="connsiteY418" fmla="*/ 783610 h 781090"/>
                <a:gd name="connsiteX419" fmla="*/ 414482 w 970063"/>
                <a:gd name="connsiteY419" fmla="*/ 783610 h 781090"/>
                <a:gd name="connsiteX420" fmla="*/ 414482 w 970063"/>
                <a:gd name="connsiteY420" fmla="*/ 783610 h 781090"/>
                <a:gd name="connsiteX421" fmla="*/ 413222 w 970063"/>
                <a:gd name="connsiteY421" fmla="*/ 783610 h 781090"/>
                <a:gd name="connsiteX422" fmla="*/ 405663 w 970063"/>
                <a:gd name="connsiteY422" fmla="*/ 783610 h 781090"/>
                <a:gd name="connsiteX423" fmla="*/ 405663 w 970063"/>
                <a:gd name="connsiteY423" fmla="*/ 783610 h 781090"/>
                <a:gd name="connsiteX424" fmla="*/ 405663 w 970063"/>
                <a:gd name="connsiteY424" fmla="*/ 783610 h 781090"/>
                <a:gd name="connsiteX425" fmla="*/ 376687 w 970063"/>
                <a:gd name="connsiteY425" fmla="*/ 784870 h 781090"/>
                <a:gd name="connsiteX426" fmla="*/ 359050 w 970063"/>
                <a:gd name="connsiteY426" fmla="*/ 784870 h 781090"/>
                <a:gd name="connsiteX427" fmla="*/ 357790 w 970063"/>
                <a:gd name="connsiteY427" fmla="*/ 784870 h 781090"/>
                <a:gd name="connsiteX428" fmla="*/ 356530 w 970063"/>
                <a:gd name="connsiteY428" fmla="*/ 784870 h 781090"/>
                <a:gd name="connsiteX429" fmla="*/ 356530 w 970063"/>
                <a:gd name="connsiteY429" fmla="*/ 784870 h 781090"/>
                <a:gd name="connsiteX430" fmla="*/ 355270 w 970063"/>
                <a:gd name="connsiteY430" fmla="*/ 784870 h 781090"/>
                <a:gd name="connsiteX431" fmla="*/ 350231 w 970063"/>
                <a:gd name="connsiteY431" fmla="*/ 784870 h 781090"/>
                <a:gd name="connsiteX432" fmla="*/ 346451 w 970063"/>
                <a:gd name="connsiteY432" fmla="*/ 784870 h 781090"/>
                <a:gd name="connsiteX433" fmla="*/ 342672 w 970063"/>
                <a:gd name="connsiteY433" fmla="*/ 784870 h 781090"/>
                <a:gd name="connsiteX434" fmla="*/ 342672 w 970063"/>
                <a:gd name="connsiteY434" fmla="*/ 784870 h 781090"/>
                <a:gd name="connsiteX435" fmla="*/ 340152 w 970063"/>
                <a:gd name="connsiteY435" fmla="*/ 783610 h 781090"/>
                <a:gd name="connsiteX436" fmla="*/ 337632 w 970063"/>
                <a:gd name="connsiteY436" fmla="*/ 782350 h 781090"/>
                <a:gd name="connsiteX437" fmla="*/ 335113 w 970063"/>
                <a:gd name="connsiteY437" fmla="*/ 779831 h 781090"/>
                <a:gd name="connsiteX438" fmla="*/ 333853 w 970063"/>
                <a:gd name="connsiteY438" fmla="*/ 774791 h 781090"/>
                <a:gd name="connsiteX439" fmla="*/ 333853 w 970063"/>
                <a:gd name="connsiteY439" fmla="*/ 769752 h 781090"/>
                <a:gd name="connsiteX440" fmla="*/ 332593 w 970063"/>
                <a:gd name="connsiteY440" fmla="*/ 764713 h 781090"/>
                <a:gd name="connsiteX441" fmla="*/ 332593 w 970063"/>
                <a:gd name="connsiteY441" fmla="*/ 764713 h 781090"/>
                <a:gd name="connsiteX442" fmla="*/ 332593 w 970063"/>
                <a:gd name="connsiteY442" fmla="*/ 759674 h 781090"/>
                <a:gd name="connsiteX443" fmla="*/ 332593 w 970063"/>
                <a:gd name="connsiteY443" fmla="*/ 759674 h 781090"/>
                <a:gd name="connsiteX444" fmla="*/ 332593 w 970063"/>
                <a:gd name="connsiteY444" fmla="*/ 759674 h 781090"/>
                <a:gd name="connsiteX445" fmla="*/ 332593 w 970063"/>
                <a:gd name="connsiteY445" fmla="*/ 755894 h 781090"/>
                <a:gd name="connsiteX446" fmla="*/ 332593 w 970063"/>
                <a:gd name="connsiteY446" fmla="*/ 752114 h 781090"/>
                <a:gd name="connsiteX447" fmla="*/ 330074 w 970063"/>
                <a:gd name="connsiteY447" fmla="*/ 724398 h 781090"/>
                <a:gd name="connsiteX448" fmla="*/ 328814 w 970063"/>
                <a:gd name="connsiteY448" fmla="*/ 705501 h 781090"/>
                <a:gd name="connsiteX449" fmla="*/ 328814 w 970063"/>
                <a:gd name="connsiteY449" fmla="*/ 696682 h 781090"/>
                <a:gd name="connsiteX450" fmla="*/ 328814 w 970063"/>
                <a:gd name="connsiteY450" fmla="*/ 684084 h 781090"/>
                <a:gd name="connsiteX451" fmla="*/ 328814 w 970063"/>
                <a:gd name="connsiteY451" fmla="*/ 675265 h 781090"/>
                <a:gd name="connsiteX452" fmla="*/ 328814 w 970063"/>
                <a:gd name="connsiteY452" fmla="*/ 661407 h 781090"/>
                <a:gd name="connsiteX453" fmla="*/ 327554 w 970063"/>
                <a:gd name="connsiteY453" fmla="*/ 617313 h 781090"/>
                <a:gd name="connsiteX454" fmla="*/ 327554 w 970063"/>
                <a:gd name="connsiteY454" fmla="*/ 614794 h 781090"/>
                <a:gd name="connsiteX455" fmla="*/ 326294 w 970063"/>
                <a:gd name="connsiteY455" fmla="*/ 592117 h 781090"/>
                <a:gd name="connsiteX456" fmla="*/ 326294 w 970063"/>
                <a:gd name="connsiteY456" fmla="*/ 578259 h 781090"/>
                <a:gd name="connsiteX457" fmla="*/ 326294 w 970063"/>
                <a:gd name="connsiteY457" fmla="*/ 570700 h 781090"/>
                <a:gd name="connsiteX458" fmla="*/ 326294 w 970063"/>
                <a:gd name="connsiteY458" fmla="*/ 548023 h 781090"/>
                <a:gd name="connsiteX459" fmla="*/ 326294 w 970063"/>
                <a:gd name="connsiteY459" fmla="*/ 540464 h 781090"/>
                <a:gd name="connsiteX460" fmla="*/ 326294 w 970063"/>
                <a:gd name="connsiteY460" fmla="*/ 525346 h 781090"/>
                <a:gd name="connsiteX461" fmla="*/ 326294 w 970063"/>
                <a:gd name="connsiteY461" fmla="*/ 508969 h 781090"/>
                <a:gd name="connsiteX462" fmla="*/ 326294 w 970063"/>
                <a:gd name="connsiteY462" fmla="*/ 501410 h 781090"/>
                <a:gd name="connsiteX463" fmla="*/ 326294 w 970063"/>
                <a:gd name="connsiteY463" fmla="*/ 479993 h 781090"/>
                <a:gd name="connsiteX464" fmla="*/ 326294 w 970063"/>
                <a:gd name="connsiteY464" fmla="*/ 462355 h 781090"/>
                <a:gd name="connsiteX465" fmla="*/ 326294 w 970063"/>
                <a:gd name="connsiteY465" fmla="*/ 433379 h 781090"/>
                <a:gd name="connsiteX466" fmla="*/ 326294 w 970063"/>
                <a:gd name="connsiteY466" fmla="*/ 433379 h 781090"/>
                <a:gd name="connsiteX467" fmla="*/ 326294 w 970063"/>
                <a:gd name="connsiteY467" fmla="*/ 410702 h 781090"/>
                <a:gd name="connsiteX468" fmla="*/ 326294 w 970063"/>
                <a:gd name="connsiteY468" fmla="*/ 396844 h 781090"/>
                <a:gd name="connsiteX469" fmla="*/ 326294 w 970063"/>
                <a:gd name="connsiteY469" fmla="*/ 388026 h 781090"/>
                <a:gd name="connsiteX470" fmla="*/ 326294 w 970063"/>
                <a:gd name="connsiteY470" fmla="*/ 377947 h 781090"/>
                <a:gd name="connsiteX471" fmla="*/ 326294 w 970063"/>
                <a:gd name="connsiteY471" fmla="*/ 365349 h 781090"/>
                <a:gd name="connsiteX472" fmla="*/ 326294 w 970063"/>
                <a:gd name="connsiteY472" fmla="*/ 356530 h 781090"/>
                <a:gd name="connsiteX473" fmla="*/ 326294 w 970063"/>
                <a:gd name="connsiteY473" fmla="*/ 352751 h 781090"/>
                <a:gd name="connsiteX474" fmla="*/ 326294 w 970063"/>
                <a:gd name="connsiteY474" fmla="*/ 340152 h 781090"/>
                <a:gd name="connsiteX475" fmla="*/ 326294 w 970063"/>
                <a:gd name="connsiteY475" fmla="*/ 326294 h 781090"/>
                <a:gd name="connsiteX476" fmla="*/ 326294 w 970063"/>
                <a:gd name="connsiteY476" fmla="*/ 318735 h 781090"/>
                <a:gd name="connsiteX477" fmla="*/ 326294 w 970063"/>
                <a:gd name="connsiteY477" fmla="*/ 299838 h 781090"/>
                <a:gd name="connsiteX478" fmla="*/ 326294 w 970063"/>
                <a:gd name="connsiteY478" fmla="*/ 296058 h 781090"/>
                <a:gd name="connsiteX479" fmla="*/ 326294 w 970063"/>
                <a:gd name="connsiteY479" fmla="*/ 279681 h 781090"/>
                <a:gd name="connsiteX480" fmla="*/ 327554 w 970063"/>
                <a:gd name="connsiteY480" fmla="*/ 279681 h 781090"/>
                <a:gd name="connsiteX481" fmla="*/ 328814 w 970063"/>
                <a:gd name="connsiteY481" fmla="*/ 278421 h 781090"/>
                <a:gd name="connsiteX482" fmla="*/ 330074 w 970063"/>
                <a:gd name="connsiteY482" fmla="*/ 275901 h 781090"/>
                <a:gd name="connsiteX483" fmla="*/ 328814 w 970063"/>
                <a:gd name="connsiteY483" fmla="*/ 273382 h 781090"/>
                <a:gd name="connsiteX484" fmla="*/ 328814 w 970063"/>
                <a:gd name="connsiteY484" fmla="*/ 273382 h 781090"/>
                <a:gd name="connsiteX485" fmla="*/ 328814 w 970063"/>
                <a:gd name="connsiteY485" fmla="*/ 273382 h 781090"/>
                <a:gd name="connsiteX486" fmla="*/ 328814 w 970063"/>
                <a:gd name="connsiteY486" fmla="*/ 273382 h 781090"/>
                <a:gd name="connsiteX487" fmla="*/ 328814 w 970063"/>
                <a:gd name="connsiteY487" fmla="*/ 264563 h 781090"/>
                <a:gd name="connsiteX488" fmla="*/ 330074 w 970063"/>
                <a:gd name="connsiteY488" fmla="*/ 251965 h 781090"/>
                <a:gd name="connsiteX489" fmla="*/ 331333 w 970063"/>
                <a:gd name="connsiteY489" fmla="*/ 238107 h 781090"/>
                <a:gd name="connsiteX490" fmla="*/ 331333 w 970063"/>
                <a:gd name="connsiteY490" fmla="*/ 234327 h 781090"/>
                <a:gd name="connsiteX491" fmla="*/ 331333 w 970063"/>
                <a:gd name="connsiteY491" fmla="*/ 231808 h 781090"/>
                <a:gd name="connsiteX492" fmla="*/ 331333 w 970063"/>
                <a:gd name="connsiteY492" fmla="*/ 229288 h 781090"/>
                <a:gd name="connsiteX493" fmla="*/ 331333 w 970063"/>
                <a:gd name="connsiteY493" fmla="*/ 225508 h 781090"/>
                <a:gd name="connsiteX494" fmla="*/ 331333 w 970063"/>
                <a:gd name="connsiteY494" fmla="*/ 219209 h 781090"/>
                <a:gd name="connsiteX495" fmla="*/ 331333 w 970063"/>
                <a:gd name="connsiteY495" fmla="*/ 216690 h 781090"/>
                <a:gd name="connsiteX496" fmla="*/ 331333 w 970063"/>
                <a:gd name="connsiteY496" fmla="*/ 212910 h 781090"/>
                <a:gd name="connsiteX497" fmla="*/ 331333 w 970063"/>
                <a:gd name="connsiteY497" fmla="*/ 210390 h 781090"/>
                <a:gd name="connsiteX498" fmla="*/ 331333 w 970063"/>
                <a:gd name="connsiteY498" fmla="*/ 206611 h 781090"/>
                <a:gd name="connsiteX499" fmla="*/ 331333 w 970063"/>
                <a:gd name="connsiteY499" fmla="*/ 204091 h 781090"/>
                <a:gd name="connsiteX500" fmla="*/ 331333 w 970063"/>
                <a:gd name="connsiteY500" fmla="*/ 200312 h 781090"/>
                <a:gd name="connsiteX501" fmla="*/ 331333 w 970063"/>
                <a:gd name="connsiteY501" fmla="*/ 199052 h 781090"/>
                <a:gd name="connsiteX502" fmla="*/ 331333 w 970063"/>
                <a:gd name="connsiteY502" fmla="*/ 197792 h 781090"/>
                <a:gd name="connsiteX503" fmla="*/ 331333 w 970063"/>
                <a:gd name="connsiteY503" fmla="*/ 195273 h 781090"/>
                <a:gd name="connsiteX504" fmla="*/ 330074 w 970063"/>
                <a:gd name="connsiteY504" fmla="*/ 195273 h 781090"/>
                <a:gd name="connsiteX505" fmla="*/ 328814 w 970063"/>
                <a:gd name="connsiteY505" fmla="*/ 195273 h 781090"/>
                <a:gd name="connsiteX506" fmla="*/ 327554 w 970063"/>
                <a:gd name="connsiteY506" fmla="*/ 195273 h 781090"/>
                <a:gd name="connsiteX507" fmla="*/ 327554 w 970063"/>
                <a:gd name="connsiteY507" fmla="*/ 195273 h 781090"/>
                <a:gd name="connsiteX508" fmla="*/ 327554 w 970063"/>
                <a:gd name="connsiteY508" fmla="*/ 195273 h 781090"/>
                <a:gd name="connsiteX509" fmla="*/ 326294 w 970063"/>
                <a:gd name="connsiteY509" fmla="*/ 195273 h 781090"/>
                <a:gd name="connsiteX510" fmla="*/ 323775 w 970063"/>
                <a:gd name="connsiteY510" fmla="*/ 196533 h 781090"/>
                <a:gd name="connsiteX511" fmla="*/ 321255 w 970063"/>
                <a:gd name="connsiteY511" fmla="*/ 197792 h 781090"/>
                <a:gd name="connsiteX512" fmla="*/ 317476 w 970063"/>
                <a:gd name="connsiteY512" fmla="*/ 199052 h 781090"/>
                <a:gd name="connsiteX513" fmla="*/ 311177 w 970063"/>
                <a:gd name="connsiteY513" fmla="*/ 201572 h 781090"/>
                <a:gd name="connsiteX514" fmla="*/ 311177 w 970063"/>
                <a:gd name="connsiteY514" fmla="*/ 201572 h 781090"/>
                <a:gd name="connsiteX515" fmla="*/ 304877 w 970063"/>
                <a:gd name="connsiteY515" fmla="*/ 204091 h 781090"/>
                <a:gd name="connsiteX516" fmla="*/ 301098 w 970063"/>
                <a:gd name="connsiteY516" fmla="*/ 205351 h 781090"/>
                <a:gd name="connsiteX517" fmla="*/ 298578 w 970063"/>
                <a:gd name="connsiteY517" fmla="*/ 206611 h 781090"/>
                <a:gd name="connsiteX518" fmla="*/ 298578 w 970063"/>
                <a:gd name="connsiteY518" fmla="*/ 206611 h 781090"/>
                <a:gd name="connsiteX519" fmla="*/ 292279 w 970063"/>
                <a:gd name="connsiteY519" fmla="*/ 207871 h 781090"/>
                <a:gd name="connsiteX520" fmla="*/ 288499 w 970063"/>
                <a:gd name="connsiteY520" fmla="*/ 209131 h 781090"/>
                <a:gd name="connsiteX521" fmla="*/ 285980 w 970063"/>
                <a:gd name="connsiteY521" fmla="*/ 209131 h 781090"/>
                <a:gd name="connsiteX522" fmla="*/ 279681 w 970063"/>
                <a:gd name="connsiteY522" fmla="*/ 210390 h 781090"/>
                <a:gd name="connsiteX523" fmla="*/ 264563 w 970063"/>
                <a:gd name="connsiteY523" fmla="*/ 212910 h 781090"/>
                <a:gd name="connsiteX524" fmla="*/ 263303 w 970063"/>
                <a:gd name="connsiteY524" fmla="*/ 212910 h 781090"/>
                <a:gd name="connsiteX525" fmla="*/ 258264 w 970063"/>
                <a:gd name="connsiteY525" fmla="*/ 214170 h 781090"/>
                <a:gd name="connsiteX526" fmla="*/ 254484 w 970063"/>
                <a:gd name="connsiteY526" fmla="*/ 214170 h 781090"/>
                <a:gd name="connsiteX527" fmla="*/ 250705 w 970063"/>
                <a:gd name="connsiteY527" fmla="*/ 214170 h 781090"/>
                <a:gd name="connsiteX528" fmla="*/ 246925 w 970063"/>
                <a:gd name="connsiteY528" fmla="*/ 214170 h 781090"/>
                <a:gd name="connsiteX529" fmla="*/ 244406 w 970063"/>
                <a:gd name="connsiteY529" fmla="*/ 214170 h 781090"/>
                <a:gd name="connsiteX530" fmla="*/ 244406 w 970063"/>
                <a:gd name="connsiteY530" fmla="*/ 214170 h 781090"/>
                <a:gd name="connsiteX531" fmla="*/ 236847 w 970063"/>
                <a:gd name="connsiteY531" fmla="*/ 214170 h 781090"/>
                <a:gd name="connsiteX532" fmla="*/ 222989 w 970063"/>
                <a:gd name="connsiteY532" fmla="*/ 215430 h 781090"/>
                <a:gd name="connsiteX533" fmla="*/ 215430 w 970063"/>
                <a:gd name="connsiteY533" fmla="*/ 216690 h 781090"/>
                <a:gd name="connsiteX534" fmla="*/ 209131 w 970063"/>
                <a:gd name="connsiteY534" fmla="*/ 217949 h 781090"/>
                <a:gd name="connsiteX535" fmla="*/ 207871 w 970063"/>
                <a:gd name="connsiteY535" fmla="*/ 217949 h 781090"/>
                <a:gd name="connsiteX536" fmla="*/ 207871 w 970063"/>
                <a:gd name="connsiteY536" fmla="*/ 217949 h 781090"/>
                <a:gd name="connsiteX537" fmla="*/ 206611 w 970063"/>
                <a:gd name="connsiteY537" fmla="*/ 217949 h 781090"/>
                <a:gd name="connsiteX538" fmla="*/ 200312 w 970063"/>
                <a:gd name="connsiteY538" fmla="*/ 215430 h 781090"/>
                <a:gd name="connsiteX539" fmla="*/ 200312 w 970063"/>
                <a:gd name="connsiteY539" fmla="*/ 215430 h 781090"/>
                <a:gd name="connsiteX540" fmla="*/ 197792 w 970063"/>
                <a:gd name="connsiteY540" fmla="*/ 215430 h 781090"/>
                <a:gd name="connsiteX541" fmla="*/ 194013 w 970063"/>
                <a:gd name="connsiteY541" fmla="*/ 215430 h 781090"/>
                <a:gd name="connsiteX542" fmla="*/ 194013 w 970063"/>
                <a:gd name="connsiteY542" fmla="*/ 215430 h 781090"/>
                <a:gd name="connsiteX543" fmla="*/ 191493 w 970063"/>
                <a:gd name="connsiteY543" fmla="*/ 216690 h 781090"/>
                <a:gd name="connsiteX544" fmla="*/ 191493 w 970063"/>
                <a:gd name="connsiteY544" fmla="*/ 216690 h 781090"/>
                <a:gd name="connsiteX545" fmla="*/ 190233 w 970063"/>
                <a:gd name="connsiteY545" fmla="*/ 216690 h 781090"/>
                <a:gd name="connsiteX546" fmla="*/ 181414 w 970063"/>
                <a:gd name="connsiteY546" fmla="*/ 212910 h 781090"/>
                <a:gd name="connsiteX547" fmla="*/ 175115 w 970063"/>
                <a:gd name="connsiteY547" fmla="*/ 210390 h 781090"/>
                <a:gd name="connsiteX548" fmla="*/ 172596 w 970063"/>
                <a:gd name="connsiteY548" fmla="*/ 209131 h 781090"/>
                <a:gd name="connsiteX549" fmla="*/ 165037 w 970063"/>
                <a:gd name="connsiteY549" fmla="*/ 204091 h 781090"/>
                <a:gd name="connsiteX550" fmla="*/ 154958 w 970063"/>
                <a:gd name="connsiteY550" fmla="*/ 199052 h 781090"/>
                <a:gd name="connsiteX551" fmla="*/ 146140 w 970063"/>
                <a:gd name="connsiteY551" fmla="*/ 194013 h 781090"/>
                <a:gd name="connsiteX552" fmla="*/ 138581 w 970063"/>
                <a:gd name="connsiteY552" fmla="*/ 190233 h 781090"/>
                <a:gd name="connsiteX553" fmla="*/ 99526 w 970063"/>
                <a:gd name="connsiteY553" fmla="*/ 165037 h 781090"/>
                <a:gd name="connsiteX554" fmla="*/ 99526 w 970063"/>
                <a:gd name="connsiteY554" fmla="*/ 165037 h 781090"/>
                <a:gd name="connsiteX555" fmla="*/ 79369 w 970063"/>
                <a:gd name="connsiteY555" fmla="*/ 151179 h 781090"/>
                <a:gd name="connsiteX556" fmla="*/ 64251 w 970063"/>
                <a:gd name="connsiteY556" fmla="*/ 138581 h 781090"/>
                <a:gd name="connsiteX557" fmla="*/ 60471 w 970063"/>
                <a:gd name="connsiteY557" fmla="*/ 136061 h 781090"/>
                <a:gd name="connsiteX558" fmla="*/ 42834 w 970063"/>
                <a:gd name="connsiteY558" fmla="*/ 120943 h 781090"/>
                <a:gd name="connsiteX559" fmla="*/ 41574 w 970063"/>
                <a:gd name="connsiteY559" fmla="*/ 120943 h 781090"/>
                <a:gd name="connsiteX560" fmla="*/ 25196 w 970063"/>
                <a:gd name="connsiteY560" fmla="*/ 105825 h 781090"/>
                <a:gd name="connsiteX561" fmla="*/ 17637 w 970063"/>
                <a:gd name="connsiteY561" fmla="*/ 95747 h 781090"/>
                <a:gd name="connsiteX562" fmla="*/ 11338 w 970063"/>
                <a:gd name="connsiteY562" fmla="*/ 85668 h 781090"/>
                <a:gd name="connsiteX563" fmla="*/ 1260 w 970063"/>
                <a:gd name="connsiteY563" fmla="*/ 69290 h 781090"/>
                <a:gd name="connsiteX564" fmla="*/ 0 w 970063"/>
                <a:gd name="connsiteY564" fmla="*/ 66771 h 781090"/>
                <a:gd name="connsiteX565" fmla="*/ 8819 w 970063"/>
                <a:gd name="connsiteY565" fmla="*/ 74330 h 781090"/>
                <a:gd name="connsiteX566" fmla="*/ 15118 w 970063"/>
                <a:gd name="connsiteY566" fmla="*/ 79369 h 781090"/>
                <a:gd name="connsiteX567" fmla="*/ 16378 w 970063"/>
                <a:gd name="connsiteY567" fmla="*/ 80629 h 781090"/>
                <a:gd name="connsiteX568" fmla="*/ 21417 w 970063"/>
                <a:gd name="connsiteY568" fmla="*/ 83148 h 781090"/>
                <a:gd name="connsiteX569" fmla="*/ 35275 w 970063"/>
                <a:gd name="connsiteY569" fmla="*/ 89448 h 781090"/>
                <a:gd name="connsiteX570" fmla="*/ 41574 w 970063"/>
                <a:gd name="connsiteY570" fmla="*/ 90707 h 781090"/>
                <a:gd name="connsiteX571" fmla="*/ 44094 w 970063"/>
                <a:gd name="connsiteY571" fmla="*/ 90707 h 781090"/>
                <a:gd name="connsiteX572" fmla="*/ 47873 w 970063"/>
                <a:gd name="connsiteY572" fmla="*/ 91967 h 781090"/>
                <a:gd name="connsiteX573" fmla="*/ 52913 w 970063"/>
                <a:gd name="connsiteY573" fmla="*/ 93227 h 781090"/>
                <a:gd name="connsiteX574" fmla="*/ 56692 w 970063"/>
                <a:gd name="connsiteY574" fmla="*/ 93227 h 781090"/>
                <a:gd name="connsiteX575" fmla="*/ 62991 w 970063"/>
                <a:gd name="connsiteY575" fmla="*/ 93227 h 781090"/>
                <a:gd name="connsiteX576" fmla="*/ 66770 w 970063"/>
                <a:gd name="connsiteY576" fmla="*/ 93227 h 781090"/>
                <a:gd name="connsiteX577" fmla="*/ 66770 w 970063"/>
                <a:gd name="connsiteY577" fmla="*/ 93227 h 781090"/>
                <a:gd name="connsiteX578" fmla="*/ 70550 w 970063"/>
                <a:gd name="connsiteY578" fmla="*/ 93227 h 781090"/>
                <a:gd name="connsiteX579" fmla="*/ 79369 w 970063"/>
                <a:gd name="connsiteY579" fmla="*/ 91967 h 781090"/>
                <a:gd name="connsiteX580" fmla="*/ 86928 w 970063"/>
                <a:gd name="connsiteY580" fmla="*/ 90707 h 781090"/>
                <a:gd name="connsiteX581" fmla="*/ 93227 w 970063"/>
                <a:gd name="connsiteY581" fmla="*/ 88188 h 781090"/>
                <a:gd name="connsiteX582" fmla="*/ 97007 w 970063"/>
                <a:gd name="connsiteY582" fmla="*/ 86928 h 781090"/>
                <a:gd name="connsiteX583" fmla="*/ 97007 w 970063"/>
                <a:gd name="connsiteY583" fmla="*/ 86928 h 781090"/>
                <a:gd name="connsiteX584" fmla="*/ 98266 w 970063"/>
                <a:gd name="connsiteY584" fmla="*/ 85668 h 781090"/>
                <a:gd name="connsiteX585" fmla="*/ 99526 w 970063"/>
                <a:gd name="connsiteY585" fmla="*/ 84408 h 781090"/>
                <a:gd name="connsiteX586" fmla="*/ 99526 w 970063"/>
                <a:gd name="connsiteY586" fmla="*/ 84408 h 781090"/>
                <a:gd name="connsiteX587" fmla="*/ 104565 w 970063"/>
                <a:gd name="connsiteY587" fmla="*/ 81889 h 781090"/>
                <a:gd name="connsiteX588" fmla="*/ 105825 w 970063"/>
                <a:gd name="connsiteY588" fmla="*/ 81889 h 781090"/>
                <a:gd name="connsiteX589" fmla="*/ 112124 w 970063"/>
                <a:gd name="connsiteY589" fmla="*/ 78109 h 781090"/>
                <a:gd name="connsiteX590" fmla="*/ 118423 w 970063"/>
                <a:gd name="connsiteY590" fmla="*/ 74330 h 781090"/>
                <a:gd name="connsiteX591" fmla="*/ 124722 w 970063"/>
                <a:gd name="connsiteY591" fmla="*/ 68031 h 781090"/>
                <a:gd name="connsiteX592" fmla="*/ 127242 w 970063"/>
                <a:gd name="connsiteY592" fmla="*/ 64251 h 781090"/>
                <a:gd name="connsiteX593" fmla="*/ 127242 w 970063"/>
                <a:gd name="connsiteY593" fmla="*/ 64251 h 781090"/>
                <a:gd name="connsiteX594" fmla="*/ 128502 w 970063"/>
                <a:gd name="connsiteY594" fmla="*/ 61731 h 781090"/>
                <a:gd name="connsiteX595" fmla="*/ 133541 w 970063"/>
                <a:gd name="connsiteY595" fmla="*/ 51653 h 781090"/>
                <a:gd name="connsiteX596" fmla="*/ 134801 w 970063"/>
                <a:gd name="connsiteY596" fmla="*/ 49133 h 781090"/>
                <a:gd name="connsiteX597" fmla="*/ 134801 w 970063"/>
                <a:gd name="connsiteY597" fmla="*/ 49133 h 781090"/>
                <a:gd name="connsiteX598" fmla="*/ 134801 w 970063"/>
                <a:gd name="connsiteY598" fmla="*/ 49133 h 781090"/>
                <a:gd name="connsiteX599" fmla="*/ 134801 w 970063"/>
                <a:gd name="connsiteY599" fmla="*/ 49133 h 781090"/>
                <a:gd name="connsiteX600" fmla="*/ 134801 w 970063"/>
                <a:gd name="connsiteY600" fmla="*/ 49133 h 781090"/>
                <a:gd name="connsiteX601" fmla="*/ 134801 w 970063"/>
                <a:gd name="connsiteY601" fmla="*/ 49133 h 781090"/>
                <a:gd name="connsiteX602" fmla="*/ 134801 w 970063"/>
                <a:gd name="connsiteY602" fmla="*/ 49133 h 781090"/>
                <a:gd name="connsiteX603" fmla="*/ 139840 w 970063"/>
                <a:gd name="connsiteY603" fmla="*/ 35275 h 781090"/>
                <a:gd name="connsiteX604" fmla="*/ 139840 w 970063"/>
                <a:gd name="connsiteY604" fmla="*/ 34015 h 781090"/>
                <a:gd name="connsiteX605" fmla="*/ 141100 w 970063"/>
                <a:gd name="connsiteY605" fmla="*/ 28976 h 781090"/>
                <a:gd name="connsiteX606" fmla="*/ 142360 w 970063"/>
                <a:gd name="connsiteY606" fmla="*/ 22677 h 781090"/>
                <a:gd name="connsiteX607" fmla="*/ 142360 w 970063"/>
                <a:gd name="connsiteY607" fmla="*/ 16378 h 781090"/>
                <a:gd name="connsiteX608" fmla="*/ 142360 w 970063"/>
                <a:gd name="connsiteY608" fmla="*/ 15118 h 781090"/>
                <a:gd name="connsiteX609" fmla="*/ 142360 w 970063"/>
                <a:gd name="connsiteY609" fmla="*/ 15118 h 781090"/>
                <a:gd name="connsiteX610" fmla="*/ 142360 w 970063"/>
                <a:gd name="connsiteY610" fmla="*/ 15118 h 781090"/>
                <a:gd name="connsiteX611" fmla="*/ 142360 w 970063"/>
                <a:gd name="connsiteY611" fmla="*/ 12598 h 781090"/>
                <a:gd name="connsiteX612" fmla="*/ 141100 w 970063"/>
                <a:gd name="connsiteY612" fmla="*/ 5039 h 781090"/>
                <a:gd name="connsiteX613" fmla="*/ 139840 w 970063"/>
                <a:gd name="connsiteY613" fmla="*/ 0 h 781090"/>
                <a:gd name="connsiteX614" fmla="*/ 151179 w 970063"/>
                <a:gd name="connsiteY614" fmla="*/ 12598 h 78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Lst>
              <a:rect l="l" t="t" r="r" b="b"/>
              <a:pathLst>
                <a:path w="970063" h="781090">
                  <a:moveTo>
                    <a:pt x="151179" y="12598"/>
                  </a:moveTo>
                  <a:cubicBezTo>
                    <a:pt x="153699" y="16378"/>
                    <a:pt x="154958" y="20157"/>
                    <a:pt x="157478" y="22677"/>
                  </a:cubicBezTo>
                  <a:cubicBezTo>
                    <a:pt x="159998" y="25196"/>
                    <a:pt x="162517" y="27716"/>
                    <a:pt x="166297" y="30236"/>
                  </a:cubicBezTo>
                  <a:cubicBezTo>
                    <a:pt x="168816" y="32755"/>
                    <a:pt x="171336" y="34015"/>
                    <a:pt x="173855" y="35275"/>
                  </a:cubicBezTo>
                  <a:cubicBezTo>
                    <a:pt x="177635" y="36535"/>
                    <a:pt x="181414" y="39055"/>
                    <a:pt x="185194" y="40314"/>
                  </a:cubicBezTo>
                  <a:cubicBezTo>
                    <a:pt x="187714" y="41574"/>
                    <a:pt x="191493" y="42834"/>
                    <a:pt x="194013" y="44094"/>
                  </a:cubicBezTo>
                  <a:cubicBezTo>
                    <a:pt x="196533" y="45354"/>
                    <a:pt x="200312" y="46613"/>
                    <a:pt x="204092" y="47873"/>
                  </a:cubicBezTo>
                  <a:cubicBezTo>
                    <a:pt x="204092" y="47873"/>
                    <a:pt x="205351" y="47873"/>
                    <a:pt x="205351" y="47873"/>
                  </a:cubicBezTo>
                  <a:cubicBezTo>
                    <a:pt x="205351" y="47873"/>
                    <a:pt x="205351" y="47873"/>
                    <a:pt x="205351" y="47873"/>
                  </a:cubicBezTo>
                  <a:cubicBezTo>
                    <a:pt x="209131" y="50393"/>
                    <a:pt x="212910" y="52913"/>
                    <a:pt x="216690" y="55432"/>
                  </a:cubicBezTo>
                  <a:cubicBezTo>
                    <a:pt x="219209" y="56692"/>
                    <a:pt x="222989" y="57952"/>
                    <a:pt x="225508" y="60472"/>
                  </a:cubicBezTo>
                  <a:lnTo>
                    <a:pt x="229288" y="62991"/>
                  </a:lnTo>
                  <a:lnTo>
                    <a:pt x="234327" y="65511"/>
                  </a:lnTo>
                  <a:cubicBezTo>
                    <a:pt x="240626" y="69290"/>
                    <a:pt x="248185" y="73070"/>
                    <a:pt x="255744" y="75589"/>
                  </a:cubicBezTo>
                  <a:cubicBezTo>
                    <a:pt x="262043" y="78109"/>
                    <a:pt x="267083" y="79369"/>
                    <a:pt x="272122" y="80629"/>
                  </a:cubicBezTo>
                  <a:cubicBezTo>
                    <a:pt x="277161" y="81889"/>
                    <a:pt x="282200" y="83148"/>
                    <a:pt x="287240" y="83148"/>
                  </a:cubicBezTo>
                  <a:lnTo>
                    <a:pt x="288499" y="83148"/>
                  </a:lnTo>
                  <a:cubicBezTo>
                    <a:pt x="291019" y="83148"/>
                    <a:pt x="293539" y="84408"/>
                    <a:pt x="294799" y="84408"/>
                  </a:cubicBezTo>
                  <a:cubicBezTo>
                    <a:pt x="297318" y="84408"/>
                    <a:pt x="298578" y="85668"/>
                    <a:pt x="301098" y="85668"/>
                  </a:cubicBezTo>
                  <a:lnTo>
                    <a:pt x="302358" y="85668"/>
                  </a:lnTo>
                  <a:cubicBezTo>
                    <a:pt x="303617" y="85668"/>
                    <a:pt x="303617" y="85668"/>
                    <a:pt x="304877" y="85668"/>
                  </a:cubicBezTo>
                  <a:cubicBezTo>
                    <a:pt x="307397" y="86928"/>
                    <a:pt x="309917" y="86928"/>
                    <a:pt x="312436" y="88188"/>
                  </a:cubicBezTo>
                  <a:lnTo>
                    <a:pt x="309917" y="86928"/>
                  </a:lnTo>
                  <a:cubicBezTo>
                    <a:pt x="314956" y="88188"/>
                    <a:pt x="318735" y="90707"/>
                    <a:pt x="323775" y="91967"/>
                  </a:cubicBezTo>
                  <a:cubicBezTo>
                    <a:pt x="326294" y="91967"/>
                    <a:pt x="327554" y="93227"/>
                    <a:pt x="330074" y="93227"/>
                  </a:cubicBezTo>
                  <a:cubicBezTo>
                    <a:pt x="332593" y="93227"/>
                    <a:pt x="333853" y="94487"/>
                    <a:pt x="336373" y="94487"/>
                  </a:cubicBezTo>
                  <a:cubicBezTo>
                    <a:pt x="338892" y="94487"/>
                    <a:pt x="341412" y="95747"/>
                    <a:pt x="343932" y="95747"/>
                  </a:cubicBezTo>
                  <a:cubicBezTo>
                    <a:pt x="347711" y="95747"/>
                    <a:pt x="350231" y="97006"/>
                    <a:pt x="354010" y="98266"/>
                  </a:cubicBezTo>
                  <a:cubicBezTo>
                    <a:pt x="356530" y="99526"/>
                    <a:pt x="360310" y="99526"/>
                    <a:pt x="362829" y="100786"/>
                  </a:cubicBezTo>
                  <a:cubicBezTo>
                    <a:pt x="365349" y="102046"/>
                    <a:pt x="369128" y="102046"/>
                    <a:pt x="371648" y="103305"/>
                  </a:cubicBezTo>
                  <a:cubicBezTo>
                    <a:pt x="374168" y="103305"/>
                    <a:pt x="376687" y="103305"/>
                    <a:pt x="379207" y="103305"/>
                  </a:cubicBezTo>
                  <a:cubicBezTo>
                    <a:pt x="380467" y="103305"/>
                    <a:pt x="381726" y="103305"/>
                    <a:pt x="384246" y="103305"/>
                  </a:cubicBezTo>
                  <a:cubicBezTo>
                    <a:pt x="388025" y="103305"/>
                    <a:pt x="390545" y="103305"/>
                    <a:pt x="394325" y="103305"/>
                  </a:cubicBezTo>
                  <a:cubicBezTo>
                    <a:pt x="401884" y="102046"/>
                    <a:pt x="408183" y="100786"/>
                    <a:pt x="415742" y="99526"/>
                  </a:cubicBezTo>
                  <a:cubicBezTo>
                    <a:pt x="417002" y="99526"/>
                    <a:pt x="418261" y="99526"/>
                    <a:pt x="419521" y="98266"/>
                  </a:cubicBezTo>
                  <a:cubicBezTo>
                    <a:pt x="423301" y="97006"/>
                    <a:pt x="427080" y="97006"/>
                    <a:pt x="430860" y="95747"/>
                  </a:cubicBezTo>
                  <a:cubicBezTo>
                    <a:pt x="433379" y="94487"/>
                    <a:pt x="437159" y="94487"/>
                    <a:pt x="439678" y="93227"/>
                  </a:cubicBezTo>
                  <a:cubicBezTo>
                    <a:pt x="445977" y="91967"/>
                    <a:pt x="452276" y="89448"/>
                    <a:pt x="458576" y="86928"/>
                  </a:cubicBezTo>
                  <a:lnTo>
                    <a:pt x="467395" y="84408"/>
                  </a:lnTo>
                  <a:cubicBezTo>
                    <a:pt x="469914" y="83148"/>
                    <a:pt x="472434" y="83148"/>
                    <a:pt x="474954" y="81889"/>
                  </a:cubicBezTo>
                  <a:cubicBezTo>
                    <a:pt x="477473" y="80629"/>
                    <a:pt x="481253" y="79369"/>
                    <a:pt x="482512" y="78109"/>
                  </a:cubicBezTo>
                  <a:cubicBezTo>
                    <a:pt x="483772" y="76849"/>
                    <a:pt x="485032" y="76849"/>
                    <a:pt x="486292" y="75589"/>
                  </a:cubicBezTo>
                  <a:cubicBezTo>
                    <a:pt x="486292" y="75589"/>
                    <a:pt x="486292" y="75589"/>
                    <a:pt x="486292" y="75589"/>
                  </a:cubicBezTo>
                  <a:lnTo>
                    <a:pt x="486292" y="75589"/>
                  </a:lnTo>
                  <a:cubicBezTo>
                    <a:pt x="486292" y="78109"/>
                    <a:pt x="486292" y="80629"/>
                    <a:pt x="487552" y="83148"/>
                  </a:cubicBezTo>
                  <a:cubicBezTo>
                    <a:pt x="487552" y="85668"/>
                    <a:pt x="488811" y="88188"/>
                    <a:pt x="490071" y="90707"/>
                  </a:cubicBezTo>
                  <a:cubicBezTo>
                    <a:pt x="491331" y="91967"/>
                    <a:pt x="491331" y="94487"/>
                    <a:pt x="492591" y="97006"/>
                  </a:cubicBezTo>
                  <a:cubicBezTo>
                    <a:pt x="493851" y="98266"/>
                    <a:pt x="495110" y="100786"/>
                    <a:pt x="497630" y="103305"/>
                  </a:cubicBezTo>
                  <a:cubicBezTo>
                    <a:pt x="498890" y="104565"/>
                    <a:pt x="501410" y="107085"/>
                    <a:pt x="503929" y="108345"/>
                  </a:cubicBezTo>
                  <a:cubicBezTo>
                    <a:pt x="508969" y="110864"/>
                    <a:pt x="512748" y="113384"/>
                    <a:pt x="516528" y="114644"/>
                  </a:cubicBezTo>
                  <a:cubicBezTo>
                    <a:pt x="519047" y="115904"/>
                    <a:pt x="521567" y="117164"/>
                    <a:pt x="524087" y="117164"/>
                  </a:cubicBezTo>
                  <a:cubicBezTo>
                    <a:pt x="526606" y="118424"/>
                    <a:pt x="529126" y="118424"/>
                    <a:pt x="531646" y="118424"/>
                  </a:cubicBezTo>
                  <a:cubicBezTo>
                    <a:pt x="531646" y="118424"/>
                    <a:pt x="532905" y="118424"/>
                    <a:pt x="532905" y="118424"/>
                  </a:cubicBezTo>
                  <a:cubicBezTo>
                    <a:pt x="536685" y="118424"/>
                    <a:pt x="539204" y="118424"/>
                    <a:pt x="541724" y="118424"/>
                  </a:cubicBezTo>
                  <a:cubicBezTo>
                    <a:pt x="544244" y="118424"/>
                    <a:pt x="548023" y="118424"/>
                    <a:pt x="551802" y="118424"/>
                  </a:cubicBezTo>
                  <a:cubicBezTo>
                    <a:pt x="558102" y="117164"/>
                    <a:pt x="564401" y="115904"/>
                    <a:pt x="569440" y="113384"/>
                  </a:cubicBezTo>
                  <a:cubicBezTo>
                    <a:pt x="571960" y="112124"/>
                    <a:pt x="574480" y="110864"/>
                    <a:pt x="575739" y="109605"/>
                  </a:cubicBezTo>
                  <a:lnTo>
                    <a:pt x="576999" y="108345"/>
                  </a:lnTo>
                  <a:cubicBezTo>
                    <a:pt x="579519" y="107085"/>
                    <a:pt x="583298" y="104565"/>
                    <a:pt x="585818" y="103305"/>
                  </a:cubicBezTo>
                  <a:cubicBezTo>
                    <a:pt x="590857" y="99526"/>
                    <a:pt x="594637" y="95747"/>
                    <a:pt x="598416" y="90707"/>
                  </a:cubicBezTo>
                  <a:cubicBezTo>
                    <a:pt x="599676" y="88188"/>
                    <a:pt x="602195" y="86928"/>
                    <a:pt x="603455" y="84408"/>
                  </a:cubicBezTo>
                  <a:cubicBezTo>
                    <a:pt x="604715" y="81889"/>
                    <a:pt x="605975" y="78109"/>
                    <a:pt x="607235" y="75589"/>
                  </a:cubicBezTo>
                  <a:cubicBezTo>
                    <a:pt x="607235" y="74330"/>
                    <a:pt x="608494" y="73070"/>
                    <a:pt x="608494" y="71810"/>
                  </a:cubicBezTo>
                  <a:lnTo>
                    <a:pt x="608494" y="70550"/>
                  </a:lnTo>
                  <a:cubicBezTo>
                    <a:pt x="608494" y="69290"/>
                    <a:pt x="608494" y="68031"/>
                    <a:pt x="608494" y="66771"/>
                  </a:cubicBezTo>
                  <a:cubicBezTo>
                    <a:pt x="608494" y="65511"/>
                    <a:pt x="608494" y="64251"/>
                    <a:pt x="608494" y="62991"/>
                  </a:cubicBezTo>
                  <a:lnTo>
                    <a:pt x="608494" y="62991"/>
                  </a:lnTo>
                  <a:lnTo>
                    <a:pt x="608494" y="62991"/>
                  </a:lnTo>
                  <a:cubicBezTo>
                    <a:pt x="609754" y="62991"/>
                    <a:pt x="611014" y="64251"/>
                    <a:pt x="612274" y="64251"/>
                  </a:cubicBezTo>
                  <a:lnTo>
                    <a:pt x="612274" y="64251"/>
                  </a:lnTo>
                  <a:lnTo>
                    <a:pt x="613534" y="64251"/>
                  </a:lnTo>
                  <a:lnTo>
                    <a:pt x="614794" y="64251"/>
                  </a:lnTo>
                  <a:lnTo>
                    <a:pt x="616054" y="64251"/>
                  </a:lnTo>
                  <a:cubicBezTo>
                    <a:pt x="619833" y="65511"/>
                    <a:pt x="623613" y="65511"/>
                    <a:pt x="626132" y="66771"/>
                  </a:cubicBezTo>
                  <a:cubicBezTo>
                    <a:pt x="627392" y="66771"/>
                    <a:pt x="628652" y="68031"/>
                    <a:pt x="629912" y="68031"/>
                  </a:cubicBezTo>
                  <a:lnTo>
                    <a:pt x="631172" y="68031"/>
                  </a:lnTo>
                  <a:lnTo>
                    <a:pt x="632431" y="68031"/>
                  </a:lnTo>
                  <a:lnTo>
                    <a:pt x="633691" y="68031"/>
                  </a:lnTo>
                  <a:cubicBezTo>
                    <a:pt x="636211" y="68031"/>
                    <a:pt x="637471" y="69290"/>
                    <a:pt x="639990" y="69290"/>
                  </a:cubicBezTo>
                  <a:cubicBezTo>
                    <a:pt x="641250" y="69290"/>
                    <a:pt x="642510" y="69290"/>
                    <a:pt x="643770" y="69290"/>
                  </a:cubicBezTo>
                  <a:cubicBezTo>
                    <a:pt x="647549" y="69290"/>
                    <a:pt x="652588" y="70550"/>
                    <a:pt x="656368" y="71810"/>
                  </a:cubicBezTo>
                  <a:cubicBezTo>
                    <a:pt x="660147" y="73070"/>
                    <a:pt x="663927" y="74330"/>
                    <a:pt x="668966" y="75589"/>
                  </a:cubicBezTo>
                  <a:cubicBezTo>
                    <a:pt x="668966" y="75589"/>
                    <a:pt x="670226" y="75589"/>
                    <a:pt x="670226" y="75589"/>
                  </a:cubicBezTo>
                  <a:cubicBezTo>
                    <a:pt x="674005" y="75589"/>
                    <a:pt x="676525" y="76849"/>
                    <a:pt x="680305" y="78109"/>
                  </a:cubicBezTo>
                  <a:cubicBezTo>
                    <a:pt x="686604" y="80629"/>
                    <a:pt x="694163" y="83148"/>
                    <a:pt x="702981" y="86928"/>
                  </a:cubicBezTo>
                  <a:cubicBezTo>
                    <a:pt x="706761" y="89448"/>
                    <a:pt x="711800" y="90707"/>
                    <a:pt x="714320" y="93227"/>
                  </a:cubicBezTo>
                  <a:lnTo>
                    <a:pt x="714320" y="93227"/>
                  </a:lnTo>
                  <a:cubicBezTo>
                    <a:pt x="716839" y="94487"/>
                    <a:pt x="719359" y="95747"/>
                    <a:pt x="721879" y="97006"/>
                  </a:cubicBezTo>
                  <a:cubicBezTo>
                    <a:pt x="729438" y="100786"/>
                    <a:pt x="735737" y="104565"/>
                    <a:pt x="740776" y="107085"/>
                  </a:cubicBezTo>
                  <a:cubicBezTo>
                    <a:pt x="744556" y="109605"/>
                    <a:pt x="748335" y="112124"/>
                    <a:pt x="750855" y="114644"/>
                  </a:cubicBezTo>
                  <a:cubicBezTo>
                    <a:pt x="753374" y="117164"/>
                    <a:pt x="755894" y="119683"/>
                    <a:pt x="758414" y="122203"/>
                  </a:cubicBezTo>
                  <a:cubicBezTo>
                    <a:pt x="763453" y="127242"/>
                    <a:pt x="767232" y="132281"/>
                    <a:pt x="772272" y="137321"/>
                  </a:cubicBezTo>
                  <a:cubicBezTo>
                    <a:pt x="773531" y="139840"/>
                    <a:pt x="776051" y="141100"/>
                    <a:pt x="777311" y="143620"/>
                  </a:cubicBezTo>
                  <a:cubicBezTo>
                    <a:pt x="779831" y="146140"/>
                    <a:pt x="782350" y="147399"/>
                    <a:pt x="783610" y="149919"/>
                  </a:cubicBezTo>
                  <a:cubicBezTo>
                    <a:pt x="786130" y="151179"/>
                    <a:pt x="788649" y="154958"/>
                    <a:pt x="791169" y="157478"/>
                  </a:cubicBezTo>
                  <a:cubicBezTo>
                    <a:pt x="792429" y="159998"/>
                    <a:pt x="794949" y="161257"/>
                    <a:pt x="796208" y="165037"/>
                  </a:cubicBezTo>
                  <a:cubicBezTo>
                    <a:pt x="801248" y="170076"/>
                    <a:pt x="805027" y="175116"/>
                    <a:pt x="808807" y="178895"/>
                  </a:cubicBezTo>
                  <a:lnTo>
                    <a:pt x="812586" y="183934"/>
                  </a:lnTo>
                  <a:lnTo>
                    <a:pt x="813846" y="185194"/>
                  </a:lnTo>
                  <a:lnTo>
                    <a:pt x="815106" y="186454"/>
                  </a:lnTo>
                  <a:lnTo>
                    <a:pt x="816365" y="187714"/>
                  </a:lnTo>
                  <a:cubicBezTo>
                    <a:pt x="818885" y="190233"/>
                    <a:pt x="820145" y="192753"/>
                    <a:pt x="822664" y="195273"/>
                  </a:cubicBezTo>
                  <a:cubicBezTo>
                    <a:pt x="826444" y="199052"/>
                    <a:pt x="830223" y="204091"/>
                    <a:pt x="834003" y="206611"/>
                  </a:cubicBezTo>
                  <a:lnTo>
                    <a:pt x="834003" y="206611"/>
                  </a:lnTo>
                  <a:cubicBezTo>
                    <a:pt x="835263" y="207871"/>
                    <a:pt x="835263" y="207871"/>
                    <a:pt x="836523" y="209131"/>
                  </a:cubicBezTo>
                  <a:lnTo>
                    <a:pt x="837782" y="210390"/>
                  </a:lnTo>
                  <a:cubicBezTo>
                    <a:pt x="840302" y="214170"/>
                    <a:pt x="844082" y="216690"/>
                    <a:pt x="846601" y="220469"/>
                  </a:cubicBezTo>
                  <a:cubicBezTo>
                    <a:pt x="847861" y="222989"/>
                    <a:pt x="850381" y="224249"/>
                    <a:pt x="851641" y="226768"/>
                  </a:cubicBezTo>
                  <a:cubicBezTo>
                    <a:pt x="855420" y="230548"/>
                    <a:pt x="859200" y="235587"/>
                    <a:pt x="861719" y="239366"/>
                  </a:cubicBezTo>
                  <a:lnTo>
                    <a:pt x="861719" y="239366"/>
                  </a:lnTo>
                  <a:lnTo>
                    <a:pt x="861719" y="239366"/>
                  </a:lnTo>
                  <a:lnTo>
                    <a:pt x="865499" y="243146"/>
                  </a:lnTo>
                  <a:cubicBezTo>
                    <a:pt x="866758" y="244406"/>
                    <a:pt x="868018" y="245666"/>
                    <a:pt x="869278" y="246925"/>
                  </a:cubicBezTo>
                  <a:lnTo>
                    <a:pt x="869278" y="246925"/>
                  </a:lnTo>
                  <a:lnTo>
                    <a:pt x="869278" y="246925"/>
                  </a:lnTo>
                  <a:lnTo>
                    <a:pt x="869278" y="246925"/>
                  </a:lnTo>
                  <a:cubicBezTo>
                    <a:pt x="871798" y="250705"/>
                    <a:pt x="875577" y="254484"/>
                    <a:pt x="878097" y="258264"/>
                  </a:cubicBezTo>
                  <a:cubicBezTo>
                    <a:pt x="881876" y="263303"/>
                    <a:pt x="885656" y="268342"/>
                    <a:pt x="888175" y="273382"/>
                  </a:cubicBezTo>
                  <a:lnTo>
                    <a:pt x="889435" y="274642"/>
                  </a:lnTo>
                  <a:lnTo>
                    <a:pt x="889435" y="275901"/>
                  </a:lnTo>
                  <a:cubicBezTo>
                    <a:pt x="889435" y="277161"/>
                    <a:pt x="890695" y="277161"/>
                    <a:pt x="890695" y="278421"/>
                  </a:cubicBezTo>
                  <a:cubicBezTo>
                    <a:pt x="894475" y="283460"/>
                    <a:pt x="898254" y="289759"/>
                    <a:pt x="902034" y="294799"/>
                  </a:cubicBezTo>
                  <a:lnTo>
                    <a:pt x="902034" y="296058"/>
                  </a:lnTo>
                  <a:lnTo>
                    <a:pt x="903293" y="297318"/>
                  </a:lnTo>
                  <a:cubicBezTo>
                    <a:pt x="904553" y="299838"/>
                    <a:pt x="907073" y="302358"/>
                    <a:pt x="908333" y="306137"/>
                  </a:cubicBezTo>
                  <a:cubicBezTo>
                    <a:pt x="909593" y="307397"/>
                    <a:pt x="910852" y="309917"/>
                    <a:pt x="912112" y="311176"/>
                  </a:cubicBezTo>
                  <a:lnTo>
                    <a:pt x="912112" y="311176"/>
                  </a:lnTo>
                  <a:cubicBezTo>
                    <a:pt x="913372" y="312436"/>
                    <a:pt x="913372" y="313696"/>
                    <a:pt x="914632" y="314956"/>
                  </a:cubicBezTo>
                  <a:cubicBezTo>
                    <a:pt x="918411" y="319995"/>
                    <a:pt x="922191" y="326294"/>
                    <a:pt x="925970" y="332593"/>
                  </a:cubicBezTo>
                  <a:cubicBezTo>
                    <a:pt x="932269" y="342672"/>
                    <a:pt x="938568" y="352751"/>
                    <a:pt x="943608" y="362829"/>
                  </a:cubicBezTo>
                  <a:lnTo>
                    <a:pt x="947387" y="369128"/>
                  </a:lnTo>
                  <a:cubicBezTo>
                    <a:pt x="947387" y="370388"/>
                    <a:pt x="948647" y="371648"/>
                    <a:pt x="948647" y="371648"/>
                  </a:cubicBezTo>
                  <a:lnTo>
                    <a:pt x="948647" y="371648"/>
                  </a:lnTo>
                  <a:lnTo>
                    <a:pt x="948647" y="371648"/>
                  </a:lnTo>
                  <a:cubicBezTo>
                    <a:pt x="951167" y="375427"/>
                    <a:pt x="953686" y="380467"/>
                    <a:pt x="956206" y="385506"/>
                  </a:cubicBezTo>
                  <a:lnTo>
                    <a:pt x="957466" y="388026"/>
                  </a:lnTo>
                  <a:lnTo>
                    <a:pt x="957466" y="388026"/>
                  </a:lnTo>
                  <a:lnTo>
                    <a:pt x="957466" y="388026"/>
                  </a:lnTo>
                  <a:cubicBezTo>
                    <a:pt x="958726" y="389286"/>
                    <a:pt x="958726" y="391805"/>
                    <a:pt x="959985" y="393065"/>
                  </a:cubicBezTo>
                  <a:cubicBezTo>
                    <a:pt x="961245" y="395585"/>
                    <a:pt x="962505" y="399364"/>
                    <a:pt x="963765" y="403143"/>
                  </a:cubicBezTo>
                  <a:lnTo>
                    <a:pt x="963765" y="403143"/>
                  </a:lnTo>
                  <a:cubicBezTo>
                    <a:pt x="965025" y="406923"/>
                    <a:pt x="966285" y="409443"/>
                    <a:pt x="966285" y="411962"/>
                  </a:cubicBezTo>
                  <a:cubicBezTo>
                    <a:pt x="967544" y="415742"/>
                    <a:pt x="967544" y="418261"/>
                    <a:pt x="968804" y="420781"/>
                  </a:cubicBezTo>
                  <a:cubicBezTo>
                    <a:pt x="970064" y="428340"/>
                    <a:pt x="971324" y="435899"/>
                    <a:pt x="971324" y="442198"/>
                  </a:cubicBezTo>
                  <a:cubicBezTo>
                    <a:pt x="971324" y="449757"/>
                    <a:pt x="970064" y="456056"/>
                    <a:pt x="968804" y="462355"/>
                  </a:cubicBezTo>
                  <a:cubicBezTo>
                    <a:pt x="968804" y="466135"/>
                    <a:pt x="967544" y="469914"/>
                    <a:pt x="966285" y="473694"/>
                  </a:cubicBezTo>
                  <a:cubicBezTo>
                    <a:pt x="965025" y="477473"/>
                    <a:pt x="963765" y="479993"/>
                    <a:pt x="961245" y="483772"/>
                  </a:cubicBezTo>
                  <a:cubicBezTo>
                    <a:pt x="961245" y="485032"/>
                    <a:pt x="959985" y="485032"/>
                    <a:pt x="958726" y="486292"/>
                  </a:cubicBezTo>
                  <a:lnTo>
                    <a:pt x="958726" y="486292"/>
                  </a:lnTo>
                  <a:cubicBezTo>
                    <a:pt x="959985" y="478733"/>
                    <a:pt x="959985" y="472434"/>
                    <a:pt x="959985" y="467395"/>
                  </a:cubicBezTo>
                  <a:cubicBezTo>
                    <a:pt x="959985" y="462355"/>
                    <a:pt x="959985" y="454796"/>
                    <a:pt x="959985" y="448497"/>
                  </a:cubicBezTo>
                  <a:cubicBezTo>
                    <a:pt x="959985" y="445978"/>
                    <a:pt x="958726" y="443458"/>
                    <a:pt x="958726" y="440938"/>
                  </a:cubicBezTo>
                  <a:lnTo>
                    <a:pt x="958726" y="440938"/>
                  </a:lnTo>
                  <a:lnTo>
                    <a:pt x="958726" y="440938"/>
                  </a:lnTo>
                  <a:cubicBezTo>
                    <a:pt x="957466" y="437159"/>
                    <a:pt x="956206" y="434639"/>
                    <a:pt x="956206" y="430860"/>
                  </a:cubicBezTo>
                  <a:cubicBezTo>
                    <a:pt x="954946" y="427080"/>
                    <a:pt x="952426" y="423301"/>
                    <a:pt x="951167" y="419521"/>
                  </a:cubicBezTo>
                  <a:cubicBezTo>
                    <a:pt x="949907" y="418261"/>
                    <a:pt x="948647" y="417002"/>
                    <a:pt x="947387" y="415742"/>
                  </a:cubicBezTo>
                  <a:cubicBezTo>
                    <a:pt x="944867" y="414482"/>
                    <a:pt x="942348" y="413222"/>
                    <a:pt x="939828" y="411962"/>
                  </a:cubicBezTo>
                  <a:lnTo>
                    <a:pt x="938568" y="410702"/>
                  </a:lnTo>
                  <a:cubicBezTo>
                    <a:pt x="936049" y="409443"/>
                    <a:pt x="933529" y="408183"/>
                    <a:pt x="931009" y="406923"/>
                  </a:cubicBezTo>
                  <a:cubicBezTo>
                    <a:pt x="928490" y="405663"/>
                    <a:pt x="927230" y="405663"/>
                    <a:pt x="924710" y="405663"/>
                  </a:cubicBezTo>
                  <a:lnTo>
                    <a:pt x="923450" y="405663"/>
                  </a:lnTo>
                  <a:cubicBezTo>
                    <a:pt x="919671" y="405663"/>
                    <a:pt x="915892" y="405663"/>
                    <a:pt x="912112" y="405663"/>
                  </a:cubicBezTo>
                  <a:cubicBezTo>
                    <a:pt x="908333" y="405663"/>
                    <a:pt x="903293" y="405663"/>
                    <a:pt x="899514" y="406923"/>
                  </a:cubicBezTo>
                  <a:cubicBezTo>
                    <a:pt x="891955" y="408183"/>
                    <a:pt x="885656" y="410702"/>
                    <a:pt x="878097" y="413222"/>
                  </a:cubicBezTo>
                  <a:cubicBezTo>
                    <a:pt x="871798" y="415742"/>
                    <a:pt x="865499" y="419521"/>
                    <a:pt x="860459" y="422041"/>
                  </a:cubicBezTo>
                  <a:cubicBezTo>
                    <a:pt x="857940" y="423301"/>
                    <a:pt x="856680" y="424560"/>
                    <a:pt x="854160" y="425820"/>
                  </a:cubicBezTo>
                  <a:lnTo>
                    <a:pt x="854160" y="425820"/>
                  </a:lnTo>
                  <a:cubicBezTo>
                    <a:pt x="852901" y="427080"/>
                    <a:pt x="851641" y="427080"/>
                    <a:pt x="850381" y="428340"/>
                  </a:cubicBezTo>
                  <a:cubicBezTo>
                    <a:pt x="847861" y="429600"/>
                    <a:pt x="845341" y="430860"/>
                    <a:pt x="841562" y="433379"/>
                  </a:cubicBezTo>
                  <a:cubicBezTo>
                    <a:pt x="840302" y="434639"/>
                    <a:pt x="837782" y="435899"/>
                    <a:pt x="836523" y="437159"/>
                  </a:cubicBezTo>
                  <a:cubicBezTo>
                    <a:pt x="835263" y="438419"/>
                    <a:pt x="832743" y="439678"/>
                    <a:pt x="831483" y="440938"/>
                  </a:cubicBezTo>
                  <a:cubicBezTo>
                    <a:pt x="826444" y="444718"/>
                    <a:pt x="822664" y="447237"/>
                    <a:pt x="820145" y="449757"/>
                  </a:cubicBezTo>
                  <a:lnTo>
                    <a:pt x="820145" y="449757"/>
                  </a:lnTo>
                  <a:lnTo>
                    <a:pt x="820145" y="449757"/>
                  </a:lnTo>
                  <a:lnTo>
                    <a:pt x="820145" y="449757"/>
                  </a:lnTo>
                  <a:lnTo>
                    <a:pt x="820145" y="449757"/>
                  </a:lnTo>
                  <a:cubicBezTo>
                    <a:pt x="820145" y="449757"/>
                    <a:pt x="820145" y="449757"/>
                    <a:pt x="820145" y="449757"/>
                  </a:cubicBezTo>
                  <a:lnTo>
                    <a:pt x="820145" y="449757"/>
                  </a:lnTo>
                  <a:lnTo>
                    <a:pt x="821405" y="449757"/>
                  </a:lnTo>
                  <a:lnTo>
                    <a:pt x="821405" y="449757"/>
                  </a:lnTo>
                  <a:cubicBezTo>
                    <a:pt x="820145" y="451017"/>
                    <a:pt x="818885" y="452277"/>
                    <a:pt x="817625" y="452277"/>
                  </a:cubicBezTo>
                  <a:lnTo>
                    <a:pt x="817625" y="452277"/>
                  </a:lnTo>
                  <a:lnTo>
                    <a:pt x="817625" y="452277"/>
                  </a:lnTo>
                  <a:lnTo>
                    <a:pt x="817625" y="452277"/>
                  </a:lnTo>
                  <a:lnTo>
                    <a:pt x="817625" y="452277"/>
                  </a:lnTo>
                  <a:lnTo>
                    <a:pt x="817625" y="452277"/>
                  </a:lnTo>
                  <a:lnTo>
                    <a:pt x="816365" y="451017"/>
                  </a:lnTo>
                  <a:lnTo>
                    <a:pt x="815106" y="449757"/>
                  </a:lnTo>
                  <a:cubicBezTo>
                    <a:pt x="813846" y="447237"/>
                    <a:pt x="812586" y="445978"/>
                    <a:pt x="811326" y="443458"/>
                  </a:cubicBezTo>
                  <a:cubicBezTo>
                    <a:pt x="806287" y="437159"/>
                    <a:pt x="802508" y="430860"/>
                    <a:pt x="799988" y="425820"/>
                  </a:cubicBezTo>
                  <a:cubicBezTo>
                    <a:pt x="796208" y="420781"/>
                    <a:pt x="793689" y="415742"/>
                    <a:pt x="789909" y="410702"/>
                  </a:cubicBezTo>
                  <a:lnTo>
                    <a:pt x="789909" y="409443"/>
                  </a:lnTo>
                  <a:lnTo>
                    <a:pt x="789909" y="409443"/>
                  </a:lnTo>
                  <a:cubicBezTo>
                    <a:pt x="786130" y="403143"/>
                    <a:pt x="781090" y="396844"/>
                    <a:pt x="777311" y="389286"/>
                  </a:cubicBezTo>
                  <a:cubicBezTo>
                    <a:pt x="774791" y="385506"/>
                    <a:pt x="772272" y="380467"/>
                    <a:pt x="769752" y="376687"/>
                  </a:cubicBezTo>
                  <a:lnTo>
                    <a:pt x="769752" y="376687"/>
                  </a:lnTo>
                  <a:lnTo>
                    <a:pt x="768492" y="375427"/>
                  </a:lnTo>
                  <a:cubicBezTo>
                    <a:pt x="767232" y="374167"/>
                    <a:pt x="767232" y="372908"/>
                    <a:pt x="765972" y="371648"/>
                  </a:cubicBezTo>
                  <a:lnTo>
                    <a:pt x="765972" y="370388"/>
                  </a:lnTo>
                  <a:cubicBezTo>
                    <a:pt x="764713" y="367868"/>
                    <a:pt x="762193" y="365349"/>
                    <a:pt x="760933" y="362829"/>
                  </a:cubicBezTo>
                  <a:cubicBezTo>
                    <a:pt x="758414" y="360310"/>
                    <a:pt x="757154" y="356530"/>
                    <a:pt x="754634" y="354010"/>
                  </a:cubicBezTo>
                  <a:cubicBezTo>
                    <a:pt x="753374" y="352751"/>
                    <a:pt x="752115" y="350231"/>
                    <a:pt x="750855" y="348971"/>
                  </a:cubicBezTo>
                  <a:lnTo>
                    <a:pt x="750855" y="347711"/>
                  </a:lnTo>
                  <a:lnTo>
                    <a:pt x="749595" y="346451"/>
                  </a:lnTo>
                  <a:cubicBezTo>
                    <a:pt x="747075" y="343932"/>
                    <a:pt x="744556" y="340152"/>
                    <a:pt x="742036" y="336373"/>
                  </a:cubicBezTo>
                  <a:cubicBezTo>
                    <a:pt x="739516" y="333853"/>
                    <a:pt x="736997" y="330074"/>
                    <a:pt x="735737" y="326294"/>
                  </a:cubicBezTo>
                  <a:cubicBezTo>
                    <a:pt x="735737" y="326294"/>
                    <a:pt x="735737" y="325034"/>
                    <a:pt x="734477" y="325034"/>
                  </a:cubicBezTo>
                  <a:lnTo>
                    <a:pt x="734477" y="325034"/>
                  </a:lnTo>
                  <a:lnTo>
                    <a:pt x="734477" y="325034"/>
                  </a:lnTo>
                  <a:cubicBezTo>
                    <a:pt x="734477" y="323775"/>
                    <a:pt x="733217" y="323775"/>
                    <a:pt x="733217" y="322515"/>
                  </a:cubicBezTo>
                  <a:cubicBezTo>
                    <a:pt x="731957" y="321255"/>
                    <a:pt x="731957" y="319995"/>
                    <a:pt x="730698" y="319995"/>
                  </a:cubicBezTo>
                  <a:cubicBezTo>
                    <a:pt x="730698" y="319995"/>
                    <a:pt x="729438" y="318735"/>
                    <a:pt x="729438" y="318735"/>
                  </a:cubicBezTo>
                  <a:cubicBezTo>
                    <a:pt x="729438" y="317475"/>
                    <a:pt x="728178" y="317475"/>
                    <a:pt x="728178" y="316216"/>
                  </a:cubicBezTo>
                  <a:lnTo>
                    <a:pt x="728178" y="316216"/>
                  </a:lnTo>
                  <a:lnTo>
                    <a:pt x="728178" y="316216"/>
                  </a:lnTo>
                  <a:lnTo>
                    <a:pt x="728178" y="316216"/>
                  </a:lnTo>
                  <a:lnTo>
                    <a:pt x="728178" y="314956"/>
                  </a:lnTo>
                  <a:lnTo>
                    <a:pt x="726918" y="313696"/>
                  </a:lnTo>
                  <a:cubicBezTo>
                    <a:pt x="725658" y="312436"/>
                    <a:pt x="724398" y="309917"/>
                    <a:pt x="723138" y="308657"/>
                  </a:cubicBezTo>
                  <a:lnTo>
                    <a:pt x="721879" y="306137"/>
                  </a:lnTo>
                  <a:lnTo>
                    <a:pt x="721879" y="304877"/>
                  </a:lnTo>
                  <a:lnTo>
                    <a:pt x="720619" y="302358"/>
                  </a:lnTo>
                  <a:cubicBezTo>
                    <a:pt x="719359" y="301098"/>
                    <a:pt x="718099" y="298578"/>
                    <a:pt x="716839" y="297318"/>
                  </a:cubicBezTo>
                  <a:lnTo>
                    <a:pt x="715579" y="296058"/>
                  </a:lnTo>
                  <a:lnTo>
                    <a:pt x="715579" y="296058"/>
                  </a:lnTo>
                  <a:cubicBezTo>
                    <a:pt x="714320" y="294799"/>
                    <a:pt x="714320" y="294799"/>
                    <a:pt x="713060" y="293539"/>
                  </a:cubicBezTo>
                  <a:cubicBezTo>
                    <a:pt x="711800" y="292279"/>
                    <a:pt x="711800" y="291019"/>
                    <a:pt x="710540" y="291019"/>
                  </a:cubicBezTo>
                  <a:lnTo>
                    <a:pt x="709280" y="289759"/>
                  </a:lnTo>
                  <a:cubicBezTo>
                    <a:pt x="708021" y="288500"/>
                    <a:pt x="708021" y="288500"/>
                    <a:pt x="706761" y="287240"/>
                  </a:cubicBezTo>
                  <a:lnTo>
                    <a:pt x="705501" y="285980"/>
                  </a:lnTo>
                  <a:lnTo>
                    <a:pt x="704241" y="284720"/>
                  </a:lnTo>
                  <a:lnTo>
                    <a:pt x="704241" y="284720"/>
                  </a:lnTo>
                  <a:lnTo>
                    <a:pt x="702981" y="283460"/>
                  </a:lnTo>
                  <a:cubicBezTo>
                    <a:pt x="701722" y="282201"/>
                    <a:pt x="701722" y="282201"/>
                    <a:pt x="700462" y="280941"/>
                  </a:cubicBezTo>
                  <a:cubicBezTo>
                    <a:pt x="699202" y="279681"/>
                    <a:pt x="699202" y="279681"/>
                    <a:pt x="697942" y="278421"/>
                  </a:cubicBezTo>
                  <a:lnTo>
                    <a:pt x="697942" y="278421"/>
                  </a:lnTo>
                  <a:lnTo>
                    <a:pt x="697942" y="278421"/>
                  </a:lnTo>
                  <a:cubicBezTo>
                    <a:pt x="696682" y="278421"/>
                    <a:pt x="696682" y="277161"/>
                    <a:pt x="695423" y="277161"/>
                  </a:cubicBezTo>
                  <a:lnTo>
                    <a:pt x="695423" y="277161"/>
                  </a:lnTo>
                  <a:lnTo>
                    <a:pt x="695423" y="277161"/>
                  </a:lnTo>
                  <a:cubicBezTo>
                    <a:pt x="695423" y="277161"/>
                    <a:pt x="695423" y="275901"/>
                    <a:pt x="694163" y="275901"/>
                  </a:cubicBezTo>
                  <a:cubicBezTo>
                    <a:pt x="694163" y="275901"/>
                    <a:pt x="694163" y="275901"/>
                    <a:pt x="694163" y="275901"/>
                  </a:cubicBezTo>
                  <a:cubicBezTo>
                    <a:pt x="694163" y="275901"/>
                    <a:pt x="692903" y="275901"/>
                    <a:pt x="692903" y="275901"/>
                  </a:cubicBezTo>
                  <a:lnTo>
                    <a:pt x="692903" y="275901"/>
                  </a:lnTo>
                  <a:cubicBezTo>
                    <a:pt x="692903" y="275901"/>
                    <a:pt x="692903" y="277161"/>
                    <a:pt x="692903" y="277161"/>
                  </a:cubicBezTo>
                  <a:lnTo>
                    <a:pt x="692903" y="277161"/>
                  </a:lnTo>
                  <a:lnTo>
                    <a:pt x="692903" y="277161"/>
                  </a:lnTo>
                  <a:cubicBezTo>
                    <a:pt x="692903" y="277161"/>
                    <a:pt x="692903" y="277161"/>
                    <a:pt x="692903" y="277161"/>
                  </a:cubicBezTo>
                  <a:cubicBezTo>
                    <a:pt x="692903" y="277161"/>
                    <a:pt x="692903" y="278421"/>
                    <a:pt x="692903" y="278421"/>
                  </a:cubicBezTo>
                  <a:lnTo>
                    <a:pt x="692903" y="278421"/>
                  </a:lnTo>
                  <a:cubicBezTo>
                    <a:pt x="692903" y="279681"/>
                    <a:pt x="692903" y="279681"/>
                    <a:pt x="692903" y="280941"/>
                  </a:cubicBezTo>
                  <a:cubicBezTo>
                    <a:pt x="692903" y="282201"/>
                    <a:pt x="692903" y="283460"/>
                    <a:pt x="692903" y="283460"/>
                  </a:cubicBezTo>
                  <a:lnTo>
                    <a:pt x="692903" y="284720"/>
                  </a:lnTo>
                  <a:lnTo>
                    <a:pt x="692903" y="285980"/>
                  </a:lnTo>
                  <a:cubicBezTo>
                    <a:pt x="692903" y="287240"/>
                    <a:pt x="692903" y="288500"/>
                    <a:pt x="692903" y="289759"/>
                  </a:cubicBezTo>
                  <a:lnTo>
                    <a:pt x="692903" y="292279"/>
                  </a:lnTo>
                  <a:lnTo>
                    <a:pt x="692903" y="293539"/>
                  </a:lnTo>
                  <a:cubicBezTo>
                    <a:pt x="692903" y="294799"/>
                    <a:pt x="692903" y="296058"/>
                    <a:pt x="692903" y="297318"/>
                  </a:cubicBezTo>
                  <a:lnTo>
                    <a:pt x="692903" y="297318"/>
                  </a:lnTo>
                  <a:lnTo>
                    <a:pt x="692903" y="297318"/>
                  </a:lnTo>
                  <a:lnTo>
                    <a:pt x="692903" y="298578"/>
                  </a:lnTo>
                  <a:cubicBezTo>
                    <a:pt x="692903" y="299838"/>
                    <a:pt x="692903" y="299838"/>
                    <a:pt x="692903" y="301098"/>
                  </a:cubicBezTo>
                  <a:lnTo>
                    <a:pt x="692903" y="301098"/>
                  </a:lnTo>
                  <a:lnTo>
                    <a:pt x="692903" y="301098"/>
                  </a:lnTo>
                  <a:lnTo>
                    <a:pt x="692903" y="302358"/>
                  </a:lnTo>
                  <a:lnTo>
                    <a:pt x="692903" y="303618"/>
                  </a:lnTo>
                  <a:lnTo>
                    <a:pt x="692903" y="304877"/>
                  </a:lnTo>
                  <a:cubicBezTo>
                    <a:pt x="692903" y="306137"/>
                    <a:pt x="692903" y="307397"/>
                    <a:pt x="694163" y="308657"/>
                  </a:cubicBezTo>
                  <a:lnTo>
                    <a:pt x="694163" y="309917"/>
                  </a:lnTo>
                  <a:cubicBezTo>
                    <a:pt x="694163" y="311176"/>
                    <a:pt x="694163" y="312436"/>
                    <a:pt x="695423" y="312436"/>
                  </a:cubicBezTo>
                  <a:lnTo>
                    <a:pt x="695423" y="312436"/>
                  </a:lnTo>
                  <a:lnTo>
                    <a:pt x="695423" y="314956"/>
                  </a:lnTo>
                  <a:cubicBezTo>
                    <a:pt x="696682" y="318735"/>
                    <a:pt x="696682" y="322515"/>
                    <a:pt x="697942" y="326294"/>
                  </a:cubicBezTo>
                  <a:cubicBezTo>
                    <a:pt x="697942" y="327554"/>
                    <a:pt x="697942" y="328814"/>
                    <a:pt x="699202" y="330074"/>
                  </a:cubicBezTo>
                  <a:lnTo>
                    <a:pt x="699202" y="331334"/>
                  </a:lnTo>
                  <a:cubicBezTo>
                    <a:pt x="699202" y="333853"/>
                    <a:pt x="700462" y="335113"/>
                    <a:pt x="700462" y="337633"/>
                  </a:cubicBezTo>
                  <a:cubicBezTo>
                    <a:pt x="700462" y="338893"/>
                    <a:pt x="701722" y="340152"/>
                    <a:pt x="701722" y="342672"/>
                  </a:cubicBezTo>
                  <a:lnTo>
                    <a:pt x="701722" y="342672"/>
                  </a:lnTo>
                  <a:lnTo>
                    <a:pt x="701722" y="343932"/>
                  </a:lnTo>
                  <a:lnTo>
                    <a:pt x="702981" y="347711"/>
                  </a:lnTo>
                  <a:cubicBezTo>
                    <a:pt x="702981" y="348971"/>
                    <a:pt x="702981" y="348971"/>
                    <a:pt x="702981" y="350231"/>
                  </a:cubicBezTo>
                  <a:cubicBezTo>
                    <a:pt x="702981" y="350231"/>
                    <a:pt x="702981" y="351491"/>
                    <a:pt x="702981" y="351491"/>
                  </a:cubicBezTo>
                  <a:cubicBezTo>
                    <a:pt x="702981" y="352751"/>
                    <a:pt x="702981" y="354010"/>
                    <a:pt x="702981" y="355270"/>
                  </a:cubicBezTo>
                  <a:cubicBezTo>
                    <a:pt x="702981" y="357790"/>
                    <a:pt x="702981" y="359050"/>
                    <a:pt x="704241" y="361569"/>
                  </a:cubicBezTo>
                  <a:lnTo>
                    <a:pt x="704241" y="362829"/>
                  </a:lnTo>
                  <a:cubicBezTo>
                    <a:pt x="705501" y="367868"/>
                    <a:pt x="705501" y="372908"/>
                    <a:pt x="706761" y="377947"/>
                  </a:cubicBezTo>
                  <a:lnTo>
                    <a:pt x="706761" y="377947"/>
                  </a:lnTo>
                  <a:cubicBezTo>
                    <a:pt x="706761" y="380467"/>
                    <a:pt x="708021" y="384246"/>
                    <a:pt x="708021" y="388026"/>
                  </a:cubicBezTo>
                  <a:cubicBezTo>
                    <a:pt x="708021" y="389286"/>
                    <a:pt x="708021" y="391805"/>
                    <a:pt x="708021" y="393065"/>
                  </a:cubicBezTo>
                  <a:lnTo>
                    <a:pt x="708021" y="394325"/>
                  </a:lnTo>
                  <a:lnTo>
                    <a:pt x="708021" y="395585"/>
                  </a:lnTo>
                  <a:cubicBezTo>
                    <a:pt x="708021" y="396844"/>
                    <a:pt x="708021" y="396844"/>
                    <a:pt x="708021" y="398104"/>
                  </a:cubicBezTo>
                  <a:cubicBezTo>
                    <a:pt x="708021" y="399364"/>
                    <a:pt x="708021" y="401884"/>
                    <a:pt x="708021" y="403143"/>
                  </a:cubicBezTo>
                  <a:lnTo>
                    <a:pt x="708021" y="404403"/>
                  </a:lnTo>
                  <a:cubicBezTo>
                    <a:pt x="708021" y="405663"/>
                    <a:pt x="708021" y="408183"/>
                    <a:pt x="708021" y="409443"/>
                  </a:cubicBezTo>
                  <a:cubicBezTo>
                    <a:pt x="708021" y="413222"/>
                    <a:pt x="709280" y="415742"/>
                    <a:pt x="709280" y="419521"/>
                  </a:cubicBezTo>
                  <a:cubicBezTo>
                    <a:pt x="709280" y="422041"/>
                    <a:pt x="710540" y="425820"/>
                    <a:pt x="710540" y="430860"/>
                  </a:cubicBezTo>
                  <a:lnTo>
                    <a:pt x="710540" y="434639"/>
                  </a:lnTo>
                  <a:lnTo>
                    <a:pt x="710540" y="435899"/>
                  </a:lnTo>
                  <a:cubicBezTo>
                    <a:pt x="710540" y="437159"/>
                    <a:pt x="710540" y="439678"/>
                    <a:pt x="711800" y="440938"/>
                  </a:cubicBezTo>
                  <a:cubicBezTo>
                    <a:pt x="711800" y="443458"/>
                    <a:pt x="713060" y="447237"/>
                    <a:pt x="713060" y="449757"/>
                  </a:cubicBezTo>
                  <a:lnTo>
                    <a:pt x="713060" y="449757"/>
                  </a:lnTo>
                  <a:lnTo>
                    <a:pt x="713060" y="449757"/>
                  </a:lnTo>
                  <a:lnTo>
                    <a:pt x="713060" y="449757"/>
                  </a:lnTo>
                  <a:cubicBezTo>
                    <a:pt x="713060" y="451017"/>
                    <a:pt x="714320" y="453536"/>
                    <a:pt x="714320" y="454796"/>
                  </a:cubicBezTo>
                  <a:lnTo>
                    <a:pt x="714320" y="454796"/>
                  </a:lnTo>
                  <a:cubicBezTo>
                    <a:pt x="714320" y="456056"/>
                    <a:pt x="715579" y="457316"/>
                    <a:pt x="715579" y="459836"/>
                  </a:cubicBezTo>
                  <a:cubicBezTo>
                    <a:pt x="715579" y="461095"/>
                    <a:pt x="716839" y="461095"/>
                    <a:pt x="716839" y="461095"/>
                  </a:cubicBezTo>
                  <a:cubicBezTo>
                    <a:pt x="716839" y="461095"/>
                    <a:pt x="718099" y="461095"/>
                    <a:pt x="718099" y="461095"/>
                  </a:cubicBezTo>
                  <a:cubicBezTo>
                    <a:pt x="718099" y="461095"/>
                    <a:pt x="719359" y="461095"/>
                    <a:pt x="719359" y="461095"/>
                  </a:cubicBezTo>
                  <a:cubicBezTo>
                    <a:pt x="719359" y="461095"/>
                    <a:pt x="719359" y="461095"/>
                    <a:pt x="720619" y="461095"/>
                  </a:cubicBezTo>
                  <a:cubicBezTo>
                    <a:pt x="720619" y="461095"/>
                    <a:pt x="721879" y="461095"/>
                    <a:pt x="721879" y="459836"/>
                  </a:cubicBezTo>
                  <a:cubicBezTo>
                    <a:pt x="721879" y="463615"/>
                    <a:pt x="721879" y="466135"/>
                    <a:pt x="721879" y="468654"/>
                  </a:cubicBezTo>
                  <a:cubicBezTo>
                    <a:pt x="721879" y="469914"/>
                    <a:pt x="721879" y="472434"/>
                    <a:pt x="721879" y="473694"/>
                  </a:cubicBezTo>
                  <a:lnTo>
                    <a:pt x="721879" y="474953"/>
                  </a:lnTo>
                  <a:lnTo>
                    <a:pt x="721879" y="476213"/>
                  </a:lnTo>
                  <a:lnTo>
                    <a:pt x="721879" y="477473"/>
                  </a:lnTo>
                  <a:lnTo>
                    <a:pt x="721879" y="478733"/>
                  </a:lnTo>
                  <a:cubicBezTo>
                    <a:pt x="721879" y="481252"/>
                    <a:pt x="721879" y="482512"/>
                    <a:pt x="721879" y="485032"/>
                  </a:cubicBezTo>
                  <a:lnTo>
                    <a:pt x="721879" y="487552"/>
                  </a:lnTo>
                  <a:lnTo>
                    <a:pt x="721879" y="490071"/>
                  </a:lnTo>
                  <a:lnTo>
                    <a:pt x="721879" y="492591"/>
                  </a:lnTo>
                  <a:cubicBezTo>
                    <a:pt x="721879" y="497630"/>
                    <a:pt x="720619" y="503929"/>
                    <a:pt x="720619" y="510228"/>
                  </a:cubicBezTo>
                  <a:cubicBezTo>
                    <a:pt x="720619" y="517787"/>
                    <a:pt x="719359" y="526606"/>
                    <a:pt x="719359" y="534165"/>
                  </a:cubicBezTo>
                  <a:lnTo>
                    <a:pt x="719359" y="534165"/>
                  </a:lnTo>
                  <a:lnTo>
                    <a:pt x="719359" y="534165"/>
                  </a:lnTo>
                  <a:cubicBezTo>
                    <a:pt x="716839" y="536685"/>
                    <a:pt x="713060" y="539204"/>
                    <a:pt x="710540" y="541724"/>
                  </a:cubicBezTo>
                  <a:cubicBezTo>
                    <a:pt x="700462" y="550543"/>
                    <a:pt x="692903" y="559362"/>
                    <a:pt x="686604" y="566921"/>
                  </a:cubicBezTo>
                  <a:lnTo>
                    <a:pt x="684084" y="569440"/>
                  </a:lnTo>
                  <a:cubicBezTo>
                    <a:pt x="677785" y="576999"/>
                    <a:pt x="670226" y="584558"/>
                    <a:pt x="663927" y="593377"/>
                  </a:cubicBezTo>
                  <a:cubicBezTo>
                    <a:pt x="661407" y="597156"/>
                    <a:pt x="656368" y="603456"/>
                    <a:pt x="652588" y="608495"/>
                  </a:cubicBezTo>
                  <a:cubicBezTo>
                    <a:pt x="648809" y="613534"/>
                    <a:pt x="646289" y="619833"/>
                    <a:pt x="642510" y="623613"/>
                  </a:cubicBezTo>
                  <a:cubicBezTo>
                    <a:pt x="639990" y="628652"/>
                    <a:pt x="637471" y="632431"/>
                    <a:pt x="634951" y="637471"/>
                  </a:cubicBezTo>
                  <a:lnTo>
                    <a:pt x="634951" y="637471"/>
                  </a:lnTo>
                  <a:cubicBezTo>
                    <a:pt x="633691" y="639990"/>
                    <a:pt x="632431" y="642510"/>
                    <a:pt x="629912" y="646289"/>
                  </a:cubicBezTo>
                  <a:cubicBezTo>
                    <a:pt x="628652" y="647549"/>
                    <a:pt x="628652" y="650069"/>
                    <a:pt x="627392" y="651329"/>
                  </a:cubicBezTo>
                  <a:lnTo>
                    <a:pt x="627392" y="651329"/>
                  </a:lnTo>
                  <a:cubicBezTo>
                    <a:pt x="627392" y="652589"/>
                    <a:pt x="626132" y="652589"/>
                    <a:pt x="626132" y="653848"/>
                  </a:cubicBezTo>
                  <a:cubicBezTo>
                    <a:pt x="623613" y="658888"/>
                    <a:pt x="622353" y="663927"/>
                    <a:pt x="619833" y="667706"/>
                  </a:cubicBezTo>
                  <a:lnTo>
                    <a:pt x="619833" y="667706"/>
                  </a:lnTo>
                  <a:lnTo>
                    <a:pt x="619833" y="668966"/>
                  </a:lnTo>
                  <a:cubicBezTo>
                    <a:pt x="618573" y="671486"/>
                    <a:pt x="617313" y="675265"/>
                    <a:pt x="617313" y="677785"/>
                  </a:cubicBezTo>
                  <a:lnTo>
                    <a:pt x="617313" y="679045"/>
                  </a:lnTo>
                  <a:lnTo>
                    <a:pt x="617313" y="679045"/>
                  </a:lnTo>
                  <a:cubicBezTo>
                    <a:pt x="616054" y="681565"/>
                    <a:pt x="616054" y="684084"/>
                    <a:pt x="614794" y="686604"/>
                  </a:cubicBezTo>
                  <a:cubicBezTo>
                    <a:pt x="614794" y="687864"/>
                    <a:pt x="614794" y="689123"/>
                    <a:pt x="614794" y="691643"/>
                  </a:cubicBezTo>
                  <a:lnTo>
                    <a:pt x="614794" y="694163"/>
                  </a:lnTo>
                  <a:lnTo>
                    <a:pt x="614794" y="696682"/>
                  </a:lnTo>
                  <a:cubicBezTo>
                    <a:pt x="614794" y="697942"/>
                    <a:pt x="614794" y="700462"/>
                    <a:pt x="614794" y="701722"/>
                  </a:cubicBezTo>
                  <a:lnTo>
                    <a:pt x="614794" y="701722"/>
                  </a:lnTo>
                  <a:lnTo>
                    <a:pt x="614794" y="701722"/>
                  </a:lnTo>
                  <a:lnTo>
                    <a:pt x="614794" y="704241"/>
                  </a:lnTo>
                  <a:cubicBezTo>
                    <a:pt x="614794" y="706761"/>
                    <a:pt x="614794" y="708021"/>
                    <a:pt x="614794" y="710540"/>
                  </a:cubicBezTo>
                  <a:lnTo>
                    <a:pt x="614794" y="713060"/>
                  </a:lnTo>
                  <a:cubicBezTo>
                    <a:pt x="614794" y="715580"/>
                    <a:pt x="614794" y="718099"/>
                    <a:pt x="614794" y="720619"/>
                  </a:cubicBezTo>
                  <a:cubicBezTo>
                    <a:pt x="616054" y="728178"/>
                    <a:pt x="616054" y="733217"/>
                    <a:pt x="618573" y="738257"/>
                  </a:cubicBezTo>
                  <a:lnTo>
                    <a:pt x="618573" y="739516"/>
                  </a:lnTo>
                  <a:cubicBezTo>
                    <a:pt x="619833" y="743296"/>
                    <a:pt x="619833" y="745815"/>
                    <a:pt x="622353" y="749595"/>
                  </a:cubicBezTo>
                  <a:cubicBezTo>
                    <a:pt x="623613" y="752114"/>
                    <a:pt x="624872" y="755894"/>
                    <a:pt x="626132" y="758414"/>
                  </a:cubicBezTo>
                  <a:cubicBezTo>
                    <a:pt x="626132" y="759674"/>
                    <a:pt x="627392" y="760933"/>
                    <a:pt x="628652" y="762193"/>
                  </a:cubicBezTo>
                  <a:cubicBezTo>
                    <a:pt x="628652" y="763453"/>
                    <a:pt x="629912" y="763453"/>
                    <a:pt x="629912" y="764713"/>
                  </a:cubicBezTo>
                  <a:lnTo>
                    <a:pt x="629912" y="765973"/>
                  </a:lnTo>
                  <a:cubicBezTo>
                    <a:pt x="632431" y="768492"/>
                    <a:pt x="633691" y="771012"/>
                    <a:pt x="636211" y="773532"/>
                  </a:cubicBezTo>
                  <a:lnTo>
                    <a:pt x="636211" y="773532"/>
                  </a:lnTo>
                  <a:cubicBezTo>
                    <a:pt x="637471" y="774791"/>
                    <a:pt x="637471" y="774791"/>
                    <a:pt x="638731" y="776051"/>
                  </a:cubicBezTo>
                  <a:cubicBezTo>
                    <a:pt x="639990" y="777311"/>
                    <a:pt x="641250" y="778571"/>
                    <a:pt x="642510" y="778571"/>
                  </a:cubicBezTo>
                  <a:lnTo>
                    <a:pt x="643770" y="778571"/>
                  </a:lnTo>
                  <a:cubicBezTo>
                    <a:pt x="645030" y="778571"/>
                    <a:pt x="646289" y="779831"/>
                    <a:pt x="646289" y="779831"/>
                  </a:cubicBezTo>
                  <a:cubicBezTo>
                    <a:pt x="648809" y="781090"/>
                    <a:pt x="651329" y="782350"/>
                    <a:pt x="653848" y="783610"/>
                  </a:cubicBezTo>
                  <a:lnTo>
                    <a:pt x="653848" y="783610"/>
                  </a:lnTo>
                  <a:cubicBezTo>
                    <a:pt x="656368" y="784870"/>
                    <a:pt x="660147" y="786130"/>
                    <a:pt x="662667" y="786130"/>
                  </a:cubicBezTo>
                  <a:cubicBezTo>
                    <a:pt x="662667" y="786130"/>
                    <a:pt x="662667" y="786130"/>
                    <a:pt x="662667" y="786130"/>
                  </a:cubicBezTo>
                  <a:lnTo>
                    <a:pt x="662667" y="786130"/>
                  </a:lnTo>
                  <a:lnTo>
                    <a:pt x="662667" y="786130"/>
                  </a:lnTo>
                  <a:cubicBezTo>
                    <a:pt x="662667" y="786130"/>
                    <a:pt x="661407" y="786130"/>
                    <a:pt x="661407" y="786130"/>
                  </a:cubicBezTo>
                  <a:lnTo>
                    <a:pt x="660147" y="786130"/>
                  </a:lnTo>
                  <a:cubicBezTo>
                    <a:pt x="658887" y="786130"/>
                    <a:pt x="657628" y="786130"/>
                    <a:pt x="656368" y="786130"/>
                  </a:cubicBezTo>
                  <a:cubicBezTo>
                    <a:pt x="655108" y="786130"/>
                    <a:pt x="652588" y="786130"/>
                    <a:pt x="651329" y="786130"/>
                  </a:cubicBezTo>
                  <a:cubicBezTo>
                    <a:pt x="645030" y="786130"/>
                    <a:pt x="638731" y="787390"/>
                    <a:pt x="631172" y="787390"/>
                  </a:cubicBezTo>
                  <a:cubicBezTo>
                    <a:pt x="622353" y="787390"/>
                    <a:pt x="612274" y="787390"/>
                    <a:pt x="603455" y="787390"/>
                  </a:cubicBezTo>
                  <a:cubicBezTo>
                    <a:pt x="600936" y="787390"/>
                    <a:pt x="598416" y="787390"/>
                    <a:pt x="595896" y="787390"/>
                  </a:cubicBezTo>
                  <a:lnTo>
                    <a:pt x="593377" y="787390"/>
                  </a:lnTo>
                  <a:lnTo>
                    <a:pt x="593377" y="787390"/>
                  </a:lnTo>
                  <a:cubicBezTo>
                    <a:pt x="590857" y="787390"/>
                    <a:pt x="589597" y="787390"/>
                    <a:pt x="587078" y="787390"/>
                  </a:cubicBezTo>
                  <a:cubicBezTo>
                    <a:pt x="584558" y="787390"/>
                    <a:pt x="580779" y="787390"/>
                    <a:pt x="578259" y="787390"/>
                  </a:cubicBezTo>
                  <a:cubicBezTo>
                    <a:pt x="576999" y="787390"/>
                    <a:pt x="575739" y="787390"/>
                    <a:pt x="573220" y="787390"/>
                  </a:cubicBezTo>
                  <a:lnTo>
                    <a:pt x="573220" y="787390"/>
                  </a:lnTo>
                  <a:lnTo>
                    <a:pt x="573220" y="787390"/>
                  </a:lnTo>
                  <a:cubicBezTo>
                    <a:pt x="569440" y="787390"/>
                    <a:pt x="564401" y="787390"/>
                    <a:pt x="560621" y="787390"/>
                  </a:cubicBezTo>
                  <a:cubicBezTo>
                    <a:pt x="558102" y="787390"/>
                    <a:pt x="556842" y="787390"/>
                    <a:pt x="554322" y="787390"/>
                  </a:cubicBezTo>
                  <a:lnTo>
                    <a:pt x="553062" y="787390"/>
                  </a:lnTo>
                  <a:cubicBezTo>
                    <a:pt x="550543" y="787390"/>
                    <a:pt x="545503" y="787390"/>
                    <a:pt x="541724" y="787390"/>
                  </a:cubicBezTo>
                  <a:lnTo>
                    <a:pt x="536685" y="787390"/>
                  </a:lnTo>
                  <a:lnTo>
                    <a:pt x="535425" y="787390"/>
                  </a:lnTo>
                  <a:lnTo>
                    <a:pt x="535425" y="787390"/>
                  </a:lnTo>
                  <a:lnTo>
                    <a:pt x="535425" y="787390"/>
                  </a:lnTo>
                  <a:cubicBezTo>
                    <a:pt x="531646" y="787390"/>
                    <a:pt x="527866" y="787390"/>
                    <a:pt x="524087" y="787390"/>
                  </a:cubicBezTo>
                  <a:cubicBezTo>
                    <a:pt x="521567" y="787390"/>
                    <a:pt x="519047" y="787390"/>
                    <a:pt x="516528" y="787390"/>
                  </a:cubicBezTo>
                  <a:cubicBezTo>
                    <a:pt x="512748" y="787390"/>
                    <a:pt x="510228" y="787390"/>
                    <a:pt x="506449" y="787390"/>
                  </a:cubicBezTo>
                  <a:cubicBezTo>
                    <a:pt x="501410" y="787390"/>
                    <a:pt x="495110" y="787390"/>
                    <a:pt x="488811" y="786130"/>
                  </a:cubicBezTo>
                  <a:cubicBezTo>
                    <a:pt x="488811" y="786130"/>
                    <a:pt x="487552" y="786130"/>
                    <a:pt x="487552" y="786130"/>
                  </a:cubicBezTo>
                  <a:cubicBezTo>
                    <a:pt x="485032" y="786130"/>
                    <a:pt x="481253" y="786130"/>
                    <a:pt x="478733" y="784870"/>
                  </a:cubicBezTo>
                  <a:lnTo>
                    <a:pt x="477473" y="784870"/>
                  </a:lnTo>
                  <a:lnTo>
                    <a:pt x="477473" y="784870"/>
                  </a:lnTo>
                  <a:cubicBezTo>
                    <a:pt x="474954" y="784870"/>
                    <a:pt x="472434" y="784870"/>
                    <a:pt x="471174" y="783610"/>
                  </a:cubicBezTo>
                  <a:cubicBezTo>
                    <a:pt x="469914" y="783610"/>
                    <a:pt x="469914" y="783610"/>
                    <a:pt x="468654" y="783610"/>
                  </a:cubicBezTo>
                  <a:cubicBezTo>
                    <a:pt x="466135" y="783610"/>
                    <a:pt x="463615" y="783610"/>
                    <a:pt x="461095" y="783610"/>
                  </a:cubicBezTo>
                  <a:cubicBezTo>
                    <a:pt x="458576" y="783610"/>
                    <a:pt x="456056" y="783610"/>
                    <a:pt x="454796" y="783610"/>
                  </a:cubicBezTo>
                  <a:lnTo>
                    <a:pt x="453536" y="783610"/>
                  </a:lnTo>
                  <a:lnTo>
                    <a:pt x="452276" y="783610"/>
                  </a:lnTo>
                  <a:cubicBezTo>
                    <a:pt x="451017" y="783610"/>
                    <a:pt x="449757" y="783610"/>
                    <a:pt x="448497" y="783610"/>
                  </a:cubicBezTo>
                  <a:lnTo>
                    <a:pt x="448497" y="783610"/>
                  </a:lnTo>
                  <a:cubicBezTo>
                    <a:pt x="447237" y="783610"/>
                    <a:pt x="444717" y="783610"/>
                    <a:pt x="443458" y="783610"/>
                  </a:cubicBezTo>
                  <a:cubicBezTo>
                    <a:pt x="440938" y="783610"/>
                    <a:pt x="439678" y="783610"/>
                    <a:pt x="437159" y="783610"/>
                  </a:cubicBezTo>
                  <a:cubicBezTo>
                    <a:pt x="435899" y="783610"/>
                    <a:pt x="435899" y="783610"/>
                    <a:pt x="434639" y="783610"/>
                  </a:cubicBezTo>
                  <a:lnTo>
                    <a:pt x="434639" y="783610"/>
                  </a:lnTo>
                  <a:cubicBezTo>
                    <a:pt x="434639" y="783610"/>
                    <a:pt x="433379" y="783610"/>
                    <a:pt x="433379" y="783610"/>
                  </a:cubicBezTo>
                  <a:cubicBezTo>
                    <a:pt x="430860" y="783610"/>
                    <a:pt x="427080" y="783610"/>
                    <a:pt x="423301" y="783610"/>
                  </a:cubicBezTo>
                  <a:cubicBezTo>
                    <a:pt x="420781" y="783610"/>
                    <a:pt x="417002" y="783610"/>
                    <a:pt x="414482" y="783610"/>
                  </a:cubicBezTo>
                  <a:lnTo>
                    <a:pt x="414482" y="783610"/>
                  </a:lnTo>
                  <a:lnTo>
                    <a:pt x="413222" y="783610"/>
                  </a:lnTo>
                  <a:cubicBezTo>
                    <a:pt x="410702" y="783610"/>
                    <a:pt x="408183" y="783610"/>
                    <a:pt x="405663" y="783610"/>
                  </a:cubicBezTo>
                  <a:lnTo>
                    <a:pt x="405663" y="783610"/>
                  </a:lnTo>
                  <a:lnTo>
                    <a:pt x="405663" y="783610"/>
                  </a:lnTo>
                  <a:cubicBezTo>
                    <a:pt x="396844" y="784870"/>
                    <a:pt x="386766" y="784870"/>
                    <a:pt x="376687" y="784870"/>
                  </a:cubicBezTo>
                  <a:cubicBezTo>
                    <a:pt x="370388" y="784870"/>
                    <a:pt x="364089" y="784870"/>
                    <a:pt x="359050" y="784870"/>
                  </a:cubicBezTo>
                  <a:cubicBezTo>
                    <a:pt x="359050" y="784870"/>
                    <a:pt x="357790" y="784870"/>
                    <a:pt x="357790" y="784870"/>
                  </a:cubicBezTo>
                  <a:lnTo>
                    <a:pt x="356530" y="784870"/>
                  </a:lnTo>
                  <a:lnTo>
                    <a:pt x="356530" y="784870"/>
                  </a:lnTo>
                  <a:lnTo>
                    <a:pt x="355270" y="784870"/>
                  </a:lnTo>
                  <a:cubicBezTo>
                    <a:pt x="354010" y="784870"/>
                    <a:pt x="351491" y="784870"/>
                    <a:pt x="350231" y="784870"/>
                  </a:cubicBezTo>
                  <a:cubicBezTo>
                    <a:pt x="348971" y="784870"/>
                    <a:pt x="347711" y="784870"/>
                    <a:pt x="346451" y="784870"/>
                  </a:cubicBezTo>
                  <a:cubicBezTo>
                    <a:pt x="345192" y="784870"/>
                    <a:pt x="343932" y="784870"/>
                    <a:pt x="342672" y="784870"/>
                  </a:cubicBezTo>
                  <a:lnTo>
                    <a:pt x="342672" y="784870"/>
                  </a:lnTo>
                  <a:cubicBezTo>
                    <a:pt x="341412" y="784870"/>
                    <a:pt x="340152" y="784870"/>
                    <a:pt x="340152" y="783610"/>
                  </a:cubicBezTo>
                  <a:cubicBezTo>
                    <a:pt x="338892" y="783610"/>
                    <a:pt x="338892" y="782350"/>
                    <a:pt x="337632" y="782350"/>
                  </a:cubicBezTo>
                  <a:cubicBezTo>
                    <a:pt x="336373" y="781090"/>
                    <a:pt x="335113" y="781090"/>
                    <a:pt x="335113" y="779831"/>
                  </a:cubicBezTo>
                  <a:cubicBezTo>
                    <a:pt x="333853" y="778571"/>
                    <a:pt x="333853" y="777311"/>
                    <a:pt x="333853" y="774791"/>
                  </a:cubicBezTo>
                  <a:cubicBezTo>
                    <a:pt x="333853" y="773532"/>
                    <a:pt x="333853" y="771012"/>
                    <a:pt x="333853" y="769752"/>
                  </a:cubicBezTo>
                  <a:cubicBezTo>
                    <a:pt x="333853" y="768492"/>
                    <a:pt x="333853" y="765973"/>
                    <a:pt x="332593" y="764713"/>
                  </a:cubicBezTo>
                  <a:lnTo>
                    <a:pt x="332593" y="764713"/>
                  </a:lnTo>
                  <a:cubicBezTo>
                    <a:pt x="332593" y="763453"/>
                    <a:pt x="332593" y="760933"/>
                    <a:pt x="332593" y="759674"/>
                  </a:cubicBezTo>
                  <a:lnTo>
                    <a:pt x="332593" y="759674"/>
                  </a:lnTo>
                  <a:lnTo>
                    <a:pt x="332593" y="759674"/>
                  </a:lnTo>
                  <a:cubicBezTo>
                    <a:pt x="332593" y="758414"/>
                    <a:pt x="332593" y="757154"/>
                    <a:pt x="332593" y="755894"/>
                  </a:cubicBezTo>
                  <a:cubicBezTo>
                    <a:pt x="332593" y="754634"/>
                    <a:pt x="332593" y="753374"/>
                    <a:pt x="332593" y="752114"/>
                  </a:cubicBezTo>
                  <a:cubicBezTo>
                    <a:pt x="331333" y="742036"/>
                    <a:pt x="331333" y="733217"/>
                    <a:pt x="330074" y="724398"/>
                  </a:cubicBezTo>
                  <a:cubicBezTo>
                    <a:pt x="330074" y="719359"/>
                    <a:pt x="328814" y="713060"/>
                    <a:pt x="328814" y="705501"/>
                  </a:cubicBezTo>
                  <a:cubicBezTo>
                    <a:pt x="328814" y="702981"/>
                    <a:pt x="328814" y="699202"/>
                    <a:pt x="328814" y="696682"/>
                  </a:cubicBezTo>
                  <a:cubicBezTo>
                    <a:pt x="328814" y="692903"/>
                    <a:pt x="328814" y="689123"/>
                    <a:pt x="328814" y="684084"/>
                  </a:cubicBezTo>
                  <a:cubicBezTo>
                    <a:pt x="328814" y="681565"/>
                    <a:pt x="328814" y="677785"/>
                    <a:pt x="328814" y="675265"/>
                  </a:cubicBezTo>
                  <a:cubicBezTo>
                    <a:pt x="328814" y="670226"/>
                    <a:pt x="328814" y="666447"/>
                    <a:pt x="328814" y="661407"/>
                  </a:cubicBezTo>
                  <a:cubicBezTo>
                    <a:pt x="328814" y="646289"/>
                    <a:pt x="328814" y="631172"/>
                    <a:pt x="327554" y="617313"/>
                  </a:cubicBezTo>
                  <a:lnTo>
                    <a:pt x="327554" y="614794"/>
                  </a:lnTo>
                  <a:cubicBezTo>
                    <a:pt x="327554" y="607235"/>
                    <a:pt x="327554" y="599676"/>
                    <a:pt x="326294" y="592117"/>
                  </a:cubicBezTo>
                  <a:cubicBezTo>
                    <a:pt x="326294" y="587078"/>
                    <a:pt x="326294" y="583298"/>
                    <a:pt x="326294" y="578259"/>
                  </a:cubicBezTo>
                  <a:cubicBezTo>
                    <a:pt x="326294" y="575739"/>
                    <a:pt x="326294" y="573220"/>
                    <a:pt x="326294" y="570700"/>
                  </a:cubicBezTo>
                  <a:cubicBezTo>
                    <a:pt x="326294" y="563141"/>
                    <a:pt x="326294" y="555582"/>
                    <a:pt x="326294" y="548023"/>
                  </a:cubicBezTo>
                  <a:cubicBezTo>
                    <a:pt x="326294" y="545504"/>
                    <a:pt x="326294" y="542984"/>
                    <a:pt x="326294" y="540464"/>
                  </a:cubicBezTo>
                  <a:cubicBezTo>
                    <a:pt x="326294" y="535425"/>
                    <a:pt x="326294" y="530386"/>
                    <a:pt x="326294" y="525346"/>
                  </a:cubicBezTo>
                  <a:cubicBezTo>
                    <a:pt x="326294" y="520307"/>
                    <a:pt x="326294" y="514008"/>
                    <a:pt x="326294" y="508969"/>
                  </a:cubicBezTo>
                  <a:cubicBezTo>
                    <a:pt x="326294" y="506449"/>
                    <a:pt x="326294" y="503929"/>
                    <a:pt x="326294" y="501410"/>
                  </a:cubicBezTo>
                  <a:cubicBezTo>
                    <a:pt x="326294" y="493851"/>
                    <a:pt x="326294" y="486292"/>
                    <a:pt x="326294" y="479993"/>
                  </a:cubicBezTo>
                  <a:cubicBezTo>
                    <a:pt x="326294" y="473694"/>
                    <a:pt x="326294" y="468654"/>
                    <a:pt x="326294" y="462355"/>
                  </a:cubicBezTo>
                  <a:cubicBezTo>
                    <a:pt x="326294" y="452277"/>
                    <a:pt x="325034" y="443458"/>
                    <a:pt x="326294" y="433379"/>
                  </a:cubicBezTo>
                  <a:lnTo>
                    <a:pt x="326294" y="433379"/>
                  </a:lnTo>
                  <a:cubicBezTo>
                    <a:pt x="326294" y="425820"/>
                    <a:pt x="326294" y="418261"/>
                    <a:pt x="326294" y="410702"/>
                  </a:cubicBezTo>
                  <a:cubicBezTo>
                    <a:pt x="326294" y="405663"/>
                    <a:pt x="326294" y="400624"/>
                    <a:pt x="326294" y="396844"/>
                  </a:cubicBezTo>
                  <a:cubicBezTo>
                    <a:pt x="326294" y="394325"/>
                    <a:pt x="326294" y="390545"/>
                    <a:pt x="326294" y="388026"/>
                  </a:cubicBezTo>
                  <a:cubicBezTo>
                    <a:pt x="326294" y="384246"/>
                    <a:pt x="326294" y="380467"/>
                    <a:pt x="326294" y="377947"/>
                  </a:cubicBezTo>
                  <a:cubicBezTo>
                    <a:pt x="326294" y="374167"/>
                    <a:pt x="326294" y="369128"/>
                    <a:pt x="326294" y="365349"/>
                  </a:cubicBezTo>
                  <a:cubicBezTo>
                    <a:pt x="326294" y="362829"/>
                    <a:pt x="326294" y="359050"/>
                    <a:pt x="326294" y="356530"/>
                  </a:cubicBezTo>
                  <a:cubicBezTo>
                    <a:pt x="326294" y="355270"/>
                    <a:pt x="326294" y="354010"/>
                    <a:pt x="326294" y="352751"/>
                  </a:cubicBezTo>
                  <a:cubicBezTo>
                    <a:pt x="326294" y="348971"/>
                    <a:pt x="326294" y="343932"/>
                    <a:pt x="326294" y="340152"/>
                  </a:cubicBezTo>
                  <a:cubicBezTo>
                    <a:pt x="326294" y="335113"/>
                    <a:pt x="326294" y="331334"/>
                    <a:pt x="326294" y="326294"/>
                  </a:cubicBezTo>
                  <a:cubicBezTo>
                    <a:pt x="326294" y="323775"/>
                    <a:pt x="326294" y="321255"/>
                    <a:pt x="326294" y="318735"/>
                  </a:cubicBezTo>
                  <a:cubicBezTo>
                    <a:pt x="326294" y="312436"/>
                    <a:pt x="326294" y="306137"/>
                    <a:pt x="326294" y="299838"/>
                  </a:cubicBezTo>
                  <a:lnTo>
                    <a:pt x="326294" y="296058"/>
                  </a:lnTo>
                  <a:cubicBezTo>
                    <a:pt x="326294" y="291019"/>
                    <a:pt x="326294" y="285980"/>
                    <a:pt x="326294" y="279681"/>
                  </a:cubicBezTo>
                  <a:cubicBezTo>
                    <a:pt x="326294" y="279681"/>
                    <a:pt x="326294" y="279681"/>
                    <a:pt x="327554" y="279681"/>
                  </a:cubicBezTo>
                  <a:cubicBezTo>
                    <a:pt x="328814" y="279681"/>
                    <a:pt x="328814" y="279681"/>
                    <a:pt x="328814" y="278421"/>
                  </a:cubicBezTo>
                  <a:cubicBezTo>
                    <a:pt x="328814" y="277161"/>
                    <a:pt x="330074" y="277161"/>
                    <a:pt x="330074" y="275901"/>
                  </a:cubicBezTo>
                  <a:cubicBezTo>
                    <a:pt x="330074" y="274642"/>
                    <a:pt x="330074" y="274642"/>
                    <a:pt x="328814" y="273382"/>
                  </a:cubicBezTo>
                  <a:lnTo>
                    <a:pt x="328814" y="273382"/>
                  </a:lnTo>
                  <a:lnTo>
                    <a:pt x="328814" y="273382"/>
                  </a:lnTo>
                  <a:lnTo>
                    <a:pt x="328814" y="273382"/>
                  </a:lnTo>
                  <a:cubicBezTo>
                    <a:pt x="328814" y="270862"/>
                    <a:pt x="328814" y="267083"/>
                    <a:pt x="328814" y="264563"/>
                  </a:cubicBezTo>
                  <a:cubicBezTo>
                    <a:pt x="328814" y="260783"/>
                    <a:pt x="328814" y="255744"/>
                    <a:pt x="330074" y="251965"/>
                  </a:cubicBezTo>
                  <a:cubicBezTo>
                    <a:pt x="330074" y="248185"/>
                    <a:pt x="331333" y="243146"/>
                    <a:pt x="331333" y="238107"/>
                  </a:cubicBezTo>
                  <a:cubicBezTo>
                    <a:pt x="331333" y="236847"/>
                    <a:pt x="331333" y="235587"/>
                    <a:pt x="331333" y="234327"/>
                  </a:cubicBezTo>
                  <a:cubicBezTo>
                    <a:pt x="331333" y="233067"/>
                    <a:pt x="331333" y="231808"/>
                    <a:pt x="331333" y="231808"/>
                  </a:cubicBezTo>
                  <a:cubicBezTo>
                    <a:pt x="331333" y="230548"/>
                    <a:pt x="331333" y="230548"/>
                    <a:pt x="331333" y="229288"/>
                  </a:cubicBezTo>
                  <a:cubicBezTo>
                    <a:pt x="331333" y="228028"/>
                    <a:pt x="331333" y="226768"/>
                    <a:pt x="331333" y="225508"/>
                  </a:cubicBezTo>
                  <a:cubicBezTo>
                    <a:pt x="331333" y="222989"/>
                    <a:pt x="331333" y="221729"/>
                    <a:pt x="331333" y="219209"/>
                  </a:cubicBezTo>
                  <a:lnTo>
                    <a:pt x="331333" y="216690"/>
                  </a:lnTo>
                  <a:cubicBezTo>
                    <a:pt x="331333" y="215430"/>
                    <a:pt x="331333" y="214170"/>
                    <a:pt x="331333" y="212910"/>
                  </a:cubicBezTo>
                  <a:cubicBezTo>
                    <a:pt x="331333" y="211650"/>
                    <a:pt x="331333" y="211650"/>
                    <a:pt x="331333" y="210390"/>
                  </a:cubicBezTo>
                  <a:cubicBezTo>
                    <a:pt x="331333" y="209131"/>
                    <a:pt x="331333" y="207871"/>
                    <a:pt x="331333" y="206611"/>
                  </a:cubicBezTo>
                  <a:cubicBezTo>
                    <a:pt x="331333" y="205351"/>
                    <a:pt x="331333" y="204091"/>
                    <a:pt x="331333" y="204091"/>
                  </a:cubicBezTo>
                  <a:cubicBezTo>
                    <a:pt x="331333" y="202832"/>
                    <a:pt x="331333" y="201572"/>
                    <a:pt x="331333" y="200312"/>
                  </a:cubicBezTo>
                  <a:cubicBezTo>
                    <a:pt x="331333" y="200312"/>
                    <a:pt x="331333" y="199052"/>
                    <a:pt x="331333" y="199052"/>
                  </a:cubicBezTo>
                  <a:cubicBezTo>
                    <a:pt x="331333" y="199052"/>
                    <a:pt x="331333" y="197792"/>
                    <a:pt x="331333" y="197792"/>
                  </a:cubicBezTo>
                  <a:cubicBezTo>
                    <a:pt x="331333" y="196533"/>
                    <a:pt x="331333" y="196533"/>
                    <a:pt x="331333" y="195273"/>
                  </a:cubicBezTo>
                  <a:cubicBezTo>
                    <a:pt x="331333" y="195273"/>
                    <a:pt x="331333" y="195273"/>
                    <a:pt x="330074" y="195273"/>
                  </a:cubicBezTo>
                  <a:cubicBezTo>
                    <a:pt x="330074" y="195273"/>
                    <a:pt x="328814" y="195273"/>
                    <a:pt x="328814" y="195273"/>
                  </a:cubicBezTo>
                  <a:cubicBezTo>
                    <a:pt x="328814" y="195273"/>
                    <a:pt x="328814" y="195273"/>
                    <a:pt x="327554" y="195273"/>
                  </a:cubicBezTo>
                  <a:cubicBezTo>
                    <a:pt x="327554" y="195273"/>
                    <a:pt x="327554" y="195273"/>
                    <a:pt x="327554" y="195273"/>
                  </a:cubicBezTo>
                  <a:lnTo>
                    <a:pt x="327554" y="195273"/>
                  </a:lnTo>
                  <a:cubicBezTo>
                    <a:pt x="327554" y="195273"/>
                    <a:pt x="326294" y="195273"/>
                    <a:pt x="326294" y="195273"/>
                  </a:cubicBezTo>
                  <a:cubicBezTo>
                    <a:pt x="325034" y="195273"/>
                    <a:pt x="323775" y="196533"/>
                    <a:pt x="323775" y="196533"/>
                  </a:cubicBezTo>
                  <a:cubicBezTo>
                    <a:pt x="322515" y="196533"/>
                    <a:pt x="322515" y="197792"/>
                    <a:pt x="321255" y="197792"/>
                  </a:cubicBezTo>
                  <a:cubicBezTo>
                    <a:pt x="319995" y="197792"/>
                    <a:pt x="318735" y="199052"/>
                    <a:pt x="317476" y="199052"/>
                  </a:cubicBezTo>
                  <a:cubicBezTo>
                    <a:pt x="314956" y="200312"/>
                    <a:pt x="313696" y="200312"/>
                    <a:pt x="311177" y="201572"/>
                  </a:cubicBezTo>
                  <a:lnTo>
                    <a:pt x="311177" y="201572"/>
                  </a:lnTo>
                  <a:cubicBezTo>
                    <a:pt x="308657" y="202832"/>
                    <a:pt x="307397" y="202832"/>
                    <a:pt x="304877" y="204091"/>
                  </a:cubicBezTo>
                  <a:cubicBezTo>
                    <a:pt x="303617" y="204091"/>
                    <a:pt x="302358" y="205351"/>
                    <a:pt x="301098" y="205351"/>
                  </a:cubicBezTo>
                  <a:cubicBezTo>
                    <a:pt x="299838" y="205351"/>
                    <a:pt x="298578" y="206611"/>
                    <a:pt x="298578" y="206611"/>
                  </a:cubicBezTo>
                  <a:lnTo>
                    <a:pt x="298578" y="206611"/>
                  </a:lnTo>
                  <a:cubicBezTo>
                    <a:pt x="296058" y="206611"/>
                    <a:pt x="294799" y="207871"/>
                    <a:pt x="292279" y="207871"/>
                  </a:cubicBezTo>
                  <a:cubicBezTo>
                    <a:pt x="291019" y="207871"/>
                    <a:pt x="289759" y="207871"/>
                    <a:pt x="288499" y="209131"/>
                  </a:cubicBezTo>
                  <a:cubicBezTo>
                    <a:pt x="287240" y="209131"/>
                    <a:pt x="285980" y="209131"/>
                    <a:pt x="285980" y="209131"/>
                  </a:cubicBezTo>
                  <a:cubicBezTo>
                    <a:pt x="283460" y="209131"/>
                    <a:pt x="282200" y="210390"/>
                    <a:pt x="279681" y="210390"/>
                  </a:cubicBezTo>
                  <a:cubicBezTo>
                    <a:pt x="274641" y="211650"/>
                    <a:pt x="269602" y="211650"/>
                    <a:pt x="264563" y="212910"/>
                  </a:cubicBezTo>
                  <a:lnTo>
                    <a:pt x="263303" y="212910"/>
                  </a:lnTo>
                  <a:cubicBezTo>
                    <a:pt x="262043" y="212910"/>
                    <a:pt x="259524" y="212910"/>
                    <a:pt x="258264" y="214170"/>
                  </a:cubicBezTo>
                  <a:cubicBezTo>
                    <a:pt x="257004" y="214170"/>
                    <a:pt x="255744" y="214170"/>
                    <a:pt x="254484" y="214170"/>
                  </a:cubicBezTo>
                  <a:cubicBezTo>
                    <a:pt x="253225" y="214170"/>
                    <a:pt x="251965" y="214170"/>
                    <a:pt x="250705" y="214170"/>
                  </a:cubicBezTo>
                  <a:cubicBezTo>
                    <a:pt x="249445" y="214170"/>
                    <a:pt x="248185" y="214170"/>
                    <a:pt x="246925" y="214170"/>
                  </a:cubicBezTo>
                  <a:cubicBezTo>
                    <a:pt x="245666" y="214170"/>
                    <a:pt x="245666" y="214170"/>
                    <a:pt x="244406" y="214170"/>
                  </a:cubicBezTo>
                  <a:lnTo>
                    <a:pt x="244406" y="214170"/>
                  </a:lnTo>
                  <a:cubicBezTo>
                    <a:pt x="241886" y="214170"/>
                    <a:pt x="240626" y="214170"/>
                    <a:pt x="236847" y="214170"/>
                  </a:cubicBezTo>
                  <a:cubicBezTo>
                    <a:pt x="231807" y="214170"/>
                    <a:pt x="228028" y="215430"/>
                    <a:pt x="222989" y="215430"/>
                  </a:cubicBezTo>
                  <a:cubicBezTo>
                    <a:pt x="220469" y="215430"/>
                    <a:pt x="217949" y="216690"/>
                    <a:pt x="215430" y="216690"/>
                  </a:cubicBezTo>
                  <a:cubicBezTo>
                    <a:pt x="214170" y="216690"/>
                    <a:pt x="211650" y="216690"/>
                    <a:pt x="209131" y="217949"/>
                  </a:cubicBezTo>
                  <a:cubicBezTo>
                    <a:pt x="209131" y="217949"/>
                    <a:pt x="207871" y="217949"/>
                    <a:pt x="207871" y="217949"/>
                  </a:cubicBezTo>
                  <a:lnTo>
                    <a:pt x="207871" y="217949"/>
                  </a:lnTo>
                  <a:cubicBezTo>
                    <a:pt x="207871" y="217949"/>
                    <a:pt x="206611" y="217949"/>
                    <a:pt x="206611" y="217949"/>
                  </a:cubicBezTo>
                  <a:cubicBezTo>
                    <a:pt x="204092" y="216690"/>
                    <a:pt x="201572" y="216690"/>
                    <a:pt x="200312" y="215430"/>
                  </a:cubicBezTo>
                  <a:lnTo>
                    <a:pt x="200312" y="215430"/>
                  </a:lnTo>
                  <a:cubicBezTo>
                    <a:pt x="199052" y="215430"/>
                    <a:pt x="199052" y="215430"/>
                    <a:pt x="197792" y="215430"/>
                  </a:cubicBezTo>
                  <a:cubicBezTo>
                    <a:pt x="196533" y="215430"/>
                    <a:pt x="195273" y="215430"/>
                    <a:pt x="194013" y="215430"/>
                  </a:cubicBezTo>
                  <a:cubicBezTo>
                    <a:pt x="194013" y="215430"/>
                    <a:pt x="194013" y="215430"/>
                    <a:pt x="194013" y="215430"/>
                  </a:cubicBezTo>
                  <a:cubicBezTo>
                    <a:pt x="192753" y="215430"/>
                    <a:pt x="192753" y="215430"/>
                    <a:pt x="191493" y="216690"/>
                  </a:cubicBezTo>
                  <a:cubicBezTo>
                    <a:pt x="191493" y="216690"/>
                    <a:pt x="191493" y="216690"/>
                    <a:pt x="191493" y="216690"/>
                  </a:cubicBezTo>
                  <a:cubicBezTo>
                    <a:pt x="191493" y="216690"/>
                    <a:pt x="191493" y="216690"/>
                    <a:pt x="190233" y="216690"/>
                  </a:cubicBezTo>
                  <a:cubicBezTo>
                    <a:pt x="187714" y="215430"/>
                    <a:pt x="183934" y="214170"/>
                    <a:pt x="181414" y="212910"/>
                  </a:cubicBezTo>
                  <a:cubicBezTo>
                    <a:pt x="178895" y="211650"/>
                    <a:pt x="177635" y="211650"/>
                    <a:pt x="175115" y="210390"/>
                  </a:cubicBezTo>
                  <a:cubicBezTo>
                    <a:pt x="173855" y="210390"/>
                    <a:pt x="173855" y="209131"/>
                    <a:pt x="172596" y="209131"/>
                  </a:cubicBezTo>
                  <a:cubicBezTo>
                    <a:pt x="170076" y="207871"/>
                    <a:pt x="167556" y="205351"/>
                    <a:pt x="165037" y="204091"/>
                  </a:cubicBezTo>
                  <a:cubicBezTo>
                    <a:pt x="162517" y="202832"/>
                    <a:pt x="158738" y="200312"/>
                    <a:pt x="154958" y="199052"/>
                  </a:cubicBezTo>
                  <a:cubicBezTo>
                    <a:pt x="152439" y="197792"/>
                    <a:pt x="148659" y="195273"/>
                    <a:pt x="146140" y="194013"/>
                  </a:cubicBezTo>
                  <a:cubicBezTo>
                    <a:pt x="143620" y="192753"/>
                    <a:pt x="141100" y="191493"/>
                    <a:pt x="138581" y="190233"/>
                  </a:cubicBezTo>
                  <a:cubicBezTo>
                    <a:pt x="127242" y="182674"/>
                    <a:pt x="113384" y="175116"/>
                    <a:pt x="99526" y="165037"/>
                  </a:cubicBezTo>
                  <a:lnTo>
                    <a:pt x="99526" y="165037"/>
                  </a:lnTo>
                  <a:cubicBezTo>
                    <a:pt x="93227" y="159998"/>
                    <a:pt x="85668" y="156218"/>
                    <a:pt x="79369" y="151179"/>
                  </a:cubicBezTo>
                  <a:cubicBezTo>
                    <a:pt x="74329" y="147399"/>
                    <a:pt x="69290" y="142360"/>
                    <a:pt x="64251" y="138581"/>
                  </a:cubicBezTo>
                  <a:lnTo>
                    <a:pt x="60471" y="136061"/>
                  </a:lnTo>
                  <a:cubicBezTo>
                    <a:pt x="55432" y="132281"/>
                    <a:pt x="49133" y="127242"/>
                    <a:pt x="42834" y="120943"/>
                  </a:cubicBezTo>
                  <a:lnTo>
                    <a:pt x="41574" y="120943"/>
                  </a:lnTo>
                  <a:cubicBezTo>
                    <a:pt x="36535" y="115904"/>
                    <a:pt x="30236" y="112124"/>
                    <a:pt x="25196" y="105825"/>
                  </a:cubicBezTo>
                  <a:cubicBezTo>
                    <a:pt x="22677" y="103305"/>
                    <a:pt x="20157" y="99526"/>
                    <a:pt x="17637" y="95747"/>
                  </a:cubicBezTo>
                  <a:cubicBezTo>
                    <a:pt x="15118" y="91967"/>
                    <a:pt x="12598" y="89448"/>
                    <a:pt x="11338" y="85668"/>
                  </a:cubicBezTo>
                  <a:cubicBezTo>
                    <a:pt x="7559" y="80629"/>
                    <a:pt x="5039" y="74330"/>
                    <a:pt x="1260" y="69290"/>
                  </a:cubicBezTo>
                  <a:cubicBezTo>
                    <a:pt x="1260" y="68031"/>
                    <a:pt x="0" y="68031"/>
                    <a:pt x="0" y="66771"/>
                  </a:cubicBezTo>
                  <a:cubicBezTo>
                    <a:pt x="3779" y="69290"/>
                    <a:pt x="6299" y="71810"/>
                    <a:pt x="8819" y="74330"/>
                  </a:cubicBezTo>
                  <a:cubicBezTo>
                    <a:pt x="11338" y="75589"/>
                    <a:pt x="13858" y="78109"/>
                    <a:pt x="15118" y="79369"/>
                  </a:cubicBezTo>
                  <a:lnTo>
                    <a:pt x="16378" y="80629"/>
                  </a:lnTo>
                  <a:cubicBezTo>
                    <a:pt x="17637" y="81889"/>
                    <a:pt x="18897" y="81889"/>
                    <a:pt x="21417" y="83148"/>
                  </a:cubicBezTo>
                  <a:cubicBezTo>
                    <a:pt x="26456" y="85668"/>
                    <a:pt x="30236" y="88188"/>
                    <a:pt x="35275" y="89448"/>
                  </a:cubicBezTo>
                  <a:cubicBezTo>
                    <a:pt x="37795" y="89448"/>
                    <a:pt x="39055" y="90707"/>
                    <a:pt x="41574" y="90707"/>
                  </a:cubicBezTo>
                  <a:cubicBezTo>
                    <a:pt x="42834" y="90707"/>
                    <a:pt x="42834" y="90707"/>
                    <a:pt x="44094" y="90707"/>
                  </a:cubicBezTo>
                  <a:cubicBezTo>
                    <a:pt x="45354" y="90707"/>
                    <a:pt x="46614" y="90707"/>
                    <a:pt x="47873" y="91967"/>
                  </a:cubicBezTo>
                  <a:cubicBezTo>
                    <a:pt x="49133" y="91967"/>
                    <a:pt x="51653" y="91967"/>
                    <a:pt x="52913" y="93227"/>
                  </a:cubicBezTo>
                  <a:cubicBezTo>
                    <a:pt x="54172" y="93227"/>
                    <a:pt x="55432" y="93227"/>
                    <a:pt x="56692" y="93227"/>
                  </a:cubicBezTo>
                  <a:cubicBezTo>
                    <a:pt x="59212" y="93227"/>
                    <a:pt x="61731" y="93227"/>
                    <a:pt x="62991" y="93227"/>
                  </a:cubicBezTo>
                  <a:cubicBezTo>
                    <a:pt x="64251" y="93227"/>
                    <a:pt x="65511" y="93227"/>
                    <a:pt x="66770" y="93227"/>
                  </a:cubicBezTo>
                  <a:lnTo>
                    <a:pt x="66770" y="93227"/>
                  </a:lnTo>
                  <a:cubicBezTo>
                    <a:pt x="68030" y="93227"/>
                    <a:pt x="69290" y="93227"/>
                    <a:pt x="70550" y="93227"/>
                  </a:cubicBezTo>
                  <a:cubicBezTo>
                    <a:pt x="73070" y="93227"/>
                    <a:pt x="76849" y="91967"/>
                    <a:pt x="79369" y="91967"/>
                  </a:cubicBezTo>
                  <a:cubicBezTo>
                    <a:pt x="81889" y="91967"/>
                    <a:pt x="84408" y="90707"/>
                    <a:pt x="86928" y="90707"/>
                  </a:cubicBezTo>
                  <a:cubicBezTo>
                    <a:pt x="89448" y="89448"/>
                    <a:pt x="91967" y="89448"/>
                    <a:pt x="93227" y="88188"/>
                  </a:cubicBezTo>
                  <a:cubicBezTo>
                    <a:pt x="94487" y="88188"/>
                    <a:pt x="95747" y="86928"/>
                    <a:pt x="97007" y="86928"/>
                  </a:cubicBezTo>
                  <a:lnTo>
                    <a:pt x="97007" y="86928"/>
                  </a:lnTo>
                  <a:cubicBezTo>
                    <a:pt x="97007" y="86928"/>
                    <a:pt x="98266" y="86928"/>
                    <a:pt x="98266" y="85668"/>
                  </a:cubicBezTo>
                  <a:lnTo>
                    <a:pt x="99526" y="84408"/>
                  </a:lnTo>
                  <a:lnTo>
                    <a:pt x="99526" y="84408"/>
                  </a:lnTo>
                  <a:cubicBezTo>
                    <a:pt x="100786" y="84408"/>
                    <a:pt x="102046" y="83148"/>
                    <a:pt x="104565" y="81889"/>
                  </a:cubicBezTo>
                  <a:lnTo>
                    <a:pt x="105825" y="81889"/>
                  </a:lnTo>
                  <a:cubicBezTo>
                    <a:pt x="108345" y="80629"/>
                    <a:pt x="110864" y="79369"/>
                    <a:pt x="112124" y="78109"/>
                  </a:cubicBezTo>
                  <a:cubicBezTo>
                    <a:pt x="114644" y="76849"/>
                    <a:pt x="115904" y="75589"/>
                    <a:pt x="118423" y="74330"/>
                  </a:cubicBezTo>
                  <a:cubicBezTo>
                    <a:pt x="120943" y="73070"/>
                    <a:pt x="122203" y="70550"/>
                    <a:pt x="124722" y="68031"/>
                  </a:cubicBezTo>
                  <a:cubicBezTo>
                    <a:pt x="125982" y="66771"/>
                    <a:pt x="127242" y="65511"/>
                    <a:pt x="127242" y="64251"/>
                  </a:cubicBezTo>
                  <a:lnTo>
                    <a:pt x="127242" y="64251"/>
                  </a:lnTo>
                  <a:cubicBezTo>
                    <a:pt x="127242" y="62991"/>
                    <a:pt x="128502" y="62991"/>
                    <a:pt x="128502" y="61731"/>
                  </a:cubicBezTo>
                  <a:cubicBezTo>
                    <a:pt x="131022" y="57952"/>
                    <a:pt x="132281" y="55432"/>
                    <a:pt x="133541" y="51653"/>
                  </a:cubicBezTo>
                  <a:cubicBezTo>
                    <a:pt x="133541" y="50393"/>
                    <a:pt x="133541" y="50393"/>
                    <a:pt x="134801" y="49133"/>
                  </a:cubicBezTo>
                  <a:lnTo>
                    <a:pt x="134801" y="49133"/>
                  </a:lnTo>
                  <a:lnTo>
                    <a:pt x="134801" y="49133"/>
                  </a:lnTo>
                  <a:cubicBezTo>
                    <a:pt x="134801" y="49133"/>
                    <a:pt x="134801" y="49133"/>
                    <a:pt x="134801" y="49133"/>
                  </a:cubicBezTo>
                  <a:lnTo>
                    <a:pt x="134801" y="49133"/>
                  </a:lnTo>
                  <a:lnTo>
                    <a:pt x="134801" y="49133"/>
                  </a:lnTo>
                  <a:lnTo>
                    <a:pt x="134801" y="49133"/>
                  </a:lnTo>
                  <a:cubicBezTo>
                    <a:pt x="136061" y="45354"/>
                    <a:pt x="138581" y="40314"/>
                    <a:pt x="139840" y="35275"/>
                  </a:cubicBezTo>
                  <a:lnTo>
                    <a:pt x="139840" y="34015"/>
                  </a:lnTo>
                  <a:cubicBezTo>
                    <a:pt x="139840" y="32755"/>
                    <a:pt x="141100" y="30236"/>
                    <a:pt x="141100" y="28976"/>
                  </a:cubicBezTo>
                  <a:cubicBezTo>
                    <a:pt x="141100" y="26456"/>
                    <a:pt x="142360" y="23937"/>
                    <a:pt x="142360" y="22677"/>
                  </a:cubicBezTo>
                  <a:cubicBezTo>
                    <a:pt x="142360" y="20157"/>
                    <a:pt x="142360" y="17638"/>
                    <a:pt x="142360" y="16378"/>
                  </a:cubicBezTo>
                  <a:cubicBezTo>
                    <a:pt x="142360" y="16378"/>
                    <a:pt x="142360" y="16378"/>
                    <a:pt x="142360" y="15118"/>
                  </a:cubicBezTo>
                  <a:lnTo>
                    <a:pt x="142360" y="15118"/>
                  </a:lnTo>
                  <a:lnTo>
                    <a:pt x="142360" y="15118"/>
                  </a:lnTo>
                  <a:cubicBezTo>
                    <a:pt x="142360" y="13858"/>
                    <a:pt x="142360" y="13858"/>
                    <a:pt x="142360" y="12598"/>
                  </a:cubicBezTo>
                  <a:cubicBezTo>
                    <a:pt x="142360" y="10079"/>
                    <a:pt x="141100" y="7559"/>
                    <a:pt x="141100" y="5039"/>
                  </a:cubicBezTo>
                  <a:cubicBezTo>
                    <a:pt x="141100" y="3780"/>
                    <a:pt x="141100" y="1260"/>
                    <a:pt x="139840" y="0"/>
                  </a:cubicBezTo>
                  <a:cubicBezTo>
                    <a:pt x="149919" y="11339"/>
                    <a:pt x="151179" y="12598"/>
                    <a:pt x="151179" y="12598"/>
                  </a:cubicBezTo>
                </a:path>
              </a:pathLst>
            </a:custGeom>
            <a:solidFill>
              <a:srgbClr val="FFD671"/>
            </a:solidFill>
            <a:ln w="12584" cap="flat">
              <a:noFill/>
              <a:prstDash val="solid"/>
              <a:miter/>
            </a:ln>
          </p:spPr>
          <p:txBody>
            <a:bodyPr rtlCol="0" anchor="ctr"/>
            <a:lstStyle/>
            <a:p>
              <a:endParaRPr lang="zh-CN" altLang="en-US"/>
            </a:p>
          </p:txBody>
        </p:sp>
        <p:sp>
          <p:nvSpPr>
            <p:cNvPr id="10249" name="任意多边形: 形状 10248"/>
            <p:cNvSpPr/>
            <p:nvPr/>
          </p:nvSpPr>
          <p:spPr>
            <a:xfrm>
              <a:off x="5179849" y="3591517"/>
              <a:ext cx="12598" cy="12598"/>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FFD671"/>
            </a:solidFill>
            <a:ln w="12584" cap="flat">
              <a:noFill/>
              <a:prstDash val="solid"/>
              <a:miter/>
            </a:ln>
          </p:spPr>
          <p:txBody>
            <a:bodyPr rtlCol="0" anchor="ctr"/>
            <a:lstStyle/>
            <a:p>
              <a:endParaRPr lang="zh-CN" altLang="en-US"/>
            </a:p>
          </p:txBody>
        </p:sp>
        <p:sp>
          <p:nvSpPr>
            <p:cNvPr id="10250" name="任意多边形: 形状 10249"/>
            <p:cNvSpPr/>
            <p:nvPr/>
          </p:nvSpPr>
          <p:spPr>
            <a:xfrm>
              <a:off x="4665841" y="2810426"/>
              <a:ext cx="251965" cy="113384"/>
            </a:xfrm>
            <a:custGeom>
              <a:avLst/>
              <a:gdLst>
                <a:gd name="connsiteX0" fmla="*/ 5039 w 251964"/>
                <a:gd name="connsiteY0" fmla="*/ 6299 h 113384"/>
                <a:gd name="connsiteX1" fmla="*/ 15118 w 251964"/>
                <a:gd name="connsiteY1" fmla="*/ 11339 h 113384"/>
                <a:gd name="connsiteX2" fmla="*/ 25196 w 251964"/>
                <a:gd name="connsiteY2" fmla="*/ 16378 h 113384"/>
                <a:gd name="connsiteX3" fmla="*/ 44094 w 251964"/>
                <a:gd name="connsiteY3" fmla="*/ 26456 h 113384"/>
                <a:gd name="connsiteX4" fmla="*/ 52912 w 251964"/>
                <a:gd name="connsiteY4" fmla="*/ 31496 h 113384"/>
                <a:gd name="connsiteX5" fmla="*/ 73070 w 251964"/>
                <a:gd name="connsiteY5" fmla="*/ 40315 h 113384"/>
                <a:gd name="connsiteX6" fmla="*/ 93227 w 251964"/>
                <a:gd name="connsiteY6" fmla="*/ 49133 h 113384"/>
                <a:gd name="connsiteX7" fmla="*/ 113384 w 251964"/>
                <a:gd name="connsiteY7" fmla="*/ 57952 h 113384"/>
                <a:gd name="connsiteX8" fmla="*/ 123463 w 251964"/>
                <a:gd name="connsiteY8" fmla="*/ 61731 h 113384"/>
                <a:gd name="connsiteX9" fmla="*/ 133541 w 251964"/>
                <a:gd name="connsiteY9" fmla="*/ 65511 h 113384"/>
                <a:gd name="connsiteX10" fmla="*/ 154958 w 251964"/>
                <a:gd name="connsiteY10" fmla="*/ 74330 h 113384"/>
                <a:gd name="connsiteX11" fmla="*/ 165037 w 251964"/>
                <a:gd name="connsiteY11" fmla="*/ 78109 h 113384"/>
                <a:gd name="connsiteX12" fmla="*/ 175115 w 251964"/>
                <a:gd name="connsiteY12" fmla="*/ 81889 h 113384"/>
                <a:gd name="connsiteX13" fmla="*/ 196532 w 251964"/>
                <a:gd name="connsiteY13" fmla="*/ 89448 h 113384"/>
                <a:gd name="connsiteX14" fmla="*/ 216689 w 251964"/>
                <a:gd name="connsiteY14" fmla="*/ 97007 h 113384"/>
                <a:gd name="connsiteX15" fmla="*/ 250705 w 251964"/>
                <a:gd name="connsiteY15" fmla="*/ 109605 h 113384"/>
                <a:gd name="connsiteX16" fmla="*/ 255744 w 251964"/>
                <a:gd name="connsiteY16" fmla="*/ 115904 h 113384"/>
                <a:gd name="connsiteX17" fmla="*/ 253224 w 251964"/>
                <a:gd name="connsiteY17" fmla="*/ 119683 h 113384"/>
                <a:gd name="connsiteX18" fmla="*/ 248185 w 251964"/>
                <a:gd name="connsiteY18" fmla="*/ 120943 h 113384"/>
                <a:gd name="connsiteX19" fmla="*/ 236847 w 251964"/>
                <a:gd name="connsiteY19" fmla="*/ 118424 h 113384"/>
                <a:gd name="connsiteX20" fmla="*/ 226768 w 251964"/>
                <a:gd name="connsiteY20" fmla="*/ 114644 h 113384"/>
                <a:gd name="connsiteX21" fmla="*/ 206611 w 251964"/>
                <a:gd name="connsiteY21" fmla="*/ 107085 h 113384"/>
                <a:gd name="connsiteX22" fmla="*/ 165037 w 251964"/>
                <a:gd name="connsiteY22" fmla="*/ 93227 h 113384"/>
                <a:gd name="connsiteX23" fmla="*/ 144880 w 251964"/>
                <a:gd name="connsiteY23" fmla="*/ 85668 h 113384"/>
                <a:gd name="connsiteX24" fmla="*/ 123463 w 251964"/>
                <a:gd name="connsiteY24" fmla="*/ 76849 h 113384"/>
                <a:gd name="connsiteX25" fmla="*/ 103305 w 251964"/>
                <a:gd name="connsiteY25" fmla="*/ 69290 h 113384"/>
                <a:gd name="connsiteX26" fmla="*/ 83148 w 251964"/>
                <a:gd name="connsiteY26" fmla="*/ 59212 h 113384"/>
                <a:gd name="connsiteX27" fmla="*/ 62991 w 251964"/>
                <a:gd name="connsiteY27" fmla="*/ 50393 h 113384"/>
                <a:gd name="connsiteX28" fmla="*/ 42834 w 251964"/>
                <a:gd name="connsiteY28" fmla="*/ 40315 h 113384"/>
                <a:gd name="connsiteX29" fmla="*/ 23937 w 251964"/>
                <a:gd name="connsiteY29" fmla="*/ 28976 h 113384"/>
                <a:gd name="connsiteX30" fmla="*/ 5039 w 251964"/>
                <a:gd name="connsiteY30" fmla="*/ 17638 h 113384"/>
                <a:gd name="connsiteX31" fmla="*/ 0 w 251964"/>
                <a:gd name="connsiteY31" fmla="*/ 15118 h 113384"/>
                <a:gd name="connsiteX32" fmla="*/ 1260 w 251964"/>
                <a:gd name="connsiteY32" fmla="*/ 8819 h 113384"/>
                <a:gd name="connsiteX33" fmla="*/ 1260 w 251964"/>
                <a:gd name="connsiteY33" fmla="*/ 2520 h 113384"/>
                <a:gd name="connsiteX34" fmla="*/ 1260 w 251964"/>
                <a:gd name="connsiteY34" fmla="*/ 1260 h 113384"/>
                <a:gd name="connsiteX35" fmla="*/ 1260 w 251964"/>
                <a:gd name="connsiteY35" fmla="*/ 1260 h 113384"/>
                <a:gd name="connsiteX36" fmla="*/ 1260 w 251964"/>
                <a:gd name="connsiteY36" fmla="*/ 1260 h 113384"/>
                <a:gd name="connsiteX37" fmla="*/ 1260 w 251964"/>
                <a:gd name="connsiteY37" fmla="*/ 0 h 113384"/>
                <a:gd name="connsiteX38" fmla="*/ 5039 w 251964"/>
                <a:gd name="connsiteY38" fmla="*/ 6299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51964" h="113384">
                  <a:moveTo>
                    <a:pt x="5039" y="6299"/>
                  </a:moveTo>
                  <a:cubicBezTo>
                    <a:pt x="8819" y="7559"/>
                    <a:pt x="11338" y="10079"/>
                    <a:pt x="15118" y="11339"/>
                  </a:cubicBezTo>
                  <a:cubicBezTo>
                    <a:pt x="18897" y="12598"/>
                    <a:pt x="21417" y="15118"/>
                    <a:pt x="25196" y="16378"/>
                  </a:cubicBezTo>
                  <a:cubicBezTo>
                    <a:pt x="31496" y="20157"/>
                    <a:pt x="37795" y="22677"/>
                    <a:pt x="44094" y="26456"/>
                  </a:cubicBezTo>
                  <a:cubicBezTo>
                    <a:pt x="46613" y="27716"/>
                    <a:pt x="49133" y="28976"/>
                    <a:pt x="52912" y="31496"/>
                  </a:cubicBezTo>
                  <a:cubicBezTo>
                    <a:pt x="59211" y="34015"/>
                    <a:pt x="65511" y="37795"/>
                    <a:pt x="73070" y="40315"/>
                  </a:cubicBezTo>
                  <a:cubicBezTo>
                    <a:pt x="79369" y="42834"/>
                    <a:pt x="86928" y="46614"/>
                    <a:pt x="93227" y="49133"/>
                  </a:cubicBezTo>
                  <a:cubicBezTo>
                    <a:pt x="99526" y="52913"/>
                    <a:pt x="107085" y="55432"/>
                    <a:pt x="113384" y="57952"/>
                  </a:cubicBezTo>
                  <a:cubicBezTo>
                    <a:pt x="117163" y="59212"/>
                    <a:pt x="119683" y="60472"/>
                    <a:pt x="123463" y="61731"/>
                  </a:cubicBezTo>
                  <a:cubicBezTo>
                    <a:pt x="127242" y="62991"/>
                    <a:pt x="129762" y="64251"/>
                    <a:pt x="133541" y="65511"/>
                  </a:cubicBezTo>
                  <a:cubicBezTo>
                    <a:pt x="141100" y="68031"/>
                    <a:pt x="147399" y="71810"/>
                    <a:pt x="154958" y="74330"/>
                  </a:cubicBezTo>
                  <a:cubicBezTo>
                    <a:pt x="158737" y="75589"/>
                    <a:pt x="161257" y="76849"/>
                    <a:pt x="165037" y="78109"/>
                  </a:cubicBezTo>
                  <a:cubicBezTo>
                    <a:pt x="168816" y="79369"/>
                    <a:pt x="171336" y="80629"/>
                    <a:pt x="175115" y="81889"/>
                  </a:cubicBezTo>
                  <a:cubicBezTo>
                    <a:pt x="182674" y="84408"/>
                    <a:pt x="188973" y="86928"/>
                    <a:pt x="196532" y="89448"/>
                  </a:cubicBezTo>
                  <a:cubicBezTo>
                    <a:pt x="202831" y="91967"/>
                    <a:pt x="210390" y="94487"/>
                    <a:pt x="216689" y="97007"/>
                  </a:cubicBezTo>
                  <a:cubicBezTo>
                    <a:pt x="228028" y="100786"/>
                    <a:pt x="239366" y="105825"/>
                    <a:pt x="250705" y="109605"/>
                  </a:cubicBezTo>
                  <a:cubicBezTo>
                    <a:pt x="253224" y="110864"/>
                    <a:pt x="255744" y="113384"/>
                    <a:pt x="255744" y="115904"/>
                  </a:cubicBezTo>
                  <a:cubicBezTo>
                    <a:pt x="255744" y="117164"/>
                    <a:pt x="254484" y="119683"/>
                    <a:pt x="253224" y="119683"/>
                  </a:cubicBezTo>
                  <a:cubicBezTo>
                    <a:pt x="251965" y="120943"/>
                    <a:pt x="249445" y="120943"/>
                    <a:pt x="248185" y="120943"/>
                  </a:cubicBezTo>
                  <a:cubicBezTo>
                    <a:pt x="244406" y="119683"/>
                    <a:pt x="240626" y="119683"/>
                    <a:pt x="236847" y="118424"/>
                  </a:cubicBezTo>
                  <a:cubicBezTo>
                    <a:pt x="233067" y="117164"/>
                    <a:pt x="230548" y="115904"/>
                    <a:pt x="226768" y="114644"/>
                  </a:cubicBezTo>
                  <a:cubicBezTo>
                    <a:pt x="220469" y="112124"/>
                    <a:pt x="212910" y="109605"/>
                    <a:pt x="206611" y="107085"/>
                  </a:cubicBezTo>
                  <a:cubicBezTo>
                    <a:pt x="192753" y="102046"/>
                    <a:pt x="178895" y="97007"/>
                    <a:pt x="165037" y="93227"/>
                  </a:cubicBezTo>
                  <a:cubicBezTo>
                    <a:pt x="158737" y="90707"/>
                    <a:pt x="151179" y="88188"/>
                    <a:pt x="144880" y="85668"/>
                  </a:cubicBezTo>
                  <a:cubicBezTo>
                    <a:pt x="137321" y="83148"/>
                    <a:pt x="131022" y="79369"/>
                    <a:pt x="123463" y="76849"/>
                  </a:cubicBezTo>
                  <a:cubicBezTo>
                    <a:pt x="117163" y="74330"/>
                    <a:pt x="109604" y="71810"/>
                    <a:pt x="103305" y="69290"/>
                  </a:cubicBezTo>
                  <a:cubicBezTo>
                    <a:pt x="97006" y="66771"/>
                    <a:pt x="89447" y="62991"/>
                    <a:pt x="83148" y="59212"/>
                  </a:cubicBezTo>
                  <a:cubicBezTo>
                    <a:pt x="76849" y="56692"/>
                    <a:pt x="70550" y="52913"/>
                    <a:pt x="62991" y="50393"/>
                  </a:cubicBezTo>
                  <a:cubicBezTo>
                    <a:pt x="55432" y="47873"/>
                    <a:pt x="49133" y="44094"/>
                    <a:pt x="42834" y="40315"/>
                  </a:cubicBezTo>
                  <a:cubicBezTo>
                    <a:pt x="36535" y="36535"/>
                    <a:pt x="30236" y="32755"/>
                    <a:pt x="23937" y="28976"/>
                  </a:cubicBezTo>
                  <a:cubicBezTo>
                    <a:pt x="17637" y="25196"/>
                    <a:pt x="11338" y="21417"/>
                    <a:pt x="5039" y="17638"/>
                  </a:cubicBezTo>
                  <a:cubicBezTo>
                    <a:pt x="3779" y="16378"/>
                    <a:pt x="1260" y="16378"/>
                    <a:pt x="0" y="15118"/>
                  </a:cubicBezTo>
                  <a:cubicBezTo>
                    <a:pt x="0" y="12598"/>
                    <a:pt x="0" y="10079"/>
                    <a:pt x="1260" y="8819"/>
                  </a:cubicBezTo>
                  <a:cubicBezTo>
                    <a:pt x="1260" y="6299"/>
                    <a:pt x="1260" y="3780"/>
                    <a:pt x="1260" y="2520"/>
                  </a:cubicBezTo>
                  <a:cubicBezTo>
                    <a:pt x="1260" y="2520"/>
                    <a:pt x="1260" y="2520"/>
                    <a:pt x="1260" y="1260"/>
                  </a:cubicBezTo>
                  <a:lnTo>
                    <a:pt x="1260" y="1260"/>
                  </a:lnTo>
                  <a:lnTo>
                    <a:pt x="1260" y="1260"/>
                  </a:lnTo>
                  <a:cubicBezTo>
                    <a:pt x="1260" y="1260"/>
                    <a:pt x="1260" y="0"/>
                    <a:pt x="1260" y="0"/>
                  </a:cubicBezTo>
                  <a:cubicBezTo>
                    <a:pt x="0" y="3780"/>
                    <a:pt x="2519" y="5039"/>
                    <a:pt x="5039" y="6299"/>
                  </a:cubicBezTo>
                </a:path>
              </a:pathLst>
            </a:custGeom>
            <a:solidFill>
              <a:srgbClr val="FFD671"/>
            </a:solidFill>
            <a:ln w="12584" cap="flat">
              <a:noFill/>
              <a:prstDash val="solid"/>
              <a:miter/>
            </a:ln>
          </p:spPr>
          <p:txBody>
            <a:bodyPr rtlCol="0" anchor="ctr"/>
            <a:lstStyle/>
            <a:p>
              <a:endParaRPr lang="zh-CN" altLang="en-US"/>
            </a:p>
          </p:txBody>
        </p:sp>
        <p:sp>
          <p:nvSpPr>
            <p:cNvPr id="10251" name="任意多边形: 形状 10250"/>
            <p:cNvSpPr/>
            <p:nvPr/>
          </p:nvSpPr>
          <p:spPr>
            <a:xfrm>
              <a:off x="4662062" y="2802867"/>
              <a:ext cx="264563" cy="100786"/>
            </a:xfrm>
            <a:custGeom>
              <a:avLst/>
              <a:gdLst>
                <a:gd name="connsiteX0" fmla="*/ 8819 w 264562"/>
                <a:gd name="connsiteY0" fmla="*/ 5039 h 100785"/>
                <a:gd name="connsiteX1" fmla="*/ 0 w 264562"/>
                <a:gd name="connsiteY1" fmla="*/ 0 h 100785"/>
                <a:gd name="connsiteX2" fmla="*/ 0 w 264562"/>
                <a:gd name="connsiteY2" fmla="*/ 1260 h 100785"/>
                <a:gd name="connsiteX3" fmla="*/ 1260 w 264562"/>
                <a:gd name="connsiteY3" fmla="*/ 8819 h 100785"/>
                <a:gd name="connsiteX4" fmla="*/ 1260 w 264562"/>
                <a:gd name="connsiteY4" fmla="*/ 11338 h 100785"/>
                <a:gd name="connsiteX5" fmla="*/ 1260 w 264562"/>
                <a:gd name="connsiteY5" fmla="*/ 11338 h 100785"/>
                <a:gd name="connsiteX6" fmla="*/ 1260 w 264562"/>
                <a:gd name="connsiteY6" fmla="*/ 11338 h 100785"/>
                <a:gd name="connsiteX7" fmla="*/ 1260 w 264562"/>
                <a:gd name="connsiteY7" fmla="*/ 12598 h 100785"/>
                <a:gd name="connsiteX8" fmla="*/ 1260 w 264562"/>
                <a:gd name="connsiteY8" fmla="*/ 18897 h 100785"/>
                <a:gd name="connsiteX9" fmla="*/ 1260 w 264562"/>
                <a:gd name="connsiteY9" fmla="*/ 22677 h 100785"/>
                <a:gd name="connsiteX10" fmla="*/ 7559 w 264562"/>
                <a:gd name="connsiteY10" fmla="*/ 26456 h 100785"/>
                <a:gd name="connsiteX11" fmla="*/ 27716 w 264562"/>
                <a:gd name="connsiteY11" fmla="*/ 37795 h 100785"/>
                <a:gd name="connsiteX12" fmla="*/ 45354 w 264562"/>
                <a:gd name="connsiteY12" fmla="*/ 47873 h 100785"/>
                <a:gd name="connsiteX13" fmla="*/ 68030 w 264562"/>
                <a:gd name="connsiteY13" fmla="*/ 59212 h 100785"/>
                <a:gd name="connsiteX14" fmla="*/ 89448 w 264562"/>
                <a:gd name="connsiteY14" fmla="*/ 68030 h 100785"/>
                <a:gd name="connsiteX15" fmla="*/ 109605 w 264562"/>
                <a:gd name="connsiteY15" fmla="*/ 76849 h 100785"/>
                <a:gd name="connsiteX16" fmla="*/ 129762 w 264562"/>
                <a:gd name="connsiteY16" fmla="*/ 84408 h 100785"/>
                <a:gd name="connsiteX17" fmla="*/ 141100 w 264562"/>
                <a:gd name="connsiteY17" fmla="*/ 88188 h 100785"/>
                <a:gd name="connsiteX18" fmla="*/ 151179 w 264562"/>
                <a:gd name="connsiteY18" fmla="*/ 91967 h 100785"/>
                <a:gd name="connsiteX19" fmla="*/ 163777 w 264562"/>
                <a:gd name="connsiteY19" fmla="*/ 95746 h 100785"/>
                <a:gd name="connsiteX20" fmla="*/ 173856 w 264562"/>
                <a:gd name="connsiteY20" fmla="*/ 98266 h 100785"/>
                <a:gd name="connsiteX21" fmla="*/ 195273 w 264562"/>
                <a:gd name="connsiteY21" fmla="*/ 102046 h 100785"/>
                <a:gd name="connsiteX22" fmla="*/ 215430 w 264562"/>
                <a:gd name="connsiteY22" fmla="*/ 105825 h 100785"/>
                <a:gd name="connsiteX23" fmla="*/ 215430 w 264562"/>
                <a:gd name="connsiteY23" fmla="*/ 105825 h 100785"/>
                <a:gd name="connsiteX24" fmla="*/ 215430 w 264562"/>
                <a:gd name="connsiteY24" fmla="*/ 105825 h 100785"/>
                <a:gd name="connsiteX25" fmla="*/ 215430 w 264562"/>
                <a:gd name="connsiteY25" fmla="*/ 105825 h 100785"/>
                <a:gd name="connsiteX26" fmla="*/ 216690 w 264562"/>
                <a:gd name="connsiteY26" fmla="*/ 105825 h 100785"/>
                <a:gd name="connsiteX27" fmla="*/ 219209 w 264562"/>
                <a:gd name="connsiteY27" fmla="*/ 105825 h 100785"/>
                <a:gd name="connsiteX28" fmla="*/ 217950 w 264562"/>
                <a:gd name="connsiteY28" fmla="*/ 105825 h 100785"/>
                <a:gd name="connsiteX29" fmla="*/ 236847 w 264562"/>
                <a:gd name="connsiteY29" fmla="*/ 109605 h 100785"/>
                <a:gd name="connsiteX30" fmla="*/ 244406 w 264562"/>
                <a:gd name="connsiteY30" fmla="*/ 110864 h 100785"/>
                <a:gd name="connsiteX31" fmla="*/ 250705 w 264562"/>
                <a:gd name="connsiteY31" fmla="*/ 112124 h 100785"/>
                <a:gd name="connsiteX32" fmla="*/ 265823 w 264562"/>
                <a:gd name="connsiteY32" fmla="*/ 112124 h 100785"/>
                <a:gd name="connsiteX33" fmla="*/ 269602 w 264562"/>
                <a:gd name="connsiteY33" fmla="*/ 110864 h 100785"/>
                <a:gd name="connsiteX34" fmla="*/ 272122 w 264562"/>
                <a:gd name="connsiteY34" fmla="*/ 107085 h 100785"/>
                <a:gd name="connsiteX35" fmla="*/ 267083 w 264562"/>
                <a:gd name="connsiteY35" fmla="*/ 100786 h 100785"/>
                <a:gd name="connsiteX36" fmla="*/ 255744 w 264562"/>
                <a:gd name="connsiteY36" fmla="*/ 100786 h 100785"/>
                <a:gd name="connsiteX37" fmla="*/ 246925 w 264562"/>
                <a:gd name="connsiteY37" fmla="*/ 99526 h 100785"/>
                <a:gd name="connsiteX38" fmla="*/ 231807 w 264562"/>
                <a:gd name="connsiteY38" fmla="*/ 95746 h 100785"/>
                <a:gd name="connsiteX39" fmla="*/ 210391 w 264562"/>
                <a:gd name="connsiteY39" fmla="*/ 90707 h 100785"/>
                <a:gd name="connsiteX40" fmla="*/ 200312 w 264562"/>
                <a:gd name="connsiteY40" fmla="*/ 88188 h 100785"/>
                <a:gd name="connsiteX41" fmla="*/ 191493 w 264562"/>
                <a:gd name="connsiteY41" fmla="*/ 85668 h 100785"/>
                <a:gd name="connsiteX42" fmla="*/ 187714 w 264562"/>
                <a:gd name="connsiteY42" fmla="*/ 84408 h 100785"/>
                <a:gd name="connsiteX43" fmla="*/ 181414 w 264562"/>
                <a:gd name="connsiteY43" fmla="*/ 83148 h 100785"/>
                <a:gd name="connsiteX44" fmla="*/ 175115 w 264562"/>
                <a:gd name="connsiteY44" fmla="*/ 81889 h 100785"/>
                <a:gd name="connsiteX45" fmla="*/ 161258 w 264562"/>
                <a:gd name="connsiteY45" fmla="*/ 76849 h 100785"/>
                <a:gd name="connsiteX46" fmla="*/ 163777 w 264562"/>
                <a:gd name="connsiteY46" fmla="*/ 78109 h 100785"/>
                <a:gd name="connsiteX47" fmla="*/ 148659 w 264562"/>
                <a:gd name="connsiteY47" fmla="*/ 73070 h 100785"/>
                <a:gd name="connsiteX48" fmla="*/ 149919 w 264562"/>
                <a:gd name="connsiteY48" fmla="*/ 73070 h 100785"/>
                <a:gd name="connsiteX49" fmla="*/ 136061 w 264562"/>
                <a:gd name="connsiteY49" fmla="*/ 68030 h 100785"/>
                <a:gd name="connsiteX50" fmla="*/ 124722 w 264562"/>
                <a:gd name="connsiteY50" fmla="*/ 64251 h 100785"/>
                <a:gd name="connsiteX51" fmla="*/ 115904 w 264562"/>
                <a:gd name="connsiteY51" fmla="*/ 60472 h 100785"/>
                <a:gd name="connsiteX52" fmla="*/ 95747 w 264562"/>
                <a:gd name="connsiteY52" fmla="*/ 52913 h 100785"/>
                <a:gd name="connsiteX53" fmla="*/ 86928 w 264562"/>
                <a:gd name="connsiteY53" fmla="*/ 49133 h 100785"/>
                <a:gd name="connsiteX54" fmla="*/ 78109 w 264562"/>
                <a:gd name="connsiteY54" fmla="*/ 45354 h 100785"/>
                <a:gd name="connsiteX55" fmla="*/ 60472 w 264562"/>
                <a:gd name="connsiteY55" fmla="*/ 36535 h 100785"/>
                <a:gd name="connsiteX56" fmla="*/ 46614 w 264562"/>
                <a:gd name="connsiteY56" fmla="*/ 28976 h 100785"/>
                <a:gd name="connsiteX57" fmla="*/ 39055 w 264562"/>
                <a:gd name="connsiteY57" fmla="*/ 25196 h 100785"/>
                <a:gd name="connsiteX58" fmla="*/ 30236 w 264562"/>
                <a:gd name="connsiteY58" fmla="*/ 20157 h 100785"/>
                <a:gd name="connsiteX59" fmla="*/ 30236 w 264562"/>
                <a:gd name="connsiteY59" fmla="*/ 20157 h 100785"/>
                <a:gd name="connsiteX60" fmla="*/ 26456 w 264562"/>
                <a:gd name="connsiteY60" fmla="*/ 17637 h 100785"/>
                <a:gd name="connsiteX61" fmla="*/ 17637 w 264562"/>
                <a:gd name="connsiteY61" fmla="*/ 12598 h 100785"/>
                <a:gd name="connsiteX62" fmla="*/ 8819 w 264562"/>
                <a:gd name="connsiteY62" fmla="*/ 5039 h 100785"/>
                <a:gd name="connsiteX63" fmla="*/ 8819 w 264562"/>
                <a:gd name="connsiteY63" fmla="*/ 5039 h 100785"/>
                <a:gd name="connsiteX64" fmla="*/ 214170 w 264562"/>
                <a:gd name="connsiteY64" fmla="*/ 104565 h 100785"/>
                <a:gd name="connsiteX65" fmla="*/ 214170 w 264562"/>
                <a:gd name="connsiteY65" fmla="*/ 104565 h 100785"/>
                <a:gd name="connsiteX66" fmla="*/ 214170 w 264562"/>
                <a:gd name="connsiteY66" fmla="*/ 10456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64562" h="100785">
                  <a:moveTo>
                    <a:pt x="8819" y="5039"/>
                  </a:moveTo>
                  <a:cubicBezTo>
                    <a:pt x="6299" y="3780"/>
                    <a:pt x="2520" y="1260"/>
                    <a:pt x="0" y="0"/>
                  </a:cubicBezTo>
                  <a:cubicBezTo>
                    <a:pt x="0" y="0"/>
                    <a:pt x="0" y="1260"/>
                    <a:pt x="0" y="1260"/>
                  </a:cubicBezTo>
                  <a:cubicBezTo>
                    <a:pt x="0" y="3780"/>
                    <a:pt x="1260" y="6299"/>
                    <a:pt x="1260" y="8819"/>
                  </a:cubicBezTo>
                  <a:cubicBezTo>
                    <a:pt x="1260" y="10079"/>
                    <a:pt x="1260" y="10079"/>
                    <a:pt x="1260" y="11338"/>
                  </a:cubicBezTo>
                  <a:lnTo>
                    <a:pt x="1260" y="11338"/>
                  </a:lnTo>
                  <a:lnTo>
                    <a:pt x="1260" y="11338"/>
                  </a:lnTo>
                  <a:cubicBezTo>
                    <a:pt x="1260" y="11338"/>
                    <a:pt x="1260" y="11338"/>
                    <a:pt x="1260" y="12598"/>
                  </a:cubicBezTo>
                  <a:cubicBezTo>
                    <a:pt x="1260" y="13858"/>
                    <a:pt x="1260" y="16378"/>
                    <a:pt x="1260" y="18897"/>
                  </a:cubicBezTo>
                  <a:cubicBezTo>
                    <a:pt x="1260" y="20157"/>
                    <a:pt x="1260" y="21417"/>
                    <a:pt x="1260" y="22677"/>
                  </a:cubicBezTo>
                  <a:cubicBezTo>
                    <a:pt x="3780" y="23937"/>
                    <a:pt x="6299" y="25196"/>
                    <a:pt x="7559" y="26456"/>
                  </a:cubicBezTo>
                  <a:cubicBezTo>
                    <a:pt x="13858" y="30236"/>
                    <a:pt x="20157" y="34015"/>
                    <a:pt x="27716" y="37795"/>
                  </a:cubicBezTo>
                  <a:cubicBezTo>
                    <a:pt x="34015" y="41574"/>
                    <a:pt x="40314" y="44094"/>
                    <a:pt x="45354" y="47873"/>
                  </a:cubicBezTo>
                  <a:cubicBezTo>
                    <a:pt x="52913" y="51653"/>
                    <a:pt x="60472" y="55432"/>
                    <a:pt x="68030" y="59212"/>
                  </a:cubicBezTo>
                  <a:cubicBezTo>
                    <a:pt x="75589" y="61731"/>
                    <a:pt x="81889" y="65511"/>
                    <a:pt x="89448" y="68030"/>
                  </a:cubicBezTo>
                  <a:cubicBezTo>
                    <a:pt x="95747" y="70550"/>
                    <a:pt x="103306" y="74330"/>
                    <a:pt x="109605" y="76849"/>
                  </a:cubicBezTo>
                  <a:cubicBezTo>
                    <a:pt x="115904" y="79369"/>
                    <a:pt x="123463" y="81889"/>
                    <a:pt x="129762" y="84408"/>
                  </a:cubicBezTo>
                  <a:cubicBezTo>
                    <a:pt x="133541" y="85668"/>
                    <a:pt x="137321" y="86928"/>
                    <a:pt x="141100" y="88188"/>
                  </a:cubicBezTo>
                  <a:cubicBezTo>
                    <a:pt x="143620" y="89447"/>
                    <a:pt x="147399" y="90707"/>
                    <a:pt x="151179" y="91967"/>
                  </a:cubicBezTo>
                  <a:cubicBezTo>
                    <a:pt x="154958" y="93227"/>
                    <a:pt x="159998" y="94487"/>
                    <a:pt x="163777" y="95746"/>
                  </a:cubicBezTo>
                  <a:cubicBezTo>
                    <a:pt x="167557" y="97006"/>
                    <a:pt x="170076" y="97006"/>
                    <a:pt x="173856" y="98266"/>
                  </a:cubicBezTo>
                  <a:cubicBezTo>
                    <a:pt x="181414" y="99526"/>
                    <a:pt x="187714" y="100786"/>
                    <a:pt x="195273" y="102046"/>
                  </a:cubicBezTo>
                  <a:cubicBezTo>
                    <a:pt x="201572" y="103305"/>
                    <a:pt x="209131" y="104565"/>
                    <a:pt x="215430" y="105825"/>
                  </a:cubicBezTo>
                  <a:cubicBezTo>
                    <a:pt x="215430" y="105825"/>
                    <a:pt x="215430" y="105825"/>
                    <a:pt x="215430" y="105825"/>
                  </a:cubicBezTo>
                  <a:cubicBezTo>
                    <a:pt x="215430" y="105825"/>
                    <a:pt x="215430" y="105825"/>
                    <a:pt x="215430" y="105825"/>
                  </a:cubicBezTo>
                  <a:lnTo>
                    <a:pt x="215430" y="105825"/>
                  </a:lnTo>
                  <a:cubicBezTo>
                    <a:pt x="215430" y="105825"/>
                    <a:pt x="215430" y="105825"/>
                    <a:pt x="216690" y="105825"/>
                  </a:cubicBezTo>
                  <a:cubicBezTo>
                    <a:pt x="217950" y="105825"/>
                    <a:pt x="217950" y="105825"/>
                    <a:pt x="219209" y="105825"/>
                  </a:cubicBezTo>
                  <a:cubicBezTo>
                    <a:pt x="219209" y="105825"/>
                    <a:pt x="217950" y="105825"/>
                    <a:pt x="217950" y="105825"/>
                  </a:cubicBezTo>
                  <a:cubicBezTo>
                    <a:pt x="224249" y="107085"/>
                    <a:pt x="230548" y="108345"/>
                    <a:pt x="236847" y="109605"/>
                  </a:cubicBezTo>
                  <a:cubicBezTo>
                    <a:pt x="239366" y="109605"/>
                    <a:pt x="241886" y="110864"/>
                    <a:pt x="244406" y="110864"/>
                  </a:cubicBezTo>
                  <a:cubicBezTo>
                    <a:pt x="246925" y="110864"/>
                    <a:pt x="248185" y="110864"/>
                    <a:pt x="250705" y="112124"/>
                  </a:cubicBezTo>
                  <a:cubicBezTo>
                    <a:pt x="255744" y="112124"/>
                    <a:pt x="260784" y="112124"/>
                    <a:pt x="265823" y="112124"/>
                  </a:cubicBezTo>
                  <a:cubicBezTo>
                    <a:pt x="267083" y="112124"/>
                    <a:pt x="268343" y="112124"/>
                    <a:pt x="269602" y="110864"/>
                  </a:cubicBezTo>
                  <a:cubicBezTo>
                    <a:pt x="270862" y="109605"/>
                    <a:pt x="270862" y="108345"/>
                    <a:pt x="272122" y="107085"/>
                  </a:cubicBezTo>
                  <a:cubicBezTo>
                    <a:pt x="272122" y="104565"/>
                    <a:pt x="269602" y="100786"/>
                    <a:pt x="267083" y="100786"/>
                  </a:cubicBezTo>
                  <a:cubicBezTo>
                    <a:pt x="263303" y="100786"/>
                    <a:pt x="259524" y="100786"/>
                    <a:pt x="255744" y="100786"/>
                  </a:cubicBezTo>
                  <a:cubicBezTo>
                    <a:pt x="253225" y="100786"/>
                    <a:pt x="249445" y="100786"/>
                    <a:pt x="246925" y="99526"/>
                  </a:cubicBezTo>
                  <a:cubicBezTo>
                    <a:pt x="241886" y="98266"/>
                    <a:pt x="236847" y="97006"/>
                    <a:pt x="231807" y="95746"/>
                  </a:cubicBezTo>
                  <a:cubicBezTo>
                    <a:pt x="224249" y="94487"/>
                    <a:pt x="217950" y="91967"/>
                    <a:pt x="210391" y="90707"/>
                  </a:cubicBezTo>
                  <a:cubicBezTo>
                    <a:pt x="206611" y="89447"/>
                    <a:pt x="204092" y="89447"/>
                    <a:pt x="200312" y="88188"/>
                  </a:cubicBezTo>
                  <a:cubicBezTo>
                    <a:pt x="197792" y="86928"/>
                    <a:pt x="195273" y="86928"/>
                    <a:pt x="191493" y="85668"/>
                  </a:cubicBezTo>
                  <a:cubicBezTo>
                    <a:pt x="190233" y="85668"/>
                    <a:pt x="188973" y="85668"/>
                    <a:pt x="187714" y="84408"/>
                  </a:cubicBezTo>
                  <a:cubicBezTo>
                    <a:pt x="185194" y="84408"/>
                    <a:pt x="183934" y="83148"/>
                    <a:pt x="181414" y="83148"/>
                  </a:cubicBezTo>
                  <a:cubicBezTo>
                    <a:pt x="178895" y="83148"/>
                    <a:pt x="177635" y="81889"/>
                    <a:pt x="175115" y="81889"/>
                  </a:cubicBezTo>
                  <a:cubicBezTo>
                    <a:pt x="170076" y="80629"/>
                    <a:pt x="165037" y="79369"/>
                    <a:pt x="161258" y="76849"/>
                  </a:cubicBezTo>
                  <a:lnTo>
                    <a:pt x="163777" y="78109"/>
                  </a:lnTo>
                  <a:cubicBezTo>
                    <a:pt x="158738" y="76849"/>
                    <a:pt x="153699" y="74330"/>
                    <a:pt x="148659" y="73070"/>
                  </a:cubicBezTo>
                  <a:cubicBezTo>
                    <a:pt x="148659" y="73070"/>
                    <a:pt x="148659" y="73070"/>
                    <a:pt x="149919" y="73070"/>
                  </a:cubicBezTo>
                  <a:cubicBezTo>
                    <a:pt x="144880" y="71810"/>
                    <a:pt x="141100" y="70550"/>
                    <a:pt x="136061" y="68030"/>
                  </a:cubicBezTo>
                  <a:cubicBezTo>
                    <a:pt x="132281" y="66771"/>
                    <a:pt x="128502" y="65511"/>
                    <a:pt x="124722" y="64251"/>
                  </a:cubicBezTo>
                  <a:cubicBezTo>
                    <a:pt x="122203" y="62991"/>
                    <a:pt x="118423" y="61731"/>
                    <a:pt x="115904" y="60472"/>
                  </a:cubicBezTo>
                  <a:cubicBezTo>
                    <a:pt x="109605" y="57952"/>
                    <a:pt x="103306" y="55432"/>
                    <a:pt x="95747" y="52913"/>
                  </a:cubicBezTo>
                  <a:cubicBezTo>
                    <a:pt x="93227" y="51653"/>
                    <a:pt x="89448" y="50393"/>
                    <a:pt x="86928" y="49133"/>
                  </a:cubicBezTo>
                  <a:cubicBezTo>
                    <a:pt x="83148" y="47873"/>
                    <a:pt x="80629" y="46613"/>
                    <a:pt x="78109" y="45354"/>
                  </a:cubicBezTo>
                  <a:cubicBezTo>
                    <a:pt x="71810" y="42834"/>
                    <a:pt x="66771" y="39054"/>
                    <a:pt x="60472" y="36535"/>
                  </a:cubicBezTo>
                  <a:cubicBezTo>
                    <a:pt x="55432" y="34015"/>
                    <a:pt x="51653" y="31496"/>
                    <a:pt x="46614" y="28976"/>
                  </a:cubicBezTo>
                  <a:cubicBezTo>
                    <a:pt x="44094" y="27716"/>
                    <a:pt x="41574" y="26456"/>
                    <a:pt x="39055" y="25196"/>
                  </a:cubicBezTo>
                  <a:cubicBezTo>
                    <a:pt x="36535" y="23937"/>
                    <a:pt x="32755" y="21417"/>
                    <a:pt x="30236" y="20157"/>
                  </a:cubicBezTo>
                  <a:lnTo>
                    <a:pt x="30236" y="20157"/>
                  </a:lnTo>
                  <a:cubicBezTo>
                    <a:pt x="28976" y="18897"/>
                    <a:pt x="27716" y="18897"/>
                    <a:pt x="26456" y="17637"/>
                  </a:cubicBezTo>
                  <a:cubicBezTo>
                    <a:pt x="23937" y="16378"/>
                    <a:pt x="20157" y="13858"/>
                    <a:pt x="17637" y="12598"/>
                  </a:cubicBezTo>
                  <a:cubicBezTo>
                    <a:pt x="13858" y="10079"/>
                    <a:pt x="11338" y="7559"/>
                    <a:pt x="8819" y="5039"/>
                  </a:cubicBezTo>
                  <a:cubicBezTo>
                    <a:pt x="10079" y="5039"/>
                    <a:pt x="8819" y="5039"/>
                    <a:pt x="8819" y="5039"/>
                  </a:cubicBezTo>
                  <a:moveTo>
                    <a:pt x="214170" y="104565"/>
                  </a:moveTo>
                  <a:cubicBezTo>
                    <a:pt x="214170" y="104565"/>
                    <a:pt x="214170" y="104565"/>
                    <a:pt x="214170" y="104565"/>
                  </a:cubicBezTo>
                  <a:cubicBezTo>
                    <a:pt x="214170" y="104565"/>
                    <a:pt x="214170" y="104565"/>
                    <a:pt x="214170" y="104565"/>
                  </a:cubicBezTo>
                </a:path>
              </a:pathLst>
            </a:custGeom>
            <a:solidFill>
              <a:srgbClr val="FFD671"/>
            </a:solidFill>
            <a:ln w="12584" cap="flat">
              <a:noFill/>
              <a:prstDash val="solid"/>
              <a:miter/>
            </a:ln>
          </p:spPr>
          <p:txBody>
            <a:bodyPr rtlCol="0" anchor="ctr"/>
            <a:lstStyle/>
            <a:p>
              <a:endParaRPr lang="zh-CN" altLang="en-US"/>
            </a:p>
          </p:txBody>
        </p:sp>
        <p:sp>
          <p:nvSpPr>
            <p:cNvPr id="10252" name="任意多边形: 形状 10251"/>
            <p:cNvSpPr/>
            <p:nvPr/>
          </p:nvSpPr>
          <p:spPr>
            <a:xfrm>
              <a:off x="4999134" y="2775151"/>
              <a:ext cx="25196" cy="125982"/>
            </a:xfrm>
            <a:custGeom>
              <a:avLst/>
              <a:gdLst>
                <a:gd name="connsiteX0" fmla="*/ 20717 w 25196"/>
                <a:gd name="connsiteY0" fmla="*/ 0 h 125982"/>
                <a:gd name="connsiteX1" fmla="*/ 20717 w 25196"/>
                <a:gd name="connsiteY1" fmla="*/ 0 h 125982"/>
                <a:gd name="connsiteX2" fmla="*/ 15678 w 25196"/>
                <a:gd name="connsiteY2" fmla="*/ 2520 h 125982"/>
                <a:gd name="connsiteX3" fmla="*/ 14418 w 25196"/>
                <a:gd name="connsiteY3" fmla="*/ 5039 h 125982"/>
                <a:gd name="connsiteX4" fmla="*/ 14418 w 25196"/>
                <a:gd name="connsiteY4" fmla="*/ 7559 h 125982"/>
                <a:gd name="connsiteX5" fmla="*/ 13158 w 25196"/>
                <a:gd name="connsiteY5" fmla="*/ 12598 h 125982"/>
                <a:gd name="connsiteX6" fmla="*/ 10638 w 25196"/>
                <a:gd name="connsiteY6" fmla="*/ 22677 h 125982"/>
                <a:gd name="connsiteX7" fmla="*/ 6859 w 25196"/>
                <a:gd name="connsiteY7" fmla="*/ 44094 h 125982"/>
                <a:gd name="connsiteX8" fmla="*/ 3079 w 25196"/>
                <a:gd name="connsiteY8" fmla="*/ 61731 h 125982"/>
                <a:gd name="connsiteX9" fmla="*/ 1819 w 25196"/>
                <a:gd name="connsiteY9" fmla="*/ 70550 h 125982"/>
                <a:gd name="connsiteX10" fmla="*/ 560 w 25196"/>
                <a:gd name="connsiteY10" fmla="*/ 79369 h 125982"/>
                <a:gd name="connsiteX11" fmla="*/ 560 w 25196"/>
                <a:gd name="connsiteY11" fmla="*/ 99526 h 125982"/>
                <a:gd name="connsiteX12" fmla="*/ 1819 w 25196"/>
                <a:gd name="connsiteY12" fmla="*/ 105825 h 125982"/>
                <a:gd name="connsiteX13" fmla="*/ 3079 w 25196"/>
                <a:gd name="connsiteY13" fmla="*/ 109605 h 125982"/>
                <a:gd name="connsiteX14" fmla="*/ 5599 w 25196"/>
                <a:gd name="connsiteY14" fmla="*/ 113384 h 125982"/>
                <a:gd name="connsiteX15" fmla="*/ 6859 w 25196"/>
                <a:gd name="connsiteY15" fmla="*/ 114644 h 125982"/>
                <a:gd name="connsiteX16" fmla="*/ 9378 w 25196"/>
                <a:gd name="connsiteY16" fmla="*/ 117163 h 125982"/>
                <a:gd name="connsiteX17" fmla="*/ 11898 w 25196"/>
                <a:gd name="connsiteY17" fmla="*/ 119683 h 125982"/>
                <a:gd name="connsiteX18" fmla="*/ 14418 w 25196"/>
                <a:gd name="connsiteY18" fmla="*/ 122203 h 125982"/>
                <a:gd name="connsiteX19" fmla="*/ 16938 w 25196"/>
                <a:gd name="connsiteY19" fmla="*/ 123463 h 125982"/>
                <a:gd name="connsiteX20" fmla="*/ 23237 w 25196"/>
                <a:gd name="connsiteY20" fmla="*/ 127242 h 125982"/>
                <a:gd name="connsiteX21" fmla="*/ 28276 w 25196"/>
                <a:gd name="connsiteY21" fmla="*/ 129762 h 125982"/>
                <a:gd name="connsiteX22" fmla="*/ 34575 w 25196"/>
                <a:gd name="connsiteY22" fmla="*/ 127242 h 125982"/>
                <a:gd name="connsiteX23" fmla="*/ 32056 w 25196"/>
                <a:gd name="connsiteY23" fmla="*/ 120943 h 125982"/>
                <a:gd name="connsiteX24" fmla="*/ 25756 w 25196"/>
                <a:gd name="connsiteY24" fmla="*/ 118423 h 125982"/>
                <a:gd name="connsiteX25" fmla="*/ 20717 w 25196"/>
                <a:gd name="connsiteY25" fmla="*/ 114644 h 125982"/>
                <a:gd name="connsiteX26" fmla="*/ 16938 w 25196"/>
                <a:gd name="connsiteY26" fmla="*/ 109605 h 125982"/>
                <a:gd name="connsiteX27" fmla="*/ 13158 w 25196"/>
                <a:gd name="connsiteY27" fmla="*/ 105825 h 125982"/>
                <a:gd name="connsiteX28" fmla="*/ 11898 w 25196"/>
                <a:gd name="connsiteY28" fmla="*/ 103305 h 125982"/>
                <a:gd name="connsiteX29" fmla="*/ 10638 w 25196"/>
                <a:gd name="connsiteY29" fmla="*/ 98266 h 125982"/>
                <a:gd name="connsiteX30" fmla="*/ 10638 w 25196"/>
                <a:gd name="connsiteY30" fmla="*/ 93227 h 125982"/>
                <a:gd name="connsiteX31" fmla="*/ 14418 w 25196"/>
                <a:gd name="connsiteY31" fmla="*/ 69290 h 125982"/>
                <a:gd name="connsiteX32" fmla="*/ 14418 w 25196"/>
                <a:gd name="connsiteY32" fmla="*/ 68030 h 125982"/>
                <a:gd name="connsiteX33" fmla="*/ 15678 w 25196"/>
                <a:gd name="connsiteY33" fmla="*/ 62991 h 125982"/>
                <a:gd name="connsiteX34" fmla="*/ 15678 w 25196"/>
                <a:gd name="connsiteY34" fmla="*/ 64251 h 125982"/>
                <a:gd name="connsiteX35" fmla="*/ 16938 w 25196"/>
                <a:gd name="connsiteY35" fmla="*/ 60471 h 125982"/>
                <a:gd name="connsiteX36" fmla="*/ 20717 w 25196"/>
                <a:gd name="connsiteY36" fmla="*/ 45354 h 125982"/>
                <a:gd name="connsiteX37" fmla="*/ 23237 w 25196"/>
                <a:gd name="connsiteY37" fmla="*/ 31496 h 125982"/>
                <a:gd name="connsiteX38" fmla="*/ 25756 w 25196"/>
                <a:gd name="connsiteY38" fmla="*/ 18897 h 125982"/>
                <a:gd name="connsiteX39" fmla="*/ 27016 w 25196"/>
                <a:gd name="connsiteY39" fmla="*/ 12598 h 125982"/>
                <a:gd name="connsiteX40" fmla="*/ 27016 w 25196"/>
                <a:gd name="connsiteY40" fmla="*/ 6299 h 125982"/>
                <a:gd name="connsiteX41" fmla="*/ 25756 w 25196"/>
                <a:gd name="connsiteY41" fmla="*/ 3779 h 125982"/>
                <a:gd name="connsiteX42" fmla="*/ 24497 w 25196"/>
                <a:gd name="connsiteY42" fmla="*/ 2520 h 125982"/>
                <a:gd name="connsiteX43" fmla="*/ 20717 w 25196"/>
                <a:gd name="connsiteY43" fmla="*/ 0 h 125982"/>
                <a:gd name="connsiteX44" fmla="*/ 14418 w 25196"/>
                <a:gd name="connsiteY44" fmla="*/ 66770 h 125982"/>
                <a:gd name="connsiteX45" fmla="*/ 14418 w 25196"/>
                <a:gd name="connsiteY45" fmla="*/ 68030 h 125982"/>
                <a:gd name="connsiteX46" fmla="*/ 14418 w 25196"/>
                <a:gd name="connsiteY46" fmla="*/ 6677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5196" h="125982">
                  <a:moveTo>
                    <a:pt x="20717" y="0"/>
                  </a:moveTo>
                  <a:cubicBezTo>
                    <a:pt x="20717" y="0"/>
                    <a:pt x="20717" y="0"/>
                    <a:pt x="20717" y="0"/>
                  </a:cubicBezTo>
                  <a:cubicBezTo>
                    <a:pt x="18197" y="0"/>
                    <a:pt x="16938" y="1260"/>
                    <a:pt x="15678" y="2520"/>
                  </a:cubicBezTo>
                  <a:cubicBezTo>
                    <a:pt x="14418" y="3779"/>
                    <a:pt x="14418" y="5039"/>
                    <a:pt x="14418" y="5039"/>
                  </a:cubicBezTo>
                  <a:lnTo>
                    <a:pt x="14418" y="7559"/>
                  </a:lnTo>
                  <a:cubicBezTo>
                    <a:pt x="14418" y="8819"/>
                    <a:pt x="13158" y="11338"/>
                    <a:pt x="13158" y="12598"/>
                  </a:cubicBezTo>
                  <a:cubicBezTo>
                    <a:pt x="11898" y="16378"/>
                    <a:pt x="11898" y="18897"/>
                    <a:pt x="10638" y="22677"/>
                  </a:cubicBezTo>
                  <a:cubicBezTo>
                    <a:pt x="9378" y="28976"/>
                    <a:pt x="8119" y="36535"/>
                    <a:pt x="6859" y="44094"/>
                  </a:cubicBezTo>
                  <a:cubicBezTo>
                    <a:pt x="5599" y="50393"/>
                    <a:pt x="4339" y="56692"/>
                    <a:pt x="3079" y="61731"/>
                  </a:cubicBezTo>
                  <a:cubicBezTo>
                    <a:pt x="3079" y="64251"/>
                    <a:pt x="1819" y="66770"/>
                    <a:pt x="1819" y="70550"/>
                  </a:cubicBezTo>
                  <a:cubicBezTo>
                    <a:pt x="1819" y="73070"/>
                    <a:pt x="560" y="76849"/>
                    <a:pt x="560" y="79369"/>
                  </a:cubicBezTo>
                  <a:cubicBezTo>
                    <a:pt x="560" y="85668"/>
                    <a:pt x="-700" y="91967"/>
                    <a:pt x="560" y="99526"/>
                  </a:cubicBezTo>
                  <a:cubicBezTo>
                    <a:pt x="560" y="102046"/>
                    <a:pt x="1819" y="103305"/>
                    <a:pt x="1819" y="105825"/>
                  </a:cubicBezTo>
                  <a:cubicBezTo>
                    <a:pt x="1819" y="107085"/>
                    <a:pt x="3079" y="108345"/>
                    <a:pt x="3079" y="109605"/>
                  </a:cubicBezTo>
                  <a:cubicBezTo>
                    <a:pt x="3079" y="110864"/>
                    <a:pt x="4339" y="112124"/>
                    <a:pt x="5599" y="113384"/>
                  </a:cubicBezTo>
                  <a:cubicBezTo>
                    <a:pt x="5599" y="113384"/>
                    <a:pt x="6859" y="114644"/>
                    <a:pt x="6859" y="114644"/>
                  </a:cubicBezTo>
                  <a:cubicBezTo>
                    <a:pt x="8119" y="115904"/>
                    <a:pt x="8119" y="115904"/>
                    <a:pt x="9378" y="117163"/>
                  </a:cubicBezTo>
                  <a:cubicBezTo>
                    <a:pt x="10638" y="118423"/>
                    <a:pt x="10638" y="118423"/>
                    <a:pt x="11898" y="119683"/>
                  </a:cubicBezTo>
                  <a:cubicBezTo>
                    <a:pt x="13158" y="120943"/>
                    <a:pt x="14418" y="122203"/>
                    <a:pt x="14418" y="122203"/>
                  </a:cubicBezTo>
                  <a:cubicBezTo>
                    <a:pt x="15678" y="122203"/>
                    <a:pt x="15678" y="123463"/>
                    <a:pt x="16938" y="123463"/>
                  </a:cubicBezTo>
                  <a:cubicBezTo>
                    <a:pt x="19457" y="124722"/>
                    <a:pt x="20717" y="125982"/>
                    <a:pt x="23237" y="127242"/>
                  </a:cubicBezTo>
                  <a:cubicBezTo>
                    <a:pt x="24497" y="128502"/>
                    <a:pt x="27016" y="128502"/>
                    <a:pt x="28276" y="129762"/>
                  </a:cubicBezTo>
                  <a:cubicBezTo>
                    <a:pt x="30796" y="131022"/>
                    <a:pt x="34575" y="129762"/>
                    <a:pt x="34575" y="127242"/>
                  </a:cubicBezTo>
                  <a:cubicBezTo>
                    <a:pt x="35835" y="124722"/>
                    <a:pt x="34575" y="122203"/>
                    <a:pt x="32056" y="120943"/>
                  </a:cubicBezTo>
                  <a:cubicBezTo>
                    <a:pt x="29536" y="119683"/>
                    <a:pt x="28276" y="119683"/>
                    <a:pt x="25756" y="118423"/>
                  </a:cubicBezTo>
                  <a:cubicBezTo>
                    <a:pt x="24497" y="117163"/>
                    <a:pt x="21977" y="115904"/>
                    <a:pt x="20717" y="114644"/>
                  </a:cubicBezTo>
                  <a:cubicBezTo>
                    <a:pt x="19457" y="113384"/>
                    <a:pt x="18197" y="112124"/>
                    <a:pt x="16938" y="109605"/>
                  </a:cubicBezTo>
                  <a:cubicBezTo>
                    <a:pt x="15678" y="108345"/>
                    <a:pt x="14418" y="107085"/>
                    <a:pt x="13158" y="105825"/>
                  </a:cubicBezTo>
                  <a:cubicBezTo>
                    <a:pt x="13158" y="104565"/>
                    <a:pt x="11898" y="104565"/>
                    <a:pt x="11898" y="103305"/>
                  </a:cubicBezTo>
                  <a:cubicBezTo>
                    <a:pt x="11898" y="102046"/>
                    <a:pt x="10638" y="99526"/>
                    <a:pt x="10638" y="98266"/>
                  </a:cubicBezTo>
                  <a:cubicBezTo>
                    <a:pt x="10638" y="97006"/>
                    <a:pt x="10638" y="95746"/>
                    <a:pt x="10638" y="93227"/>
                  </a:cubicBezTo>
                  <a:cubicBezTo>
                    <a:pt x="10638" y="84408"/>
                    <a:pt x="11898" y="76849"/>
                    <a:pt x="14418" y="69290"/>
                  </a:cubicBezTo>
                  <a:cubicBezTo>
                    <a:pt x="14418" y="69290"/>
                    <a:pt x="14418" y="68030"/>
                    <a:pt x="14418" y="68030"/>
                  </a:cubicBezTo>
                  <a:cubicBezTo>
                    <a:pt x="14418" y="66770"/>
                    <a:pt x="15678" y="65511"/>
                    <a:pt x="15678" y="62991"/>
                  </a:cubicBezTo>
                  <a:cubicBezTo>
                    <a:pt x="15678" y="62991"/>
                    <a:pt x="15678" y="64251"/>
                    <a:pt x="15678" y="64251"/>
                  </a:cubicBezTo>
                  <a:cubicBezTo>
                    <a:pt x="15678" y="62991"/>
                    <a:pt x="15678" y="61731"/>
                    <a:pt x="16938" y="60471"/>
                  </a:cubicBezTo>
                  <a:cubicBezTo>
                    <a:pt x="18197" y="55432"/>
                    <a:pt x="19457" y="50393"/>
                    <a:pt x="20717" y="45354"/>
                  </a:cubicBezTo>
                  <a:cubicBezTo>
                    <a:pt x="21977" y="40314"/>
                    <a:pt x="21977" y="36535"/>
                    <a:pt x="23237" y="31496"/>
                  </a:cubicBezTo>
                  <a:cubicBezTo>
                    <a:pt x="24497" y="27716"/>
                    <a:pt x="24497" y="22677"/>
                    <a:pt x="25756" y="18897"/>
                  </a:cubicBezTo>
                  <a:cubicBezTo>
                    <a:pt x="25756" y="16378"/>
                    <a:pt x="27016" y="13858"/>
                    <a:pt x="27016" y="12598"/>
                  </a:cubicBezTo>
                  <a:cubicBezTo>
                    <a:pt x="27016" y="10078"/>
                    <a:pt x="28276" y="7559"/>
                    <a:pt x="27016" y="6299"/>
                  </a:cubicBezTo>
                  <a:cubicBezTo>
                    <a:pt x="27016" y="5039"/>
                    <a:pt x="27016" y="3779"/>
                    <a:pt x="25756" y="3779"/>
                  </a:cubicBezTo>
                  <a:cubicBezTo>
                    <a:pt x="25756" y="3779"/>
                    <a:pt x="24497" y="2520"/>
                    <a:pt x="24497" y="2520"/>
                  </a:cubicBezTo>
                  <a:cubicBezTo>
                    <a:pt x="21977" y="1260"/>
                    <a:pt x="21977" y="0"/>
                    <a:pt x="20717" y="0"/>
                  </a:cubicBezTo>
                  <a:moveTo>
                    <a:pt x="14418" y="66770"/>
                  </a:moveTo>
                  <a:cubicBezTo>
                    <a:pt x="14418" y="66770"/>
                    <a:pt x="14418" y="68030"/>
                    <a:pt x="14418" y="68030"/>
                  </a:cubicBezTo>
                  <a:cubicBezTo>
                    <a:pt x="14418" y="68030"/>
                    <a:pt x="14418" y="66770"/>
                    <a:pt x="14418" y="66770"/>
                  </a:cubicBezTo>
                </a:path>
              </a:pathLst>
            </a:custGeom>
            <a:solidFill>
              <a:srgbClr val="F2A988"/>
            </a:solidFill>
            <a:ln w="12584" cap="flat">
              <a:noFill/>
              <a:prstDash val="solid"/>
              <a:miter/>
            </a:ln>
          </p:spPr>
          <p:txBody>
            <a:bodyPr rtlCol="0" anchor="ctr"/>
            <a:lstStyle/>
            <a:p>
              <a:endParaRPr lang="zh-CN" altLang="en-US"/>
            </a:p>
          </p:txBody>
        </p:sp>
        <p:sp>
          <p:nvSpPr>
            <p:cNvPr id="10253" name="任意多边形: 形状 10252"/>
            <p:cNvSpPr/>
            <p:nvPr/>
          </p:nvSpPr>
          <p:spPr>
            <a:xfrm>
              <a:off x="4709935" y="2993101"/>
              <a:ext cx="138581" cy="75589"/>
            </a:xfrm>
            <a:custGeom>
              <a:avLst/>
              <a:gdLst>
                <a:gd name="connsiteX0" fmla="*/ 139840 w 138580"/>
                <a:gd name="connsiteY0" fmla="*/ 1260 h 75589"/>
                <a:gd name="connsiteX1" fmla="*/ 139840 w 138580"/>
                <a:gd name="connsiteY1" fmla="*/ 3780 h 75589"/>
                <a:gd name="connsiteX2" fmla="*/ 139840 w 138580"/>
                <a:gd name="connsiteY2" fmla="*/ 5039 h 75589"/>
                <a:gd name="connsiteX3" fmla="*/ 139840 w 138580"/>
                <a:gd name="connsiteY3" fmla="*/ 6299 h 75589"/>
                <a:gd name="connsiteX4" fmla="*/ 139840 w 138580"/>
                <a:gd name="connsiteY4" fmla="*/ 10079 h 75589"/>
                <a:gd name="connsiteX5" fmla="*/ 139840 w 138580"/>
                <a:gd name="connsiteY5" fmla="*/ 12598 h 75589"/>
                <a:gd name="connsiteX6" fmla="*/ 139840 w 138580"/>
                <a:gd name="connsiteY6" fmla="*/ 16378 h 75589"/>
                <a:gd name="connsiteX7" fmla="*/ 139840 w 138580"/>
                <a:gd name="connsiteY7" fmla="*/ 18897 h 75589"/>
                <a:gd name="connsiteX8" fmla="*/ 139840 w 138580"/>
                <a:gd name="connsiteY8" fmla="*/ 22677 h 75589"/>
                <a:gd name="connsiteX9" fmla="*/ 139840 w 138580"/>
                <a:gd name="connsiteY9" fmla="*/ 25196 h 75589"/>
                <a:gd name="connsiteX10" fmla="*/ 139840 w 138580"/>
                <a:gd name="connsiteY10" fmla="*/ 31496 h 75589"/>
                <a:gd name="connsiteX11" fmla="*/ 139840 w 138580"/>
                <a:gd name="connsiteY11" fmla="*/ 35275 h 75589"/>
                <a:gd name="connsiteX12" fmla="*/ 139840 w 138580"/>
                <a:gd name="connsiteY12" fmla="*/ 37795 h 75589"/>
                <a:gd name="connsiteX13" fmla="*/ 139840 w 138580"/>
                <a:gd name="connsiteY13" fmla="*/ 40315 h 75589"/>
                <a:gd name="connsiteX14" fmla="*/ 139840 w 138580"/>
                <a:gd name="connsiteY14" fmla="*/ 44094 h 75589"/>
                <a:gd name="connsiteX15" fmla="*/ 138581 w 138580"/>
                <a:gd name="connsiteY15" fmla="*/ 57952 h 75589"/>
                <a:gd name="connsiteX16" fmla="*/ 137321 w 138580"/>
                <a:gd name="connsiteY16" fmla="*/ 70550 h 75589"/>
                <a:gd name="connsiteX17" fmla="*/ 137321 w 138580"/>
                <a:gd name="connsiteY17" fmla="*/ 79369 h 75589"/>
                <a:gd name="connsiteX18" fmla="*/ 137321 w 138580"/>
                <a:gd name="connsiteY18" fmla="*/ 79369 h 75589"/>
                <a:gd name="connsiteX19" fmla="*/ 137321 w 138580"/>
                <a:gd name="connsiteY19" fmla="*/ 79369 h 75589"/>
                <a:gd name="connsiteX20" fmla="*/ 137321 w 138580"/>
                <a:gd name="connsiteY20" fmla="*/ 79369 h 75589"/>
                <a:gd name="connsiteX21" fmla="*/ 138581 w 138580"/>
                <a:gd name="connsiteY21" fmla="*/ 81889 h 75589"/>
                <a:gd name="connsiteX22" fmla="*/ 137321 w 138580"/>
                <a:gd name="connsiteY22" fmla="*/ 84408 h 75589"/>
                <a:gd name="connsiteX23" fmla="*/ 136061 w 138580"/>
                <a:gd name="connsiteY23" fmla="*/ 85668 h 75589"/>
                <a:gd name="connsiteX24" fmla="*/ 134801 w 138580"/>
                <a:gd name="connsiteY24" fmla="*/ 85668 h 75589"/>
                <a:gd name="connsiteX25" fmla="*/ 134801 w 138580"/>
                <a:gd name="connsiteY25" fmla="*/ 85668 h 75589"/>
                <a:gd name="connsiteX26" fmla="*/ 134801 w 138580"/>
                <a:gd name="connsiteY26" fmla="*/ 85668 h 75589"/>
                <a:gd name="connsiteX27" fmla="*/ 133541 w 138580"/>
                <a:gd name="connsiteY27" fmla="*/ 84408 h 75589"/>
                <a:gd name="connsiteX28" fmla="*/ 132281 w 138580"/>
                <a:gd name="connsiteY28" fmla="*/ 84408 h 75589"/>
                <a:gd name="connsiteX29" fmla="*/ 131022 w 138580"/>
                <a:gd name="connsiteY29" fmla="*/ 84408 h 75589"/>
                <a:gd name="connsiteX30" fmla="*/ 131022 w 138580"/>
                <a:gd name="connsiteY30" fmla="*/ 84408 h 75589"/>
                <a:gd name="connsiteX31" fmla="*/ 131022 w 138580"/>
                <a:gd name="connsiteY31" fmla="*/ 84408 h 75589"/>
                <a:gd name="connsiteX32" fmla="*/ 131022 w 138580"/>
                <a:gd name="connsiteY32" fmla="*/ 84408 h 75589"/>
                <a:gd name="connsiteX33" fmla="*/ 131022 w 138580"/>
                <a:gd name="connsiteY33" fmla="*/ 84408 h 75589"/>
                <a:gd name="connsiteX34" fmla="*/ 131022 w 138580"/>
                <a:gd name="connsiteY34" fmla="*/ 84408 h 75589"/>
                <a:gd name="connsiteX35" fmla="*/ 131022 w 138580"/>
                <a:gd name="connsiteY35" fmla="*/ 84408 h 75589"/>
                <a:gd name="connsiteX36" fmla="*/ 131022 w 138580"/>
                <a:gd name="connsiteY36" fmla="*/ 84408 h 75589"/>
                <a:gd name="connsiteX37" fmla="*/ 123463 w 138580"/>
                <a:gd name="connsiteY37" fmla="*/ 79369 h 75589"/>
                <a:gd name="connsiteX38" fmla="*/ 120943 w 138580"/>
                <a:gd name="connsiteY38" fmla="*/ 78109 h 75589"/>
                <a:gd name="connsiteX39" fmla="*/ 119683 w 138580"/>
                <a:gd name="connsiteY39" fmla="*/ 78109 h 75589"/>
                <a:gd name="connsiteX40" fmla="*/ 118423 w 138580"/>
                <a:gd name="connsiteY40" fmla="*/ 78109 h 75589"/>
                <a:gd name="connsiteX41" fmla="*/ 117163 w 138580"/>
                <a:gd name="connsiteY41" fmla="*/ 78109 h 75589"/>
                <a:gd name="connsiteX42" fmla="*/ 115904 w 138580"/>
                <a:gd name="connsiteY42" fmla="*/ 76849 h 75589"/>
                <a:gd name="connsiteX43" fmla="*/ 114644 w 138580"/>
                <a:gd name="connsiteY43" fmla="*/ 75589 h 75589"/>
                <a:gd name="connsiteX44" fmla="*/ 105825 w 138580"/>
                <a:gd name="connsiteY44" fmla="*/ 71810 h 75589"/>
                <a:gd name="connsiteX45" fmla="*/ 100786 w 138580"/>
                <a:gd name="connsiteY45" fmla="*/ 70550 h 75589"/>
                <a:gd name="connsiteX46" fmla="*/ 94487 w 138580"/>
                <a:gd name="connsiteY46" fmla="*/ 68031 h 75589"/>
                <a:gd name="connsiteX47" fmla="*/ 93227 w 138580"/>
                <a:gd name="connsiteY47" fmla="*/ 66771 h 75589"/>
                <a:gd name="connsiteX48" fmla="*/ 90707 w 138580"/>
                <a:gd name="connsiteY48" fmla="*/ 65511 h 75589"/>
                <a:gd name="connsiteX49" fmla="*/ 78109 w 138580"/>
                <a:gd name="connsiteY49" fmla="*/ 60472 h 75589"/>
                <a:gd name="connsiteX50" fmla="*/ 64251 w 138580"/>
                <a:gd name="connsiteY50" fmla="*/ 54172 h 75589"/>
                <a:gd name="connsiteX51" fmla="*/ 56692 w 138580"/>
                <a:gd name="connsiteY51" fmla="*/ 50393 h 75589"/>
                <a:gd name="connsiteX52" fmla="*/ 47873 w 138580"/>
                <a:gd name="connsiteY52" fmla="*/ 46614 h 75589"/>
                <a:gd name="connsiteX53" fmla="*/ 31496 w 138580"/>
                <a:gd name="connsiteY53" fmla="*/ 39055 h 75589"/>
                <a:gd name="connsiteX54" fmla="*/ 22677 w 138580"/>
                <a:gd name="connsiteY54" fmla="*/ 35275 h 75589"/>
                <a:gd name="connsiteX55" fmla="*/ 22677 w 138580"/>
                <a:gd name="connsiteY55" fmla="*/ 35275 h 75589"/>
                <a:gd name="connsiteX56" fmla="*/ 7559 w 138580"/>
                <a:gd name="connsiteY56" fmla="*/ 26456 h 75589"/>
                <a:gd name="connsiteX57" fmla="*/ 0 w 138580"/>
                <a:gd name="connsiteY57" fmla="*/ 21417 h 75589"/>
                <a:gd name="connsiteX58" fmla="*/ 0 w 138580"/>
                <a:gd name="connsiteY58" fmla="*/ 21417 h 75589"/>
                <a:gd name="connsiteX59" fmla="*/ 2519 w 138580"/>
                <a:gd name="connsiteY59" fmla="*/ 20157 h 75589"/>
                <a:gd name="connsiteX60" fmla="*/ 2519 w 138580"/>
                <a:gd name="connsiteY60" fmla="*/ 20157 h 75589"/>
                <a:gd name="connsiteX61" fmla="*/ 6299 w 138580"/>
                <a:gd name="connsiteY61" fmla="*/ 20157 h 75589"/>
                <a:gd name="connsiteX62" fmla="*/ 8819 w 138580"/>
                <a:gd name="connsiteY62" fmla="*/ 20157 h 75589"/>
                <a:gd name="connsiteX63" fmla="*/ 8819 w 138580"/>
                <a:gd name="connsiteY63" fmla="*/ 20157 h 75589"/>
                <a:gd name="connsiteX64" fmla="*/ 15118 w 138580"/>
                <a:gd name="connsiteY64" fmla="*/ 22677 h 75589"/>
                <a:gd name="connsiteX65" fmla="*/ 16378 w 138580"/>
                <a:gd name="connsiteY65" fmla="*/ 22677 h 75589"/>
                <a:gd name="connsiteX66" fmla="*/ 17637 w 138580"/>
                <a:gd name="connsiteY66" fmla="*/ 22677 h 75589"/>
                <a:gd name="connsiteX67" fmla="*/ 18897 w 138580"/>
                <a:gd name="connsiteY67" fmla="*/ 22677 h 75589"/>
                <a:gd name="connsiteX68" fmla="*/ 25196 w 138580"/>
                <a:gd name="connsiteY68" fmla="*/ 21417 h 75589"/>
                <a:gd name="connsiteX69" fmla="*/ 32755 w 138580"/>
                <a:gd name="connsiteY69" fmla="*/ 20157 h 75589"/>
                <a:gd name="connsiteX70" fmla="*/ 46613 w 138580"/>
                <a:gd name="connsiteY70" fmla="*/ 18897 h 75589"/>
                <a:gd name="connsiteX71" fmla="*/ 54172 w 138580"/>
                <a:gd name="connsiteY71" fmla="*/ 18897 h 75589"/>
                <a:gd name="connsiteX72" fmla="*/ 54172 w 138580"/>
                <a:gd name="connsiteY72" fmla="*/ 18897 h 75589"/>
                <a:gd name="connsiteX73" fmla="*/ 56692 w 138580"/>
                <a:gd name="connsiteY73" fmla="*/ 18897 h 75589"/>
                <a:gd name="connsiteX74" fmla="*/ 60471 w 138580"/>
                <a:gd name="connsiteY74" fmla="*/ 18897 h 75589"/>
                <a:gd name="connsiteX75" fmla="*/ 64251 w 138580"/>
                <a:gd name="connsiteY75" fmla="*/ 18897 h 75589"/>
                <a:gd name="connsiteX76" fmla="*/ 68030 w 138580"/>
                <a:gd name="connsiteY76" fmla="*/ 18897 h 75589"/>
                <a:gd name="connsiteX77" fmla="*/ 73070 w 138580"/>
                <a:gd name="connsiteY77" fmla="*/ 17638 h 75589"/>
                <a:gd name="connsiteX78" fmla="*/ 74329 w 138580"/>
                <a:gd name="connsiteY78" fmla="*/ 17638 h 75589"/>
                <a:gd name="connsiteX79" fmla="*/ 89447 w 138580"/>
                <a:gd name="connsiteY79" fmla="*/ 15118 h 75589"/>
                <a:gd name="connsiteX80" fmla="*/ 95746 w 138580"/>
                <a:gd name="connsiteY80" fmla="*/ 13858 h 75589"/>
                <a:gd name="connsiteX81" fmla="*/ 98266 w 138580"/>
                <a:gd name="connsiteY81" fmla="*/ 13858 h 75589"/>
                <a:gd name="connsiteX82" fmla="*/ 102045 w 138580"/>
                <a:gd name="connsiteY82" fmla="*/ 12598 h 75589"/>
                <a:gd name="connsiteX83" fmla="*/ 108344 w 138580"/>
                <a:gd name="connsiteY83" fmla="*/ 11339 h 75589"/>
                <a:gd name="connsiteX84" fmla="*/ 108344 w 138580"/>
                <a:gd name="connsiteY84" fmla="*/ 11339 h 75589"/>
                <a:gd name="connsiteX85" fmla="*/ 110864 w 138580"/>
                <a:gd name="connsiteY85" fmla="*/ 10079 h 75589"/>
                <a:gd name="connsiteX86" fmla="*/ 114644 w 138580"/>
                <a:gd name="connsiteY86" fmla="*/ 8819 h 75589"/>
                <a:gd name="connsiteX87" fmla="*/ 120943 w 138580"/>
                <a:gd name="connsiteY87" fmla="*/ 6299 h 75589"/>
                <a:gd name="connsiteX88" fmla="*/ 120943 w 138580"/>
                <a:gd name="connsiteY88" fmla="*/ 6299 h 75589"/>
                <a:gd name="connsiteX89" fmla="*/ 127242 w 138580"/>
                <a:gd name="connsiteY89" fmla="*/ 3780 h 75589"/>
                <a:gd name="connsiteX90" fmla="*/ 131022 w 138580"/>
                <a:gd name="connsiteY90" fmla="*/ 2520 h 75589"/>
                <a:gd name="connsiteX91" fmla="*/ 133541 w 138580"/>
                <a:gd name="connsiteY91" fmla="*/ 1260 h 75589"/>
                <a:gd name="connsiteX92" fmla="*/ 136061 w 138580"/>
                <a:gd name="connsiteY92" fmla="*/ 0 h 75589"/>
                <a:gd name="connsiteX93" fmla="*/ 137321 w 138580"/>
                <a:gd name="connsiteY93" fmla="*/ 0 h 75589"/>
                <a:gd name="connsiteX94" fmla="*/ 137321 w 138580"/>
                <a:gd name="connsiteY94" fmla="*/ 0 h 75589"/>
                <a:gd name="connsiteX95" fmla="*/ 137321 w 138580"/>
                <a:gd name="connsiteY95" fmla="*/ 0 h 75589"/>
                <a:gd name="connsiteX96" fmla="*/ 138581 w 138580"/>
                <a:gd name="connsiteY96" fmla="*/ 0 h 75589"/>
                <a:gd name="connsiteX97" fmla="*/ 139840 w 138580"/>
                <a:gd name="connsiteY97" fmla="*/ 1260 h 75589"/>
                <a:gd name="connsiteX98" fmla="*/ 139840 w 138580"/>
                <a:gd name="connsiteY98" fmla="*/ 1260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38580" h="75589">
                  <a:moveTo>
                    <a:pt x="139840" y="1260"/>
                  </a:moveTo>
                  <a:cubicBezTo>
                    <a:pt x="139840" y="1260"/>
                    <a:pt x="139840" y="2520"/>
                    <a:pt x="139840" y="3780"/>
                  </a:cubicBezTo>
                  <a:cubicBezTo>
                    <a:pt x="139840" y="5039"/>
                    <a:pt x="139840" y="5039"/>
                    <a:pt x="139840" y="5039"/>
                  </a:cubicBezTo>
                  <a:cubicBezTo>
                    <a:pt x="139840" y="5039"/>
                    <a:pt x="139840" y="6299"/>
                    <a:pt x="139840" y="6299"/>
                  </a:cubicBezTo>
                  <a:cubicBezTo>
                    <a:pt x="139840" y="7559"/>
                    <a:pt x="139840" y="8819"/>
                    <a:pt x="139840" y="10079"/>
                  </a:cubicBezTo>
                  <a:cubicBezTo>
                    <a:pt x="139840" y="11339"/>
                    <a:pt x="139840" y="12598"/>
                    <a:pt x="139840" y="12598"/>
                  </a:cubicBezTo>
                  <a:cubicBezTo>
                    <a:pt x="139840" y="13858"/>
                    <a:pt x="139840" y="15118"/>
                    <a:pt x="139840" y="16378"/>
                  </a:cubicBezTo>
                  <a:cubicBezTo>
                    <a:pt x="139840" y="17638"/>
                    <a:pt x="139840" y="17638"/>
                    <a:pt x="139840" y="18897"/>
                  </a:cubicBezTo>
                  <a:cubicBezTo>
                    <a:pt x="139840" y="20157"/>
                    <a:pt x="139840" y="21417"/>
                    <a:pt x="139840" y="22677"/>
                  </a:cubicBezTo>
                  <a:cubicBezTo>
                    <a:pt x="139840" y="23937"/>
                    <a:pt x="139840" y="23937"/>
                    <a:pt x="139840" y="25196"/>
                  </a:cubicBezTo>
                  <a:cubicBezTo>
                    <a:pt x="139840" y="27716"/>
                    <a:pt x="139840" y="28976"/>
                    <a:pt x="139840" y="31496"/>
                  </a:cubicBezTo>
                  <a:cubicBezTo>
                    <a:pt x="139840" y="32755"/>
                    <a:pt x="139840" y="34015"/>
                    <a:pt x="139840" y="35275"/>
                  </a:cubicBezTo>
                  <a:cubicBezTo>
                    <a:pt x="139840" y="36535"/>
                    <a:pt x="139840" y="36535"/>
                    <a:pt x="139840" y="37795"/>
                  </a:cubicBezTo>
                  <a:cubicBezTo>
                    <a:pt x="139840" y="39055"/>
                    <a:pt x="139840" y="40315"/>
                    <a:pt x="139840" y="40315"/>
                  </a:cubicBezTo>
                  <a:cubicBezTo>
                    <a:pt x="139840" y="41574"/>
                    <a:pt x="139840" y="42834"/>
                    <a:pt x="139840" y="44094"/>
                  </a:cubicBezTo>
                  <a:cubicBezTo>
                    <a:pt x="139840" y="49133"/>
                    <a:pt x="138581" y="52913"/>
                    <a:pt x="138581" y="57952"/>
                  </a:cubicBezTo>
                  <a:cubicBezTo>
                    <a:pt x="138581" y="61731"/>
                    <a:pt x="137321" y="66771"/>
                    <a:pt x="137321" y="70550"/>
                  </a:cubicBezTo>
                  <a:cubicBezTo>
                    <a:pt x="137321" y="73070"/>
                    <a:pt x="137321" y="76849"/>
                    <a:pt x="137321" y="79369"/>
                  </a:cubicBezTo>
                  <a:lnTo>
                    <a:pt x="137321" y="79369"/>
                  </a:lnTo>
                  <a:lnTo>
                    <a:pt x="137321" y="79369"/>
                  </a:lnTo>
                  <a:lnTo>
                    <a:pt x="137321" y="79369"/>
                  </a:lnTo>
                  <a:cubicBezTo>
                    <a:pt x="138581" y="79369"/>
                    <a:pt x="138581" y="80629"/>
                    <a:pt x="138581" y="81889"/>
                  </a:cubicBezTo>
                  <a:cubicBezTo>
                    <a:pt x="138581" y="83148"/>
                    <a:pt x="138581" y="83148"/>
                    <a:pt x="137321" y="84408"/>
                  </a:cubicBezTo>
                  <a:cubicBezTo>
                    <a:pt x="137321" y="84408"/>
                    <a:pt x="136061" y="85668"/>
                    <a:pt x="136061" y="85668"/>
                  </a:cubicBezTo>
                  <a:cubicBezTo>
                    <a:pt x="136061" y="85668"/>
                    <a:pt x="136061" y="85668"/>
                    <a:pt x="134801" y="85668"/>
                  </a:cubicBezTo>
                  <a:lnTo>
                    <a:pt x="134801" y="85668"/>
                  </a:lnTo>
                  <a:lnTo>
                    <a:pt x="134801" y="85668"/>
                  </a:lnTo>
                  <a:cubicBezTo>
                    <a:pt x="134801" y="85668"/>
                    <a:pt x="133541" y="85668"/>
                    <a:pt x="133541" y="84408"/>
                  </a:cubicBezTo>
                  <a:lnTo>
                    <a:pt x="132281" y="84408"/>
                  </a:lnTo>
                  <a:lnTo>
                    <a:pt x="131022" y="84408"/>
                  </a:lnTo>
                  <a:lnTo>
                    <a:pt x="131022" y="84408"/>
                  </a:lnTo>
                  <a:lnTo>
                    <a:pt x="131022" y="84408"/>
                  </a:lnTo>
                  <a:lnTo>
                    <a:pt x="131022" y="84408"/>
                  </a:lnTo>
                  <a:lnTo>
                    <a:pt x="131022" y="84408"/>
                  </a:lnTo>
                  <a:lnTo>
                    <a:pt x="131022" y="84408"/>
                  </a:lnTo>
                  <a:lnTo>
                    <a:pt x="131022" y="84408"/>
                  </a:lnTo>
                  <a:lnTo>
                    <a:pt x="131022" y="84408"/>
                  </a:lnTo>
                  <a:cubicBezTo>
                    <a:pt x="128502" y="83148"/>
                    <a:pt x="125982" y="81889"/>
                    <a:pt x="123463" y="79369"/>
                  </a:cubicBezTo>
                  <a:cubicBezTo>
                    <a:pt x="122203" y="79369"/>
                    <a:pt x="122203" y="78109"/>
                    <a:pt x="120943" y="78109"/>
                  </a:cubicBezTo>
                  <a:lnTo>
                    <a:pt x="119683" y="78109"/>
                  </a:lnTo>
                  <a:lnTo>
                    <a:pt x="118423" y="78109"/>
                  </a:lnTo>
                  <a:lnTo>
                    <a:pt x="117163" y="78109"/>
                  </a:lnTo>
                  <a:cubicBezTo>
                    <a:pt x="117163" y="78109"/>
                    <a:pt x="115904" y="78109"/>
                    <a:pt x="115904" y="76849"/>
                  </a:cubicBezTo>
                  <a:lnTo>
                    <a:pt x="114644" y="75589"/>
                  </a:lnTo>
                  <a:cubicBezTo>
                    <a:pt x="112124" y="74330"/>
                    <a:pt x="108344" y="73070"/>
                    <a:pt x="105825" y="71810"/>
                  </a:cubicBezTo>
                  <a:cubicBezTo>
                    <a:pt x="104565" y="71810"/>
                    <a:pt x="103305" y="70550"/>
                    <a:pt x="100786" y="70550"/>
                  </a:cubicBezTo>
                  <a:cubicBezTo>
                    <a:pt x="98266" y="69290"/>
                    <a:pt x="97006" y="69290"/>
                    <a:pt x="94487" y="68031"/>
                  </a:cubicBezTo>
                  <a:cubicBezTo>
                    <a:pt x="93227" y="68031"/>
                    <a:pt x="93227" y="68031"/>
                    <a:pt x="93227" y="66771"/>
                  </a:cubicBezTo>
                  <a:cubicBezTo>
                    <a:pt x="91967" y="66771"/>
                    <a:pt x="91967" y="65511"/>
                    <a:pt x="90707" y="65511"/>
                  </a:cubicBezTo>
                  <a:cubicBezTo>
                    <a:pt x="86928" y="64251"/>
                    <a:pt x="83148" y="61731"/>
                    <a:pt x="78109" y="60472"/>
                  </a:cubicBezTo>
                  <a:cubicBezTo>
                    <a:pt x="73070" y="57952"/>
                    <a:pt x="69290" y="56692"/>
                    <a:pt x="64251" y="54172"/>
                  </a:cubicBezTo>
                  <a:cubicBezTo>
                    <a:pt x="61731" y="52913"/>
                    <a:pt x="59211" y="51653"/>
                    <a:pt x="56692" y="50393"/>
                  </a:cubicBezTo>
                  <a:cubicBezTo>
                    <a:pt x="54172" y="49133"/>
                    <a:pt x="50393" y="47873"/>
                    <a:pt x="47873" y="46614"/>
                  </a:cubicBezTo>
                  <a:cubicBezTo>
                    <a:pt x="42834" y="44094"/>
                    <a:pt x="37795" y="41574"/>
                    <a:pt x="31496" y="39055"/>
                  </a:cubicBezTo>
                  <a:cubicBezTo>
                    <a:pt x="28976" y="37795"/>
                    <a:pt x="25196" y="36535"/>
                    <a:pt x="22677" y="35275"/>
                  </a:cubicBezTo>
                  <a:cubicBezTo>
                    <a:pt x="22677" y="35275"/>
                    <a:pt x="22677" y="35275"/>
                    <a:pt x="22677" y="35275"/>
                  </a:cubicBezTo>
                  <a:cubicBezTo>
                    <a:pt x="17637" y="32755"/>
                    <a:pt x="12598" y="28976"/>
                    <a:pt x="7559" y="26456"/>
                  </a:cubicBezTo>
                  <a:cubicBezTo>
                    <a:pt x="5039" y="25196"/>
                    <a:pt x="2519" y="22677"/>
                    <a:pt x="0" y="21417"/>
                  </a:cubicBezTo>
                  <a:cubicBezTo>
                    <a:pt x="0" y="21417"/>
                    <a:pt x="0" y="21417"/>
                    <a:pt x="0" y="21417"/>
                  </a:cubicBezTo>
                  <a:cubicBezTo>
                    <a:pt x="0" y="21417"/>
                    <a:pt x="1260" y="20157"/>
                    <a:pt x="2519" y="20157"/>
                  </a:cubicBezTo>
                  <a:cubicBezTo>
                    <a:pt x="2519" y="20157"/>
                    <a:pt x="2519" y="20157"/>
                    <a:pt x="2519" y="20157"/>
                  </a:cubicBezTo>
                  <a:cubicBezTo>
                    <a:pt x="3779" y="20157"/>
                    <a:pt x="5039" y="20157"/>
                    <a:pt x="6299" y="20157"/>
                  </a:cubicBezTo>
                  <a:cubicBezTo>
                    <a:pt x="7559" y="20157"/>
                    <a:pt x="7559" y="20157"/>
                    <a:pt x="8819" y="20157"/>
                  </a:cubicBezTo>
                  <a:lnTo>
                    <a:pt x="8819" y="20157"/>
                  </a:lnTo>
                  <a:cubicBezTo>
                    <a:pt x="11338" y="20157"/>
                    <a:pt x="12598" y="21417"/>
                    <a:pt x="15118" y="22677"/>
                  </a:cubicBezTo>
                  <a:cubicBezTo>
                    <a:pt x="15118" y="22677"/>
                    <a:pt x="16378" y="22677"/>
                    <a:pt x="16378" y="22677"/>
                  </a:cubicBezTo>
                  <a:lnTo>
                    <a:pt x="17637" y="22677"/>
                  </a:lnTo>
                  <a:cubicBezTo>
                    <a:pt x="17637" y="22677"/>
                    <a:pt x="18897" y="22677"/>
                    <a:pt x="18897" y="22677"/>
                  </a:cubicBezTo>
                  <a:cubicBezTo>
                    <a:pt x="21417" y="22677"/>
                    <a:pt x="22677" y="22677"/>
                    <a:pt x="25196" y="21417"/>
                  </a:cubicBezTo>
                  <a:cubicBezTo>
                    <a:pt x="27716" y="21417"/>
                    <a:pt x="30236" y="20157"/>
                    <a:pt x="32755" y="20157"/>
                  </a:cubicBezTo>
                  <a:cubicBezTo>
                    <a:pt x="37795" y="18897"/>
                    <a:pt x="41574" y="18897"/>
                    <a:pt x="46613" y="18897"/>
                  </a:cubicBezTo>
                  <a:cubicBezTo>
                    <a:pt x="49133" y="18897"/>
                    <a:pt x="51652" y="18897"/>
                    <a:pt x="54172" y="18897"/>
                  </a:cubicBezTo>
                  <a:lnTo>
                    <a:pt x="54172" y="18897"/>
                  </a:lnTo>
                  <a:cubicBezTo>
                    <a:pt x="55432" y="18897"/>
                    <a:pt x="55432" y="18897"/>
                    <a:pt x="56692" y="18897"/>
                  </a:cubicBezTo>
                  <a:cubicBezTo>
                    <a:pt x="57952" y="18897"/>
                    <a:pt x="59211" y="18897"/>
                    <a:pt x="60471" y="18897"/>
                  </a:cubicBezTo>
                  <a:cubicBezTo>
                    <a:pt x="61731" y="18897"/>
                    <a:pt x="62991" y="18897"/>
                    <a:pt x="64251" y="18897"/>
                  </a:cubicBezTo>
                  <a:cubicBezTo>
                    <a:pt x="65511" y="18897"/>
                    <a:pt x="66770" y="18897"/>
                    <a:pt x="68030" y="18897"/>
                  </a:cubicBezTo>
                  <a:cubicBezTo>
                    <a:pt x="69290" y="18897"/>
                    <a:pt x="71810" y="18897"/>
                    <a:pt x="73070" y="17638"/>
                  </a:cubicBezTo>
                  <a:lnTo>
                    <a:pt x="74329" y="17638"/>
                  </a:lnTo>
                  <a:cubicBezTo>
                    <a:pt x="78109" y="17638"/>
                    <a:pt x="84408" y="16378"/>
                    <a:pt x="89447" y="15118"/>
                  </a:cubicBezTo>
                  <a:cubicBezTo>
                    <a:pt x="91967" y="15118"/>
                    <a:pt x="94487" y="13858"/>
                    <a:pt x="95746" y="13858"/>
                  </a:cubicBezTo>
                  <a:cubicBezTo>
                    <a:pt x="97006" y="13858"/>
                    <a:pt x="98266" y="13858"/>
                    <a:pt x="98266" y="13858"/>
                  </a:cubicBezTo>
                  <a:cubicBezTo>
                    <a:pt x="99526" y="13858"/>
                    <a:pt x="100786" y="13858"/>
                    <a:pt x="102045" y="12598"/>
                  </a:cubicBezTo>
                  <a:cubicBezTo>
                    <a:pt x="104565" y="12598"/>
                    <a:pt x="105825" y="11339"/>
                    <a:pt x="108344" y="11339"/>
                  </a:cubicBezTo>
                  <a:lnTo>
                    <a:pt x="108344" y="11339"/>
                  </a:lnTo>
                  <a:cubicBezTo>
                    <a:pt x="109604" y="11339"/>
                    <a:pt x="110864" y="11339"/>
                    <a:pt x="110864" y="10079"/>
                  </a:cubicBezTo>
                  <a:cubicBezTo>
                    <a:pt x="112124" y="10079"/>
                    <a:pt x="113384" y="8819"/>
                    <a:pt x="114644" y="8819"/>
                  </a:cubicBezTo>
                  <a:cubicBezTo>
                    <a:pt x="117163" y="7559"/>
                    <a:pt x="118423" y="7559"/>
                    <a:pt x="120943" y="6299"/>
                  </a:cubicBezTo>
                  <a:lnTo>
                    <a:pt x="120943" y="6299"/>
                  </a:lnTo>
                  <a:cubicBezTo>
                    <a:pt x="123463" y="5039"/>
                    <a:pt x="124722" y="5039"/>
                    <a:pt x="127242" y="3780"/>
                  </a:cubicBezTo>
                  <a:cubicBezTo>
                    <a:pt x="128502" y="3780"/>
                    <a:pt x="129762" y="2520"/>
                    <a:pt x="131022" y="2520"/>
                  </a:cubicBezTo>
                  <a:cubicBezTo>
                    <a:pt x="132281" y="2520"/>
                    <a:pt x="132281" y="1260"/>
                    <a:pt x="133541" y="1260"/>
                  </a:cubicBezTo>
                  <a:cubicBezTo>
                    <a:pt x="134801" y="1260"/>
                    <a:pt x="136061" y="0"/>
                    <a:pt x="136061" y="0"/>
                  </a:cubicBezTo>
                  <a:cubicBezTo>
                    <a:pt x="136061" y="0"/>
                    <a:pt x="137321" y="0"/>
                    <a:pt x="137321" y="0"/>
                  </a:cubicBezTo>
                  <a:lnTo>
                    <a:pt x="137321" y="0"/>
                  </a:lnTo>
                  <a:cubicBezTo>
                    <a:pt x="137321" y="0"/>
                    <a:pt x="137321" y="0"/>
                    <a:pt x="137321" y="0"/>
                  </a:cubicBezTo>
                  <a:cubicBezTo>
                    <a:pt x="137321" y="0"/>
                    <a:pt x="137321" y="0"/>
                    <a:pt x="138581" y="0"/>
                  </a:cubicBezTo>
                  <a:cubicBezTo>
                    <a:pt x="137321" y="0"/>
                    <a:pt x="138581" y="0"/>
                    <a:pt x="139840" y="1260"/>
                  </a:cubicBezTo>
                  <a:cubicBezTo>
                    <a:pt x="138581" y="0"/>
                    <a:pt x="139840" y="0"/>
                    <a:pt x="139840" y="1260"/>
                  </a:cubicBezTo>
                </a:path>
              </a:pathLst>
            </a:custGeom>
            <a:solidFill>
              <a:srgbClr val="F3B04B"/>
            </a:solidFill>
            <a:ln w="12584" cap="flat">
              <a:noFill/>
              <a:prstDash val="solid"/>
              <a:miter/>
            </a:ln>
          </p:spPr>
          <p:txBody>
            <a:bodyPr rtlCol="0" anchor="ctr"/>
            <a:lstStyle/>
            <a:p>
              <a:endParaRPr lang="zh-CN" altLang="en-US"/>
            </a:p>
          </p:txBody>
        </p:sp>
        <p:sp>
          <p:nvSpPr>
            <p:cNvPr id="10254" name="任意多边形: 形状 10253"/>
            <p:cNvSpPr/>
            <p:nvPr/>
          </p:nvSpPr>
          <p:spPr>
            <a:xfrm>
              <a:off x="4842216" y="2984282"/>
              <a:ext cx="12598" cy="138581"/>
            </a:xfrm>
            <a:custGeom>
              <a:avLst/>
              <a:gdLst>
                <a:gd name="connsiteX0" fmla="*/ 12598 w 12598"/>
                <a:gd name="connsiteY0" fmla="*/ 0 h 138580"/>
                <a:gd name="connsiteX1" fmla="*/ 17637 w 12598"/>
                <a:gd name="connsiteY1" fmla="*/ 2520 h 138580"/>
                <a:gd name="connsiteX2" fmla="*/ 18897 w 12598"/>
                <a:gd name="connsiteY2" fmla="*/ 7559 h 138580"/>
                <a:gd name="connsiteX3" fmla="*/ 17637 w 12598"/>
                <a:gd name="connsiteY3" fmla="*/ 32755 h 138580"/>
                <a:gd name="connsiteX4" fmla="*/ 16378 w 12598"/>
                <a:gd name="connsiteY4" fmla="*/ 54172 h 138580"/>
                <a:gd name="connsiteX5" fmla="*/ 15118 w 12598"/>
                <a:gd name="connsiteY5" fmla="*/ 75589 h 138580"/>
                <a:gd name="connsiteX6" fmla="*/ 15118 w 12598"/>
                <a:gd name="connsiteY6" fmla="*/ 85668 h 138580"/>
                <a:gd name="connsiteX7" fmla="*/ 15118 w 12598"/>
                <a:gd name="connsiteY7" fmla="*/ 95747 h 138580"/>
                <a:gd name="connsiteX8" fmla="*/ 15118 w 12598"/>
                <a:gd name="connsiteY8" fmla="*/ 95747 h 138580"/>
                <a:gd name="connsiteX9" fmla="*/ 15118 w 12598"/>
                <a:gd name="connsiteY9" fmla="*/ 104565 h 138580"/>
                <a:gd name="connsiteX10" fmla="*/ 15118 w 12598"/>
                <a:gd name="connsiteY10" fmla="*/ 110864 h 138580"/>
                <a:gd name="connsiteX11" fmla="*/ 15118 w 12598"/>
                <a:gd name="connsiteY11" fmla="*/ 117164 h 138580"/>
                <a:gd name="connsiteX12" fmla="*/ 15118 w 12598"/>
                <a:gd name="connsiteY12" fmla="*/ 124723 h 138580"/>
                <a:gd name="connsiteX13" fmla="*/ 15118 w 12598"/>
                <a:gd name="connsiteY13" fmla="*/ 134801 h 138580"/>
                <a:gd name="connsiteX14" fmla="*/ 8819 w 12598"/>
                <a:gd name="connsiteY14" fmla="*/ 139840 h 138580"/>
                <a:gd name="connsiteX15" fmla="*/ 5039 w 12598"/>
                <a:gd name="connsiteY15" fmla="*/ 139840 h 138580"/>
                <a:gd name="connsiteX16" fmla="*/ 1260 w 12598"/>
                <a:gd name="connsiteY16" fmla="*/ 136061 h 138580"/>
                <a:gd name="connsiteX17" fmla="*/ 0 w 12598"/>
                <a:gd name="connsiteY17" fmla="*/ 128502 h 138580"/>
                <a:gd name="connsiteX18" fmla="*/ 0 w 12598"/>
                <a:gd name="connsiteY18" fmla="*/ 122203 h 138580"/>
                <a:gd name="connsiteX19" fmla="*/ 0 w 12598"/>
                <a:gd name="connsiteY19" fmla="*/ 109605 h 138580"/>
                <a:gd name="connsiteX20" fmla="*/ 0 w 12598"/>
                <a:gd name="connsiteY20" fmla="*/ 97006 h 138580"/>
                <a:gd name="connsiteX21" fmla="*/ 0 w 12598"/>
                <a:gd name="connsiteY21" fmla="*/ 83148 h 138580"/>
                <a:gd name="connsiteX22" fmla="*/ 0 w 12598"/>
                <a:gd name="connsiteY22" fmla="*/ 76849 h 138580"/>
                <a:gd name="connsiteX23" fmla="*/ 0 w 12598"/>
                <a:gd name="connsiteY23" fmla="*/ 65511 h 138580"/>
                <a:gd name="connsiteX24" fmla="*/ 1260 w 12598"/>
                <a:gd name="connsiteY24" fmla="*/ 46613 h 138580"/>
                <a:gd name="connsiteX25" fmla="*/ 3779 w 12598"/>
                <a:gd name="connsiteY25" fmla="*/ 5039 h 138580"/>
                <a:gd name="connsiteX26" fmla="*/ 12598 w 12598"/>
                <a:gd name="connsiteY26" fmla="*/ 0 h 138580"/>
                <a:gd name="connsiteX27" fmla="*/ 12598 w 12598"/>
                <a:gd name="connsiteY27" fmla="*/ 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598" h="138580">
                  <a:moveTo>
                    <a:pt x="12598" y="0"/>
                  </a:moveTo>
                  <a:cubicBezTo>
                    <a:pt x="15118" y="0"/>
                    <a:pt x="16378" y="1260"/>
                    <a:pt x="17637" y="2520"/>
                  </a:cubicBezTo>
                  <a:cubicBezTo>
                    <a:pt x="18897" y="3780"/>
                    <a:pt x="18897" y="6299"/>
                    <a:pt x="18897" y="7559"/>
                  </a:cubicBezTo>
                  <a:cubicBezTo>
                    <a:pt x="17637" y="15118"/>
                    <a:pt x="17637" y="23937"/>
                    <a:pt x="17637" y="32755"/>
                  </a:cubicBezTo>
                  <a:cubicBezTo>
                    <a:pt x="17637" y="40314"/>
                    <a:pt x="17637" y="46613"/>
                    <a:pt x="16378" y="54172"/>
                  </a:cubicBezTo>
                  <a:cubicBezTo>
                    <a:pt x="16378" y="61731"/>
                    <a:pt x="15118" y="68031"/>
                    <a:pt x="15118" y="75589"/>
                  </a:cubicBezTo>
                  <a:cubicBezTo>
                    <a:pt x="15118" y="79369"/>
                    <a:pt x="15118" y="81889"/>
                    <a:pt x="15118" y="85668"/>
                  </a:cubicBezTo>
                  <a:cubicBezTo>
                    <a:pt x="15118" y="89448"/>
                    <a:pt x="15118" y="91967"/>
                    <a:pt x="15118" y="95747"/>
                  </a:cubicBezTo>
                  <a:cubicBezTo>
                    <a:pt x="15118" y="95747"/>
                    <a:pt x="15118" y="95747"/>
                    <a:pt x="15118" y="95747"/>
                  </a:cubicBezTo>
                  <a:cubicBezTo>
                    <a:pt x="15118" y="98266"/>
                    <a:pt x="15118" y="102046"/>
                    <a:pt x="15118" y="104565"/>
                  </a:cubicBezTo>
                  <a:cubicBezTo>
                    <a:pt x="15118" y="107085"/>
                    <a:pt x="15118" y="108345"/>
                    <a:pt x="15118" y="110864"/>
                  </a:cubicBezTo>
                  <a:cubicBezTo>
                    <a:pt x="15118" y="113384"/>
                    <a:pt x="15118" y="114644"/>
                    <a:pt x="15118" y="117164"/>
                  </a:cubicBezTo>
                  <a:cubicBezTo>
                    <a:pt x="15118" y="119683"/>
                    <a:pt x="15118" y="122203"/>
                    <a:pt x="15118" y="124723"/>
                  </a:cubicBezTo>
                  <a:cubicBezTo>
                    <a:pt x="15118" y="128502"/>
                    <a:pt x="15118" y="131022"/>
                    <a:pt x="15118" y="134801"/>
                  </a:cubicBezTo>
                  <a:cubicBezTo>
                    <a:pt x="15118" y="137321"/>
                    <a:pt x="12598" y="139840"/>
                    <a:pt x="8819" y="139840"/>
                  </a:cubicBezTo>
                  <a:cubicBezTo>
                    <a:pt x="7559" y="139840"/>
                    <a:pt x="6299" y="139840"/>
                    <a:pt x="5039" y="139840"/>
                  </a:cubicBezTo>
                  <a:cubicBezTo>
                    <a:pt x="3779" y="139840"/>
                    <a:pt x="1260" y="137321"/>
                    <a:pt x="1260" y="136061"/>
                  </a:cubicBezTo>
                  <a:cubicBezTo>
                    <a:pt x="0" y="133541"/>
                    <a:pt x="0" y="131022"/>
                    <a:pt x="0" y="128502"/>
                  </a:cubicBezTo>
                  <a:cubicBezTo>
                    <a:pt x="0" y="125982"/>
                    <a:pt x="0" y="124723"/>
                    <a:pt x="0" y="122203"/>
                  </a:cubicBezTo>
                  <a:cubicBezTo>
                    <a:pt x="0" y="118424"/>
                    <a:pt x="0" y="113384"/>
                    <a:pt x="0" y="109605"/>
                  </a:cubicBezTo>
                  <a:cubicBezTo>
                    <a:pt x="0" y="105825"/>
                    <a:pt x="0" y="100786"/>
                    <a:pt x="0" y="97006"/>
                  </a:cubicBezTo>
                  <a:cubicBezTo>
                    <a:pt x="0" y="91967"/>
                    <a:pt x="0" y="86928"/>
                    <a:pt x="0" y="83148"/>
                  </a:cubicBezTo>
                  <a:cubicBezTo>
                    <a:pt x="0" y="80629"/>
                    <a:pt x="0" y="78109"/>
                    <a:pt x="0" y="76849"/>
                  </a:cubicBezTo>
                  <a:cubicBezTo>
                    <a:pt x="0" y="73070"/>
                    <a:pt x="0" y="69290"/>
                    <a:pt x="0" y="65511"/>
                  </a:cubicBezTo>
                  <a:cubicBezTo>
                    <a:pt x="0" y="59212"/>
                    <a:pt x="1260" y="52913"/>
                    <a:pt x="1260" y="46613"/>
                  </a:cubicBezTo>
                  <a:cubicBezTo>
                    <a:pt x="2519" y="32755"/>
                    <a:pt x="2519" y="18897"/>
                    <a:pt x="3779" y="5039"/>
                  </a:cubicBezTo>
                  <a:cubicBezTo>
                    <a:pt x="3779" y="2520"/>
                    <a:pt x="7559" y="0"/>
                    <a:pt x="12598" y="0"/>
                  </a:cubicBezTo>
                  <a:cubicBezTo>
                    <a:pt x="11338" y="0"/>
                    <a:pt x="11338" y="0"/>
                    <a:pt x="12598" y="0"/>
                  </a:cubicBezTo>
                </a:path>
              </a:pathLst>
            </a:custGeom>
            <a:solidFill>
              <a:srgbClr val="FFD671"/>
            </a:solidFill>
            <a:ln w="12584" cap="flat">
              <a:noFill/>
              <a:prstDash val="solid"/>
              <a:miter/>
            </a:ln>
          </p:spPr>
          <p:txBody>
            <a:bodyPr rtlCol="0" anchor="ctr"/>
            <a:lstStyle/>
            <a:p>
              <a:endParaRPr lang="zh-CN" altLang="en-US"/>
            </a:p>
          </p:txBody>
        </p:sp>
        <p:sp>
          <p:nvSpPr>
            <p:cNvPr id="10255" name="任意多边形: 形状 10254"/>
            <p:cNvSpPr/>
            <p:nvPr/>
          </p:nvSpPr>
          <p:spPr>
            <a:xfrm>
              <a:off x="4692297" y="2987018"/>
              <a:ext cx="163777" cy="37795"/>
            </a:xfrm>
            <a:custGeom>
              <a:avLst/>
              <a:gdLst>
                <a:gd name="connsiteX0" fmla="*/ 163777 w 163777"/>
                <a:gd name="connsiteY0" fmla="*/ 3563 h 37794"/>
                <a:gd name="connsiteX1" fmla="*/ 163777 w 163777"/>
                <a:gd name="connsiteY1" fmla="*/ 7343 h 37794"/>
                <a:gd name="connsiteX2" fmla="*/ 159998 w 163777"/>
                <a:gd name="connsiteY2" fmla="*/ 9862 h 37794"/>
                <a:gd name="connsiteX3" fmla="*/ 149919 w 163777"/>
                <a:gd name="connsiteY3" fmla="*/ 13642 h 37794"/>
                <a:gd name="connsiteX4" fmla="*/ 139840 w 163777"/>
                <a:gd name="connsiteY4" fmla="*/ 16161 h 37794"/>
                <a:gd name="connsiteX5" fmla="*/ 129762 w 163777"/>
                <a:gd name="connsiteY5" fmla="*/ 18681 h 37794"/>
                <a:gd name="connsiteX6" fmla="*/ 119683 w 163777"/>
                <a:gd name="connsiteY6" fmla="*/ 21201 h 37794"/>
                <a:gd name="connsiteX7" fmla="*/ 109605 w 163777"/>
                <a:gd name="connsiteY7" fmla="*/ 23721 h 37794"/>
                <a:gd name="connsiteX8" fmla="*/ 99526 w 163777"/>
                <a:gd name="connsiteY8" fmla="*/ 26240 h 37794"/>
                <a:gd name="connsiteX9" fmla="*/ 89448 w 163777"/>
                <a:gd name="connsiteY9" fmla="*/ 28760 h 37794"/>
                <a:gd name="connsiteX10" fmla="*/ 79369 w 163777"/>
                <a:gd name="connsiteY10" fmla="*/ 31279 h 37794"/>
                <a:gd name="connsiteX11" fmla="*/ 68031 w 163777"/>
                <a:gd name="connsiteY11" fmla="*/ 33799 h 37794"/>
                <a:gd name="connsiteX12" fmla="*/ 57952 w 163777"/>
                <a:gd name="connsiteY12" fmla="*/ 35059 h 37794"/>
                <a:gd name="connsiteX13" fmla="*/ 41574 w 163777"/>
                <a:gd name="connsiteY13" fmla="*/ 37578 h 37794"/>
                <a:gd name="connsiteX14" fmla="*/ 35275 w 163777"/>
                <a:gd name="connsiteY14" fmla="*/ 38838 h 37794"/>
                <a:gd name="connsiteX15" fmla="*/ 31496 w 163777"/>
                <a:gd name="connsiteY15" fmla="*/ 40098 h 37794"/>
                <a:gd name="connsiteX16" fmla="*/ 25196 w 163777"/>
                <a:gd name="connsiteY16" fmla="*/ 36319 h 37794"/>
                <a:gd name="connsiteX17" fmla="*/ 16378 w 163777"/>
                <a:gd name="connsiteY17" fmla="*/ 31279 h 37794"/>
                <a:gd name="connsiteX18" fmla="*/ 7559 w 163777"/>
                <a:gd name="connsiteY18" fmla="*/ 27500 h 37794"/>
                <a:gd name="connsiteX19" fmla="*/ 1260 w 163777"/>
                <a:gd name="connsiteY19" fmla="*/ 24980 h 37794"/>
                <a:gd name="connsiteX20" fmla="*/ 0 w 163777"/>
                <a:gd name="connsiteY20" fmla="*/ 23721 h 37794"/>
                <a:gd name="connsiteX21" fmla="*/ 1260 w 163777"/>
                <a:gd name="connsiteY21" fmla="*/ 23721 h 37794"/>
                <a:gd name="connsiteX22" fmla="*/ 6299 w 163777"/>
                <a:gd name="connsiteY22" fmla="*/ 23721 h 37794"/>
                <a:gd name="connsiteX23" fmla="*/ 26456 w 163777"/>
                <a:gd name="connsiteY23" fmla="*/ 22461 h 37794"/>
                <a:gd name="connsiteX24" fmla="*/ 30236 w 163777"/>
                <a:gd name="connsiteY24" fmla="*/ 22461 h 37794"/>
                <a:gd name="connsiteX25" fmla="*/ 39055 w 163777"/>
                <a:gd name="connsiteY25" fmla="*/ 21201 h 37794"/>
                <a:gd name="connsiteX26" fmla="*/ 51653 w 163777"/>
                <a:gd name="connsiteY26" fmla="*/ 19941 h 37794"/>
                <a:gd name="connsiteX27" fmla="*/ 64251 w 163777"/>
                <a:gd name="connsiteY27" fmla="*/ 18681 h 37794"/>
                <a:gd name="connsiteX28" fmla="*/ 75589 w 163777"/>
                <a:gd name="connsiteY28" fmla="*/ 17421 h 37794"/>
                <a:gd name="connsiteX29" fmla="*/ 89448 w 163777"/>
                <a:gd name="connsiteY29" fmla="*/ 14902 h 37794"/>
                <a:gd name="connsiteX30" fmla="*/ 102046 w 163777"/>
                <a:gd name="connsiteY30" fmla="*/ 13642 h 37794"/>
                <a:gd name="connsiteX31" fmla="*/ 115904 w 163777"/>
                <a:gd name="connsiteY31" fmla="*/ 11122 h 37794"/>
                <a:gd name="connsiteX32" fmla="*/ 129762 w 163777"/>
                <a:gd name="connsiteY32" fmla="*/ 8603 h 37794"/>
                <a:gd name="connsiteX33" fmla="*/ 143620 w 163777"/>
                <a:gd name="connsiteY33" fmla="*/ 4823 h 37794"/>
                <a:gd name="connsiteX34" fmla="*/ 151179 w 163777"/>
                <a:gd name="connsiteY34" fmla="*/ 3563 h 37794"/>
                <a:gd name="connsiteX35" fmla="*/ 154958 w 163777"/>
                <a:gd name="connsiteY35" fmla="*/ 2304 h 37794"/>
                <a:gd name="connsiteX36" fmla="*/ 158738 w 163777"/>
                <a:gd name="connsiteY36" fmla="*/ 1044 h 37794"/>
                <a:gd name="connsiteX37" fmla="*/ 161258 w 163777"/>
                <a:gd name="connsiteY37" fmla="*/ 1044 h 37794"/>
                <a:gd name="connsiteX38" fmla="*/ 163777 w 163777"/>
                <a:gd name="connsiteY38" fmla="*/ 3563 h 3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3777" h="37794">
                  <a:moveTo>
                    <a:pt x="163777" y="3563"/>
                  </a:moveTo>
                  <a:cubicBezTo>
                    <a:pt x="163777" y="4823"/>
                    <a:pt x="163777" y="6083"/>
                    <a:pt x="163777" y="7343"/>
                  </a:cubicBezTo>
                  <a:cubicBezTo>
                    <a:pt x="162518" y="8603"/>
                    <a:pt x="161258" y="9862"/>
                    <a:pt x="159998" y="9862"/>
                  </a:cubicBezTo>
                  <a:cubicBezTo>
                    <a:pt x="156218" y="11122"/>
                    <a:pt x="153699" y="12382"/>
                    <a:pt x="149919" y="13642"/>
                  </a:cubicBezTo>
                  <a:cubicBezTo>
                    <a:pt x="146140" y="14902"/>
                    <a:pt x="143620" y="16161"/>
                    <a:pt x="139840" y="16161"/>
                  </a:cubicBezTo>
                  <a:cubicBezTo>
                    <a:pt x="136061" y="17421"/>
                    <a:pt x="133541" y="18681"/>
                    <a:pt x="129762" y="18681"/>
                  </a:cubicBezTo>
                  <a:cubicBezTo>
                    <a:pt x="125982" y="19941"/>
                    <a:pt x="122203" y="19941"/>
                    <a:pt x="119683" y="21201"/>
                  </a:cubicBezTo>
                  <a:cubicBezTo>
                    <a:pt x="115904" y="22461"/>
                    <a:pt x="113384" y="23721"/>
                    <a:pt x="109605" y="23721"/>
                  </a:cubicBezTo>
                  <a:cubicBezTo>
                    <a:pt x="105825" y="24980"/>
                    <a:pt x="103306" y="24980"/>
                    <a:pt x="99526" y="26240"/>
                  </a:cubicBezTo>
                  <a:cubicBezTo>
                    <a:pt x="95747" y="27500"/>
                    <a:pt x="93227" y="27500"/>
                    <a:pt x="89448" y="28760"/>
                  </a:cubicBezTo>
                  <a:cubicBezTo>
                    <a:pt x="85668" y="30020"/>
                    <a:pt x="83148" y="30020"/>
                    <a:pt x="79369" y="31279"/>
                  </a:cubicBezTo>
                  <a:cubicBezTo>
                    <a:pt x="75589" y="32539"/>
                    <a:pt x="71810" y="32539"/>
                    <a:pt x="68031" y="33799"/>
                  </a:cubicBezTo>
                  <a:cubicBezTo>
                    <a:pt x="64251" y="33799"/>
                    <a:pt x="61732" y="35059"/>
                    <a:pt x="57952" y="35059"/>
                  </a:cubicBezTo>
                  <a:cubicBezTo>
                    <a:pt x="52913" y="36319"/>
                    <a:pt x="46614" y="36319"/>
                    <a:pt x="41574" y="37578"/>
                  </a:cubicBezTo>
                  <a:cubicBezTo>
                    <a:pt x="39055" y="37578"/>
                    <a:pt x="37795" y="38838"/>
                    <a:pt x="35275" y="38838"/>
                  </a:cubicBezTo>
                  <a:cubicBezTo>
                    <a:pt x="34015" y="38838"/>
                    <a:pt x="32755" y="38838"/>
                    <a:pt x="31496" y="40098"/>
                  </a:cubicBezTo>
                  <a:cubicBezTo>
                    <a:pt x="28976" y="38838"/>
                    <a:pt x="26456" y="37578"/>
                    <a:pt x="25196" y="36319"/>
                  </a:cubicBezTo>
                  <a:cubicBezTo>
                    <a:pt x="22677" y="35059"/>
                    <a:pt x="18897" y="32539"/>
                    <a:pt x="16378" y="31279"/>
                  </a:cubicBezTo>
                  <a:cubicBezTo>
                    <a:pt x="13858" y="30020"/>
                    <a:pt x="10079" y="28760"/>
                    <a:pt x="7559" y="27500"/>
                  </a:cubicBezTo>
                  <a:cubicBezTo>
                    <a:pt x="5040" y="26240"/>
                    <a:pt x="3780" y="26240"/>
                    <a:pt x="1260" y="24980"/>
                  </a:cubicBezTo>
                  <a:cubicBezTo>
                    <a:pt x="1260" y="24980"/>
                    <a:pt x="0" y="24980"/>
                    <a:pt x="0" y="23721"/>
                  </a:cubicBezTo>
                  <a:cubicBezTo>
                    <a:pt x="0" y="23721"/>
                    <a:pt x="1260" y="23721"/>
                    <a:pt x="1260" y="23721"/>
                  </a:cubicBezTo>
                  <a:cubicBezTo>
                    <a:pt x="2520" y="23721"/>
                    <a:pt x="5040" y="23721"/>
                    <a:pt x="6299" y="23721"/>
                  </a:cubicBezTo>
                  <a:cubicBezTo>
                    <a:pt x="12598" y="23721"/>
                    <a:pt x="20157" y="23721"/>
                    <a:pt x="26456" y="22461"/>
                  </a:cubicBezTo>
                  <a:lnTo>
                    <a:pt x="30236" y="22461"/>
                  </a:lnTo>
                  <a:cubicBezTo>
                    <a:pt x="32755" y="22461"/>
                    <a:pt x="35275" y="21201"/>
                    <a:pt x="39055" y="21201"/>
                  </a:cubicBezTo>
                  <a:cubicBezTo>
                    <a:pt x="42834" y="21201"/>
                    <a:pt x="46614" y="21201"/>
                    <a:pt x="51653" y="19941"/>
                  </a:cubicBezTo>
                  <a:cubicBezTo>
                    <a:pt x="55433" y="19941"/>
                    <a:pt x="60472" y="19941"/>
                    <a:pt x="64251" y="18681"/>
                  </a:cubicBezTo>
                  <a:cubicBezTo>
                    <a:pt x="68031" y="18681"/>
                    <a:pt x="71810" y="17421"/>
                    <a:pt x="75589" y="17421"/>
                  </a:cubicBezTo>
                  <a:cubicBezTo>
                    <a:pt x="80629" y="16161"/>
                    <a:pt x="85668" y="16161"/>
                    <a:pt x="89448" y="14902"/>
                  </a:cubicBezTo>
                  <a:cubicBezTo>
                    <a:pt x="93227" y="14902"/>
                    <a:pt x="98266" y="13642"/>
                    <a:pt x="102046" y="13642"/>
                  </a:cubicBezTo>
                  <a:cubicBezTo>
                    <a:pt x="107085" y="12382"/>
                    <a:pt x="110865" y="12382"/>
                    <a:pt x="115904" y="11122"/>
                  </a:cubicBezTo>
                  <a:cubicBezTo>
                    <a:pt x="120943" y="9862"/>
                    <a:pt x="124723" y="9862"/>
                    <a:pt x="129762" y="8603"/>
                  </a:cubicBezTo>
                  <a:cubicBezTo>
                    <a:pt x="134801" y="7343"/>
                    <a:pt x="138581" y="6083"/>
                    <a:pt x="143620" y="4823"/>
                  </a:cubicBezTo>
                  <a:cubicBezTo>
                    <a:pt x="146140" y="4823"/>
                    <a:pt x="148659" y="3563"/>
                    <a:pt x="151179" y="3563"/>
                  </a:cubicBezTo>
                  <a:cubicBezTo>
                    <a:pt x="152439" y="3563"/>
                    <a:pt x="153699" y="3563"/>
                    <a:pt x="154958" y="2304"/>
                  </a:cubicBezTo>
                  <a:cubicBezTo>
                    <a:pt x="156218" y="2304"/>
                    <a:pt x="157478" y="1044"/>
                    <a:pt x="158738" y="1044"/>
                  </a:cubicBezTo>
                  <a:cubicBezTo>
                    <a:pt x="159998" y="1044"/>
                    <a:pt x="159998" y="1044"/>
                    <a:pt x="161258" y="1044"/>
                  </a:cubicBezTo>
                  <a:cubicBezTo>
                    <a:pt x="159998" y="-1476"/>
                    <a:pt x="162518" y="1044"/>
                    <a:pt x="163777" y="3563"/>
                  </a:cubicBezTo>
                </a:path>
              </a:pathLst>
            </a:custGeom>
            <a:solidFill>
              <a:srgbClr val="FFD671"/>
            </a:solidFill>
            <a:ln w="12584" cap="flat">
              <a:noFill/>
              <a:prstDash val="solid"/>
              <a:miter/>
            </a:ln>
          </p:spPr>
          <p:txBody>
            <a:bodyPr rtlCol="0" anchor="ctr"/>
            <a:lstStyle/>
            <a:p>
              <a:endParaRPr lang="zh-CN" altLang="en-US"/>
            </a:p>
          </p:txBody>
        </p:sp>
        <p:sp>
          <p:nvSpPr>
            <p:cNvPr id="10256" name="任意多边形: 形状 10255"/>
            <p:cNvSpPr/>
            <p:nvPr/>
          </p:nvSpPr>
          <p:spPr>
            <a:xfrm>
              <a:off x="4386160" y="2291379"/>
              <a:ext cx="264563" cy="592117"/>
            </a:xfrm>
            <a:custGeom>
              <a:avLst/>
              <a:gdLst>
                <a:gd name="connsiteX0" fmla="*/ 80629 w 264562"/>
                <a:gd name="connsiteY0" fmla="*/ 0 h 592116"/>
                <a:gd name="connsiteX1" fmla="*/ 80629 w 264562"/>
                <a:gd name="connsiteY1" fmla="*/ 0 h 592116"/>
                <a:gd name="connsiteX2" fmla="*/ 85668 w 264562"/>
                <a:gd name="connsiteY2" fmla="*/ 1260 h 592116"/>
                <a:gd name="connsiteX3" fmla="*/ 90707 w 264562"/>
                <a:gd name="connsiteY3" fmla="*/ 2520 h 592116"/>
                <a:gd name="connsiteX4" fmla="*/ 93227 w 264562"/>
                <a:gd name="connsiteY4" fmla="*/ 5039 h 592116"/>
                <a:gd name="connsiteX5" fmla="*/ 94487 w 264562"/>
                <a:gd name="connsiteY5" fmla="*/ 7559 h 592116"/>
                <a:gd name="connsiteX6" fmla="*/ 94487 w 264562"/>
                <a:gd name="connsiteY6" fmla="*/ 7559 h 592116"/>
                <a:gd name="connsiteX7" fmla="*/ 95747 w 264562"/>
                <a:gd name="connsiteY7" fmla="*/ 10079 h 592116"/>
                <a:gd name="connsiteX8" fmla="*/ 98266 w 264562"/>
                <a:gd name="connsiteY8" fmla="*/ 16378 h 592116"/>
                <a:gd name="connsiteX9" fmla="*/ 100786 w 264562"/>
                <a:gd name="connsiteY9" fmla="*/ 25196 h 592116"/>
                <a:gd name="connsiteX10" fmla="*/ 104565 w 264562"/>
                <a:gd name="connsiteY10" fmla="*/ 40314 h 592116"/>
                <a:gd name="connsiteX11" fmla="*/ 105825 w 264562"/>
                <a:gd name="connsiteY11" fmla="*/ 42834 h 592116"/>
                <a:gd name="connsiteX12" fmla="*/ 108345 w 264562"/>
                <a:gd name="connsiteY12" fmla="*/ 51653 h 592116"/>
                <a:gd name="connsiteX13" fmla="*/ 108345 w 264562"/>
                <a:gd name="connsiteY13" fmla="*/ 52913 h 592116"/>
                <a:gd name="connsiteX14" fmla="*/ 109605 w 264562"/>
                <a:gd name="connsiteY14" fmla="*/ 60472 h 592116"/>
                <a:gd name="connsiteX15" fmla="*/ 110864 w 264562"/>
                <a:gd name="connsiteY15" fmla="*/ 68030 h 592116"/>
                <a:gd name="connsiteX16" fmla="*/ 110864 w 264562"/>
                <a:gd name="connsiteY16" fmla="*/ 69290 h 592116"/>
                <a:gd name="connsiteX17" fmla="*/ 113384 w 264562"/>
                <a:gd name="connsiteY17" fmla="*/ 78109 h 592116"/>
                <a:gd name="connsiteX18" fmla="*/ 115904 w 264562"/>
                <a:gd name="connsiteY18" fmla="*/ 88188 h 592116"/>
                <a:gd name="connsiteX19" fmla="*/ 118423 w 264562"/>
                <a:gd name="connsiteY19" fmla="*/ 97006 h 592116"/>
                <a:gd name="connsiteX20" fmla="*/ 119683 w 264562"/>
                <a:gd name="connsiteY20" fmla="*/ 102046 h 592116"/>
                <a:gd name="connsiteX21" fmla="*/ 120943 w 264562"/>
                <a:gd name="connsiteY21" fmla="*/ 105825 h 592116"/>
                <a:gd name="connsiteX22" fmla="*/ 123463 w 264562"/>
                <a:gd name="connsiteY22" fmla="*/ 115904 h 592116"/>
                <a:gd name="connsiteX23" fmla="*/ 124722 w 264562"/>
                <a:gd name="connsiteY23" fmla="*/ 122203 h 592116"/>
                <a:gd name="connsiteX24" fmla="*/ 124722 w 264562"/>
                <a:gd name="connsiteY24" fmla="*/ 122203 h 592116"/>
                <a:gd name="connsiteX25" fmla="*/ 124722 w 264562"/>
                <a:gd name="connsiteY25" fmla="*/ 122203 h 592116"/>
                <a:gd name="connsiteX26" fmla="*/ 127242 w 264562"/>
                <a:gd name="connsiteY26" fmla="*/ 127242 h 592116"/>
                <a:gd name="connsiteX27" fmla="*/ 139840 w 264562"/>
                <a:gd name="connsiteY27" fmla="*/ 159998 h 592116"/>
                <a:gd name="connsiteX28" fmla="*/ 142360 w 264562"/>
                <a:gd name="connsiteY28" fmla="*/ 166297 h 592116"/>
                <a:gd name="connsiteX29" fmla="*/ 146140 w 264562"/>
                <a:gd name="connsiteY29" fmla="*/ 176375 h 592116"/>
                <a:gd name="connsiteX30" fmla="*/ 146140 w 264562"/>
                <a:gd name="connsiteY30" fmla="*/ 176375 h 592116"/>
                <a:gd name="connsiteX31" fmla="*/ 148659 w 264562"/>
                <a:gd name="connsiteY31" fmla="*/ 185194 h 592116"/>
                <a:gd name="connsiteX32" fmla="*/ 154958 w 264562"/>
                <a:gd name="connsiteY32" fmla="*/ 202832 h 592116"/>
                <a:gd name="connsiteX33" fmla="*/ 154958 w 264562"/>
                <a:gd name="connsiteY33" fmla="*/ 202832 h 592116"/>
                <a:gd name="connsiteX34" fmla="*/ 154958 w 264562"/>
                <a:gd name="connsiteY34" fmla="*/ 204091 h 592116"/>
                <a:gd name="connsiteX35" fmla="*/ 154958 w 264562"/>
                <a:gd name="connsiteY35" fmla="*/ 204091 h 592116"/>
                <a:gd name="connsiteX36" fmla="*/ 154958 w 264562"/>
                <a:gd name="connsiteY36" fmla="*/ 204091 h 592116"/>
                <a:gd name="connsiteX37" fmla="*/ 154958 w 264562"/>
                <a:gd name="connsiteY37" fmla="*/ 204091 h 592116"/>
                <a:gd name="connsiteX38" fmla="*/ 154958 w 264562"/>
                <a:gd name="connsiteY38" fmla="*/ 204091 h 592116"/>
                <a:gd name="connsiteX39" fmla="*/ 154958 w 264562"/>
                <a:gd name="connsiteY39" fmla="*/ 204091 h 592116"/>
                <a:gd name="connsiteX40" fmla="*/ 154958 w 264562"/>
                <a:gd name="connsiteY40" fmla="*/ 204091 h 592116"/>
                <a:gd name="connsiteX41" fmla="*/ 154958 w 264562"/>
                <a:gd name="connsiteY41" fmla="*/ 204091 h 592116"/>
                <a:gd name="connsiteX42" fmla="*/ 154958 w 264562"/>
                <a:gd name="connsiteY42" fmla="*/ 204091 h 592116"/>
                <a:gd name="connsiteX43" fmla="*/ 154958 w 264562"/>
                <a:gd name="connsiteY43" fmla="*/ 204091 h 592116"/>
                <a:gd name="connsiteX44" fmla="*/ 154958 w 264562"/>
                <a:gd name="connsiteY44" fmla="*/ 205351 h 592116"/>
                <a:gd name="connsiteX45" fmla="*/ 154958 w 264562"/>
                <a:gd name="connsiteY45" fmla="*/ 205351 h 592116"/>
                <a:gd name="connsiteX46" fmla="*/ 161257 w 264562"/>
                <a:gd name="connsiteY46" fmla="*/ 222989 h 592116"/>
                <a:gd name="connsiteX47" fmla="*/ 163777 w 264562"/>
                <a:gd name="connsiteY47" fmla="*/ 230548 h 592116"/>
                <a:gd name="connsiteX48" fmla="*/ 163777 w 264562"/>
                <a:gd name="connsiteY48" fmla="*/ 231808 h 592116"/>
                <a:gd name="connsiteX49" fmla="*/ 163777 w 264562"/>
                <a:gd name="connsiteY49" fmla="*/ 231808 h 592116"/>
                <a:gd name="connsiteX50" fmla="*/ 167556 w 264562"/>
                <a:gd name="connsiteY50" fmla="*/ 243146 h 592116"/>
                <a:gd name="connsiteX51" fmla="*/ 171336 w 264562"/>
                <a:gd name="connsiteY51" fmla="*/ 253225 h 592116"/>
                <a:gd name="connsiteX52" fmla="*/ 171336 w 264562"/>
                <a:gd name="connsiteY52" fmla="*/ 254484 h 592116"/>
                <a:gd name="connsiteX53" fmla="*/ 171336 w 264562"/>
                <a:gd name="connsiteY53" fmla="*/ 255744 h 592116"/>
                <a:gd name="connsiteX54" fmla="*/ 173855 w 264562"/>
                <a:gd name="connsiteY54" fmla="*/ 263303 h 592116"/>
                <a:gd name="connsiteX55" fmla="*/ 177635 w 264562"/>
                <a:gd name="connsiteY55" fmla="*/ 273382 h 592116"/>
                <a:gd name="connsiteX56" fmla="*/ 181414 w 264562"/>
                <a:gd name="connsiteY56" fmla="*/ 284720 h 592116"/>
                <a:gd name="connsiteX57" fmla="*/ 185194 w 264562"/>
                <a:gd name="connsiteY57" fmla="*/ 296058 h 592116"/>
                <a:gd name="connsiteX58" fmla="*/ 187714 w 264562"/>
                <a:gd name="connsiteY58" fmla="*/ 303618 h 592116"/>
                <a:gd name="connsiteX59" fmla="*/ 192753 w 264562"/>
                <a:gd name="connsiteY59" fmla="*/ 317475 h 592116"/>
                <a:gd name="connsiteX60" fmla="*/ 192753 w 264562"/>
                <a:gd name="connsiteY60" fmla="*/ 318735 h 592116"/>
                <a:gd name="connsiteX61" fmla="*/ 194013 w 264562"/>
                <a:gd name="connsiteY61" fmla="*/ 323775 h 592116"/>
                <a:gd name="connsiteX62" fmla="*/ 194013 w 264562"/>
                <a:gd name="connsiteY62" fmla="*/ 323775 h 592116"/>
                <a:gd name="connsiteX63" fmla="*/ 195273 w 264562"/>
                <a:gd name="connsiteY63" fmla="*/ 327554 h 592116"/>
                <a:gd name="connsiteX64" fmla="*/ 201572 w 264562"/>
                <a:gd name="connsiteY64" fmla="*/ 343932 h 592116"/>
                <a:gd name="connsiteX65" fmla="*/ 205351 w 264562"/>
                <a:gd name="connsiteY65" fmla="*/ 351491 h 592116"/>
                <a:gd name="connsiteX66" fmla="*/ 205351 w 264562"/>
                <a:gd name="connsiteY66" fmla="*/ 351491 h 592116"/>
                <a:gd name="connsiteX67" fmla="*/ 209131 w 264562"/>
                <a:gd name="connsiteY67" fmla="*/ 361569 h 592116"/>
                <a:gd name="connsiteX68" fmla="*/ 217949 w 264562"/>
                <a:gd name="connsiteY68" fmla="*/ 381727 h 592116"/>
                <a:gd name="connsiteX69" fmla="*/ 226768 w 264562"/>
                <a:gd name="connsiteY69" fmla="*/ 400624 h 592116"/>
                <a:gd name="connsiteX70" fmla="*/ 234327 w 264562"/>
                <a:gd name="connsiteY70" fmla="*/ 419521 h 592116"/>
                <a:gd name="connsiteX71" fmla="*/ 239366 w 264562"/>
                <a:gd name="connsiteY71" fmla="*/ 430860 h 592116"/>
                <a:gd name="connsiteX72" fmla="*/ 239366 w 264562"/>
                <a:gd name="connsiteY72" fmla="*/ 430860 h 592116"/>
                <a:gd name="connsiteX73" fmla="*/ 239366 w 264562"/>
                <a:gd name="connsiteY73" fmla="*/ 430860 h 592116"/>
                <a:gd name="connsiteX74" fmla="*/ 241886 w 264562"/>
                <a:gd name="connsiteY74" fmla="*/ 437159 h 592116"/>
                <a:gd name="connsiteX75" fmla="*/ 246925 w 264562"/>
                <a:gd name="connsiteY75" fmla="*/ 449757 h 592116"/>
                <a:gd name="connsiteX76" fmla="*/ 249445 w 264562"/>
                <a:gd name="connsiteY76" fmla="*/ 456056 h 592116"/>
                <a:gd name="connsiteX77" fmla="*/ 250705 w 264562"/>
                <a:gd name="connsiteY77" fmla="*/ 458576 h 592116"/>
                <a:gd name="connsiteX78" fmla="*/ 250705 w 264562"/>
                <a:gd name="connsiteY78" fmla="*/ 459836 h 592116"/>
                <a:gd name="connsiteX79" fmla="*/ 250705 w 264562"/>
                <a:gd name="connsiteY79" fmla="*/ 458576 h 592116"/>
                <a:gd name="connsiteX80" fmla="*/ 248185 w 264562"/>
                <a:gd name="connsiteY80" fmla="*/ 452277 h 592116"/>
                <a:gd name="connsiteX81" fmla="*/ 248185 w 264562"/>
                <a:gd name="connsiteY81" fmla="*/ 452277 h 592116"/>
                <a:gd name="connsiteX82" fmla="*/ 248185 w 264562"/>
                <a:gd name="connsiteY82" fmla="*/ 452277 h 592116"/>
                <a:gd name="connsiteX83" fmla="*/ 248185 w 264562"/>
                <a:gd name="connsiteY83" fmla="*/ 452277 h 592116"/>
                <a:gd name="connsiteX84" fmla="*/ 254484 w 264562"/>
                <a:gd name="connsiteY84" fmla="*/ 466135 h 592116"/>
                <a:gd name="connsiteX85" fmla="*/ 259524 w 264562"/>
                <a:gd name="connsiteY85" fmla="*/ 478733 h 592116"/>
                <a:gd name="connsiteX86" fmla="*/ 260784 w 264562"/>
                <a:gd name="connsiteY86" fmla="*/ 482512 h 592116"/>
                <a:gd name="connsiteX87" fmla="*/ 263303 w 264562"/>
                <a:gd name="connsiteY87" fmla="*/ 487552 h 592116"/>
                <a:gd name="connsiteX88" fmla="*/ 268342 w 264562"/>
                <a:gd name="connsiteY88" fmla="*/ 497630 h 592116"/>
                <a:gd name="connsiteX89" fmla="*/ 268342 w 264562"/>
                <a:gd name="connsiteY89" fmla="*/ 498890 h 592116"/>
                <a:gd name="connsiteX90" fmla="*/ 273382 w 264562"/>
                <a:gd name="connsiteY90" fmla="*/ 506449 h 592116"/>
                <a:gd name="connsiteX91" fmla="*/ 274641 w 264562"/>
                <a:gd name="connsiteY91" fmla="*/ 512748 h 592116"/>
                <a:gd name="connsiteX92" fmla="*/ 275901 w 264562"/>
                <a:gd name="connsiteY92" fmla="*/ 520307 h 592116"/>
                <a:gd name="connsiteX93" fmla="*/ 275901 w 264562"/>
                <a:gd name="connsiteY93" fmla="*/ 522827 h 592116"/>
                <a:gd name="connsiteX94" fmla="*/ 275901 w 264562"/>
                <a:gd name="connsiteY94" fmla="*/ 522827 h 592116"/>
                <a:gd name="connsiteX95" fmla="*/ 275901 w 264562"/>
                <a:gd name="connsiteY95" fmla="*/ 522827 h 592116"/>
                <a:gd name="connsiteX96" fmla="*/ 275901 w 264562"/>
                <a:gd name="connsiteY96" fmla="*/ 524087 h 592116"/>
                <a:gd name="connsiteX97" fmla="*/ 275901 w 264562"/>
                <a:gd name="connsiteY97" fmla="*/ 530386 h 592116"/>
                <a:gd name="connsiteX98" fmla="*/ 274641 w 264562"/>
                <a:gd name="connsiteY98" fmla="*/ 536685 h 592116"/>
                <a:gd name="connsiteX99" fmla="*/ 273382 w 264562"/>
                <a:gd name="connsiteY99" fmla="*/ 541724 h 592116"/>
                <a:gd name="connsiteX100" fmla="*/ 273382 w 264562"/>
                <a:gd name="connsiteY100" fmla="*/ 542984 h 592116"/>
                <a:gd name="connsiteX101" fmla="*/ 268342 w 264562"/>
                <a:gd name="connsiteY101" fmla="*/ 556842 h 592116"/>
                <a:gd name="connsiteX102" fmla="*/ 268342 w 264562"/>
                <a:gd name="connsiteY102" fmla="*/ 556842 h 592116"/>
                <a:gd name="connsiteX103" fmla="*/ 268342 w 264562"/>
                <a:gd name="connsiteY103" fmla="*/ 556842 h 592116"/>
                <a:gd name="connsiteX104" fmla="*/ 268342 w 264562"/>
                <a:gd name="connsiteY104" fmla="*/ 556842 h 592116"/>
                <a:gd name="connsiteX105" fmla="*/ 263303 w 264562"/>
                <a:gd name="connsiteY105" fmla="*/ 569440 h 592116"/>
                <a:gd name="connsiteX106" fmla="*/ 262043 w 264562"/>
                <a:gd name="connsiteY106" fmla="*/ 571960 h 592116"/>
                <a:gd name="connsiteX107" fmla="*/ 262043 w 264562"/>
                <a:gd name="connsiteY107" fmla="*/ 571960 h 592116"/>
                <a:gd name="connsiteX108" fmla="*/ 259524 w 264562"/>
                <a:gd name="connsiteY108" fmla="*/ 575739 h 592116"/>
                <a:gd name="connsiteX109" fmla="*/ 253225 w 264562"/>
                <a:gd name="connsiteY109" fmla="*/ 582038 h 592116"/>
                <a:gd name="connsiteX110" fmla="*/ 246925 w 264562"/>
                <a:gd name="connsiteY110" fmla="*/ 585818 h 592116"/>
                <a:gd name="connsiteX111" fmla="*/ 240626 w 264562"/>
                <a:gd name="connsiteY111" fmla="*/ 589597 h 592116"/>
                <a:gd name="connsiteX112" fmla="*/ 239366 w 264562"/>
                <a:gd name="connsiteY112" fmla="*/ 589597 h 592116"/>
                <a:gd name="connsiteX113" fmla="*/ 234327 w 264562"/>
                <a:gd name="connsiteY113" fmla="*/ 592117 h 592116"/>
                <a:gd name="connsiteX114" fmla="*/ 234327 w 264562"/>
                <a:gd name="connsiteY114" fmla="*/ 592117 h 592116"/>
                <a:gd name="connsiteX115" fmla="*/ 233067 w 264562"/>
                <a:gd name="connsiteY115" fmla="*/ 593377 h 592116"/>
                <a:gd name="connsiteX116" fmla="*/ 231807 w 264562"/>
                <a:gd name="connsiteY116" fmla="*/ 594637 h 592116"/>
                <a:gd name="connsiteX117" fmla="*/ 231807 w 264562"/>
                <a:gd name="connsiteY117" fmla="*/ 594637 h 592116"/>
                <a:gd name="connsiteX118" fmla="*/ 228028 w 264562"/>
                <a:gd name="connsiteY118" fmla="*/ 595896 h 592116"/>
                <a:gd name="connsiteX119" fmla="*/ 221729 w 264562"/>
                <a:gd name="connsiteY119" fmla="*/ 598416 h 592116"/>
                <a:gd name="connsiteX120" fmla="*/ 214170 w 264562"/>
                <a:gd name="connsiteY120" fmla="*/ 599676 h 592116"/>
                <a:gd name="connsiteX121" fmla="*/ 205351 w 264562"/>
                <a:gd name="connsiteY121" fmla="*/ 600936 h 592116"/>
                <a:gd name="connsiteX122" fmla="*/ 201572 w 264562"/>
                <a:gd name="connsiteY122" fmla="*/ 600936 h 592116"/>
                <a:gd name="connsiteX123" fmla="*/ 201572 w 264562"/>
                <a:gd name="connsiteY123" fmla="*/ 600936 h 592116"/>
                <a:gd name="connsiteX124" fmla="*/ 197792 w 264562"/>
                <a:gd name="connsiteY124" fmla="*/ 600936 h 592116"/>
                <a:gd name="connsiteX125" fmla="*/ 191493 w 264562"/>
                <a:gd name="connsiteY125" fmla="*/ 600936 h 592116"/>
                <a:gd name="connsiteX126" fmla="*/ 187714 w 264562"/>
                <a:gd name="connsiteY126" fmla="*/ 600936 h 592116"/>
                <a:gd name="connsiteX127" fmla="*/ 182674 w 264562"/>
                <a:gd name="connsiteY127" fmla="*/ 599676 h 592116"/>
                <a:gd name="connsiteX128" fmla="*/ 178895 w 264562"/>
                <a:gd name="connsiteY128" fmla="*/ 598416 h 592116"/>
                <a:gd name="connsiteX129" fmla="*/ 176375 w 264562"/>
                <a:gd name="connsiteY129" fmla="*/ 598416 h 592116"/>
                <a:gd name="connsiteX130" fmla="*/ 170076 w 264562"/>
                <a:gd name="connsiteY130" fmla="*/ 597156 h 592116"/>
                <a:gd name="connsiteX131" fmla="*/ 156218 w 264562"/>
                <a:gd name="connsiteY131" fmla="*/ 590857 h 592116"/>
                <a:gd name="connsiteX132" fmla="*/ 151179 w 264562"/>
                <a:gd name="connsiteY132" fmla="*/ 588337 h 592116"/>
                <a:gd name="connsiteX133" fmla="*/ 149919 w 264562"/>
                <a:gd name="connsiteY133" fmla="*/ 587078 h 592116"/>
                <a:gd name="connsiteX134" fmla="*/ 142360 w 264562"/>
                <a:gd name="connsiteY134" fmla="*/ 582038 h 592116"/>
                <a:gd name="connsiteX135" fmla="*/ 131022 w 264562"/>
                <a:gd name="connsiteY135" fmla="*/ 573220 h 592116"/>
                <a:gd name="connsiteX136" fmla="*/ 131022 w 264562"/>
                <a:gd name="connsiteY136" fmla="*/ 573220 h 592116"/>
                <a:gd name="connsiteX137" fmla="*/ 131022 w 264562"/>
                <a:gd name="connsiteY137" fmla="*/ 573220 h 592116"/>
                <a:gd name="connsiteX138" fmla="*/ 129762 w 264562"/>
                <a:gd name="connsiteY138" fmla="*/ 571960 h 592116"/>
                <a:gd name="connsiteX139" fmla="*/ 129762 w 264562"/>
                <a:gd name="connsiteY139" fmla="*/ 570700 h 592116"/>
                <a:gd name="connsiteX140" fmla="*/ 123463 w 264562"/>
                <a:gd name="connsiteY140" fmla="*/ 558102 h 592116"/>
                <a:gd name="connsiteX141" fmla="*/ 118423 w 264562"/>
                <a:gd name="connsiteY141" fmla="*/ 549283 h 592116"/>
                <a:gd name="connsiteX142" fmla="*/ 115904 w 264562"/>
                <a:gd name="connsiteY142" fmla="*/ 544244 h 592116"/>
                <a:gd name="connsiteX143" fmla="*/ 110864 w 264562"/>
                <a:gd name="connsiteY143" fmla="*/ 534165 h 592116"/>
                <a:gd name="connsiteX144" fmla="*/ 110864 w 264562"/>
                <a:gd name="connsiteY144" fmla="*/ 534165 h 592116"/>
                <a:gd name="connsiteX145" fmla="*/ 108345 w 264562"/>
                <a:gd name="connsiteY145" fmla="*/ 530386 h 592116"/>
                <a:gd name="connsiteX146" fmla="*/ 103306 w 264562"/>
                <a:gd name="connsiteY146" fmla="*/ 521567 h 592116"/>
                <a:gd name="connsiteX147" fmla="*/ 91967 w 264562"/>
                <a:gd name="connsiteY147" fmla="*/ 498890 h 592116"/>
                <a:gd name="connsiteX148" fmla="*/ 89448 w 264562"/>
                <a:gd name="connsiteY148" fmla="*/ 495111 h 592116"/>
                <a:gd name="connsiteX149" fmla="*/ 85668 w 264562"/>
                <a:gd name="connsiteY149" fmla="*/ 487552 h 592116"/>
                <a:gd name="connsiteX150" fmla="*/ 83148 w 264562"/>
                <a:gd name="connsiteY150" fmla="*/ 481252 h 592116"/>
                <a:gd name="connsiteX151" fmla="*/ 83148 w 264562"/>
                <a:gd name="connsiteY151" fmla="*/ 479993 h 592116"/>
                <a:gd name="connsiteX152" fmla="*/ 76849 w 264562"/>
                <a:gd name="connsiteY152" fmla="*/ 464875 h 592116"/>
                <a:gd name="connsiteX153" fmla="*/ 70550 w 264562"/>
                <a:gd name="connsiteY153" fmla="*/ 448497 h 592116"/>
                <a:gd name="connsiteX154" fmla="*/ 70550 w 264562"/>
                <a:gd name="connsiteY154" fmla="*/ 448497 h 592116"/>
                <a:gd name="connsiteX155" fmla="*/ 70550 w 264562"/>
                <a:gd name="connsiteY155" fmla="*/ 448497 h 592116"/>
                <a:gd name="connsiteX156" fmla="*/ 70550 w 264562"/>
                <a:gd name="connsiteY156" fmla="*/ 448497 h 592116"/>
                <a:gd name="connsiteX157" fmla="*/ 69290 w 264562"/>
                <a:gd name="connsiteY157" fmla="*/ 443458 h 592116"/>
                <a:gd name="connsiteX158" fmla="*/ 60471 w 264562"/>
                <a:gd name="connsiteY158" fmla="*/ 420781 h 592116"/>
                <a:gd name="connsiteX159" fmla="*/ 59212 w 264562"/>
                <a:gd name="connsiteY159" fmla="*/ 418261 h 592116"/>
                <a:gd name="connsiteX160" fmla="*/ 59212 w 264562"/>
                <a:gd name="connsiteY160" fmla="*/ 418261 h 592116"/>
                <a:gd name="connsiteX161" fmla="*/ 51653 w 264562"/>
                <a:gd name="connsiteY161" fmla="*/ 398104 h 592116"/>
                <a:gd name="connsiteX162" fmla="*/ 44094 w 264562"/>
                <a:gd name="connsiteY162" fmla="*/ 375427 h 592116"/>
                <a:gd name="connsiteX163" fmla="*/ 36535 w 264562"/>
                <a:gd name="connsiteY163" fmla="*/ 352751 h 592116"/>
                <a:gd name="connsiteX164" fmla="*/ 31496 w 264562"/>
                <a:gd name="connsiteY164" fmla="*/ 337633 h 592116"/>
                <a:gd name="connsiteX165" fmla="*/ 31496 w 264562"/>
                <a:gd name="connsiteY165" fmla="*/ 337633 h 592116"/>
                <a:gd name="connsiteX166" fmla="*/ 31496 w 264562"/>
                <a:gd name="connsiteY166" fmla="*/ 337633 h 592116"/>
                <a:gd name="connsiteX167" fmla="*/ 31496 w 264562"/>
                <a:gd name="connsiteY167" fmla="*/ 335113 h 592116"/>
                <a:gd name="connsiteX168" fmla="*/ 30236 w 264562"/>
                <a:gd name="connsiteY168" fmla="*/ 331334 h 592116"/>
                <a:gd name="connsiteX169" fmla="*/ 20157 w 264562"/>
                <a:gd name="connsiteY169" fmla="*/ 291019 h 592116"/>
                <a:gd name="connsiteX170" fmla="*/ 18897 w 264562"/>
                <a:gd name="connsiteY170" fmla="*/ 285980 h 592116"/>
                <a:gd name="connsiteX171" fmla="*/ 12598 w 264562"/>
                <a:gd name="connsiteY171" fmla="*/ 260783 h 592116"/>
                <a:gd name="connsiteX172" fmla="*/ 10078 w 264562"/>
                <a:gd name="connsiteY172" fmla="*/ 246925 h 592116"/>
                <a:gd name="connsiteX173" fmla="*/ 10078 w 264562"/>
                <a:gd name="connsiteY173" fmla="*/ 245666 h 592116"/>
                <a:gd name="connsiteX174" fmla="*/ 5039 w 264562"/>
                <a:gd name="connsiteY174" fmla="*/ 229288 h 592116"/>
                <a:gd name="connsiteX175" fmla="*/ 5039 w 264562"/>
                <a:gd name="connsiteY175" fmla="*/ 229288 h 592116"/>
                <a:gd name="connsiteX176" fmla="*/ 2520 w 264562"/>
                <a:gd name="connsiteY176" fmla="*/ 221729 h 592116"/>
                <a:gd name="connsiteX177" fmla="*/ 1260 w 264562"/>
                <a:gd name="connsiteY177" fmla="*/ 211650 h 592116"/>
                <a:gd name="connsiteX178" fmla="*/ 0 w 264562"/>
                <a:gd name="connsiteY178" fmla="*/ 194013 h 592116"/>
                <a:gd name="connsiteX179" fmla="*/ 1260 w 264562"/>
                <a:gd name="connsiteY179" fmla="*/ 176375 h 592116"/>
                <a:gd name="connsiteX180" fmla="*/ 2520 w 264562"/>
                <a:gd name="connsiteY180" fmla="*/ 167557 h 592116"/>
                <a:gd name="connsiteX181" fmla="*/ 3779 w 264562"/>
                <a:gd name="connsiteY181" fmla="*/ 161257 h 592116"/>
                <a:gd name="connsiteX182" fmla="*/ 5039 w 264562"/>
                <a:gd name="connsiteY182" fmla="*/ 158738 h 592116"/>
                <a:gd name="connsiteX183" fmla="*/ 7559 w 264562"/>
                <a:gd name="connsiteY183" fmla="*/ 151179 h 592116"/>
                <a:gd name="connsiteX184" fmla="*/ 10078 w 264562"/>
                <a:gd name="connsiteY184" fmla="*/ 146140 h 592116"/>
                <a:gd name="connsiteX185" fmla="*/ 12598 w 264562"/>
                <a:gd name="connsiteY185" fmla="*/ 142360 h 592116"/>
                <a:gd name="connsiteX186" fmla="*/ 16378 w 264562"/>
                <a:gd name="connsiteY186" fmla="*/ 134801 h 592116"/>
                <a:gd name="connsiteX187" fmla="*/ 16378 w 264562"/>
                <a:gd name="connsiteY187" fmla="*/ 134801 h 592116"/>
                <a:gd name="connsiteX188" fmla="*/ 21417 w 264562"/>
                <a:gd name="connsiteY188" fmla="*/ 127242 h 592116"/>
                <a:gd name="connsiteX189" fmla="*/ 21417 w 264562"/>
                <a:gd name="connsiteY189" fmla="*/ 125982 h 592116"/>
                <a:gd name="connsiteX190" fmla="*/ 23937 w 264562"/>
                <a:gd name="connsiteY190" fmla="*/ 123463 h 592116"/>
                <a:gd name="connsiteX191" fmla="*/ 26456 w 264562"/>
                <a:gd name="connsiteY191" fmla="*/ 119683 h 592116"/>
                <a:gd name="connsiteX192" fmla="*/ 27716 w 264562"/>
                <a:gd name="connsiteY192" fmla="*/ 118424 h 592116"/>
                <a:gd name="connsiteX193" fmla="*/ 28976 w 264562"/>
                <a:gd name="connsiteY193" fmla="*/ 115904 h 592116"/>
                <a:gd name="connsiteX194" fmla="*/ 32755 w 264562"/>
                <a:gd name="connsiteY194" fmla="*/ 113384 h 592116"/>
                <a:gd name="connsiteX195" fmla="*/ 35275 w 264562"/>
                <a:gd name="connsiteY195" fmla="*/ 110864 h 592116"/>
                <a:gd name="connsiteX196" fmla="*/ 37795 w 264562"/>
                <a:gd name="connsiteY196" fmla="*/ 108345 h 592116"/>
                <a:gd name="connsiteX197" fmla="*/ 40314 w 264562"/>
                <a:gd name="connsiteY197" fmla="*/ 105825 h 592116"/>
                <a:gd name="connsiteX198" fmla="*/ 44094 w 264562"/>
                <a:gd name="connsiteY198" fmla="*/ 103305 h 592116"/>
                <a:gd name="connsiteX199" fmla="*/ 47873 w 264562"/>
                <a:gd name="connsiteY199" fmla="*/ 100786 h 592116"/>
                <a:gd name="connsiteX200" fmla="*/ 50393 w 264562"/>
                <a:gd name="connsiteY200" fmla="*/ 99526 h 592116"/>
                <a:gd name="connsiteX201" fmla="*/ 55432 w 264562"/>
                <a:gd name="connsiteY201" fmla="*/ 95747 h 592116"/>
                <a:gd name="connsiteX202" fmla="*/ 57952 w 264562"/>
                <a:gd name="connsiteY202" fmla="*/ 94487 h 592116"/>
                <a:gd name="connsiteX203" fmla="*/ 57952 w 264562"/>
                <a:gd name="connsiteY203" fmla="*/ 93227 h 592116"/>
                <a:gd name="connsiteX204" fmla="*/ 59212 w 264562"/>
                <a:gd name="connsiteY204" fmla="*/ 90707 h 592116"/>
                <a:gd name="connsiteX205" fmla="*/ 59212 w 264562"/>
                <a:gd name="connsiteY205" fmla="*/ 86928 h 592116"/>
                <a:gd name="connsiteX206" fmla="*/ 59212 w 264562"/>
                <a:gd name="connsiteY206" fmla="*/ 83148 h 592116"/>
                <a:gd name="connsiteX207" fmla="*/ 59212 w 264562"/>
                <a:gd name="connsiteY207" fmla="*/ 75589 h 592116"/>
                <a:gd name="connsiteX208" fmla="*/ 59212 w 264562"/>
                <a:gd name="connsiteY208" fmla="*/ 74330 h 592116"/>
                <a:gd name="connsiteX209" fmla="*/ 59212 w 264562"/>
                <a:gd name="connsiteY209" fmla="*/ 66771 h 592116"/>
                <a:gd name="connsiteX210" fmla="*/ 59212 w 264562"/>
                <a:gd name="connsiteY210" fmla="*/ 56692 h 592116"/>
                <a:gd name="connsiteX211" fmla="*/ 59212 w 264562"/>
                <a:gd name="connsiteY211" fmla="*/ 55432 h 592116"/>
                <a:gd name="connsiteX212" fmla="*/ 59212 w 264562"/>
                <a:gd name="connsiteY212" fmla="*/ 46614 h 592116"/>
                <a:gd name="connsiteX213" fmla="*/ 59212 w 264562"/>
                <a:gd name="connsiteY213" fmla="*/ 36535 h 592116"/>
                <a:gd name="connsiteX214" fmla="*/ 60471 w 264562"/>
                <a:gd name="connsiteY214" fmla="*/ 27716 h 592116"/>
                <a:gd name="connsiteX215" fmla="*/ 61731 w 264562"/>
                <a:gd name="connsiteY215" fmla="*/ 18897 h 592116"/>
                <a:gd name="connsiteX216" fmla="*/ 61731 w 264562"/>
                <a:gd name="connsiteY216" fmla="*/ 18897 h 592116"/>
                <a:gd name="connsiteX217" fmla="*/ 62991 w 264562"/>
                <a:gd name="connsiteY217" fmla="*/ 15118 h 592116"/>
                <a:gd name="connsiteX218" fmla="*/ 64251 w 264562"/>
                <a:gd name="connsiteY218" fmla="*/ 11338 h 592116"/>
                <a:gd name="connsiteX219" fmla="*/ 69290 w 264562"/>
                <a:gd name="connsiteY219" fmla="*/ 5039 h 592116"/>
                <a:gd name="connsiteX220" fmla="*/ 74329 w 264562"/>
                <a:gd name="connsiteY220" fmla="*/ 2520 h 592116"/>
                <a:gd name="connsiteX221" fmla="*/ 76849 w 264562"/>
                <a:gd name="connsiteY221" fmla="*/ 2520 h 592116"/>
                <a:gd name="connsiteX222" fmla="*/ 76849 w 264562"/>
                <a:gd name="connsiteY222" fmla="*/ 2520 h 592116"/>
                <a:gd name="connsiteX223" fmla="*/ 78109 w 264562"/>
                <a:gd name="connsiteY223" fmla="*/ 2520 h 592116"/>
                <a:gd name="connsiteX224" fmla="*/ 78109 w 264562"/>
                <a:gd name="connsiteY224" fmla="*/ 2520 h 592116"/>
                <a:gd name="connsiteX225" fmla="*/ 80629 w 264562"/>
                <a:gd name="connsiteY225" fmla="*/ 0 h 59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264562" h="592116">
                  <a:moveTo>
                    <a:pt x="80629" y="0"/>
                  </a:moveTo>
                  <a:lnTo>
                    <a:pt x="80629" y="0"/>
                  </a:lnTo>
                  <a:cubicBezTo>
                    <a:pt x="81889" y="0"/>
                    <a:pt x="84408" y="0"/>
                    <a:pt x="85668" y="1260"/>
                  </a:cubicBezTo>
                  <a:cubicBezTo>
                    <a:pt x="86928" y="1260"/>
                    <a:pt x="88188" y="2520"/>
                    <a:pt x="90707" y="2520"/>
                  </a:cubicBezTo>
                  <a:cubicBezTo>
                    <a:pt x="91967" y="2520"/>
                    <a:pt x="91967" y="3780"/>
                    <a:pt x="93227" y="5039"/>
                  </a:cubicBezTo>
                  <a:cubicBezTo>
                    <a:pt x="93227" y="5039"/>
                    <a:pt x="94487" y="6299"/>
                    <a:pt x="94487" y="7559"/>
                  </a:cubicBezTo>
                  <a:lnTo>
                    <a:pt x="94487" y="7559"/>
                  </a:lnTo>
                  <a:cubicBezTo>
                    <a:pt x="95747" y="8819"/>
                    <a:pt x="95747" y="10079"/>
                    <a:pt x="95747" y="10079"/>
                  </a:cubicBezTo>
                  <a:cubicBezTo>
                    <a:pt x="97007" y="11338"/>
                    <a:pt x="97007" y="13858"/>
                    <a:pt x="98266" y="16378"/>
                  </a:cubicBezTo>
                  <a:cubicBezTo>
                    <a:pt x="99526" y="18897"/>
                    <a:pt x="99526" y="22677"/>
                    <a:pt x="100786" y="25196"/>
                  </a:cubicBezTo>
                  <a:cubicBezTo>
                    <a:pt x="102046" y="30236"/>
                    <a:pt x="103306" y="35275"/>
                    <a:pt x="104565" y="40314"/>
                  </a:cubicBezTo>
                  <a:lnTo>
                    <a:pt x="105825" y="42834"/>
                  </a:lnTo>
                  <a:cubicBezTo>
                    <a:pt x="107085" y="45354"/>
                    <a:pt x="107085" y="47873"/>
                    <a:pt x="108345" y="51653"/>
                  </a:cubicBezTo>
                  <a:lnTo>
                    <a:pt x="108345" y="52913"/>
                  </a:lnTo>
                  <a:cubicBezTo>
                    <a:pt x="108345" y="55432"/>
                    <a:pt x="109605" y="57952"/>
                    <a:pt x="109605" y="60472"/>
                  </a:cubicBezTo>
                  <a:cubicBezTo>
                    <a:pt x="109605" y="62991"/>
                    <a:pt x="110864" y="65511"/>
                    <a:pt x="110864" y="68030"/>
                  </a:cubicBezTo>
                  <a:lnTo>
                    <a:pt x="110864" y="69290"/>
                  </a:lnTo>
                  <a:cubicBezTo>
                    <a:pt x="110864" y="71810"/>
                    <a:pt x="112124" y="75589"/>
                    <a:pt x="113384" y="78109"/>
                  </a:cubicBezTo>
                  <a:cubicBezTo>
                    <a:pt x="114644" y="81889"/>
                    <a:pt x="114644" y="84408"/>
                    <a:pt x="115904" y="88188"/>
                  </a:cubicBezTo>
                  <a:cubicBezTo>
                    <a:pt x="117163" y="90707"/>
                    <a:pt x="117163" y="93227"/>
                    <a:pt x="118423" y="97006"/>
                  </a:cubicBezTo>
                  <a:cubicBezTo>
                    <a:pt x="118423" y="98266"/>
                    <a:pt x="119683" y="100786"/>
                    <a:pt x="119683" y="102046"/>
                  </a:cubicBezTo>
                  <a:cubicBezTo>
                    <a:pt x="119683" y="103305"/>
                    <a:pt x="119683" y="104565"/>
                    <a:pt x="120943" y="105825"/>
                  </a:cubicBezTo>
                  <a:cubicBezTo>
                    <a:pt x="122203" y="108345"/>
                    <a:pt x="122203" y="112124"/>
                    <a:pt x="123463" y="115904"/>
                  </a:cubicBezTo>
                  <a:cubicBezTo>
                    <a:pt x="123463" y="118424"/>
                    <a:pt x="124722" y="119683"/>
                    <a:pt x="124722" y="122203"/>
                  </a:cubicBezTo>
                  <a:lnTo>
                    <a:pt x="124722" y="122203"/>
                  </a:lnTo>
                  <a:lnTo>
                    <a:pt x="124722" y="122203"/>
                  </a:lnTo>
                  <a:cubicBezTo>
                    <a:pt x="125982" y="123463"/>
                    <a:pt x="125982" y="125982"/>
                    <a:pt x="127242" y="127242"/>
                  </a:cubicBezTo>
                  <a:cubicBezTo>
                    <a:pt x="131022" y="138581"/>
                    <a:pt x="136061" y="149919"/>
                    <a:pt x="139840" y="159998"/>
                  </a:cubicBezTo>
                  <a:lnTo>
                    <a:pt x="142360" y="166297"/>
                  </a:lnTo>
                  <a:cubicBezTo>
                    <a:pt x="143620" y="170076"/>
                    <a:pt x="144880" y="173856"/>
                    <a:pt x="146140" y="176375"/>
                  </a:cubicBezTo>
                  <a:lnTo>
                    <a:pt x="146140" y="176375"/>
                  </a:lnTo>
                  <a:cubicBezTo>
                    <a:pt x="147399" y="178895"/>
                    <a:pt x="148659" y="182674"/>
                    <a:pt x="148659" y="185194"/>
                  </a:cubicBezTo>
                  <a:cubicBezTo>
                    <a:pt x="151179" y="190233"/>
                    <a:pt x="152439" y="196533"/>
                    <a:pt x="154958" y="202832"/>
                  </a:cubicBezTo>
                  <a:lnTo>
                    <a:pt x="154958" y="202832"/>
                  </a:lnTo>
                  <a:lnTo>
                    <a:pt x="154958" y="204091"/>
                  </a:lnTo>
                  <a:lnTo>
                    <a:pt x="154958" y="204091"/>
                  </a:lnTo>
                  <a:lnTo>
                    <a:pt x="154958" y="204091"/>
                  </a:lnTo>
                  <a:lnTo>
                    <a:pt x="154958" y="204091"/>
                  </a:lnTo>
                  <a:lnTo>
                    <a:pt x="154958" y="204091"/>
                  </a:lnTo>
                  <a:lnTo>
                    <a:pt x="154958" y="204091"/>
                  </a:lnTo>
                  <a:lnTo>
                    <a:pt x="154958" y="204091"/>
                  </a:lnTo>
                  <a:lnTo>
                    <a:pt x="154958" y="204091"/>
                  </a:lnTo>
                  <a:lnTo>
                    <a:pt x="154958" y="204091"/>
                  </a:lnTo>
                  <a:lnTo>
                    <a:pt x="154958" y="204091"/>
                  </a:lnTo>
                  <a:cubicBezTo>
                    <a:pt x="154958" y="204091"/>
                    <a:pt x="154958" y="204091"/>
                    <a:pt x="154958" y="205351"/>
                  </a:cubicBezTo>
                  <a:lnTo>
                    <a:pt x="154958" y="205351"/>
                  </a:lnTo>
                  <a:cubicBezTo>
                    <a:pt x="157478" y="211650"/>
                    <a:pt x="158738" y="216690"/>
                    <a:pt x="161257" y="222989"/>
                  </a:cubicBezTo>
                  <a:cubicBezTo>
                    <a:pt x="162517" y="225508"/>
                    <a:pt x="163777" y="228028"/>
                    <a:pt x="163777" y="230548"/>
                  </a:cubicBezTo>
                  <a:lnTo>
                    <a:pt x="163777" y="231808"/>
                  </a:lnTo>
                  <a:lnTo>
                    <a:pt x="163777" y="231808"/>
                  </a:lnTo>
                  <a:cubicBezTo>
                    <a:pt x="165037" y="235587"/>
                    <a:pt x="166297" y="239366"/>
                    <a:pt x="167556" y="243146"/>
                  </a:cubicBezTo>
                  <a:cubicBezTo>
                    <a:pt x="168816" y="246925"/>
                    <a:pt x="170076" y="249445"/>
                    <a:pt x="171336" y="253225"/>
                  </a:cubicBezTo>
                  <a:lnTo>
                    <a:pt x="171336" y="254484"/>
                  </a:lnTo>
                  <a:lnTo>
                    <a:pt x="171336" y="255744"/>
                  </a:lnTo>
                  <a:cubicBezTo>
                    <a:pt x="172596" y="258264"/>
                    <a:pt x="172596" y="260783"/>
                    <a:pt x="173855" y="263303"/>
                  </a:cubicBezTo>
                  <a:cubicBezTo>
                    <a:pt x="175115" y="267083"/>
                    <a:pt x="176375" y="269602"/>
                    <a:pt x="177635" y="273382"/>
                  </a:cubicBezTo>
                  <a:cubicBezTo>
                    <a:pt x="178895" y="277161"/>
                    <a:pt x="180155" y="280941"/>
                    <a:pt x="181414" y="284720"/>
                  </a:cubicBezTo>
                  <a:cubicBezTo>
                    <a:pt x="182674" y="288500"/>
                    <a:pt x="183934" y="292279"/>
                    <a:pt x="185194" y="296058"/>
                  </a:cubicBezTo>
                  <a:cubicBezTo>
                    <a:pt x="186454" y="298578"/>
                    <a:pt x="187714" y="301098"/>
                    <a:pt x="187714" y="303618"/>
                  </a:cubicBezTo>
                  <a:cubicBezTo>
                    <a:pt x="188973" y="308657"/>
                    <a:pt x="191493" y="312436"/>
                    <a:pt x="192753" y="317475"/>
                  </a:cubicBezTo>
                  <a:lnTo>
                    <a:pt x="192753" y="318735"/>
                  </a:lnTo>
                  <a:lnTo>
                    <a:pt x="194013" y="323775"/>
                  </a:lnTo>
                  <a:lnTo>
                    <a:pt x="194013" y="323775"/>
                  </a:lnTo>
                  <a:lnTo>
                    <a:pt x="195273" y="327554"/>
                  </a:lnTo>
                  <a:cubicBezTo>
                    <a:pt x="196533" y="332593"/>
                    <a:pt x="199052" y="338893"/>
                    <a:pt x="201572" y="343932"/>
                  </a:cubicBezTo>
                  <a:cubicBezTo>
                    <a:pt x="202832" y="346451"/>
                    <a:pt x="204092" y="348971"/>
                    <a:pt x="205351" y="351491"/>
                  </a:cubicBezTo>
                  <a:lnTo>
                    <a:pt x="205351" y="351491"/>
                  </a:lnTo>
                  <a:cubicBezTo>
                    <a:pt x="206611" y="355270"/>
                    <a:pt x="207871" y="359050"/>
                    <a:pt x="209131" y="361569"/>
                  </a:cubicBezTo>
                  <a:cubicBezTo>
                    <a:pt x="211650" y="367868"/>
                    <a:pt x="214170" y="372908"/>
                    <a:pt x="217949" y="381727"/>
                  </a:cubicBezTo>
                  <a:cubicBezTo>
                    <a:pt x="220469" y="388026"/>
                    <a:pt x="224248" y="394325"/>
                    <a:pt x="226768" y="400624"/>
                  </a:cubicBezTo>
                  <a:cubicBezTo>
                    <a:pt x="229288" y="405663"/>
                    <a:pt x="231807" y="411962"/>
                    <a:pt x="234327" y="419521"/>
                  </a:cubicBezTo>
                  <a:cubicBezTo>
                    <a:pt x="235587" y="423301"/>
                    <a:pt x="236847" y="427080"/>
                    <a:pt x="239366" y="430860"/>
                  </a:cubicBezTo>
                  <a:lnTo>
                    <a:pt x="239366" y="430860"/>
                  </a:lnTo>
                  <a:lnTo>
                    <a:pt x="239366" y="430860"/>
                  </a:lnTo>
                  <a:cubicBezTo>
                    <a:pt x="240626" y="433379"/>
                    <a:pt x="240626" y="434639"/>
                    <a:pt x="241886" y="437159"/>
                  </a:cubicBezTo>
                  <a:cubicBezTo>
                    <a:pt x="243146" y="442198"/>
                    <a:pt x="245666" y="445978"/>
                    <a:pt x="246925" y="449757"/>
                  </a:cubicBezTo>
                  <a:cubicBezTo>
                    <a:pt x="248185" y="452277"/>
                    <a:pt x="248185" y="453536"/>
                    <a:pt x="249445" y="456056"/>
                  </a:cubicBezTo>
                  <a:lnTo>
                    <a:pt x="250705" y="458576"/>
                  </a:lnTo>
                  <a:lnTo>
                    <a:pt x="250705" y="459836"/>
                  </a:lnTo>
                  <a:lnTo>
                    <a:pt x="250705" y="458576"/>
                  </a:lnTo>
                  <a:cubicBezTo>
                    <a:pt x="249445" y="456056"/>
                    <a:pt x="249445" y="454796"/>
                    <a:pt x="248185" y="452277"/>
                  </a:cubicBezTo>
                  <a:cubicBezTo>
                    <a:pt x="248185" y="452277"/>
                    <a:pt x="248185" y="452277"/>
                    <a:pt x="248185" y="452277"/>
                  </a:cubicBezTo>
                  <a:lnTo>
                    <a:pt x="248185" y="452277"/>
                  </a:lnTo>
                  <a:lnTo>
                    <a:pt x="248185" y="452277"/>
                  </a:lnTo>
                  <a:cubicBezTo>
                    <a:pt x="250705" y="457316"/>
                    <a:pt x="251965" y="461095"/>
                    <a:pt x="254484" y="466135"/>
                  </a:cubicBezTo>
                  <a:cubicBezTo>
                    <a:pt x="255744" y="469914"/>
                    <a:pt x="258264" y="473694"/>
                    <a:pt x="259524" y="478733"/>
                  </a:cubicBezTo>
                  <a:cubicBezTo>
                    <a:pt x="259524" y="479993"/>
                    <a:pt x="260784" y="481252"/>
                    <a:pt x="260784" y="482512"/>
                  </a:cubicBezTo>
                  <a:cubicBezTo>
                    <a:pt x="262043" y="483772"/>
                    <a:pt x="262043" y="486292"/>
                    <a:pt x="263303" y="487552"/>
                  </a:cubicBezTo>
                  <a:cubicBezTo>
                    <a:pt x="264563" y="491331"/>
                    <a:pt x="267083" y="495111"/>
                    <a:pt x="268342" y="497630"/>
                  </a:cubicBezTo>
                  <a:lnTo>
                    <a:pt x="268342" y="498890"/>
                  </a:lnTo>
                  <a:cubicBezTo>
                    <a:pt x="269602" y="501410"/>
                    <a:pt x="270862" y="503929"/>
                    <a:pt x="273382" y="506449"/>
                  </a:cubicBezTo>
                  <a:cubicBezTo>
                    <a:pt x="273382" y="508969"/>
                    <a:pt x="274641" y="511488"/>
                    <a:pt x="274641" y="512748"/>
                  </a:cubicBezTo>
                  <a:cubicBezTo>
                    <a:pt x="274641" y="515268"/>
                    <a:pt x="275901" y="517787"/>
                    <a:pt x="275901" y="520307"/>
                  </a:cubicBezTo>
                  <a:cubicBezTo>
                    <a:pt x="275901" y="521567"/>
                    <a:pt x="275901" y="521567"/>
                    <a:pt x="275901" y="522827"/>
                  </a:cubicBezTo>
                  <a:lnTo>
                    <a:pt x="275901" y="522827"/>
                  </a:lnTo>
                  <a:lnTo>
                    <a:pt x="275901" y="522827"/>
                  </a:lnTo>
                  <a:cubicBezTo>
                    <a:pt x="275901" y="522827"/>
                    <a:pt x="275901" y="522827"/>
                    <a:pt x="275901" y="524087"/>
                  </a:cubicBezTo>
                  <a:cubicBezTo>
                    <a:pt x="275901" y="525346"/>
                    <a:pt x="275901" y="527866"/>
                    <a:pt x="275901" y="530386"/>
                  </a:cubicBezTo>
                  <a:cubicBezTo>
                    <a:pt x="275901" y="532905"/>
                    <a:pt x="275901" y="534165"/>
                    <a:pt x="274641" y="536685"/>
                  </a:cubicBezTo>
                  <a:cubicBezTo>
                    <a:pt x="274641" y="537945"/>
                    <a:pt x="273382" y="540464"/>
                    <a:pt x="273382" y="541724"/>
                  </a:cubicBezTo>
                  <a:lnTo>
                    <a:pt x="273382" y="542984"/>
                  </a:lnTo>
                  <a:cubicBezTo>
                    <a:pt x="272122" y="548023"/>
                    <a:pt x="270862" y="553063"/>
                    <a:pt x="268342" y="556842"/>
                  </a:cubicBezTo>
                  <a:lnTo>
                    <a:pt x="268342" y="556842"/>
                  </a:lnTo>
                  <a:lnTo>
                    <a:pt x="268342" y="556842"/>
                  </a:lnTo>
                  <a:lnTo>
                    <a:pt x="268342" y="556842"/>
                  </a:lnTo>
                  <a:cubicBezTo>
                    <a:pt x="267083" y="560621"/>
                    <a:pt x="265823" y="564401"/>
                    <a:pt x="263303" y="569440"/>
                  </a:cubicBezTo>
                  <a:cubicBezTo>
                    <a:pt x="263303" y="570700"/>
                    <a:pt x="262043" y="570700"/>
                    <a:pt x="262043" y="571960"/>
                  </a:cubicBezTo>
                  <a:lnTo>
                    <a:pt x="262043" y="571960"/>
                  </a:lnTo>
                  <a:cubicBezTo>
                    <a:pt x="260784" y="573220"/>
                    <a:pt x="260784" y="574480"/>
                    <a:pt x="259524" y="575739"/>
                  </a:cubicBezTo>
                  <a:cubicBezTo>
                    <a:pt x="257004" y="578259"/>
                    <a:pt x="255744" y="579519"/>
                    <a:pt x="253225" y="582038"/>
                  </a:cubicBezTo>
                  <a:cubicBezTo>
                    <a:pt x="251965" y="583298"/>
                    <a:pt x="249445" y="584558"/>
                    <a:pt x="246925" y="585818"/>
                  </a:cubicBezTo>
                  <a:cubicBezTo>
                    <a:pt x="244406" y="587078"/>
                    <a:pt x="241886" y="588337"/>
                    <a:pt x="240626" y="589597"/>
                  </a:cubicBezTo>
                  <a:lnTo>
                    <a:pt x="239366" y="589597"/>
                  </a:lnTo>
                  <a:cubicBezTo>
                    <a:pt x="238107" y="590857"/>
                    <a:pt x="236847" y="590857"/>
                    <a:pt x="234327" y="592117"/>
                  </a:cubicBezTo>
                  <a:lnTo>
                    <a:pt x="234327" y="592117"/>
                  </a:lnTo>
                  <a:lnTo>
                    <a:pt x="233067" y="593377"/>
                  </a:lnTo>
                  <a:cubicBezTo>
                    <a:pt x="233067" y="593377"/>
                    <a:pt x="231807" y="593377"/>
                    <a:pt x="231807" y="594637"/>
                  </a:cubicBezTo>
                  <a:lnTo>
                    <a:pt x="231807" y="594637"/>
                  </a:lnTo>
                  <a:cubicBezTo>
                    <a:pt x="230548" y="594637"/>
                    <a:pt x="229288" y="595896"/>
                    <a:pt x="228028" y="595896"/>
                  </a:cubicBezTo>
                  <a:cubicBezTo>
                    <a:pt x="225508" y="597156"/>
                    <a:pt x="222989" y="597156"/>
                    <a:pt x="221729" y="598416"/>
                  </a:cubicBezTo>
                  <a:cubicBezTo>
                    <a:pt x="219209" y="598416"/>
                    <a:pt x="216690" y="599676"/>
                    <a:pt x="214170" y="599676"/>
                  </a:cubicBezTo>
                  <a:cubicBezTo>
                    <a:pt x="211650" y="599676"/>
                    <a:pt x="209131" y="600936"/>
                    <a:pt x="205351" y="600936"/>
                  </a:cubicBezTo>
                  <a:cubicBezTo>
                    <a:pt x="204092" y="600936"/>
                    <a:pt x="202832" y="600936"/>
                    <a:pt x="201572" y="600936"/>
                  </a:cubicBezTo>
                  <a:lnTo>
                    <a:pt x="201572" y="600936"/>
                  </a:lnTo>
                  <a:cubicBezTo>
                    <a:pt x="200312" y="600936"/>
                    <a:pt x="199052" y="600936"/>
                    <a:pt x="197792" y="600936"/>
                  </a:cubicBezTo>
                  <a:cubicBezTo>
                    <a:pt x="195273" y="600936"/>
                    <a:pt x="192753" y="600936"/>
                    <a:pt x="191493" y="600936"/>
                  </a:cubicBezTo>
                  <a:cubicBezTo>
                    <a:pt x="190233" y="600936"/>
                    <a:pt x="188973" y="600936"/>
                    <a:pt x="187714" y="600936"/>
                  </a:cubicBezTo>
                  <a:cubicBezTo>
                    <a:pt x="186454" y="600936"/>
                    <a:pt x="183934" y="600936"/>
                    <a:pt x="182674" y="599676"/>
                  </a:cubicBezTo>
                  <a:cubicBezTo>
                    <a:pt x="181414" y="599676"/>
                    <a:pt x="180155" y="599676"/>
                    <a:pt x="178895" y="598416"/>
                  </a:cubicBezTo>
                  <a:cubicBezTo>
                    <a:pt x="177635" y="598416"/>
                    <a:pt x="177635" y="598416"/>
                    <a:pt x="176375" y="598416"/>
                  </a:cubicBezTo>
                  <a:cubicBezTo>
                    <a:pt x="173855" y="598416"/>
                    <a:pt x="172596" y="597156"/>
                    <a:pt x="170076" y="597156"/>
                  </a:cubicBezTo>
                  <a:cubicBezTo>
                    <a:pt x="165037" y="595896"/>
                    <a:pt x="159998" y="593377"/>
                    <a:pt x="156218" y="590857"/>
                  </a:cubicBezTo>
                  <a:cubicBezTo>
                    <a:pt x="154958" y="589597"/>
                    <a:pt x="153699" y="589597"/>
                    <a:pt x="151179" y="588337"/>
                  </a:cubicBezTo>
                  <a:lnTo>
                    <a:pt x="149919" y="587078"/>
                  </a:lnTo>
                  <a:cubicBezTo>
                    <a:pt x="147399" y="585818"/>
                    <a:pt x="144880" y="584558"/>
                    <a:pt x="142360" y="582038"/>
                  </a:cubicBezTo>
                  <a:cubicBezTo>
                    <a:pt x="138581" y="579519"/>
                    <a:pt x="134801" y="576999"/>
                    <a:pt x="131022" y="573220"/>
                  </a:cubicBezTo>
                  <a:lnTo>
                    <a:pt x="131022" y="573220"/>
                  </a:lnTo>
                  <a:lnTo>
                    <a:pt x="131022" y="573220"/>
                  </a:lnTo>
                  <a:lnTo>
                    <a:pt x="129762" y="571960"/>
                  </a:lnTo>
                  <a:lnTo>
                    <a:pt x="129762" y="570700"/>
                  </a:lnTo>
                  <a:cubicBezTo>
                    <a:pt x="127242" y="565661"/>
                    <a:pt x="125982" y="561881"/>
                    <a:pt x="123463" y="558102"/>
                  </a:cubicBezTo>
                  <a:cubicBezTo>
                    <a:pt x="122203" y="555582"/>
                    <a:pt x="120943" y="553063"/>
                    <a:pt x="118423" y="549283"/>
                  </a:cubicBezTo>
                  <a:cubicBezTo>
                    <a:pt x="117163" y="548023"/>
                    <a:pt x="117163" y="546763"/>
                    <a:pt x="115904" y="544244"/>
                  </a:cubicBezTo>
                  <a:cubicBezTo>
                    <a:pt x="114644" y="541724"/>
                    <a:pt x="113384" y="537945"/>
                    <a:pt x="110864" y="534165"/>
                  </a:cubicBezTo>
                  <a:lnTo>
                    <a:pt x="110864" y="534165"/>
                  </a:lnTo>
                  <a:cubicBezTo>
                    <a:pt x="109605" y="532905"/>
                    <a:pt x="109605" y="531645"/>
                    <a:pt x="108345" y="530386"/>
                  </a:cubicBezTo>
                  <a:cubicBezTo>
                    <a:pt x="107085" y="527866"/>
                    <a:pt x="105825" y="524087"/>
                    <a:pt x="103306" y="521567"/>
                  </a:cubicBezTo>
                  <a:cubicBezTo>
                    <a:pt x="99526" y="514008"/>
                    <a:pt x="95747" y="506449"/>
                    <a:pt x="91967" y="498890"/>
                  </a:cubicBezTo>
                  <a:cubicBezTo>
                    <a:pt x="90707" y="497630"/>
                    <a:pt x="90707" y="496371"/>
                    <a:pt x="89448" y="495111"/>
                  </a:cubicBezTo>
                  <a:cubicBezTo>
                    <a:pt x="88188" y="492591"/>
                    <a:pt x="86928" y="490071"/>
                    <a:pt x="85668" y="487552"/>
                  </a:cubicBezTo>
                  <a:lnTo>
                    <a:pt x="83148" y="481252"/>
                  </a:lnTo>
                  <a:lnTo>
                    <a:pt x="83148" y="479993"/>
                  </a:lnTo>
                  <a:cubicBezTo>
                    <a:pt x="80629" y="474953"/>
                    <a:pt x="79369" y="469914"/>
                    <a:pt x="76849" y="464875"/>
                  </a:cubicBezTo>
                  <a:cubicBezTo>
                    <a:pt x="74329" y="459836"/>
                    <a:pt x="71810" y="453536"/>
                    <a:pt x="70550" y="448497"/>
                  </a:cubicBezTo>
                  <a:lnTo>
                    <a:pt x="70550" y="448497"/>
                  </a:lnTo>
                  <a:lnTo>
                    <a:pt x="70550" y="448497"/>
                  </a:lnTo>
                  <a:lnTo>
                    <a:pt x="70550" y="448497"/>
                  </a:lnTo>
                  <a:lnTo>
                    <a:pt x="69290" y="443458"/>
                  </a:lnTo>
                  <a:cubicBezTo>
                    <a:pt x="65511" y="435899"/>
                    <a:pt x="62991" y="428340"/>
                    <a:pt x="60471" y="420781"/>
                  </a:cubicBezTo>
                  <a:lnTo>
                    <a:pt x="59212" y="418261"/>
                  </a:lnTo>
                  <a:lnTo>
                    <a:pt x="59212" y="418261"/>
                  </a:lnTo>
                  <a:cubicBezTo>
                    <a:pt x="56692" y="411962"/>
                    <a:pt x="54172" y="404403"/>
                    <a:pt x="51653" y="398104"/>
                  </a:cubicBezTo>
                  <a:cubicBezTo>
                    <a:pt x="47873" y="389286"/>
                    <a:pt x="45354" y="381727"/>
                    <a:pt x="44094" y="375427"/>
                  </a:cubicBezTo>
                  <a:cubicBezTo>
                    <a:pt x="41574" y="367868"/>
                    <a:pt x="39055" y="360310"/>
                    <a:pt x="36535" y="352751"/>
                  </a:cubicBezTo>
                  <a:cubicBezTo>
                    <a:pt x="35275" y="347711"/>
                    <a:pt x="34015" y="342672"/>
                    <a:pt x="31496" y="337633"/>
                  </a:cubicBezTo>
                  <a:lnTo>
                    <a:pt x="31496" y="337633"/>
                  </a:lnTo>
                  <a:lnTo>
                    <a:pt x="31496" y="337633"/>
                  </a:lnTo>
                  <a:lnTo>
                    <a:pt x="31496" y="335113"/>
                  </a:lnTo>
                  <a:lnTo>
                    <a:pt x="30236" y="331334"/>
                  </a:lnTo>
                  <a:lnTo>
                    <a:pt x="20157" y="291019"/>
                  </a:lnTo>
                  <a:lnTo>
                    <a:pt x="18897" y="285980"/>
                  </a:lnTo>
                  <a:cubicBezTo>
                    <a:pt x="16378" y="278421"/>
                    <a:pt x="15118" y="269602"/>
                    <a:pt x="12598" y="260783"/>
                  </a:cubicBezTo>
                  <a:cubicBezTo>
                    <a:pt x="11338" y="255744"/>
                    <a:pt x="10078" y="250705"/>
                    <a:pt x="10078" y="246925"/>
                  </a:cubicBezTo>
                  <a:cubicBezTo>
                    <a:pt x="10078" y="246925"/>
                    <a:pt x="10078" y="245666"/>
                    <a:pt x="10078" y="245666"/>
                  </a:cubicBezTo>
                  <a:cubicBezTo>
                    <a:pt x="8819" y="240626"/>
                    <a:pt x="6299" y="234327"/>
                    <a:pt x="5039" y="229288"/>
                  </a:cubicBezTo>
                  <a:lnTo>
                    <a:pt x="5039" y="229288"/>
                  </a:lnTo>
                  <a:cubicBezTo>
                    <a:pt x="3779" y="226768"/>
                    <a:pt x="3779" y="224249"/>
                    <a:pt x="2520" y="221729"/>
                  </a:cubicBezTo>
                  <a:cubicBezTo>
                    <a:pt x="2520" y="219209"/>
                    <a:pt x="1260" y="215430"/>
                    <a:pt x="1260" y="211650"/>
                  </a:cubicBezTo>
                  <a:cubicBezTo>
                    <a:pt x="1260" y="205351"/>
                    <a:pt x="0" y="200312"/>
                    <a:pt x="0" y="194013"/>
                  </a:cubicBezTo>
                  <a:cubicBezTo>
                    <a:pt x="0" y="187714"/>
                    <a:pt x="0" y="181415"/>
                    <a:pt x="1260" y="176375"/>
                  </a:cubicBezTo>
                  <a:cubicBezTo>
                    <a:pt x="1260" y="173856"/>
                    <a:pt x="2520" y="170076"/>
                    <a:pt x="2520" y="167557"/>
                  </a:cubicBezTo>
                  <a:cubicBezTo>
                    <a:pt x="2520" y="165037"/>
                    <a:pt x="3779" y="163777"/>
                    <a:pt x="3779" y="161257"/>
                  </a:cubicBezTo>
                  <a:cubicBezTo>
                    <a:pt x="3779" y="159998"/>
                    <a:pt x="3779" y="158738"/>
                    <a:pt x="5039" y="158738"/>
                  </a:cubicBezTo>
                  <a:cubicBezTo>
                    <a:pt x="6299" y="156218"/>
                    <a:pt x="6299" y="153698"/>
                    <a:pt x="7559" y="151179"/>
                  </a:cubicBezTo>
                  <a:cubicBezTo>
                    <a:pt x="7559" y="149919"/>
                    <a:pt x="8819" y="147399"/>
                    <a:pt x="10078" y="146140"/>
                  </a:cubicBezTo>
                  <a:cubicBezTo>
                    <a:pt x="10078" y="144880"/>
                    <a:pt x="11338" y="143620"/>
                    <a:pt x="12598" y="142360"/>
                  </a:cubicBezTo>
                  <a:cubicBezTo>
                    <a:pt x="13858" y="139840"/>
                    <a:pt x="15118" y="137321"/>
                    <a:pt x="16378" y="134801"/>
                  </a:cubicBezTo>
                  <a:lnTo>
                    <a:pt x="16378" y="134801"/>
                  </a:lnTo>
                  <a:cubicBezTo>
                    <a:pt x="17637" y="132281"/>
                    <a:pt x="20157" y="129762"/>
                    <a:pt x="21417" y="127242"/>
                  </a:cubicBezTo>
                  <a:lnTo>
                    <a:pt x="21417" y="125982"/>
                  </a:lnTo>
                  <a:cubicBezTo>
                    <a:pt x="22677" y="124723"/>
                    <a:pt x="22677" y="123463"/>
                    <a:pt x="23937" y="123463"/>
                  </a:cubicBezTo>
                  <a:cubicBezTo>
                    <a:pt x="25196" y="122203"/>
                    <a:pt x="26456" y="120943"/>
                    <a:pt x="26456" y="119683"/>
                  </a:cubicBezTo>
                  <a:cubicBezTo>
                    <a:pt x="26456" y="119683"/>
                    <a:pt x="27716" y="118424"/>
                    <a:pt x="27716" y="118424"/>
                  </a:cubicBezTo>
                  <a:cubicBezTo>
                    <a:pt x="27716" y="117164"/>
                    <a:pt x="28976" y="117164"/>
                    <a:pt x="28976" y="115904"/>
                  </a:cubicBezTo>
                  <a:cubicBezTo>
                    <a:pt x="30236" y="114644"/>
                    <a:pt x="31496" y="113384"/>
                    <a:pt x="32755" y="113384"/>
                  </a:cubicBezTo>
                  <a:cubicBezTo>
                    <a:pt x="34015" y="112124"/>
                    <a:pt x="34015" y="112124"/>
                    <a:pt x="35275" y="110864"/>
                  </a:cubicBezTo>
                  <a:cubicBezTo>
                    <a:pt x="36535" y="109605"/>
                    <a:pt x="36535" y="109605"/>
                    <a:pt x="37795" y="108345"/>
                  </a:cubicBezTo>
                  <a:cubicBezTo>
                    <a:pt x="39055" y="107085"/>
                    <a:pt x="39055" y="107085"/>
                    <a:pt x="40314" y="105825"/>
                  </a:cubicBezTo>
                  <a:cubicBezTo>
                    <a:pt x="41574" y="104565"/>
                    <a:pt x="42834" y="103305"/>
                    <a:pt x="44094" y="103305"/>
                  </a:cubicBezTo>
                  <a:cubicBezTo>
                    <a:pt x="45354" y="102046"/>
                    <a:pt x="46614" y="102046"/>
                    <a:pt x="47873" y="100786"/>
                  </a:cubicBezTo>
                  <a:cubicBezTo>
                    <a:pt x="49133" y="100786"/>
                    <a:pt x="49133" y="99526"/>
                    <a:pt x="50393" y="99526"/>
                  </a:cubicBezTo>
                  <a:cubicBezTo>
                    <a:pt x="51653" y="98266"/>
                    <a:pt x="54172" y="97006"/>
                    <a:pt x="55432" y="95747"/>
                  </a:cubicBezTo>
                  <a:cubicBezTo>
                    <a:pt x="56692" y="94487"/>
                    <a:pt x="56692" y="94487"/>
                    <a:pt x="57952" y="94487"/>
                  </a:cubicBezTo>
                  <a:cubicBezTo>
                    <a:pt x="57952" y="94487"/>
                    <a:pt x="57952" y="94487"/>
                    <a:pt x="57952" y="93227"/>
                  </a:cubicBezTo>
                  <a:cubicBezTo>
                    <a:pt x="57952" y="91967"/>
                    <a:pt x="57952" y="91967"/>
                    <a:pt x="59212" y="90707"/>
                  </a:cubicBezTo>
                  <a:cubicBezTo>
                    <a:pt x="59212" y="89448"/>
                    <a:pt x="59212" y="88188"/>
                    <a:pt x="59212" y="86928"/>
                  </a:cubicBezTo>
                  <a:cubicBezTo>
                    <a:pt x="59212" y="85668"/>
                    <a:pt x="59212" y="84408"/>
                    <a:pt x="59212" y="83148"/>
                  </a:cubicBezTo>
                  <a:cubicBezTo>
                    <a:pt x="59212" y="80629"/>
                    <a:pt x="59212" y="78109"/>
                    <a:pt x="59212" y="75589"/>
                  </a:cubicBezTo>
                  <a:lnTo>
                    <a:pt x="59212" y="74330"/>
                  </a:lnTo>
                  <a:cubicBezTo>
                    <a:pt x="59212" y="71810"/>
                    <a:pt x="59212" y="69290"/>
                    <a:pt x="59212" y="66771"/>
                  </a:cubicBezTo>
                  <a:cubicBezTo>
                    <a:pt x="59212" y="62991"/>
                    <a:pt x="59212" y="59212"/>
                    <a:pt x="59212" y="56692"/>
                  </a:cubicBezTo>
                  <a:lnTo>
                    <a:pt x="59212" y="55432"/>
                  </a:lnTo>
                  <a:cubicBezTo>
                    <a:pt x="59212" y="52913"/>
                    <a:pt x="59212" y="50393"/>
                    <a:pt x="59212" y="46614"/>
                  </a:cubicBezTo>
                  <a:cubicBezTo>
                    <a:pt x="59212" y="42834"/>
                    <a:pt x="59212" y="40314"/>
                    <a:pt x="59212" y="36535"/>
                  </a:cubicBezTo>
                  <a:cubicBezTo>
                    <a:pt x="59212" y="34015"/>
                    <a:pt x="59212" y="31496"/>
                    <a:pt x="60471" y="27716"/>
                  </a:cubicBezTo>
                  <a:cubicBezTo>
                    <a:pt x="60471" y="23937"/>
                    <a:pt x="61731" y="21417"/>
                    <a:pt x="61731" y="18897"/>
                  </a:cubicBezTo>
                  <a:lnTo>
                    <a:pt x="61731" y="18897"/>
                  </a:lnTo>
                  <a:cubicBezTo>
                    <a:pt x="61731" y="17638"/>
                    <a:pt x="61731" y="16378"/>
                    <a:pt x="62991" y="15118"/>
                  </a:cubicBezTo>
                  <a:cubicBezTo>
                    <a:pt x="62991" y="13858"/>
                    <a:pt x="64251" y="12598"/>
                    <a:pt x="64251" y="11338"/>
                  </a:cubicBezTo>
                  <a:cubicBezTo>
                    <a:pt x="65511" y="8819"/>
                    <a:pt x="68030" y="6299"/>
                    <a:pt x="69290" y="5039"/>
                  </a:cubicBezTo>
                  <a:cubicBezTo>
                    <a:pt x="70550" y="3780"/>
                    <a:pt x="71810" y="2520"/>
                    <a:pt x="74329" y="2520"/>
                  </a:cubicBezTo>
                  <a:cubicBezTo>
                    <a:pt x="75589" y="2520"/>
                    <a:pt x="75589" y="2520"/>
                    <a:pt x="76849" y="2520"/>
                  </a:cubicBezTo>
                  <a:lnTo>
                    <a:pt x="76849" y="2520"/>
                  </a:lnTo>
                  <a:cubicBezTo>
                    <a:pt x="76849" y="2520"/>
                    <a:pt x="78109" y="2520"/>
                    <a:pt x="78109" y="2520"/>
                  </a:cubicBezTo>
                  <a:lnTo>
                    <a:pt x="78109" y="2520"/>
                  </a:lnTo>
                  <a:cubicBezTo>
                    <a:pt x="79369" y="0"/>
                    <a:pt x="79369" y="0"/>
                    <a:pt x="80629" y="0"/>
                  </a:cubicBezTo>
                </a:path>
              </a:pathLst>
            </a:custGeom>
            <a:solidFill>
              <a:srgbClr val="F2A988"/>
            </a:solidFill>
            <a:ln w="12584" cap="flat">
              <a:noFill/>
              <a:prstDash val="solid"/>
              <a:miter/>
            </a:ln>
          </p:spPr>
          <p:txBody>
            <a:bodyPr rtlCol="0" anchor="ctr"/>
            <a:lstStyle/>
            <a:p>
              <a:endParaRPr lang="zh-CN" altLang="en-US"/>
            </a:p>
          </p:txBody>
        </p:sp>
      </p:grpSp>
      <p:sp>
        <p:nvSpPr>
          <p:cNvPr id="246" name="箭头: 五边形 245"/>
          <p:cNvSpPr/>
          <p:nvPr userDrawn="1"/>
        </p:nvSpPr>
        <p:spPr>
          <a:xfrm flipH="1">
            <a:off x="10325100" y="1664773"/>
            <a:ext cx="1866899" cy="319660"/>
          </a:xfrm>
          <a:prstGeom prst="homePlate">
            <a:avLst/>
          </a:prstGeom>
          <a:solidFill>
            <a:srgbClr val="1D7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46" name="箭头: 五边形 245"/>
          <p:cNvSpPr/>
          <p:nvPr userDrawn="1"/>
        </p:nvSpPr>
        <p:spPr>
          <a:xfrm flipH="1">
            <a:off x="2847623" y="3376928"/>
            <a:ext cx="9344371" cy="1893858"/>
          </a:xfrm>
          <a:prstGeom prst="homePlate">
            <a:avLst>
              <a:gd name="adj" fmla="val 2467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3506168" y="3323384"/>
            <a:ext cx="4164462" cy="895350"/>
          </a:xfrm>
        </p:spPr>
        <p:txBody>
          <a:bodyPr anchor="b">
            <a:normAutofit/>
          </a:bodyPr>
          <a:lstStyle>
            <a:lvl1pPr algn="l">
              <a:defRPr sz="2400" b="1">
                <a:solidFill>
                  <a:schemeClr val="bg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3507284" y="4218734"/>
            <a:ext cx="4164462" cy="1015623"/>
          </a:xfrm>
        </p:spPr>
        <p:txBody>
          <a:bodyPr anchor="t">
            <a:normAutofit/>
          </a:bodyPr>
          <a:lstStyle>
            <a:lvl1pPr marL="0" indent="0" algn="l">
              <a:lnSpc>
                <a:spcPct val="150000"/>
              </a:lnSpc>
              <a:spcBef>
                <a:spcPts val="0"/>
              </a:spcBef>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endParaRPr lang="en-US" dirty="0"/>
          </a:p>
        </p:txBody>
      </p:sp>
      <p:grpSp>
        <p:nvGrpSpPr>
          <p:cNvPr id="2" name="组合 1"/>
          <p:cNvGrpSpPr/>
          <p:nvPr userDrawn="1"/>
        </p:nvGrpSpPr>
        <p:grpSpPr>
          <a:xfrm>
            <a:off x="7597183" y="2214010"/>
            <a:ext cx="3768890" cy="2716239"/>
            <a:chOff x="7178083" y="2214010"/>
            <a:chExt cx="3768890" cy="2716239"/>
          </a:xfrm>
        </p:grpSpPr>
        <p:sp>
          <p:nvSpPr>
            <p:cNvPr id="9" name="任意多边形: 形状 8"/>
            <p:cNvSpPr/>
            <p:nvPr/>
          </p:nvSpPr>
          <p:spPr>
            <a:xfrm>
              <a:off x="7403982" y="2425880"/>
              <a:ext cx="3312015" cy="2282372"/>
            </a:xfrm>
            <a:custGeom>
              <a:avLst/>
              <a:gdLst>
                <a:gd name="connsiteX0" fmla="*/ 0 w 4862917"/>
                <a:gd name="connsiteY0" fmla="*/ 0 h 3351129"/>
                <a:gd name="connsiteX1" fmla="*/ 4870477 w 4862917"/>
                <a:gd name="connsiteY1" fmla="*/ 0 h 3351129"/>
                <a:gd name="connsiteX2" fmla="*/ 4870477 w 4862917"/>
                <a:gd name="connsiteY2" fmla="*/ 3351130 h 3351129"/>
                <a:gd name="connsiteX3" fmla="*/ 0 w 4862917"/>
                <a:gd name="connsiteY3" fmla="*/ 3351130 h 3351129"/>
              </a:gdLst>
              <a:ahLst/>
              <a:cxnLst>
                <a:cxn ang="0">
                  <a:pos x="connsiteX0" y="connsiteY0"/>
                </a:cxn>
                <a:cxn ang="0">
                  <a:pos x="connsiteX1" y="connsiteY1"/>
                </a:cxn>
                <a:cxn ang="0">
                  <a:pos x="connsiteX2" y="connsiteY2"/>
                </a:cxn>
                <a:cxn ang="0">
                  <a:pos x="connsiteX3" y="connsiteY3"/>
                </a:cxn>
              </a:cxnLst>
              <a:rect l="l" t="t" r="r" b="b"/>
              <a:pathLst>
                <a:path w="4862917" h="3351129">
                  <a:moveTo>
                    <a:pt x="0" y="0"/>
                  </a:moveTo>
                  <a:lnTo>
                    <a:pt x="4870477" y="0"/>
                  </a:lnTo>
                  <a:lnTo>
                    <a:pt x="4870477" y="3351130"/>
                  </a:lnTo>
                  <a:lnTo>
                    <a:pt x="0" y="3351130"/>
                  </a:lnTo>
                  <a:close/>
                </a:path>
              </a:pathLst>
            </a:custGeom>
            <a:solidFill>
              <a:srgbClr val="FFD671"/>
            </a:solidFill>
            <a:ln w="12584" cap="flat">
              <a:noFill/>
              <a:prstDash val="solid"/>
              <a:miter/>
            </a:ln>
          </p:spPr>
          <p:txBody>
            <a:bodyPr rtlCol="0" anchor="ctr"/>
            <a:lstStyle/>
            <a:p>
              <a:endParaRPr lang="zh-CN" altLang="en-US"/>
            </a:p>
          </p:txBody>
        </p:sp>
        <p:sp>
          <p:nvSpPr>
            <p:cNvPr id="10" name="任意多边形: 形状 9"/>
            <p:cNvSpPr/>
            <p:nvPr/>
          </p:nvSpPr>
          <p:spPr>
            <a:xfrm>
              <a:off x="7403982" y="2425880"/>
              <a:ext cx="3312015" cy="2282372"/>
            </a:xfrm>
            <a:custGeom>
              <a:avLst/>
              <a:gdLst>
                <a:gd name="connsiteX0" fmla="*/ 4870477 w 4862917"/>
                <a:gd name="connsiteY0" fmla="*/ 3351130 h 3351129"/>
                <a:gd name="connsiteX1" fmla="*/ 0 w 4862917"/>
                <a:gd name="connsiteY1" fmla="*/ 3351130 h 3351129"/>
                <a:gd name="connsiteX2" fmla="*/ 0 w 4862917"/>
                <a:gd name="connsiteY2" fmla="*/ 0 h 3351129"/>
                <a:gd name="connsiteX3" fmla="*/ 89447 w 4862917"/>
                <a:gd name="connsiteY3" fmla="*/ 89447 h 3351129"/>
                <a:gd name="connsiteX4" fmla="*/ 4781029 w 4862917"/>
                <a:gd name="connsiteY4" fmla="*/ 3261683 h 3351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2917" h="3351129">
                  <a:moveTo>
                    <a:pt x="4870477" y="3351130"/>
                  </a:moveTo>
                  <a:lnTo>
                    <a:pt x="0" y="3351130"/>
                  </a:lnTo>
                  <a:lnTo>
                    <a:pt x="0" y="0"/>
                  </a:lnTo>
                  <a:lnTo>
                    <a:pt x="89447" y="89447"/>
                  </a:lnTo>
                  <a:lnTo>
                    <a:pt x="4781029" y="3261683"/>
                  </a:lnTo>
                  <a:close/>
                </a:path>
              </a:pathLst>
            </a:custGeom>
            <a:solidFill>
              <a:srgbClr val="F4BA4B"/>
            </a:solidFill>
            <a:ln w="12584" cap="flat">
              <a:noFill/>
              <a:prstDash val="solid"/>
              <a:miter/>
            </a:ln>
          </p:spPr>
          <p:txBody>
            <a:bodyPr rtlCol="0" anchor="ctr"/>
            <a:lstStyle/>
            <a:p>
              <a:endParaRPr lang="zh-CN" altLang="en-US"/>
            </a:p>
          </p:txBody>
        </p:sp>
        <p:sp>
          <p:nvSpPr>
            <p:cNvPr id="11" name="任意多边形: 形状 10"/>
            <p:cNvSpPr/>
            <p:nvPr/>
          </p:nvSpPr>
          <p:spPr>
            <a:xfrm>
              <a:off x="7464985" y="2486867"/>
              <a:ext cx="3191890" cy="2153667"/>
            </a:xfrm>
            <a:custGeom>
              <a:avLst/>
              <a:gdLst>
                <a:gd name="connsiteX0" fmla="*/ 4691582 w 4686542"/>
                <a:gd name="connsiteY0" fmla="*/ 0 h 3162156"/>
                <a:gd name="connsiteX1" fmla="*/ 4691582 w 4686542"/>
                <a:gd name="connsiteY1" fmla="*/ 3172235 h 3162156"/>
                <a:gd name="connsiteX2" fmla="*/ 0 w 4686542"/>
                <a:gd name="connsiteY2" fmla="*/ 3172235 h 3162156"/>
                <a:gd name="connsiteX3" fmla="*/ 0 w 4686542"/>
                <a:gd name="connsiteY3" fmla="*/ 0 h 3162156"/>
              </a:gdLst>
              <a:ahLst/>
              <a:cxnLst>
                <a:cxn ang="0">
                  <a:pos x="connsiteX0" y="connsiteY0"/>
                </a:cxn>
                <a:cxn ang="0">
                  <a:pos x="connsiteX1" y="connsiteY1"/>
                </a:cxn>
                <a:cxn ang="0">
                  <a:pos x="connsiteX2" y="connsiteY2"/>
                </a:cxn>
                <a:cxn ang="0">
                  <a:pos x="connsiteX3" y="connsiteY3"/>
                </a:cxn>
              </a:cxnLst>
              <a:rect l="l" t="t" r="r" b="b"/>
              <a:pathLst>
                <a:path w="4686542" h="3162156">
                  <a:moveTo>
                    <a:pt x="4691582" y="0"/>
                  </a:moveTo>
                  <a:lnTo>
                    <a:pt x="4691582" y="3172235"/>
                  </a:lnTo>
                  <a:lnTo>
                    <a:pt x="0" y="3172235"/>
                  </a:lnTo>
                  <a:lnTo>
                    <a:pt x="0" y="0"/>
                  </a:lnTo>
                  <a:close/>
                </a:path>
              </a:pathLst>
            </a:custGeom>
            <a:solidFill>
              <a:srgbClr val="DAE8F3"/>
            </a:solidFill>
            <a:ln w="12584" cap="flat">
              <a:noFill/>
              <a:prstDash val="solid"/>
              <a:miter/>
            </a:ln>
          </p:spPr>
          <p:txBody>
            <a:bodyPr rtlCol="0" anchor="ctr"/>
            <a:lstStyle/>
            <a:p>
              <a:endParaRPr lang="zh-CN" altLang="en-US"/>
            </a:p>
          </p:txBody>
        </p:sp>
        <p:sp>
          <p:nvSpPr>
            <p:cNvPr id="12" name="任意多边形: 形状 11"/>
            <p:cNvSpPr/>
            <p:nvPr/>
          </p:nvSpPr>
          <p:spPr>
            <a:xfrm>
              <a:off x="7464902" y="2486800"/>
              <a:ext cx="3114666" cy="2076444"/>
            </a:xfrm>
            <a:custGeom>
              <a:avLst/>
              <a:gdLst>
                <a:gd name="connsiteX0" fmla="*/ 0 w 4573158"/>
                <a:gd name="connsiteY0" fmla="*/ 3050032 h 3048772"/>
                <a:gd name="connsiteX1" fmla="*/ 0 w 4573158"/>
                <a:gd name="connsiteY1" fmla="*/ 0 h 3048772"/>
                <a:gd name="connsiteX2" fmla="*/ 4581977 w 4573158"/>
                <a:gd name="connsiteY2" fmla="*/ 0 h 3048772"/>
                <a:gd name="connsiteX3" fmla="*/ 4581977 w 4573158"/>
                <a:gd name="connsiteY3" fmla="*/ 2874917 h 3048772"/>
                <a:gd name="connsiteX4" fmla="*/ 4406862 w 4573158"/>
                <a:gd name="connsiteY4" fmla="*/ 3050032 h 3048772"/>
                <a:gd name="connsiteX5" fmla="*/ 0 w 4573158"/>
                <a:gd name="connsiteY5" fmla="*/ 3050032 h 30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3158" h="3048772">
                  <a:moveTo>
                    <a:pt x="0" y="3050032"/>
                  </a:moveTo>
                  <a:lnTo>
                    <a:pt x="0" y="0"/>
                  </a:lnTo>
                  <a:lnTo>
                    <a:pt x="4581977" y="0"/>
                  </a:lnTo>
                  <a:lnTo>
                    <a:pt x="4581977" y="2874917"/>
                  </a:lnTo>
                  <a:cubicBezTo>
                    <a:pt x="4581977" y="2971923"/>
                    <a:pt x="4503868" y="3050032"/>
                    <a:pt x="4406862" y="3050032"/>
                  </a:cubicBezTo>
                  <a:lnTo>
                    <a:pt x="0" y="3050032"/>
                  </a:lnTo>
                  <a:close/>
                </a:path>
              </a:pathLst>
            </a:custGeom>
            <a:solidFill>
              <a:srgbClr val="FFFFFF"/>
            </a:solidFill>
            <a:ln w="12584" cap="flat">
              <a:noFill/>
              <a:prstDash val="solid"/>
              <a:miter/>
            </a:ln>
          </p:spPr>
          <p:txBody>
            <a:bodyPr rtlCol="0" anchor="ctr"/>
            <a:lstStyle/>
            <a:p>
              <a:endParaRPr lang="zh-CN" altLang="en-US"/>
            </a:p>
          </p:txBody>
        </p:sp>
        <p:sp>
          <p:nvSpPr>
            <p:cNvPr id="13" name="任意多边形: 形状 12"/>
            <p:cNvSpPr/>
            <p:nvPr/>
          </p:nvSpPr>
          <p:spPr>
            <a:xfrm>
              <a:off x="9203281" y="3532744"/>
              <a:ext cx="1115445" cy="8580"/>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4" name="任意多边形: 形状 13"/>
            <p:cNvSpPr/>
            <p:nvPr/>
          </p:nvSpPr>
          <p:spPr>
            <a:xfrm>
              <a:off x="9203281" y="3627128"/>
              <a:ext cx="1115445" cy="8580"/>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5" name="任意多边形: 形状 14"/>
            <p:cNvSpPr/>
            <p:nvPr/>
          </p:nvSpPr>
          <p:spPr>
            <a:xfrm>
              <a:off x="9203281" y="3722370"/>
              <a:ext cx="1115445" cy="8580"/>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511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6" name="任意多边形: 形状 15"/>
            <p:cNvSpPr/>
            <p:nvPr/>
          </p:nvSpPr>
          <p:spPr>
            <a:xfrm>
              <a:off x="9203281" y="3816754"/>
              <a:ext cx="1115445" cy="8580"/>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511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7" name="任意多边形: 形状 16"/>
            <p:cNvSpPr/>
            <p:nvPr/>
          </p:nvSpPr>
          <p:spPr>
            <a:xfrm>
              <a:off x="9203281" y="3911138"/>
              <a:ext cx="1115445" cy="8580"/>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3780"/>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8" name="任意多边形: 形状 17"/>
            <p:cNvSpPr/>
            <p:nvPr/>
          </p:nvSpPr>
          <p:spPr>
            <a:xfrm>
              <a:off x="9203281" y="4005522"/>
              <a:ext cx="1115445" cy="8580"/>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9" name="任意多边形: 形状 18"/>
            <p:cNvSpPr/>
            <p:nvPr/>
          </p:nvSpPr>
          <p:spPr>
            <a:xfrm>
              <a:off x="9203281" y="4100763"/>
              <a:ext cx="1115445" cy="8580"/>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511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22" name="任意多边形: 形状 21"/>
            <p:cNvSpPr/>
            <p:nvPr/>
          </p:nvSpPr>
          <p:spPr>
            <a:xfrm>
              <a:off x="9540488" y="2734773"/>
              <a:ext cx="789392" cy="626365"/>
            </a:xfrm>
            <a:custGeom>
              <a:avLst/>
              <a:gdLst>
                <a:gd name="connsiteX0" fmla="*/ 1088488 w 1159037"/>
                <a:gd name="connsiteY0" fmla="*/ 924710 h 919671"/>
                <a:gd name="connsiteX1" fmla="*/ 75589 w 1159037"/>
                <a:gd name="connsiteY1" fmla="*/ 924710 h 919671"/>
                <a:gd name="connsiteX2" fmla="*/ 0 w 1159037"/>
                <a:gd name="connsiteY2" fmla="*/ 849121 h 919671"/>
                <a:gd name="connsiteX3" fmla="*/ 0 w 1159037"/>
                <a:gd name="connsiteY3" fmla="*/ 75589 h 919671"/>
                <a:gd name="connsiteX4" fmla="*/ 75589 w 1159037"/>
                <a:gd name="connsiteY4" fmla="*/ 0 h 919671"/>
                <a:gd name="connsiteX5" fmla="*/ 1088488 w 1159037"/>
                <a:gd name="connsiteY5" fmla="*/ 0 h 919671"/>
                <a:gd name="connsiteX6" fmla="*/ 1164077 w 1159037"/>
                <a:gd name="connsiteY6" fmla="*/ 75589 h 919671"/>
                <a:gd name="connsiteX7" fmla="*/ 1164077 w 1159037"/>
                <a:gd name="connsiteY7" fmla="*/ 849121 h 919671"/>
                <a:gd name="connsiteX8" fmla="*/ 1088488 w 1159037"/>
                <a:gd name="connsiteY8" fmla="*/ 924710 h 919671"/>
                <a:gd name="connsiteX9" fmla="*/ 74330 w 1159037"/>
                <a:gd name="connsiteY9" fmla="*/ 18897 h 919671"/>
                <a:gd name="connsiteX10" fmla="*/ 17638 w 1159037"/>
                <a:gd name="connsiteY10" fmla="*/ 75589 h 919671"/>
                <a:gd name="connsiteX11" fmla="*/ 17638 w 1159037"/>
                <a:gd name="connsiteY11" fmla="*/ 849121 h 919671"/>
                <a:gd name="connsiteX12" fmla="*/ 74330 w 1159037"/>
                <a:gd name="connsiteY12" fmla="*/ 905813 h 919671"/>
                <a:gd name="connsiteX13" fmla="*/ 1087228 w 1159037"/>
                <a:gd name="connsiteY13" fmla="*/ 905813 h 919671"/>
                <a:gd name="connsiteX14" fmla="*/ 1143920 w 1159037"/>
                <a:gd name="connsiteY14" fmla="*/ 849121 h 919671"/>
                <a:gd name="connsiteX15" fmla="*/ 1143920 w 1159037"/>
                <a:gd name="connsiteY15" fmla="*/ 75589 h 919671"/>
                <a:gd name="connsiteX16" fmla="*/ 1087228 w 1159037"/>
                <a:gd name="connsiteY16" fmla="*/ 18897 h 919671"/>
                <a:gd name="connsiteX17" fmla="*/ 74330 w 1159037"/>
                <a:gd name="connsiteY17" fmla="*/ 18897 h 9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59037" h="919671">
                  <a:moveTo>
                    <a:pt x="1088488" y="924710"/>
                  </a:moveTo>
                  <a:lnTo>
                    <a:pt x="75589" y="924710"/>
                  </a:lnTo>
                  <a:cubicBezTo>
                    <a:pt x="34015" y="924710"/>
                    <a:pt x="0" y="890695"/>
                    <a:pt x="0" y="849121"/>
                  </a:cubicBezTo>
                  <a:lnTo>
                    <a:pt x="0" y="75589"/>
                  </a:lnTo>
                  <a:cubicBezTo>
                    <a:pt x="0" y="34015"/>
                    <a:pt x="34015" y="0"/>
                    <a:pt x="75589" y="0"/>
                  </a:cubicBezTo>
                  <a:lnTo>
                    <a:pt x="1088488" y="0"/>
                  </a:lnTo>
                  <a:cubicBezTo>
                    <a:pt x="1130062" y="0"/>
                    <a:pt x="1164077" y="34015"/>
                    <a:pt x="1164077" y="75589"/>
                  </a:cubicBezTo>
                  <a:lnTo>
                    <a:pt x="1164077" y="849121"/>
                  </a:lnTo>
                  <a:cubicBezTo>
                    <a:pt x="1164077" y="890695"/>
                    <a:pt x="1130062" y="924710"/>
                    <a:pt x="1088488" y="924710"/>
                  </a:cubicBezTo>
                  <a:close/>
                  <a:moveTo>
                    <a:pt x="74330" y="18897"/>
                  </a:moveTo>
                  <a:cubicBezTo>
                    <a:pt x="42834" y="18897"/>
                    <a:pt x="17638" y="44094"/>
                    <a:pt x="17638" y="75589"/>
                  </a:cubicBezTo>
                  <a:lnTo>
                    <a:pt x="17638" y="849121"/>
                  </a:lnTo>
                  <a:cubicBezTo>
                    <a:pt x="17638" y="880617"/>
                    <a:pt x="42834" y="905813"/>
                    <a:pt x="74330" y="905813"/>
                  </a:cubicBezTo>
                  <a:lnTo>
                    <a:pt x="1087228" y="905813"/>
                  </a:lnTo>
                  <a:cubicBezTo>
                    <a:pt x="1118723" y="905813"/>
                    <a:pt x="1143920" y="880617"/>
                    <a:pt x="1143920" y="849121"/>
                  </a:cubicBezTo>
                  <a:lnTo>
                    <a:pt x="1143920" y="75589"/>
                  </a:lnTo>
                  <a:cubicBezTo>
                    <a:pt x="1143920" y="44094"/>
                    <a:pt x="1118723" y="18897"/>
                    <a:pt x="1087228" y="18897"/>
                  </a:cubicBezTo>
                  <a:lnTo>
                    <a:pt x="74330" y="18897"/>
                  </a:lnTo>
                  <a:close/>
                </a:path>
              </a:pathLst>
            </a:custGeom>
            <a:solidFill>
              <a:srgbClr val="CADEEE"/>
            </a:solidFill>
            <a:ln w="12584" cap="flat">
              <a:noFill/>
              <a:prstDash val="solid"/>
              <a:miter/>
            </a:ln>
          </p:spPr>
          <p:txBody>
            <a:bodyPr rtlCol="0" anchor="ctr"/>
            <a:lstStyle/>
            <a:p>
              <a:endParaRPr lang="zh-CN" altLang="en-US"/>
            </a:p>
          </p:txBody>
        </p:sp>
        <p:sp>
          <p:nvSpPr>
            <p:cNvPr id="23" name="任意多边形: 形状 22"/>
            <p:cNvSpPr/>
            <p:nvPr/>
          </p:nvSpPr>
          <p:spPr>
            <a:xfrm>
              <a:off x="7656244" y="2733914"/>
              <a:ext cx="609204" cy="8580"/>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511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24" name="任意多边形: 形状 23"/>
            <p:cNvSpPr/>
            <p:nvPr/>
          </p:nvSpPr>
          <p:spPr>
            <a:xfrm>
              <a:off x="7656244" y="2836879"/>
              <a:ext cx="609204" cy="8580"/>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511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25" name="任意多边形: 形状 24"/>
            <p:cNvSpPr/>
            <p:nvPr/>
          </p:nvSpPr>
          <p:spPr>
            <a:xfrm>
              <a:off x="7656244" y="2938985"/>
              <a:ext cx="609204" cy="8580"/>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3780"/>
                    <a:pt x="3779" y="0"/>
                    <a:pt x="10079" y="0"/>
                  </a:cubicBezTo>
                  <a:lnTo>
                    <a:pt x="885656" y="0"/>
                  </a:lnTo>
                  <a:cubicBezTo>
                    <a:pt x="890695" y="0"/>
                    <a:pt x="895734" y="3780"/>
                    <a:pt x="895734" y="10079"/>
                  </a:cubicBezTo>
                  <a:cubicBezTo>
                    <a:pt x="895734" y="1637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26" name="任意多边形: 形状 25"/>
            <p:cNvSpPr/>
            <p:nvPr/>
          </p:nvSpPr>
          <p:spPr>
            <a:xfrm>
              <a:off x="7656244" y="3041948"/>
              <a:ext cx="609204" cy="8580"/>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637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27" name="任意多边形: 形状 26"/>
            <p:cNvSpPr/>
            <p:nvPr/>
          </p:nvSpPr>
          <p:spPr>
            <a:xfrm>
              <a:off x="7656244" y="3144913"/>
              <a:ext cx="609204" cy="8580"/>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637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28" name="任意多边形: 形状 27"/>
            <p:cNvSpPr/>
            <p:nvPr/>
          </p:nvSpPr>
          <p:spPr>
            <a:xfrm>
              <a:off x="8057594" y="3726661"/>
              <a:ext cx="394696" cy="420437"/>
            </a:xfrm>
            <a:custGeom>
              <a:avLst/>
              <a:gdLst>
                <a:gd name="connsiteX0" fmla="*/ 536994 w 579518"/>
                <a:gd name="connsiteY0" fmla="*/ 618573 h 617313"/>
                <a:gd name="connsiteX1" fmla="*/ 166605 w 579518"/>
                <a:gd name="connsiteY1" fmla="*/ 488811 h 617313"/>
                <a:gd name="connsiteX2" fmla="*/ 309 w 579518"/>
                <a:gd name="connsiteY2" fmla="*/ 8819 h 617313"/>
                <a:gd name="connsiteX3" fmla="*/ 9128 w 579518"/>
                <a:gd name="connsiteY3" fmla="*/ 0 h 617313"/>
                <a:gd name="connsiteX4" fmla="*/ 9128 w 579518"/>
                <a:gd name="connsiteY4" fmla="*/ 0 h 617313"/>
                <a:gd name="connsiteX5" fmla="*/ 17946 w 579518"/>
                <a:gd name="connsiteY5" fmla="*/ 10079 h 617313"/>
                <a:gd name="connsiteX6" fmla="*/ 177944 w 579518"/>
                <a:gd name="connsiteY6" fmla="*/ 474953 h 617313"/>
                <a:gd name="connsiteX7" fmla="*/ 579828 w 579518"/>
                <a:gd name="connsiteY7" fmla="*/ 598416 h 617313"/>
                <a:gd name="connsiteX8" fmla="*/ 589906 w 579518"/>
                <a:gd name="connsiteY8" fmla="*/ 607235 h 617313"/>
                <a:gd name="connsiteX9" fmla="*/ 581087 w 579518"/>
                <a:gd name="connsiteY9" fmla="*/ 617313 h 617313"/>
                <a:gd name="connsiteX10" fmla="*/ 536994 w 579518"/>
                <a:gd name="connsiteY10" fmla="*/ 618573 h 61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9518" h="617313">
                  <a:moveTo>
                    <a:pt x="536994" y="618573"/>
                  </a:moveTo>
                  <a:cubicBezTo>
                    <a:pt x="457625" y="618573"/>
                    <a:pt x="292588" y="603455"/>
                    <a:pt x="166605" y="488811"/>
                  </a:cubicBezTo>
                  <a:cubicBezTo>
                    <a:pt x="51962" y="384246"/>
                    <a:pt x="-4731" y="222989"/>
                    <a:pt x="309" y="8819"/>
                  </a:cubicBezTo>
                  <a:cubicBezTo>
                    <a:pt x="309" y="3780"/>
                    <a:pt x="4088" y="0"/>
                    <a:pt x="9128" y="0"/>
                  </a:cubicBezTo>
                  <a:cubicBezTo>
                    <a:pt x="9128" y="0"/>
                    <a:pt x="9128" y="0"/>
                    <a:pt x="9128" y="0"/>
                  </a:cubicBezTo>
                  <a:cubicBezTo>
                    <a:pt x="14167" y="0"/>
                    <a:pt x="17946" y="5039"/>
                    <a:pt x="17946" y="10079"/>
                  </a:cubicBezTo>
                  <a:cubicBezTo>
                    <a:pt x="12907" y="217949"/>
                    <a:pt x="67079" y="374167"/>
                    <a:pt x="177944" y="474953"/>
                  </a:cubicBezTo>
                  <a:cubicBezTo>
                    <a:pt x="341721" y="623613"/>
                    <a:pt x="577308" y="598416"/>
                    <a:pt x="579828" y="598416"/>
                  </a:cubicBezTo>
                  <a:cubicBezTo>
                    <a:pt x="584867" y="598416"/>
                    <a:pt x="589906" y="600936"/>
                    <a:pt x="589906" y="607235"/>
                  </a:cubicBezTo>
                  <a:cubicBezTo>
                    <a:pt x="589906" y="612274"/>
                    <a:pt x="587387" y="617313"/>
                    <a:pt x="581087" y="617313"/>
                  </a:cubicBezTo>
                  <a:cubicBezTo>
                    <a:pt x="581087" y="616054"/>
                    <a:pt x="564710" y="618573"/>
                    <a:pt x="536994" y="618573"/>
                  </a:cubicBezTo>
                  <a:close/>
                </a:path>
              </a:pathLst>
            </a:custGeom>
            <a:solidFill>
              <a:srgbClr val="CADEEE"/>
            </a:solidFill>
            <a:ln w="12584" cap="flat">
              <a:noFill/>
              <a:prstDash val="solid"/>
              <a:miter/>
            </a:ln>
          </p:spPr>
          <p:txBody>
            <a:bodyPr rtlCol="0" anchor="ctr"/>
            <a:lstStyle/>
            <a:p>
              <a:endParaRPr lang="zh-CN" altLang="en-US"/>
            </a:p>
          </p:txBody>
        </p:sp>
        <p:sp>
          <p:nvSpPr>
            <p:cNvPr id="29" name="任意多边形: 形状 28"/>
            <p:cNvSpPr/>
            <p:nvPr/>
          </p:nvSpPr>
          <p:spPr>
            <a:xfrm>
              <a:off x="8030132" y="3726322"/>
              <a:ext cx="68643" cy="34321"/>
            </a:xfrm>
            <a:custGeom>
              <a:avLst/>
              <a:gdLst>
                <a:gd name="connsiteX0" fmla="*/ 9134 w 100785"/>
                <a:gd name="connsiteY0" fmla="*/ 60968 h 50392"/>
                <a:gd name="connsiteX1" fmla="*/ 2835 w 100785"/>
                <a:gd name="connsiteY1" fmla="*/ 58448 h 50392"/>
                <a:gd name="connsiteX2" fmla="*/ 2835 w 100785"/>
                <a:gd name="connsiteY2" fmla="*/ 44590 h 50392"/>
                <a:gd name="connsiteX3" fmla="*/ 41889 w 100785"/>
                <a:gd name="connsiteY3" fmla="*/ 3016 h 50392"/>
                <a:gd name="connsiteX4" fmla="*/ 54487 w 100785"/>
                <a:gd name="connsiteY4" fmla="*/ 1756 h 50392"/>
                <a:gd name="connsiteX5" fmla="*/ 99841 w 100785"/>
                <a:gd name="connsiteY5" fmla="*/ 38291 h 50392"/>
                <a:gd name="connsiteX6" fmla="*/ 101101 w 100785"/>
                <a:gd name="connsiteY6" fmla="*/ 52149 h 50392"/>
                <a:gd name="connsiteX7" fmla="*/ 87243 w 100785"/>
                <a:gd name="connsiteY7" fmla="*/ 53409 h 50392"/>
                <a:gd name="connsiteX8" fmla="*/ 48188 w 100785"/>
                <a:gd name="connsiteY8" fmla="*/ 21913 h 50392"/>
                <a:gd name="connsiteX9" fmla="*/ 14173 w 100785"/>
                <a:gd name="connsiteY9" fmla="*/ 57188 h 50392"/>
                <a:gd name="connsiteX10" fmla="*/ 9134 w 100785"/>
                <a:gd name="connsiteY10" fmla="*/ 60968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785" h="50392">
                  <a:moveTo>
                    <a:pt x="9134" y="60968"/>
                  </a:moveTo>
                  <a:cubicBezTo>
                    <a:pt x="6614" y="60968"/>
                    <a:pt x="4094" y="59708"/>
                    <a:pt x="2835" y="58448"/>
                  </a:cubicBezTo>
                  <a:cubicBezTo>
                    <a:pt x="-945" y="54669"/>
                    <a:pt x="-945" y="48370"/>
                    <a:pt x="2835" y="44590"/>
                  </a:cubicBezTo>
                  <a:lnTo>
                    <a:pt x="41889" y="3016"/>
                  </a:lnTo>
                  <a:cubicBezTo>
                    <a:pt x="45669" y="-764"/>
                    <a:pt x="50708" y="-764"/>
                    <a:pt x="54487" y="1756"/>
                  </a:cubicBezTo>
                  <a:lnTo>
                    <a:pt x="99841" y="38291"/>
                  </a:lnTo>
                  <a:cubicBezTo>
                    <a:pt x="103620" y="42071"/>
                    <a:pt x="104880" y="47110"/>
                    <a:pt x="101101" y="52149"/>
                  </a:cubicBezTo>
                  <a:cubicBezTo>
                    <a:pt x="97321" y="55928"/>
                    <a:pt x="92282" y="57188"/>
                    <a:pt x="87243" y="53409"/>
                  </a:cubicBezTo>
                  <a:lnTo>
                    <a:pt x="48188" y="21913"/>
                  </a:lnTo>
                  <a:lnTo>
                    <a:pt x="14173" y="57188"/>
                  </a:lnTo>
                  <a:cubicBezTo>
                    <a:pt x="14173" y="59708"/>
                    <a:pt x="11653" y="60968"/>
                    <a:pt x="9134" y="60968"/>
                  </a:cubicBezTo>
                  <a:close/>
                </a:path>
              </a:pathLst>
            </a:custGeom>
            <a:solidFill>
              <a:srgbClr val="CADEEE"/>
            </a:solidFill>
            <a:ln w="12584" cap="flat">
              <a:noFill/>
              <a:prstDash val="solid"/>
              <a:miter/>
            </a:ln>
          </p:spPr>
          <p:txBody>
            <a:bodyPr rtlCol="0" anchor="ctr"/>
            <a:lstStyle/>
            <a:p>
              <a:endParaRPr lang="zh-CN" altLang="en-US"/>
            </a:p>
          </p:txBody>
        </p:sp>
        <p:sp>
          <p:nvSpPr>
            <p:cNvPr id="30" name="任意多边形: 形状 29"/>
            <p:cNvSpPr/>
            <p:nvPr/>
          </p:nvSpPr>
          <p:spPr>
            <a:xfrm>
              <a:off x="8091268" y="3368860"/>
              <a:ext cx="523401" cy="163026"/>
            </a:xfrm>
            <a:custGeom>
              <a:avLst/>
              <a:gdLst>
                <a:gd name="connsiteX0" fmla="*/ 748335 w 768492"/>
                <a:gd name="connsiteY0" fmla="*/ 249445 h 239366"/>
                <a:gd name="connsiteX1" fmla="*/ 25196 w 768492"/>
                <a:gd name="connsiteY1" fmla="*/ 249445 h 239366"/>
                <a:gd name="connsiteX2" fmla="*/ 0 w 768492"/>
                <a:gd name="connsiteY2" fmla="*/ 224248 h 239366"/>
                <a:gd name="connsiteX3" fmla="*/ 0 w 768492"/>
                <a:gd name="connsiteY3" fmla="*/ 25196 h 239366"/>
                <a:gd name="connsiteX4" fmla="*/ 25196 w 768492"/>
                <a:gd name="connsiteY4" fmla="*/ 0 h 239366"/>
                <a:gd name="connsiteX5" fmla="*/ 748335 w 768492"/>
                <a:gd name="connsiteY5" fmla="*/ 0 h 239366"/>
                <a:gd name="connsiteX6" fmla="*/ 773532 w 768492"/>
                <a:gd name="connsiteY6" fmla="*/ 25196 h 239366"/>
                <a:gd name="connsiteX7" fmla="*/ 773532 w 768492"/>
                <a:gd name="connsiteY7" fmla="*/ 224248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8"/>
                  </a:cubicBezTo>
                  <a:lnTo>
                    <a:pt x="0" y="25196"/>
                  </a:lnTo>
                  <a:cubicBezTo>
                    <a:pt x="0" y="11338"/>
                    <a:pt x="11338" y="0"/>
                    <a:pt x="25196" y="0"/>
                  </a:cubicBezTo>
                  <a:lnTo>
                    <a:pt x="748335" y="0"/>
                  </a:lnTo>
                  <a:cubicBezTo>
                    <a:pt x="762193" y="0"/>
                    <a:pt x="773532" y="11338"/>
                    <a:pt x="773532" y="25196"/>
                  </a:cubicBezTo>
                  <a:lnTo>
                    <a:pt x="773532" y="224248"/>
                  </a:lnTo>
                  <a:cubicBezTo>
                    <a:pt x="773532" y="238107"/>
                    <a:pt x="762193" y="249445"/>
                    <a:pt x="748335" y="249445"/>
                  </a:cubicBezTo>
                  <a:close/>
                </a:path>
              </a:pathLst>
            </a:custGeom>
            <a:solidFill>
              <a:srgbClr val="CADEEE"/>
            </a:solidFill>
            <a:ln w="12584" cap="flat">
              <a:noFill/>
              <a:prstDash val="solid"/>
              <a:miter/>
            </a:ln>
          </p:spPr>
          <p:txBody>
            <a:bodyPr rtlCol="0" anchor="ctr"/>
            <a:lstStyle/>
            <a:p>
              <a:endParaRPr lang="zh-CN" altLang="en-US"/>
            </a:p>
          </p:txBody>
        </p:sp>
        <p:sp>
          <p:nvSpPr>
            <p:cNvPr id="31" name="任意多边形: 形状 30"/>
            <p:cNvSpPr/>
            <p:nvPr/>
          </p:nvSpPr>
          <p:spPr>
            <a:xfrm>
              <a:off x="7785807" y="3480404"/>
              <a:ext cx="523401" cy="163026"/>
            </a:xfrm>
            <a:custGeom>
              <a:avLst/>
              <a:gdLst>
                <a:gd name="connsiteX0" fmla="*/ 747075 w 768492"/>
                <a:gd name="connsiteY0" fmla="*/ 249445 h 239366"/>
                <a:gd name="connsiteX1" fmla="*/ 25196 w 768492"/>
                <a:gd name="connsiteY1" fmla="*/ 249445 h 239366"/>
                <a:gd name="connsiteX2" fmla="*/ 0 w 768492"/>
                <a:gd name="connsiteY2" fmla="*/ 224248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8 h 239366"/>
                <a:gd name="connsiteX8" fmla="*/ 74707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7075" y="249445"/>
                  </a:moveTo>
                  <a:lnTo>
                    <a:pt x="25196" y="249445"/>
                  </a:lnTo>
                  <a:cubicBezTo>
                    <a:pt x="11338" y="249445"/>
                    <a:pt x="0" y="238107"/>
                    <a:pt x="0" y="224248"/>
                  </a:cubicBezTo>
                  <a:lnTo>
                    <a:pt x="0" y="25196"/>
                  </a:lnTo>
                  <a:cubicBezTo>
                    <a:pt x="0" y="11338"/>
                    <a:pt x="11338" y="0"/>
                    <a:pt x="25196" y="0"/>
                  </a:cubicBezTo>
                  <a:lnTo>
                    <a:pt x="748335" y="0"/>
                  </a:lnTo>
                  <a:cubicBezTo>
                    <a:pt x="762193" y="0"/>
                    <a:pt x="773531" y="11338"/>
                    <a:pt x="773531" y="25196"/>
                  </a:cubicBezTo>
                  <a:lnTo>
                    <a:pt x="773531" y="224248"/>
                  </a:lnTo>
                  <a:cubicBezTo>
                    <a:pt x="772272" y="238107"/>
                    <a:pt x="760933" y="249445"/>
                    <a:pt x="747075" y="249445"/>
                  </a:cubicBezTo>
                  <a:close/>
                </a:path>
              </a:pathLst>
            </a:custGeom>
            <a:solidFill>
              <a:srgbClr val="CADEEE"/>
            </a:solidFill>
            <a:ln w="12584" cap="flat">
              <a:noFill/>
              <a:prstDash val="solid"/>
              <a:miter/>
            </a:ln>
          </p:spPr>
          <p:txBody>
            <a:bodyPr rtlCol="0" anchor="ctr"/>
            <a:lstStyle/>
            <a:p>
              <a:endParaRPr lang="zh-CN" altLang="en-US"/>
            </a:p>
          </p:txBody>
        </p:sp>
        <p:sp>
          <p:nvSpPr>
            <p:cNvPr id="32" name="任意多边形: 形状 31"/>
            <p:cNvSpPr/>
            <p:nvPr/>
          </p:nvSpPr>
          <p:spPr>
            <a:xfrm>
              <a:off x="8091268" y="3324242"/>
              <a:ext cx="523401" cy="163026"/>
            </a:xfrm>
            <a:custGeom>
              <a:avLst/>
              <a:gdLst>
                <a:gd name="connsiteX0" fmla="*/ 74833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2 w 768492"/>
                <a:gd name="connsiteY6" fmla="*/ 25196 h 239366"/>
                <a:gd name="connsiteX7" fmla="*/ 773532 w 768492"/>
                <a:gd name="connsiteY7" fmla="*/ 224249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9"/>
                  </a:cubicBezTo>
                  <a:lnTo>
                    <a:pt x="0" y="25196"/>
                  </a:lnTo>
                  <a:cubicBezTo>
                    <a:pt x="0" y="11339"/>
                    <a:pt x="11338" y="0"/>
                    <a:pt x="25196" y="0"/>
                  </a:cubicBezTo>
                  <a:lnTo>
                    <a:pt x="748335" y="0"/>
                  </a:lnTo>
                  <a:cubicBezTo>
                    <a:pt x="762193" y="0"/>
                    <a:pt x="773532" y="11339"/>
                    <a:pt x="773532" y="25196"/>
                  </a:cubicBezTo>
                  <a:lnTo>
                    <a:pt x="773532" y="224249"/>
                  </a:lnTo>
                  <a:cubicBezTo>
                    <a:pt x="773532" y="238107"/>
                    <a:pt x="762193" y="249445"/>
                    <a:pt x="748335" y="249445"/>
                  </a:cubicBezTo>
                  <a:close/>
                </a:path>
              </a:pathLst>
            </a:custGeom>
            <a:solidFill>
              <a:srgbClr val="1943F1"/>
            </a:solidFill>
            <a:ln w="12584" cap="flat">
              <a:noFill/>
              <a:prstDash val="solid"/>
              <a:miter/>
            </a:ln>
          </p:spPr>
          <p:txBody>
            <a:bodyPr rtlCol="0" anchor="ctr"/>
            <a:lstStyle/>
            <a:p>
              <a:endParaRPr lang="zh-CN" altLang="en-US"/>
            </a:p>
          </p:txBody>
        </p:sp>
        <p:sp>
          <p:nvSpPr>
            <p:cNvPr id="33" name="任意多边形: 形状 32"/>
            <p:cNvSpPr/>
            <p:nvPr/>
          </p:nvSpPr>
          <p:spPr>
            <a:xfrm>
              <a:off x="9936043" y="2712463"/>
              <a:ext cx="523401" cy="163026"/>
            </a:xfrm>
            <a:custGeom>
              <a:avLst/>
              <a:gdLst>
                <a:gd name="connsiteX0" fmla="*/ 74833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9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9"/>
                  </a:cubicBezTo>
                  <a:lnTo>
                    <a:pt x="0" y="25196"/>
                  </a:lnTo>
                  <a:cubicBezTo>
                    <a:pt x="0" y="11338"/>
                    <a:pt x="11338" y="0"/>
                    <a:pt x="25196" y="0"/>
                  </a:cubicBezTo>
                  <a:lnTo>
                    <a:pt x="748335" y="0"/>
                  </a:lnTo>
                  <a:cubicBezTo>
                    <a:pt x="762193" y="0"/>
                    <a:pt x="773531" y="11338"/>
                    <a:pt x="773531" y="25196"/>
                  </a:cubicBezTo>
                  <a:lnTo>
                    <a:pt x="773531" y="224249"/>
                  </a:lnTo>
                  <a:cubicBezTo>
                    <a:pt x="772272" y="238107"/>
                    <a:pt x="760933" y="249445"/>
                    <a:pt x="748335" y="249445"/>
                  </a:cubicBezTo>
                  <a:close/>
                </a:path>
              </a:pathLst>
            </a:custGeom>
            <a:solidFill>
              <a:srgbClr val="CADEEE"/>
            </a:solidFill>
            <a:ln w="12584" cap="flat">
              <a:noFill/>
              <a:prstDash val="solid"/>
              <a:miter/>
            </a:ln>
          </p:spPr>
          <p:txBody>
            <a:bodyPr rtlCol="0" anchor="ctr"/>
            <a:lstStyle/>
            <a:p>
              <a:endParaRPr lang="zh-CN" altLang="en-US"/>
            </a:p>
          </p:txBody>
        </p:sp>
        <p:sp>
          <p:nvSpPr>
            <p:cNvPr id="34" name="任意多边形: 形状 33"/>
            <p:cNvSpPr/>
            <p:nvPr/>
          </p:nvSpPr>
          <p:spPr>
            <a:xfrm>
              <a:off x="10217478" y="2932978"/>
              <a:ext cx="240250" cy="163026"/>
            </a:xfrm>
            <a:custGeom>
              <a:avLst/>
              <a:gdLst>
                <a:gd name="connsiteX0" fmla="*/ 335113 w 352750"/>
                <a:gd name="connsiteY0" fmla="*/ 249445 h 239366"/>
                <a:gd name="connsiteX1" fmla="*/ 25196 w 352750"/>
                <a:gd name="connsiteY1" fmla="*/ 249445 h 239366"/>
                <a:gd name="connsiteX2" fmla="*/ 0 w 352750"/>
                <a:gd name="connsiteY2" fmla="*/ 224248 h 239366"/>
                <a:gd name="connsiteX3" fmla="*/ 0 w 352750"/>
                <a:gd name="connsiteY3" fmla="*/ 25196 h 239366"/>
                <a:gd name="connsiteX4" fmla="*/ 25196 w 352750"/>
                <a:gd name="connsiteY4" fmla="*/ 0 h 239366"/>
                <a:gd name="connsiteX5" fmla="*/ 335113 w 352750"/>
                <a:gd name="connsiteY5" fmla="*/ 0 h 239366"/>
                <a:gd name="connsiteX6" fmla="*/ 360309 w 352750"/>
                <a:gd name="connsiteY6" fmla="*/ 25196 h 239366"/>
                <a:gd name="connsiteX7" fmla="*/ 360309 w 352750"/>
                <a:gd name="connsiteY7" fmla="*/ 224248 h 239366"/>
                <a:gd name="connsiteX8" fmla="*/ 335113 w 352750"/>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750" h="239366">
                  <a:moveTo>
                    <a:pt x="335113" y="249445"/>
                  </a:moveTo>
                  <a:lnTo>
                    <a:pt x="25196" y="249445"/>
                  </a:lnTo>
                  <a:cubicBezTo>
                    <a:pt x="11338" y="249445"/>
                    <a:pt x="0" y="238107"/>
                    <a:pt x="0" y="224248"/>
                  </a:cubicBezTo>
                  <a:lnTo>
                    <a:pt x="0" y="25196"/>
                  </a:lnTo>
                  <a:cubicBezTo>
                    <a:pt x="0" y="11338"/>
                    <a:pt x="11338" y="0"/>
                    <a:pt x="25196" y="0"/>
                  </a:cubicBezTo>
                  <a:lnTo>
                    <a:pt x="335113" y="0"/>
                  </a:lnTo>
                  <a:cubicBezTo>
                    <a:pt x="348971" y="0"/>
                    <a:pt x="360309" y="11338"/>
                    <a:pt x="360309" y="25196"/>
                  </a:cubicBezTo>
                  <a:lnTo>
                    <a:pt x="360309" y="224248"/>
                  </a:lnTo>
                  <a:cubicBezTo>
                    <a:pt x="359050" y="238107"/>
                    <a:pt x="347711" y="249445"/>
                    <a:pt x="335113" y="249445"/>
                  </a:cubicBezTo>
                  <a:close/>
                </a:path>
              </a:pathLst>
            </a:custGeom>
            <a:solidFill>
              <a:srgbClr val="CADEEE"/>
            </a:solidFill>
            <a:ln w="12584" cap="flat">
              <a:noFill/>
              <a:prstDash val="solid"/>
              <a:miter/>
            </a:ln>
          </p:spPr>
          <p:txBody>
            <a:bodyPr rtlCol="0" anchor="ctr"/>
            <a:lstStyle/>
            <a:p>
              <a:endParaRPr lang="zh-CN" altLang="en-US"/>
            </a:p>
          </p:txBody>
        </p:sp>
        <p:sp>
          <p:nvSpPr>
            <p:cNvPr id="35" name="任意多边形: 形状 34"/>
            <p:cNvSpPr/>
            <p:nvPr/>
          </p:nvSpPr>
          <p:spPr>
            <a:xfrm>
              <a:off x="9936043" y="2655833"/>
              <a:ext cx="523401" cy="163026"/>
            </a:xfrm>
            <a:custGeom>
              <a:avLst/>
              <a:gdLst>
                <a:gd name="connsiteX0" fmla="*/ 74833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9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9"/>
                  </a:cubicBezTo>
                  <a:lnTo>
                    <a:pt x="0" y="25196"/>
                  </a:lnTo>
                  <a:cubicBezTo>
                    <a:pt x="0" y="11338"/>
                    <a:pt x="11338" y="0"/>
                    <a:pt x="25196" y="0"/>
                  </a:cubicBezTo>
                  <a:lnTo>
                    <a:pt x="748335" y="0"/>
                  </a:lnTo>
                  <a:cubicBezTo>
                    <a:pt x="762193" y="0"/>
                    <a:pt x="773531" y="11338"/>
                    <a:pt x="773531" y="25196"/>
                  </a:cubicBezTo>
                  <a:lnTo>
                    <a:pt x="773531" y="224249"/>
                  </a:lnTo>
                  <a:cubicBezTo>
                    <a:pt x="772272" y="238107"/>
                    <a:pt x="760933" y="249445"/>
                    <a:pt x="748335" y="249445"/>
                  </a:cubicBezTo>
                  <a:close/>
                </a:path>
              </a:pathLst>
            </a:custGeom>
            <a:solidFill>
              <a:srgbClr val="FFD671"/>
            </a:solidFill>
            <a:ln w="12584" cap="flat">
              <a:noFill/>
              <a:prstDash val="solid"/>
              <a:miter/>
            </a:ln>
          </p:spPr>
          <p:txBody>
            <a:bodyPr rtlCol="0" anchor="ctr"/>
            <a:lstStyle/>
            <a:p>
              <a:endParaRPr lang="zh-CN" altLang="en-US"/>
            </a:p>
          </p:txBody>
        </p:sp>
        <p:sp>
          <p:nvSpPr>
            <p:cNvPr id="36" name="任意多边形: 形状 35"/>
            <p:cNvSpPr/>
            <p:nvPr/>
          </p:nvSpPr>
          <p:spPr>
            <a:xfrm>
              <a:off x="10217478" y="2877206"/>
              <a:ext cx="240250" cy="163026"/>
            </a:xfrm>
            <a:custGeom>
              <a:avLst/>
              <a:gdLst>
                <a:gd name="connsiteX0" fmla="*/ 335113 w 352750"/>
                <a:gd name="connsiteY0" fmla="*/ 248185 h 239366"/>
                <a:gd name="connsiteX1" fmla="*/ 25196 w 352750"/>
                <a:gd name="connsiteY1" fmla="*/ 248185 h 239366"/>
                <a:gd name="connsiteX2" fmla="*/ 0 w 352750"/>
                <a:gd name="connsiteY2" fmla="*/ 222989 h 239366"/>
                <a:gd name="connsiteX3" fmla="*/ 0 w 352750"/>
                <a:gd name="connsiteY3" fmla="*/ 25196 h 239366"/>
                <a:gd name="connsiteX4" fmla="*/ 25196 w 352750"/>
                <a:gd name="connsiteY4" fmla="*/ 0 h 239366"/>
                <a:gd name="connsiteX5" fmla="*/ 335113 w 352750"/>
                <a:gd name="connsiteY5" fmla="*/ 0 h 239366"/>
                <a:gd name="connsiteX6" fmla="*/ 360309 w 352750"/>
                <a:gd name="connsiteY6" fmla="*/ 25196 h 239366"/>
                <a:gd name="connsiteX7" fmla="*/ 360309 w 352750"/>
                <a:gd name="connsiteY7" fmla="*/ 222989 h 239366"/>
                <a:gd name="connsiteX8" fmla="*/ 335113 w 352750"/>
                <a:gd name="connsiteY8" fmla="*/ 24818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750" h="239366">
                  <a:moveTo>
                    <a:pt x="335113" y="248185"/>
                  </a:moveTo>
                  <a:lnTo>
                    <a:pt x="25196" y="248185"/>
                  </a:lnTo>
                  <a:cubicBezTo>
                    <a:pt x="11338" y="248185"/>
                    <a:pt x="0" y="236847"/>
                    <a:pt x="0" y="222989"/>
                  </a:cubicBezTo>
                  <a:lnTo>
                    <a:pt x="0" y="25196"/>
                  </a:lnTo>
                  <a:cubicBezTo>
                    <a:pt x="0" y="11338"/>
                    <a:pt x="11338" y="0"/>
                    <a:pt x="25196" y="0"/>
                  </a:cubicBezTo>
                  <a:lnTo>
                    <a:pt x="335113" y="0"/>
                  </a:lnTo>
                  <a:cubicBezTo>
                    <a:pt x="348971" y="0"/>
                    <a:pt x="360309" y="11338"/>
                    <a:pt x="360309" y="25196"/>
                  </a:cubicBezTo>
                  <a:lnTo>
                    <a:pt x="360309" y="222989"/>
                  </a:lnTo>
                  <a:cubicBezTo>
                    <a:pt x="359050" y="236847"/>
                    <a:pt x="347711" y="248185"/>
                    <a:pt x="335113" y="248185"/>
                  </a:cubicBezTo>
                  <a:close/>
                </a:path>
              </a:pathLst>
            </a:custGeom>
            <a:solidFill>
              <a:srgbClr val="1943F1"/>
            </a:solidFill>
            <a:ln w="12584" cap="flat">
              <a:noFill/>
              <a:prstDash val="solid"/>
              <a:miter/>
            </a:ln>
          </p:spPr>
          <p:txBody>
            <a:bodyPr rtlCol="0" anchor="ctr"/>
            <a:lstStyle/>
            <a:p>
              <a:endParaRPr lang="zh-CN" altLang="en-US"/>
            </a:p>
          </p:txBody>
        </p:sp>
        <p:sp>
          <p:nvSpPr>
            <p:cNvPr id="37" name="任意多边形: 形状 36"/>
            <p:cNvSpPr/>
            <p:nvPr/>
          </p:nvSpPr>
          <p:spPr>
            <a:xfrm>
              <a:off x="7785807" y="3434929"/>
              <a:ext cx="523401" cy="163026"/>
            </a:xfrm>
            <a:custGeom>
              <a:avLst/>
              <a:gdLst>
                <a:gd name="connsiteX0" fmla="*/ 74707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9 h 239366"/>
                <a:gd name="connsiteX8" fmla="*/ 74707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7075" y="249445"/>
                  </a:moveTo>
                  <a:lnTo>
                    <a:pt x="25196" y="249445"/>
                  </a:lnTo>
                  <a:cubicBezTo>
                    <a:pt x="11338" y="249445"/>
                    <a:pt x="0" y="238107"/>
                    <a:pt x="0" y="224249"/>
                  </a:cubicBezTo>
                  <a:lnTo>
                    <a:pt x="0" y="25196"/>
                  </a:lnTo>
                  <a:cubicBezTo>
                    <a:pt x="0" y="11338"/>
                    <a:pt x="11338" y="0"/>
                    <a:pt x="25196" y="0"/>
                  </a:cubicBezTo>
                  <a:lnTo>
                    <a:pt x="748335" y="0"/>
                  </a:lnTo>
                  <a:cubicBezTo>
                    <a:pt x="762193" y="0"/>
                    <a:pt x="773531" y="11338"/>
                    <a:pt x="773531" y="25196"/>
                  </a:cubicBezTo>
                  <a:lnTo>
                    <a:pt x="773531" y="224249"/>
                  </a:lnTo>
                  <a:cubicBezTo>
                    <a:pt x="772272" y="239366"/>
                    <a:pt x="760933" y="249445"/>
                    <a:pt x="747075" y="249445"/>
                  </a:cubicBezTo>
                  <a:close/>
                </a:path>
              </a:pathLst>
            </a:custGeom>
            <a:solidFill>
              <a:srgbClr val="FFD671"/>
            </a:solidFill>
            <a:ln w="12584" cap="flat">
              <a:noFill/>
              <a:prstDash val="solid"/>
              <a:miter/>
            </a:ln>
          </p:spPr>
          <p:txBody>
            <a:bodyPr rtlCol="0" anchor="ctr"/>
            <a:lstStyle/>
            <a:p>
              <a:endParaRPr lang="zh-CN" altLang="en-US"/>
            </a:p>
          </p:txBody>
        </p:sp>
        <p:sp>
          <p:nvSpPr>
            <p:cNvPr id="38" name="任意多边形: 形状 37"/>
            <p:cNvSpPr/>
            <p:nvPr/>
          </p:nvSpPr>
          <p:spPr>
            <a:xfrm>
              <a:off x="10171450" y="3911851"/>
              <a:ext cx="429018" cy="926677"/>
            </a:xfrm>
            <a:custGeom>
              <a:avLst/>
              <a:gdLst>
                <a:gd name="connsiteX0" fmla="*/ 416553 w 629911"/>
                <a:gd name="connsiteY0" fmla="*/ 1364602 h 1360609"/>
                <a:gd name="connsiteX1" fmla="*/ 582850 w 629911"/>
                <a:gd name="connsiteY1" fmla="*/ 1120196 h 1360609"/>
                <a:gd name="connsiteX2" fmla="*/ 615606 w 629911"/>
                <a:gd name="connsiteY2" fmla="*/ 715793 h 1360609"/>
                <a:gd name="connsiteX3" fmla="*/ 405215 w 629911"/>
                <a:gd name="connsiteY3" fmla="*/ 386979 h 1360609"/>
                <a:gd name="connsiteX4" fmla="*/ 338445 w 629911"/>
                <a:gd name="connsiteY4" fmla="*/ 95960 h 1360609"/>
                <a:gd name="connsiteX5" fmla="*/ 13410 w 629911"/>
                <a:gd name="connsiteY5" fmla="*/ 249658 h 1360609"/>
                <a:gd name="connsiteX6" fmla="*/ 125534 w 629911"/>
                <a:gd name="connsiteY6" fmla="*/ 540677 h 1360609"/>
                <a:gd name="connsiteX7" fmla="*/ 121755 w 629911"/>
                <a:gd name="connsiteY7" fmla="*/ 845554 h 1360609"/>
                <a:gd name="connsiteX8" fmla="*/ 242698 w 629911"/>
                <a:gd name="connsiteY8" fmla="*/ 1157990 h 1360609"/>
                <a:gd name="connsiteX9" fmla="*/ 416553 w 629911"/>
                <a:gd name="connsiteY9" fmla="*/ 1364602 h 13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911" h="1360609">
                  <a:moveTo>
                    <a:pt x="416553" y="1364602"/>
                  </a:moveTo>
                  <a:cubicBezTo>
                    <a:pt x="511040" y="1350744"/>
                    <a:pt x="599228" y="1305390"/>
                    <a:pt x="582850" y="1120196"/>
                  </a:cubicBezTo>
                  <a:cubicBezTo>
                    <a:pt x="566472" y="935002"/>
                    <a:pt x="667258" y="890908"/>
                    <a:pt x="615606" y="715793"/>
                  </a:cubicBezTo>
                  <a:cubicBezTo>
                    <a:pt x="563953" y="540677"/>
                    <a:pt x="401436" y="533118"/>
                    <a:pt x="405215" y="386979"/>
                  </a:cubicBezTo>
                  <a:cubicBezTo>
                    <a:pt x="407735" y="315169"/>
                    <a:pt x="392617" y="185407"/>
                    <a:pt x="338445" y="95960"/>
                  </a:cubicBezTo>
                  <a:cubicBezTo>
                    <a:pt x="247737" y="-53959"/>
                    <a:pt x="-68479" y="-46401"/>
                    <a:pt x="13410" y="249658"/>
                  </a:cubicBezTo>
                  <a:cubicBezTo>
                    <a:pt x="41126" y="350444"/>
                    <a:pt x="121755" y="407136"/>
                    <a:pt x="125534" y="540677"/>
                  </a:cubicBezTo>
                  <a:cubicBezTo>
                    <a:pt x="128054" y="635164"/>
                    <a:pt x="78921" y="675478"/>
                    <a:pt x="121755" y="845554"/>
                  </a:cubicBezTo>
                  <a:cubicBezTo>
                    <a:pt x="160809" y="997993"/>
                    <a:pt x="255296" y="1006812"/>
                    <a:pt x="242698" y="1157990"/>
                  </a:cubicBezTo>
                  <a:cubicBezTo>
                    <a:pt x="230100" y="1310429"/>
                    <a:pt x="304429" y="1380979"/>
                    <a:pt x="416553" y="1364602"/>
                  </a:cubicBezTo>
                  <a:close/>
                </a:path>
              </a:pathLst>
            </a:custGeom>
            <a:solidFill>
              <a:srgbClr val="10BE61"/>
            </a:solidFill>
            <a:ln w="12584" cap="flat">
              <a:noFill/>
              <a:prstDash val="solid"/>
              <a:miter/>
            </a:ln>
          </p:spPr>
          <p:txBody>
            <a:bodyPr rtlCol="0" anchor="ctr"/>
            <a:lstStyle/>
            <a:p>
              <a:endParaRPr lang="zh-CN" altLang="en-US"/>
            </a:p>
          </p:txBody>
        </p:sp>
        <p:sp>
          <p:nvSpPr>
            <p:cNvPr id="39" name="任意多边形: 形状 38"/>
            <p:cNvSpPr/>
            <p:nvPr/>
          </p:nvSpPr>
          <p:spPr>
            <a:xfrm>
              <a:off x="10263458" y="3918694"/>
              <a:ext cx="205929" cy="892356"/>
            </a:xfrm>
            <a:custGeom>
              <a:avLst/>
              <a:gdLst>
                <a:gd name="connsiteX0" fmla="*/ 304138 w 302357"/>
                <a:gd name="connsiteY0" fmla="*/ 1320539 h 1310216"/>
                <a:gd name="connsiteX1" fmla="*/ 307918 w 302357"/>
                <a:gd name="connsiteY1" fmla="*/ 1319279 h 1310216"/>
                <a:gd name="connsiteX2" fmla="*/ 311697 w 302357"/>
                <a:gd name="connsiteY2" fmla="*/ 1304162 h 1310216"/>
                <a:gd name="connsiteX3" fmla="*/ 277682 w 302357"/>
                <a:gd name="connsiteY3" fmla="*/ 1142904 h 1310216"/>
                <a:gd name="connsiteX4" fmla="*/ 276422 w 302357"/>
                <a:gd name="connsiteY4" fmla="*/ 1059755 h 1310216"/>
                <a:gd name="connsiteX5" fmla="*/ 215951 w 302357"/>
                <a:gd name="connsiteY5" fmla="*/ 621337 h 1310216"/>
                <a:gd name="connsiteX6" fmla="*/ 137842 w 302357"/>
                <a:gd name="connsiteY6" fmla="*/ 476457 h 1310216"/>
                <a:gd name="connsiteX7" fmla="*/ 58473 w 302357"/>
                <a:gd name="connsiteY7" fmla="*/ 326539 h 1310216"/>
                <a:gd name="connsiteX8" fmla="*/ 33276 w 302357"/>
                <a:gd name="connsiteY8" fmla="*/ 12842 h 1310216"/>
                <a:gd name="connsiteX9" fmla="*/ 25717 w 302357"/>
                <a:gd name="connsiteY9" fmla="*/ 244 h 1310216"/>
                <a:gd name="connsiteX10" fmla="*/ 13119 w 302357"/>
                <a:gd name="connsiteY10" fmla="*/ 7803 h 1310216"/>
                <a:gd name="connsiteX11" fmla="*/ 39575 w 302357"/>
                <a:gd name="connsiteY11" fmla="*/ 334097 h 1310216"/>
                <a:gd name="connsiteX12" fmla="*/ 120204 w 302357"/>
                <a:gd name="connsiteY12" fmla="*/ 486536 h 1310216"/>
                <a:gd name="connsiteX13" fmla="*/ 197053 w 302357"/>
                <a:gd name="connsiteY13" fmla="*/ 628896 h 1310216"/>
                <a:gd name="connsiteX14" fmla="*/ 256265 w 302357"/>
                <a:gd name="connsiteY14" fmla="*/ 1059755 h 1310216"/>
                <a:gd name="connsiteX15" fmla="*/ 257525 w 302357"/>
                <a:gd name="connsiteY15" fmla="*/ 1142904 h 1310216"/>
                <a:gd name="connsiteX16" fmla="*/ 295319 w 302357"/>
                <a:gd name="connsiteY16" fmla="*/ 1315500 h 1310216"/>
                <a:gd name="connsiteX17" fmla="*/ 304138 w 302357"/>
                <a:gd name="connsiteY17" fmla="*/ 1320539 h 131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2357" h="1310216">
                  <a:moveTo>
                    <a:pt x="304138" y="1320539"/>
                  </a:moveTo>
                  <a:cubicBezTo>
                    <a:pt x="305398" y="1320539"/>
                    <a:pt x="306658" y="1319279"/>
                    <a:pt x="307918" y="1319279"/>
                  </a:cubicBezTo>
                  <a:cubicBezTo>
                    <a:pt x="312957" y="1316760"/>
                    <a:pt x="314217" y="1309201"/>
                    <a:pt x="311697" y="1304162"/>
                  </a:cubicBezTo>
                  <a:cubicBezTo>
                    <a:pt x="282721" y="1257548"/>
                    <a:pt x="278942" y="1199596"/>
                    <a:pt x="277682" y="1142904"/>
                  </a:cubicBezTo>
                  <a:cubicBezTo>
                    <a:pt x="276422" y="1115188"/>
                    <a:pt x="276422" y="1087472"/>
                    <a:pt x="276422" y="1059755"/>
                  </a:cubicBezTo>
                  <a:cubicBezTo>
                    <a:pt x="275162" y="912356"/>
                    <a:pt x="272643" y="758658"/>
                    <a:pt x="215951" y="621337"/>
                  </a:cubicBezTo>
                  <a:cubicBezTo>
                    <a:pt x="194534" y="570944"/>
                    <a:pt x="165558" y="523071"/>
                    <a:pt x="137842" y="476457"/>
                  </a:cubicBezTo>
                  <a:cubicBezTo>
                    <a:pt x="108866" y="428584"/>
                    <a:pt x="79890" y="379451"/>
                    <a:pt x="58473" y="326539"/>
                  </a:cubicBezTo>
                  <a:cubicBezTo>
                    <a:pt x="19418" y="228272"/>
                    <a:pt x="10599" y="116148"/>
                    <a:pt x="33276" y="12842"/>
                  </a:cubicBezTo>
                  <a:cubicBezTo>
                    <a:pt x="34536" y="6543"/>
                    <a:pt x="30757" y="1504"/>
                    <a:pt x="25717" y="244"/>
                  </a:cubicBezTo>
                  <a:cubicBezTo>
                    <a:pt x="19418" y="-1016"/>
                    <a:pt x="14379" y="2764"/>
                    <a:pt x="13119" y="7803"/>
                  </a:cubicBezTo>
                  <a:cubicBezTo>
                    <a:pt x="-10817" y="116148"/>
                    <a:pt x="-1999" y="230792"/>
                    <a:pt x="39575" y="334097"/>
                  </a:cubicBezTo>
                  <a:cubicBezTo>
                    <a:pt x="60992" y="388270"/>
                    <a:pt x="91228" y="438663"/>
                    <a:pt x="120204" y="486536"/>
                  </a:cubicBezTo>
                  <a:cubicBezTo>
                    <a:pt x="147920" y="531890"/>
                    <a:pt x="175636" y="579763"/>
                    <a:pt x="197053" y="628896"/>
                  </a:cubicBezTo>
                  <a:cubicBezTo>
                    <a:pt x="253745" y="762437"/>
                    <a:pt x="255005" y="913616"/>
                    <a:pt x="256265" y="1059755"/>
                  </a:cubicBezTo>
                  <a:cubicBezTo>
                    <a:pt x="256265" y="1087472"/>
                    <a:pt x="256265" y="1115188"/>
                    <a:pt x="257525" y="1142904"/>
                  </a:cubicBezTo>
                  <a:cubicBezTo>
                    <a:pt x="258785" y="1202116"/>
                    <a:pt x="262564" y="1263847"/>
                    <a:pt x="295319" y="1315500"/>
                  </a:cubicBezTo>
                  <a:cubicBezTo>
                    <a:pt x="295319" y="1319279"/>
                    <a:pt x="300359" y="1321799"/>
                    <a:pt x="304138" y="1320539"/>
                  </a:cubicBezTo>
                  <a:close/>
                </a:path>
              </a:pathLst>
            </a:custGeom>
            <a:solidFill>
              <a:srgbClr val="56E395"/>
            </a:solidFill>
            <a:ln w="12584" cap="flat">
              <a:noFill/>
              <a:prstDash val="solid"/>
              <a:miter/>
            </a:ln>
          </p:spPr>
          <p:txBody>
            <a:bodyPr rtlCol="0" anchor="ctr"/>
            <a:lstStyle/>
            <a:p>
              <a:endParaRPr lang="zh-CN" altLang="en-US"/>
            </a:p>
          </p:txBody>
        </p:sp>
        <p:sp>
          <p:nvSpPr>
            <p:cNvPr id="40" name="任意多边形: 形状 39"/>
            <p:cNvSpPr/>
            <p:nvPr/>
          </p:nvSpPr>
          <p:spPr>
            <a:xfrm>
              <a:off x="10435638" y="4378071"/>
              <a:ext cx="137286" cy="180187"/>
            </a:xfrm>
            <a:custGeom>
              <a:avLst/>
              <a:gdLst>
                <a:gd name="connsiteX0" fmla="*/ 12276 w 201571"/>
                <a:gd name="connsiteY0" fmla="*/ 264325 h 264562"/>
                <a:gd name="connsiteX1" fmla="*/ 19835 w 201571"/>
                <a:gd name="connsiteY1" fmla="*/ 259286 h 264562"/>
                <a:gd name="connsiteX2" fmla="*/ 199990 w 201571"/>
                <a:gd name="connsiteY2" fmla="*/ 17400 h 264562"/>
                <a:gd name="connsiteX3" fmla="*/ 198730 w 201571"/>
                <a:gd name="connsiteY3" fmla="*/ 2282 h 264562"/>
                <a:gd name="connsiteX4" fmla="*/ 183612 w 201571"/>
                <a:gd name="connsiteY4" fmla="*/ 3542 h 264562"/>
                <a:gd name="connsiteX5" fmla="*/ 2197 w 201571"/>
                <a:gd name="connsiteY5" fmla="*/ 246688 h 264562"/>
                <a:gd name="connsiteX6" fmla="*/ 4717 w 201571"/>
                <a:gd name="connsiteY6" fmla="*/ 261806 h 264562"/>
                <a:gd name="connsiteX7" fmla="*/ 12276 w 201571"/>
                <a:gd name="connsiteY7" fmla="*/ 264325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571" h="264562">
                  <a:moveTo>
                    <a:pt x="12276" y="264325"/>
                  </a:moveTo>
                  <a:cubicBezTo>
                    <a:pt x="14796" y="264325"/>
                    <a:pt x="17315" y="261806"/>
                    <a:pt x="19835" y="259286"/>
                  </a:cubicBezTo>
                  <a:cubicBezTo>
                    <a:pt x="77787" y="177397"/>
                    <a:pt x="138259" y="95509"/>
                    <a:pt x="199990" y="17400"/>
                  </a:cubicBezTo>
                  <a:cubicBezTo>
                    <a:pt x="203769" y="12361"/>
                    <a:pt x="202510" y="6061"/>
                    <a:pt x="198730" y="2282"/>
                  </a:cubicBezTo>
                  <a:cubicBezTo>
                    <a:pt x="193691" y="-1497"/>
                    <a:pt x="187392" y="-238"/>
                    <a:pt x="183612" y="3542"/>
                  </a:cubicBezTo>
                  <a:cubicBezTo>
                    <a:pt x="120621" y="82911"/>
                    <a:pt x="60149" y="164799"/>
                    <a:pt x="2197" y="246688"/>
                  </a:cubicBezTo>
                  <a:cubicBezTo>
                    <a:pt x="-1582" y="251727"/>
                    <a:pt x="-322" y="258026"/>
                    <a:pt x="4717" y="261806"/>
                  </a:cubicBezTo>
                  <a:cubicBezTo>
                    <a:pt x="7237" y="264325"/>
                    <a:pt x="9756" y="265585"/>
                    <a:pt x="12276" y="264325"/>
                  </a:cubicBezTo>
                  <a:close/>
                </a:path>
              </a:pathLst>
            </a:custGeom>
            <a:solidFill>
              <a:srgbClr val="56E395"/>
            </a:solidFill>
            <a:ln w="12584" cap="flat">
              <a:noFill/>
              <a:prstDash val="solid"/>
              <a:miter/>
            </a:ln>
          </p:spPr>
          <p:txBody>
            <a:bodyPr rtlCol="0" anchor="ctr"/>
            <a:lstStyle/>
            <a:p>
              <a:endParaRPr lang="zh-CN" altLang="en-US"/>
            </a:p>
          </p:txBody>
        </p:sp>
        <p:sp>
          <p:nvSpPr>
            <p:cNvPr id="41" name="任意多边形: 形状 40"/>
            <p:cNvSpPr/>
            <p:nvPr/>
          </p:nvSpPr>
          <p:spPr>
            <a:xfrm>
              <a:off x="10437355" y="4456633"/>
              <a:ext cx="120125" cy="145866"/>
            </a:xfrm>
            <a:custGeom>
              <a:avLst/>
              <a:gdLst>
                <a:gd name="connsiteX0" fmla="*/ 11016 w 176375"/>
                <a:gd name="connsiteY0" fmla="*/ 214485 h 214169"/>
                <a:gd name="connsiteX1" fmla="*/ 18575 w 176375"/>
                <a:gd name="connsiteY1" fmla="*/ 210706 h 214169"/>
                <a:gd name="connsiteX2" fmla="*/ 179833 w 176375"/>
                <a:gd name="connsiteY2" fmla="*/ 17952 h 214169"/>
                <a:gd name="connsiteX3" fmla="*/ 179833 w 176375"/>
                <a:gd name="connsiteY3" fmla="*/ 2835 h 214169"/>
                <a:gd name="connsiteX4" fmla="*/ 164715 w 176375"/>
                <a:gd name="connsiteY4" fmla="*/ 2835 h 214169"/>
                <a:gd name="connsiteX5" fmla="*/ 2198 w 176375"/>
                <a:gd name="connsiteY5" fmla="*/ 198107 h 214169"/>
                <a:gd name="connsiteX6" fmla="*/ 4717 w 176375"/>
                <a:gd name="connsiteY6" fmla="*/ 213225 h 214169"/>
                <a:gd name="connsiteX7" fmla="*/ 11016 w 176375"/>
                <a:gd name="connsiteY7" fmla="*/ 214485 h 21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214169">
                  <a:moveTo>
                    <a:pt x="11016" y="214485"/>
                  </a:moveTo>
                  <a:cubicBezTo>
                    <a:pt x="13536" y="214485"/>
                    <a:pt x="16056" y="213225"/>
                    <a:pt x="18575" y="210706"/>
                  </a:cubicBezTo>
                  <a:cubicBezTo>
                    <a:pt x="67708" y="142675"/>
                    <a:pt x="121881" y="78424"/>
                    <a:pt x="179833" y="17952"/>
                  </a:cubicBezTo>
                  <a:cubicBezTo>
                    <a:pt x="183612" y="14173"/>
                    <a:pt x="183612" y="6614"/>
                    <a:pt x="179833" y="2835"/>
                  </a:cubicBezTo>
                  <a:cubicBezTo>
                    <a:pt x="176053" y="-945"/>
                    <a:pt x="168494" y="-945"/>
                    <a:pt x="164715" y="2835"/>
                  </a:cubicBezTo>
                  <a:cubicBezTo>
                    <a:pt x="106763" y="63306"/>
                    <a:pt x="51331" y="128817"/>
                    <a:pt x="2198" y="198107"/>
                  </a:cubicBezTo>
                  <a:cubicBezTo>
                    <a:pt x="-1582" y="203147"/>
                    <a:pt x="-322" y="209446"/>
                    <a:pt x="4717" y="213225"/>
                  </a:cubicBezTo>
                  <a:cubicBezTo>
                    <a:pt x="4717" y="214485"/>
                    <a:pt x="8497" y="214485"/>
                    <a:pt x="11016" y="214485"/>
                  </a:cubicBezTo>
                  <a:close/>
                </a:path>
              </a:pathLst>
            </a:custGeom>
            <a:solidFill>
              <a:srgbClr val="56E395"/>
            </a:solidFill>
            <a:ln w="12584" cap="flat">
              <a:noFill/>
              <a:prstDash val="solid"/>
              <a:miter/>
            </a:ln>
          </p:spPr>
          <p:txBody>
            <a:bodyPr rtlCol="0" anchor="ctr"/>
            <a:lstStyle/>
            <a:p>
              <a:endParaRPr lang="zh-CN" altLang="en-US"/>
            </a:p>
          </p:txBody>
        </p:sp>
        <p:sp>
          <p:nvSpPr>
            <p:cNvPr id="42" name="任意多边形: 形状 41"/>
            <p:cNvSpPr/>
            <p:nvPr/>
          </p:nvSpPr>
          <p:spPr>
            <a:xfrm>
              <a:off x="10437355" y="4584576"/>
              <a:ext cx="77223" cy="85803"/>
            </a:xfrm>
            <a:custGeom>
              <a:avLst/>
              <a:gdLst>
                <a:gd name="connsiteX0" fmla="*/ 12276 w 113384"/>
                <a:gd name="connsiteY0" fmla="*/ 136235 h 125982"/>
                <a:gd name="connsiteX1" fmla="*/ 19835 w 113384"/>
                <a:gd name="connsiteY1" fmla="*/ 131196 h 125982"/>
                <a:gd name="connsiteX2" fmla="*/ 121881 w 113384"/>
                <a:gd name="connsiteY2" fmla="*/ 19071 h 125982"/>
                <a:gd name="connsiteX3" fmla="*/ 123141 w 113384"/>
                <a:gd name="connsiteY3" fmla="*/ 3954 h 125982"/>
                <a:gd name="connsiteX4" fmla="*/ 108023 w 113384"/>
                <a:gd name="connsiteY4" fmla="*/ 2694 h 125982"/>
                <a:gd name="connsiteX5" fmla="*/ 2198 w 113384"/>
                <a:gd name="connsiteY5" fmla="*/ 119857 h 125982"/>
                <a:gd name="connsiteX6" fmla="*/ 4717 w 113384"/>
                <a:gd name="connsiteY6" fmla="*/ 134975 h 125982"/>
                <a:gd name="connsiteX7" fmla="*/ 12276 w 113384"/>
                <a:gd name="connsiteY7" fmla="*/ 136235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25982">
                  <a:moveTo>
                    <a:pt x="12276" y="136235"/>
                  </a:moveTo>
                  <a:cubicBezTo>
                    <a:pt x="14796" y="136235"/>
                    <a:pt x="17316" y="133715"/>
                    <a:pt x="19835" y="131196"/>
                  </a:cubicBezTo>
                  <a:cubicBezTo>
                    <a:pt x="48811" y="89622"/>
                    <a:pt x="82826" y="51827"/>
                    <a:pt x="121881" y="19071"/>
                  </a:cubicBezTo>
                  <a:cubicBezTo>
                    <a:pt x="126920" y="15292"/>
                    <a:pt x="126920" y="8993"/>
                    <a:pt x="123141" y="3954"/>
                  </a:cubicBezTo>
                  <a:cubicBezTo>
                    <a:pt x="119361" y="-1085"/>
                    <a:pt x="113062" y="-1085"/>
                    <a:pt x="108023" y="2694"/>
                  </a:cubicBezTo>
                  <a:cubicBezTo>
                    <a:pt x="67708" y="36709"/>
                    <a:pt x="32433" y="75764"/>
                    <a:pt x="2198" y="119857"/>
                  </a:cubicBezTo>
                  <a:cubicBezTo>
                    <a:pt x="-1582" y="124897"/>
                    <a:pt x="-322" y="131196"/>
                    <a:pt x="4717" y="134975"/>
                  </a:cubicBezTo>
                  <a:cubicBezTo>
                    <a:pt x="7237" y="134975"/>
                    <a:pt x="9757" y="136235"/>
                    <a:pt x="12276" y="136235"/>
                  </a:cubicBezTo>
                  <a:close/>
                </a:path>
              </a:pathLst>
            </a:custGeom>
            <a:solidFill>
              <a:srgbClr val="56E395"/>
            </a:solidFill>
            <a:ln w="12584" cap="flat">
              <a:noFill/>
              <a:prstDash val="solid"/>
              <a:miter/>
            </a:ln>
          </p:spPr>
          <p:txBody>
            <a:bodyPr rtlCol="0" anchor="ctr"/>
            <a:lstStyle/>
            <a:p>
              <a:endParaRPr lang="zh-CN" altLang="en-US"/>
            </a:p>
          </p:txBody>
        </p:sp>
        <p:sp>
          <p:nvSpPr>
            <p:cNvPr id="43" name="任意多边形: 形状 42"/>
            <p:cNvSpPr/>
            <p:nvPr/>
          </p:nvSpPr>
          <p:spPr>
            <a:xfrm>
              <a:off x="10264124" y="4391949"/>
              <a:ext cx="171607" cy="85803"/>
            </a:xfrm>
            <a:custGeom>
              <a:avLst/>
              <a:gdLst>
                <a:gd name="connsiteX0" fmla="*/ 255286 w 251964"/>
                <a:gd name="connsiteY0" fmla="*/ 129304 h 125982"/>
                <a:gd name="connsiteX1" fmla="*/ 262845 w 251964"/>
                <a:gd name="connsiteY1" fmla="*/ 124265 h 125982"/>
                <a:gd name="connsiteX2" fmla="*/ 259066 w 251964"/>
                <a:gd name="connsiteY2" fmla="*/ 110407 h 125982"/>
                <a:gd name="connsiteX3" fmla="*/ 14660 w 251964"/>
                <a:gd name="connsiteY3" fmla="*/ 802 h 125982"/>
                <a:gd name="connsiteX4" fmla="*/ 802 w 251964"/>
                <a:gd name="connsiteY4" fmla="*/ 7101 h 125982"/>
                <a:gd name="connsiteX5" fmla="*/ 7101 w 251964"/>
                <a:gd name="connsiteY5" fmla="*/ 20959 h 125982"/>
                <a:gd name="connsiteX6" fmla="*/ 248987 w 251964"/>
                <a:gd name="connsiteY6" fmla="*/ 129304 h 125982"/>
                <a:gd name="connsiteX7" fmla="*/ 255286 w 251964"/>
                <a:gd name="connsiteY7" fmla="*/ 129304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125982">
                  <a:moveTo>
                    <a:pt x="255286" y="129304"/>
                  </a:moveTo>
                  <a:cubicBezTo>
                    <a:pt x="259066" y="129304"/>
                    <a:pt x="261585" y="126784"/>
                    <a:pt x="262845" y="124265"/>
                  </a:cubicBezTo>
                  <a:cubicBezTo>
                    <a:pt x="265365" y="119225"/>
                    <a:pt x="264105" y="112926"/>
                    <a:pt x="259066" y="110407"/>
                  </a:cubicBezTo>
                  <a:cubicBezTo>
                    <a:pt x="180957" y="68832"/>
                    <a:pt x="97808" y="31038"/>
                    <a:pt x="14660" y="802"/>
                  </a:cubicBezTo>
                  <a:cubicBezTo>
                    <a:pt x="9621" y="-1718"/>
                    <a:pt x="3322" y="2062"/>
                    <a:pt x="802" y="7101"/>
                  </a:cubicBezTo>
                  <a:cubicBezTo>
                    <a:pt x="-1718" y="12141"/>
                    <a:pt x="2062" y="18440"/>
                    <a:pt x="7101" y="20959"/>
                  </a:cubicBezTo>
                  <a:cubicBezTo>
                    <a:pt x="90249" y="51195"/>
                    <a:pt x="170878" y="87730"/>
                    <a:pt x="248987" y="129304"/>
                  </a:cubicBezTo>
                  <a:cubicBezTo>
                    <a:pt x="250247" y="129304"/>
                    <a:pt x="252767" y="129304"/>
                    <a:pt x="255286" y="129304"/>
                  </a:cubicBezTo>
                  <a:close/>
                </a:path>
              </a:pathLst>
            </a:custGeom>
            <a:solidFill>
              <a:srgbClr val="56E395"/>
            </a:solidFill>
            <a:ln w="12584" cap="flat">
              <a:noFill/>
              <a:prstDash val="solid"/>
              <a:miter/>
            </a:ln>
          </p:spPr>
          <p:txBody>
            <a:bodyPr rtlCol="0" anchor="ctr"/>
            <a:lstStyle/>
            <a:p>
              <a:endParaRPr lang="zh-CN" altLang="en-US"/>
            </a:p>
          </p:txBody>
        </p:sp>
        <p:sp>
          <p:nvSpPr>
            <p:cNvPr id="44" name="任意多边形: 形状 43"/>
            <p:cNvSpPr/>
            <p:nvPr/>
          </p:nvSpPr>
          <p:spPr>
            <a:xfrm>
              <a:off x="10254155" y="4438611"/>
              <a:ext cx="180187" cy="68643"/>
            </a:xfrm>
            <a:custGeom>
              <a:avLst/>
              <a:gdLst>
                <a:gd name="connsiteX0" fmla="*/ 264884 w 264562"/>
                <a:gd name="connsiteY0" fmla="*/ 103627 h 100785"/>
                <a:gd name="connsiteX1" fmla="*/ 273703 w 264562"/>
                <a:gd name="connsiteY1" fmla="*/ 96068 h 100785"/>
                <a:gd name="connsiteX2" fmla="*/ 267404 w 264562"/>
                <a:gd name="connsiteY2" fmla="*/ 82209 h 100785"/>
                <a:gd name="connsiteX3" fmla="*/ 14179 w 264562"/>
                <a:gd name="connsiteY3" fmla="*/ 321 h 100785"/>
                <a:gd name="connsiteX4" fmla="*/ 321 w 264562"/>
                <a:gd name="connsiteY4" fmla="*/ 6620 h 100785"/>
                <a:gd name="connsiteX5" fmla="*/ 6620 w 264562"/>
                <a:gd name="connsiteY5" fmla="*/ 20478 h 100785"/>
                <a:gd name="connsiteX6" fmla="*/ 259845 w 264562"/>
                <a:gd name="connsiteY6" fmla="*/ 102367 h 100785"/>
                <a:gd name="connsiteX7" fmla="*/ 264884 w 264562"/>
                <a:gd name="connsiteY7" fmla="*/ 103627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562" h="100785">
                  <a:moveTo>
                    <a:pt x="264884" y="103627"/>
                  </a:moveTo>
                  <a:cubicBezTo>
                    <a:pt x="268663" y="103627"/>
                    <a:pt x="272443" y="99847"/>
                    <a:pt x="273703" y="96068"/>
                  </a:cubicBezTo>
                  <a:cubicBezTo>
                    <a:pt x="274962" y="91028"/>
                    <a:pt x="272443" y="84729"/>
                    <a:pt x="267404" y="82209"/>
                  </a:cubicBezTo>
                  <a:lnTo>
                    <a:pt x="14179" y="321"/>
                  </a:lnTo>
                  <a:cubicBezTo>
                    <a:pt x="9140" y="-939"/>
                    <a:pt x="2841" y="1581"/>
                    <a:pt x="321" y="6620"/>
                  </a:cubicBezTo>
                  <a:cubicBezTo>
                    <a:pt x="-939" y="11660"/>
                    <a:pt x="1581" y="17959"/>
                    <a:pt x="6620" y="20478"/>
                  </a:cubicBezTo>
                  <a:lnTo>
                    <a:pt x="259845" y="102367"/>
                  </a:lnTo>
                  <a:cubicBezTo>
                    <a:pt x="262364" y="103627"/>
                    <a:pt x="263624" y="103627"/>
                    <a:pt x="264884" y="103627"/>
                  </a:cubicBezTo>
                  <a:close/>
                </a:path>
              </a:pathLst>
            </a:custGeom>
            <a:solidFill>
              <a:srgbClr val="56E395"/>
            </a:solidFill>
            <a:ln w="12584" cap="flat">
              <a:noFill/>
              <a:prstDash val="solid"/>
              <a:miter/>
            </a:ln>
          </p:spPr>
          <p:txBody>
            <a:bodyPr rtlCol="0" anchor="ctr"/>
            <a:lstStyle/>
            <a:p>
              <a:endParaRPr lang="zh-CN" altLang="en-US"/>
            </a:p>
          </p:txBody>
        </p:sp>
        <p:sp>
          <p:nvSpPr>
            <p:cNvPr id="45" name="任意多边形: 形状 44"/>
            <p:cNvSpPr/>
            <p:nvPr/>
          </p:nvSpPr>
          <p:spPr>
            <a:xfrm>
              <a:off x="10379867" y="4245991"/>
              <a:ext cx="51482" cy="68643"/>
            </a:xfrm>
            <a:custGeom>
              <a:avLst/>
              <a:gdLst>
                <a:gd name="connsiteX0" fmla="*/ 12276 w 75589"/>
                <a:gd name="connsiteY0" fmla="*/ 104243 h 100785"/>
                <a:gd name="connsiteX1" fmla="*/ 19835 w 75589"/>
                <a:gd name="connsiteY1" fmla="*/ 100464 h 100785"/>
                <a:gd name="connsiteX2" fmla="*/ 81567 w 75589"/>
                <a:gd name="connsiteY2" fmla="*/ 17315 h 100785"/>
                <a:gd name="connsiteX3" fmla="*/ 79047 w 75589"/>
                <a:gd name="connsiteY3" fmla="*/ 2198 h 100785"/>
                <a:gd name="connsiteX4" fmla="*/ 63929 w 75589"/>
                <a:gd name="connsiteY4" fmla="*/ 4717 h 100785"/>
                <a:gd name="connsiteX5" fmla="*/ 2197 w 75589"/>
                <a:gd name="connsiteY5" fmla="*/ 87866 h 100785"/>
                <a:gd name="connsiteX6" fmla="*/ 4717 w 75589"/>
                <a:gd name="connsiteY6" fmla="*/ 102983 h 100785"/>
                <a:gd name="connsiteX7" fmla="*/ 12276 w 75589"/>
                <a:gd name="connsiteY7" fmla="*/ 104243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00785">
                  <a:moveTo>
                    <a:pt x="12276" y="104243"/>
                  </a:moveTo>
                  <a:cubicBezTo>
                    <a:pt x="14796" y="104243"/>
                    <a:pt x="17315" y="102983"/>
                    <a:pt x="19835" y="100464"/>
                  </a:cubicBezTo>
                  <a:lnTo>
                    <a:pt x="81567" y="17315"/>
                  </a:lnTo>
                  <a:cubicBezTo>
                    <a:pt x="85346" y="12276"/>
                    <a:pt x="84086" y="5977"/>
                    <a:pt x="79047" y="2198"/>
                  </a:cubicBezTo>
                  <a:cubicBezTo>
                    <a:pt x="74007" y="-1582"/>
                    <a:pt x="67708" y="-322"/>
                    <a:pt x="63929" y="4717"/>
                  </a:cubicBezTo>
                  <a:lnTo>
                    <a:pt x="2197" y="87866"/>
                  </a:lnTo>
                  <a:cubicBezTo>
                    <a:pt x="-1582" y="92905"/>
                    <a:pt x="-322" y="99204"/>
                    <a:pt x="4717" y="102983"/>
                  </a:cubicBezTo>
                  <a:cubicBezTo>
                    <a:pt x="7237" y="104243"/>
                    <a:pt x="9756" y="104243"/>
                    <a:pt x="12276" y="104243"/>
                  </a:cubicBezTo>
                  <a:close/>
                </a:path>
              </a:pathLst>
            </a:custGeom>
            <a:solidFill>
              <a:srgbClr val="56E395"/>
            </a:solidFill>
            <a:ln w="12584" cap="flat">
              <a:noFill/>
              <a:prstDash val="solid"/>
              <a:miter/>
            </a:ln>
          </p:spPr>
          <p:txBody>
            <a:bodyPr rtlCol="0" anchor="ctr"/>
            <a:lstStyle/>
            <a:p>
              <a:endParaRPr lang="zh-CN" altLang="en-US"/>
            </a:p>
          </p:txBody>
        </p:sp>
        <p:sp>
          <p:nvSpPr>
            <p:cNvPr id="46" name="任意多边形: 形状 45"/>
            <p:cNvSpPr/>
            <p:nvPr/>
          </p:nvSpPr>
          <p:spPr>
            <a:xfrm>
              <a:off x="10365060" y="4186186"/>
              <a:ext cx="60063" cy="94384"/>
            </a:xfrm>
            <a:custGeom>
              <a:avLst/>
              <a:gdLst>
                <a:gd name="connsiteX0" fmla="*/ 12598 w 88187"/>
                <a:gd name="connsiteY0" fmla="*/ 145440 h 138580"/>
                <a:gd name="connsiteX1" fmla="*/ 20157 w 88187"/>
                <a:gd name="connsiteY1" fmla="*/ 140400 h 138580"/>
                <a:gd name="connsiteX2" fmla="*/ 93227 w 88187"/>
                <a:gd name="connsiteY2" fmla="*/ 16938 h 138580"/>
                <a:gd name="connsiteX3" fmla="*/ 89448 w 88187"/>
                <a:gd name="connsiteY3" fmla="*/ 1820 h 138580"/>
                <a:gd name="connsiteX4" fmla="*/ 74330 w 88187"/>
                <a:gd name="connsiteY4" fmla="*/ 5599 h 138580"/>
                <a:gd name="connsiteX5" fmla="*/ 1260 w 88187"/>
                <a:gd name="connsiteY5" fmla="*/ 130322 h 138580"/>
                <a:gd name="connsiteX6" fmla="*/ 5039 w 88187"/>
                <a:gd name="connsiteY6" fmla="*/ 144180 h 138580"/>
                <a:gd name="connsiteX7" fmla="*/ 12598 w 88187"/>
                <a:gd name="connsiteY7" fmla="*/ 14544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187" h="138580">
                  <a:moveTo>
                    <a:pt x="12598" y="145440"/>
                  </a:moveTo>
                  <a:cubicBezTo>
                    <a:pt x="16378" y="145440"/>
                    <a:pt x="18897" y="142920"/>
                    <a:pt x="20157" y="140400"/>
                  </a:cubicBezTo>
                  <a:cubicBezTo>
                    <a:pt x="42834" y="98826"/>
                    <a:pt x="66771" y="57252"/>
                    <a:pt x="93227" y="16938"/>
                  </a:cubicBezTo>
                  <a:cubicBezTo>
                    <a:pt x="97007" y="11898"/>
                    <a:pt x="94487" y="5599"/>
                    <a:pt x="89448" y="1820"/>
                  </a:cubicBezTo>
                  <a:cubicBezTo>
                    <a:pt x="84408" y="-1960"/>
                    <a:pt x="78109" y="560"/>
                    <a:pt x="74330" y="5599"/>
                  </a:cubicBezTo>
                  <a:cubicBezTo>
                    <a:pt x="47874" y="45914"/>
                    <a:pt x="23937" y="87488"/>
                    <a:pt x="1260" y="130322"/>
                  </a:cubicBezTo>
                  <a:cubicBezTo>
                    <a:pt x="-1260" y="135361"/>
                    <a:pt x="0" y="141660"/>
                    <a:pt x="5039" y="144180"/>
                  </a:cubicBezTo>
                  <a:cubicBezTo>
                    <a:pt x="7559" y="145440"/>
                    <a:pt x="10079" y="145440"/>
                    <a:pt x="12598" y="145440"/>
                  </a:cubicBezTo>
                  <a:close/>
                </a:path>
              </a:pathLst>
            </a:custGeom>
            <a:solidFill>
              <a:srgbClr val="56E395"/>
            </a:solidFill>
            <a:ln w="12584" cap="flat">
              <a:noFill/>
              <a:prstDash val="solid"/>
              <a:miter/>
            </a:ln>
          </p:spPr>
          <p:txBody>
            <a:bodyPr rtlCol="0" anchor="ctr"/>
            <a:lstStyle/>
            <a:p>
              <a:endParaRPr lang="zh-CN" altLang="en-US"/>
            </a:p>
          </p:txBody>
        </p:sp>
        <p:sp>
          <p:nvSpPr>
            <p:cNvPr id="47" name="任意多边形: 形状 46"/>
            <p:cNvSpPr/>
            <p:nvPr/>
          </p:nvSpPr>
          <p:spPr>
            <a:xfrm>
              <a:off x="10252112" y="4220342"/>
              <a:ext cx="102964" cy="34321"/>
            </a:xfrm>
            <a:custGeom>
              <a:avLst/>
              <a:gdLst>
                <a:gd name="connsiteX0" fmla="*/ 148201 w 151178"/>
                <a:gd name="connsiteY0" fmla="*/ 61274 h 50392"/>
                <a:gd name="connsiteX1" fmla="*/ 157020 w 151178"/>
                <a:gd name="connsiteY1" fmla="*/ 53715 h 50392"/>
                <a:gd name="connsiteX2" fmla="*/ 149461 w 151178"/>
                <a:gd name="connsiteY2" fmla="*/ 41116 h 50392"/>
                <a:gd name="connsiteX3" fmla="*/ 14660 w 151178"/>
                <a:gd name="connsiteY3" fmla="*/ 802 h 50392"/>
                <a:gd name="connsiteX4" fmla="*/ 802 w 151178"/>
                <a:gd name="connsiteY4" fmla="*/ 7101 h 50392"/>
                <a:gd name="connsiteX5" fmla="*/ 7101 w 151178"/>
                <a:gd name="connsiteY5" fmla="*/ 20959 h 50392"/>
                <a:gd name="connsiteX6" fmla="*/ 144422 w 151178"/>
                <a:gd name="connsiteY6" fmla="*/ 62533 h 50392"/>
                <a:gd name="connsiteX7" fmla="*/ 148201 w 151178"/>
                <a:gd name="connsiteY7" fmla="*/ 61274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50392">
                  <a:moveTo>
                    <a:pt x="148201" y="61274"/>
                  </a:moveTo>
                  <a:cubicBezTo>
                    <a:pt x="151981" y="61274"/>
                    <a:pt x="155760" y="57494"/>
                    <a:pt x="157020" y="53715"/>
                  </a:cubicBezTo>
                  <a:cubicBezTo>
                    <a:pt x="158280" y="47416"/>
                    <a:pt x="154500" y="42376"/>
                    <a:pt x="149461" y="41116"/>
                  </a:cubicBezTo>
                  <a:cubicBezTo>
                    <a:pt x="104108" y="29778"/>
                    <a:pt x="58754" y="17180"/>
                    <a:pt x="14660" y="802"/>
                  </a:cubicBezTo>
                  <a:cubicBezTo>
                    <a:pt x="9621" y="-1718"/>
                    <a:pt x="3322" y="2062"/>
                    <a:pt x="802" y="7101"/>
                  </a:cubicBezTo>
                  <a:cubicBezTo>
                    <a:pt x="-1718" y="12141"/>
                    <a:pt x="2062" y="18440"/>
                    <a:pt x="7101" y="20959"/>
                  </a:cubicBezTo>
                  <a:cubicBezTo>
                    <a:pt x="52455" y="37337"/>
                    <a:pt x="97808" y="51195"/>
                    <a:pt x="144422" y="62533"/>
                  </a:cubicBezTo>
                  <a:cubicBezTo>
                    <a:pt x="145682" y="61274"/>
                    <a:pt x="146941" y="61274"/>
                    <a:pt x="148201" y="61274"/>
                  </a:cubicBezTo>
                  <a:close/>
                </a:path>
              </a:pathLst>
            </a:custGeom>
            <a:solidFill>
              <a:srgbClr val="56E395"/>
            </a:solidFill>
            <a:ln w="12584" cap="flat">
              <a:noFill/>
              <a:prstDash val="solid"/>
              <a:miter/>
            </a:ln>
          </p:spPr>
          <p:txBody>
            <a:bodyPr rtlCol="0" anchor="ctr"/>
            <a:lstStyle/>
            <a:p>
              <a:endParaRPr lang="zh-CN" altLang="en-US"/>
            </a:p>
          </p:txBody>
        </p:sp>
        <p:sp>
          <p:nvSpPr>
            <p:cNvPr id="48" name="任意多边形: 形状 47"/>
            <p:cNvSpPr/>
            <p:nvPr/>
          </p:nvSpPr>
          <p:spPr>
            <a:xfrm>
              <a:off x="10347518" y="4667543"/>
              <a:ext cx="94384" cy="60063"/>
            </a:xfrm>
            <a:custGeom>
              <a:avLst/>
              <a:gdLst>
                <a:gd name="connsiteX0" fmla="*/ 139140 w 138580"/>
                <a:gd name="connsiteY0" fmla="*/ 88748 h 88187"/>
                <a:gd name="connsiteX1" fmla="*/ 146699 w 138580"/>
                <a:gd name="connsiteY1" fmla="*/ 82448 h 88187"/>
                <a:gd name="connsiteX2" fmla="*/ 141660 w 138580"/>
                <a:gd name="connsiteY2" fmla="*/ 68590 h 88187"/>
                <a:gd name="connsiteX3" fmla="*/ 16938 w 138580"/>
                <a:gd name="connsiteY3" fmla="*/ 1820 h 88187"/>
                <a:gd name="connsiteX4" fmla="*/ 1820 w 138580"/>
                <a:gd name="connsiteY4" fmla="*/ 5599 h 88187"/>
                <a:gd name="connsiteX5" fmla="*/ 5599 w 138580"/>
                <a:gd name="connsiteY5" fmla="*/ 20717 h 88187"/>
                <a:gd name="connsiteX6" fmla="*/ 132841 w 138580"/>
                <a:gd name="connsiteY6" fmla="*/ 90008 h 88187"/>
                <a:gd name="connsiteX7" fmla="*/ 139140 w 138580"/>
                <a:gd name="connsiteY7" fmla="*/ 88748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88187">
                  <a:moveTo>
                    <a:pt x="139140" y="88748"/>
                  </a:moveTo>
                  <a:cubicBezTo>
                    <a:pt x="142920" y="88748"/>
                    <a:pt x="145439" y="86228"/>
                    <a:pt x="146699" y="82448"/>
                  </a:cubicBezTo>
                  <a:cubicBezTo>
                    <a:pt x="149219" y="77409"/>
                    <a:pt x="146699" y="71110"/>
                    <a:pt x="141660" y="68590"/>
                  </a:cubicBezTo>
                  <a:cubicBezTo>
                    <a:pt x="98826" y="49693"/>
                    <a:pt x="57252" y="27016"/>
                    <a:pt x="16938" y="1820"/>
                  </a:cubicBezTo>
                  <a:cubicBezTo>
                    <a:pt x="11898" y="-1960"/>
                    <a:pt x="5599" y="560"/>
                    <a:pt x="1820" y="5599"/>
                  </a:cubicBezTo>
                  <a:cubicBezTo>
                    <a:pt x="-1960" y="10638"/>
                    <a:pt x="560" y="16938"/>
                    <a:pt x="5599" y="20717"/>
                  </a:cubicBezTo>
                  <a:cubicBezTo>
                    <a:pt x="45914" y="45914"/>
                    <a:pt x="88747" y="69850"/>
                    <a:pt x="132841" y="90008"/>
                  </a:cubicBezTo>
                  <a:cubicBezTo>
                    <a:pt x="135361" y="88748"/>
                    <a:pt x="136621" y="90008"/>
                    <a:pt x="139140" y="88748"/>
                  </a:cubicBezTo>
                  <a:close/>
                </a:path>
              </a:pathLst>
            </a:custGeom>
            <a:solidFill>
              <a:srgbClr val="56E395"/>
            </a:solidFill>
            <a:ln w="12584" cap="flat">
              <a:noFill/>
              <a:prstDash val="solid"/>
              <a:miter/>
            </a:ln>
          </p:spPr>
          <p:txBody>
            <a:bodyPr rtlCol="0" anchor="ctr"/>
            <a:lstStyle/>
            <a:p>
              <a:endParaRPr lang="zh-CN" altLang="en-US"/>
            </a:p>
          </p:txBody>
        </p:sp>
        <p:sp>
          <p:nvSpPr>
            <p:cNvPr id="49" name="任意多边形: 形状 48"/>
            <p:cNvSpPr/>
            <p:nvPr/>
          </p:nvSpPr>
          <p:spPr>
            <a:xfrm>
              <a:off x="10301766" y="4027712"/>
              <a:ext cx="94384" cy="137286"/>
            </a:xfrm>
            <a:custGeom>
              <a:avLst/>
              <a:gdLst>
                <a:gd name="connsiteX0" fmla="*/ 12304 w 138580"/>
                <a:gd name="connsiteY0" fmla="*/ 209305 h 201571"/>
                <a:gd name="connsiteX1" fmla="*/ 21123 w 138580"/>
                <a:gd name="connsiteY1" fmla="*/ 203006 h 201571"/>
                <a:gd name="connsiteX2" fmla="*/ 137026 w 138580"/>
                <a:gd name="connsiteY2" fmla="*/ 17812 h 201571"/>
                <a:gd name="connsiteX3" fmla="*/ 135766 w 138580"/>
                <a:gd name="connsiteY3" fmla="*/ 2694 h 201571"/>
                <a:gd name="connsiteX4" fmla="*/ 120649 w 138580"/>
                <a:gd name="connsiteY4" fmla="*/ 3954 h 201571"/>
                <a:gd name="connsiteX5" fmla="*/ 966 w 138580"/>
                <a:gd name="connsiteY5" fmla="*/ 195447 h 201571"/>
                <a:gd name="connsiteX6" fmla="*/ 7265 w 138580"/>
                <a:gd name="connsiteY6" fmla="*/ 209305 h 201571"/>
                <a:gd name="connsiteX7" fmla="*/ 12304 w 138580"/>
                <a:gd name="connsiteY7" fmla="*/ 209305 h 201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201571">
                  <a:moveTo>
                    <a:pt x="12304" y="209305"/>
                  </a:moveTo>
                  <a:cubicBezTo>
                    <a:pt x="16083" y="209305"/>
                    <a:pt x="18603" y="206785"/>
                    <a:pt x="21123" y="203006"/>
                  </a:cubicBezTo>
                  <a:cubicBezTo>
                    <a:pt x="48839" y="134976"/>
                    <a:pt x="87893" y="71984"/>
                    <a:pt x="137026" y="17812"/>
                  </a:cubicBezTo>
                  <a:cubicBezTo>
                    <a:pt x="140806" y="14032"/>
                    <a:pt x="140806" y="6473"/>
                    <a:pt x="135766" y="2694"/>
                  </a:cubicBezTo>
                  <a:cubicBezTo>
                    <a:pt x="131987" y="-1085"/>
                    <a:pt x="124428" y="-1085"/>
                    <a:pt x="120649" y="3954"/>
                  </a:cubicBezTo>
                  <a:cubicBezTo>
                    <a:pt x="68996" y="60646"/>
                    <a:pt x="28681" y="124897"/>
                    <a:pt x="966" y="195447"/>
                  </a:cubicBezTo>
                  <a:cubicBezTo>
                    <a:pt x="-1554" y="200486"/>
                    <a:pt x="966" y="206785"/>
                    <a:pt x="7265" y="209305"/>
                  </a:cubicBezTo>
                  <a:cubicBezTo>
                    <a:pt x="8525" y="209305"/>
                    <a:pt x="11044" y="209305"/>
                    <a:pt x="12304" y="209305"/>
                  </a:cubicBezTo>
                  <a:close/>
                </a:path>
              </a:pathLst>
            </a:custGeom>
            <a:solidFill>
              <a:srgbClr val="56E395"/>
            </a:solidFill>
            <a:ln w="12584" cap="flat">
              <a:noFill/>
              <a:prstDash val="solid"/>
              <a:miter/>
            </a:ln>
          </p:spPr>
          <p:txBody>
            <a:bodyPr rtlCol="0" anchor="ctr"/>
            <a:lstStyle/>
            <a:p>
              <a:endParaRPr lang="zh-CN" altLang="en-US"/>
            </a:p>
          </p:txBody>
        </p:sp>
        <p:sp>
          <p:nvSpPr>
            <p:cNvPr id="50" name="任意多边形: 形状 49"/>
            <p:cNvSpPr/>
            <p:nvPr/>
          </p:nvSpPr>
          <p:spPr>
            <a:xfrm>
              <a:off x="10279457" y="4040043"/>
              <a:ext cx="42902" cy="85803"/>
            </a:xfrm>
            <a:custGeom>
              <a:avLst/>
              <a:gdLst>
                <a:gd name="connsiteX0" fmla="*/ 12304 w 62991"/>
                <a:gd name="connsiteY0" fmla="*/ 126948 h 125982"/>
                <a:gd name="connsiteX1" fmla="*/ 21123 w 62991"/>
                <a:gd name="connsiteY1" fmla="*/ 120649 h 125982"/>
                <a:gd name="connsiteX2" fmla="*/ 65217 w 62991"/>
                <a:gd name="connsiteY2" fmla="*/ 14824 h 125982"/>
                <a:gd name="connsiteX3" fmla="*/ 58918 w 62991"/>
                <a:gd name="connsiteY3" fmla="*/ 966 h 125982"/>
                <a:gd name="connsiteX4" fmla="*/ 45059 w 62991"/>
                <a:gd name="connsiteY4" fmla="*/ 7265 h 125982"/>
                <a:gd name="connsiteX5" fmla="*/ 966 w 62991"/>
                <a:gd name="connsiteY5" fmla="*/ 113090 h 125982"/>
                <a:gd name="connsiteX6" fmla="*/ 7265 w 62991"/>
                <a:gd name="connsiteY6" fmla="*/ 126948 h 125982"/>
                <a:gd name="connsiteX7" fmla="*/ 12304 w 62991"/>
                <a:gd name="connsiteY7" fmla="*/ 126948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991" h="125982">
                  <a:moveTo>
                    <a:pt x="12304" y="126948"/>
                  </a:moveTo>
                  <a:cubicBezTo>
                    <a:pt x="16084" y="126948"/>
                    <a:pt x="18603" y="124428"/>
                    <a:pt x="21123" y="120649"/>
                  </a:cubicBezTo>
                  <a:lnTo>
                    <a:pt x="65217" y="14824"/>
                  </a:lnTo>
                  <a:cubicBezTo>
                    <a:pt x="67736" y="9784"/>
                    <a:pt x="65217" y="3485"/>
                    <a:pt x="58918" y="966"/>
                  </a:cubicBezTo>
                  <a:cubicBezTo>
                    <a:pt x="53878" y="-1554"/>
                    <a:pt x="47579" y="966"/>
                    <a:pt x="45059" y="7265"/>
                  </a:cubicBezTo>
                  <a:lnTo>
                    <a:pt x="966" y="113090"/>
                  </a:lnTo>
                  <a:cubicBezTo>
                    <a:pt x="-1554" y="118129"/>
                    <a:pt x="966" y="124428"/>
                    <a:pt x="7265" y="126948"/>
                  </a:cubicBezTo>
                  <a:cubicBezTo>
                    <a:pt x="8525" y="126948"/>
                    <a:pt x="11044" y="126948"/>
                    <a:pt x="12304" y="126948"/>
                  </a:cubicBezTo>
                  <a:close/>
                </a:path>
              </a:pathLst>
            </a:custGeom>
            <a:solidFill>
              <a:srgbClr val="56E395"/>
            </a:solidFill>
            <a:ln w="12584" cap="flat">
              <a:noFill/>
              <a:prstDash val="solid"/>
              <a:miter/>
            </a:ln>
          </p:spPr>
          <p:txBody>
            <a:bodyPr rtlCol="0" anchor="ctr"/>
            <a:lstStyle/>
            <a:p>
              <a:endParaRPr lang="zh-CN" altLang="en-US"/>
            </a:p>
          </p:txBody>
        </p:sp>
        <p:sp>
          <p:nvSpPr>
            <p:cNvPr id="51" name="任意多边形: 形状 50"/>
            <p:cNvSpPr/>
            <p:nvPr/>
          </p:nvSpPr>
          <p:spPr>
            <a:xfrm>
              <a:off x="10179944" y="3976568"/>
              <a:ext cx="94384" cy="77223"/>
            </a:xfrm>
            <a:custGeom>
              <a:avLst/>
              <a:gdLst>
                <a:gd name="connsiteX0" fmla="*/ 130700 w 138580"/>
                <a:gd name="connsiteY0" fmla="*/ 120621 h 113384"/>
                <a:gd name="connsiteX1" fmla="*/ 136999 w 138580"/>
                <a:gd name="connsiteY1" fmla="*/ 116841 h 113384"/>
                <a:gd name="connsiteX2" fmla="*/ 135739 w 138580"/>
                <a:gd name="connsiteY2" fmla="*/ 101724 h 113384"/>
                <a:gd name="connsiteX3" fmla="*/ 17316 w 138580"/>
                <a:gd name="connsiteY3" fmla="*/ 2198 h 113384"/>
                <a:gd name="connsiteX4" fmla="*/ 2198 w 138580"/>
                <a:gd name="connsiteY4" fmla="*/ 4717 h 113384"/>
                <a:gd name="connsiteX5" fmla="*/ 4717 w 138580"/>
                <a:gd name="connsiteY5" fmla="*/ 19835 h 113384"/>
                <a:gd name="connsiteX6" fmla="*/ 121881 w 138580"/>
                <a:gd name="connsiteY6" fmla="*/ 118101 h 113384"/>
                <a:gd name="connsiteX7" fmla="*/ 130700 w 138580"/>
                <a:gd name="connsiteY7" fmla="*/ 120621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13384">
                  <a:moveTo>
                    <a:pt x="130700" y="120621"/>
                  </a:moveTo>
                  <a:cubicBezTo>
                    <a:pt x="133219" y="120621"/>
                    <a:pt x="135739" y="119361"/>
                    <a:pt x="136999" y="116841"/>
                  </a:cubicBezTo>
                  <a:cubicBezTo>
                    <a:pt x="140778" y="113062"/>
                    <a:pt x="140778" y="105503"/>
                    <a:pt x="135739" y="101724"/>
                  </a:cubicBezTo>
                  <a:cubicBezTo>
                    <a:pt x="97944" y="66448"/>
                    <a:pt x="57630" y="33693"/>
                    <a:pt x="17316" y="2198"/>
                  </a:cubicBezTo>
                  <a:cubicBezTo>
                    <a:pt x="12276" y="-1582"/>
                    <a:pt x="5977" y="-322"/>
                    <a:pt x="2198" y="4717"/>
                  </a:cubicBezTo>
                  <a:cubicBezTo>
                    <a:pt x="-1582" y="9756"/>
                    <a:pt x="-322" y="16056"/>
                    <a:pt x="4717" y="19835"/>
                  </a:cubicBezTo>
                  <a:cubicBezTo>
                    <a:pt x="45031" y="50071"/>
                    <a:pt x="84086" y="84086"/>
                    <a:pt x="121881" y="118101"/>
                  </a:cubicBezTo>
                  <a:cubicBezTo>
                    <a:pt x="124401" y="120621"/>
                    <a:pt x="128180" y="120621"/>
                    <a:pt x="130700" y="120621"/>
                  </a:cubicBezTo>
                  <a:close/>
                </a:path>
              </a:pathLst>
            </a:custGeom>
            <a:solidFill>
              <a:srgbClr val="56E395"/>
            </a:solidFill>
            <a:ln w="12584" cap="flat">
              <a:noFill/>
              <a:prstDash val="solid"/>
              <a:miter/>
            </a:ln>
          </p:spPr>
          <p:txBody>
            <a:bodyPr rtlCol="0" anchor="ctr"/>
            <a:lstStyle/>
            <a:p>
              <a:endParaRPr lang="zh-CN" altLang="en-US"/>
            </a:p>
          </p:txBody>
        </p:sp>
        <p:sp>
          <p:nvSpPr>
            <p:cNvPr id="52" name="任意多边形: 形状 51"/>
            <p:cNvSpPr/>
            <p:nvPr/>
          </p:nvSpPr>
          <p:spPr>
            <a:xfrm>
              <a:off x="10196246" y="3948253"/>
              <a:ext cx="77223" cy="60063"/>
            </a:xfrm>
            <a:custGeom>
              <a:avLst/>
              <a:gdLst>
                <a:gd name="connsiteX0" fmla="*/ 105503 w 113384"/>
                <a:gd name="connsiteY0" fmla="*/ 92905 h 88187"/>
                <a:gd name="connsiteX1" fmla="*/ 111802 w 113384"/>
                <a:gd name="connsiteY1" fmla="*/ 89125 h 88187"/>
                <a:gd name="connsiteX2" fmla="*/ 110542 w 113384"/>
                <a:gd name="connsiteY2" fmla="*/ 74007 h 88187"/>
                <a:gd name="connsiteX3" fmla="*/ 17315 w 113384"/>
                <a:gd name="connsiteY3" fmla="*/ 2198 h 88187"/>
                <a:gd name="connsiteX4" fmla="*/ 2197 w 113384"/>
                <a:gd name="connsiteY4" fmla="*/ 4717 h 88187"/>
                <a:gd name="connsiteX5" fmla="*/ 4717 w 113384"/>
                <a:gd name="connsiteY5" fmla="*/ 19835 h 88187"/>
                <a:gd name="connsiteX6" fmla="*/ 95424 w 113384"/>
                <a:gd name="connsiteY6" fmla="*/ 90385 h 88187"/>
                <a:gd name="connsiteX7" fmla="*/ 105503 w 113384"/>
                <a:gd name="connsiteY7" fmla="*/ 92905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88187">
                  <a:moveTo>
                    <a:pt x="105503" y="92905"/>
                  </a:moveTo>
                  <a:cubicBezTo>
                    <a:pt x="108022" y="92905"/>
                    <a:pt x="110542" y="91645"/>
                    <a:pt x="111802" y="89125"/>
                  </a:cubicBezTo>
                  <a:cubicBezTo>
                    <a:pt x="115582" y="85346"/>
                    <a:pt x="115582" y="77787"/>
                    <a:pt x="110542" y="74007"/>
                  </a:cubicBezTo>
                  <a:cubicBezTo>
                    <a:pt x="81567" y="47551"/>
                    <a:pt x="50071" y="23615"/>
                    <a:pt x="17315" y="2198"/>
                  </a:cubicBezTo>
                  <a:cubicBezTo>
                    <a:pt x="12276" y="-1582"/>
                    <a:pt x="5977" y="-322"/>
                    <a:pt x="2197" y="4717"/>
                  </a:cubicBezTo>
                  <a:cubicBezTo>
                    <a:pt x="-1582" y="9756"/>
                    <a:pt x="-322" y="16056"/>
                    <a:pt x="4717" y="19835"/>
                  </a:cubicBezTo>
                  <a:cubicBezTo>
                    <a:pt x="36213" y="41252"/>
                    <a:pt x="66448" y="63929"/>
                    <a:pt x="95424" y="90385"/>
                  </a:cubicBezTo>
                  <a:cubicBezTo>
                    <a:pt x="99204" y="92905"/>
                    <a:pt x="101723" y="92905"/>
                    <a:pt x="105503" y="92905"/>
                  </a:cubicBezTo>
                  <a:close/>
                </a:path>
              </a:pathLst>
            </a:custGeom>
            <a:solidFill>
              <a:srgbClr val="56E395"/>
            </a:solidFill>
            <a:ln w="12584" cap="flat">
              <a:noFill/>
              <a:prstDash val="solid"/>
              <a:miter/>
            </a:ln>
          </p:spPr>
          <p:txBody>
            <a:bodyPr rtlCol="0" anchor="ctr"/>
            <a:lstStyle/>
            <a:p>
              <a:endParaRPr lang="zh-CN" altLang="en-US"/>
            </a:p>
          </p:txBody>
        </p:sp>
        <p:sp>
          <p:nvSpPr>
            <p:cNvPr id="53" name="任意多边形: 形状 52"/>
            <p:cNvSpPr/>
            <p:nvPr/>
          </p:nvSpPr>
          <p:spPr>
            <a:xfrm>
              <a:off x="10311247" y="4010670"/>
              <a:ext cx="283152" cy="832294"/>
            </a:xfrm>
            <a:custGeom>
              <a:avLst/>
              <a:gdLst>
                <a:gd name="connsiteX0" fmla="*/ 81532 w 415741"/>
                <a:gd name="connsiteY0" fmla="*/ 835263 h 1222028"/>
                <a:gd name="connsiteX1" fmla="*/ 155861 w 415741"/>
                <a:gd name="connsiteY1" fmla="*/ 0 h 1222028"/>
                <a:gd name="connsiteX2" fmla="*/ 198695 w 415741"/>
                <a:gd name="connsiteY2" fmla="*/ 243146 h 1222028"/>
                <a:gd name="connsiteX3" fmla="*/ 409086 w 415741"/>
                <a:gd name="connsiteY3" fmla="*/ 571960 h 1222028"/>
                <a:gd name="connsiteX4" fmla="*/ 376331 w 415741"/>
                <a:gd name="connsiteY4" fmla="*/ 976363 h 1222028"/>
                <a:gd name="connsiteX5" fmla="*/ 210034 w 415741"/>
                <a:gd name="connsiteY5" fmla="*/ 1220769 h 1222028"/>
                <a:gd name="connsiteX6" fmla="*/ 48776 w 415741"/>
                <a:gd name="connsiteY6" fmla="*/ 1131322 h 1222028"/>
                <a:gd name="connsiteX7" fmla="*/ 81532 w 415741"/>
                <a:gd name="connsiteY7" fmla="*/ 835263 h 122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5741" h="1222028">
                  <a:moveTo>
                    <a:pt x="81532" y="835263"/>
                  </a:moveTo>
                  <a:cubicBezTo>
                    <a:pt x="-30592" y="549283"/>
                    <a:pt x="-45710" y="212910"/>
                    <a:pt x="155861" y="0"/>
                  </a:cubicBezTo>
                  <a:cubicBezTo>
                    <a:pt x="189877" y="83148"/>
                    <a:pt x="201215" y="182674"/>
                    <a:pt x="198695" y="243146"/>
                  </a:cubicBezTo>
                  <a:cubicBezTo>
                    <a:pt x="193656" y="389286"/>
                    <a:pt x="357433" y="396844"/>
                    <a:pt x="409086" y="571960"/>
                  </a:cubicBezTo>
                  <a:cubicBezTo>
                    <a:pt x="460739" y="747075"/>
                    <a:pt x="359953" y="791169"/>
                    <a:pt x="376331" y="976363"/>
                  </a:cubicBezTo>
                  <a:cubicBezTo>
                    <a:pt x="392708" y="1161557"/>
                    <a:pt x="304520" y="1206911"/>
                    <a:pt x="210034" y="1220769"/>
                  </a:cubicBezTo>
                  <a:cubicBezTo>
                    <a:pt x="133185" y="1232107"/>
                    <a:pt x="73973" y="1201871"/>
                    <a:pt x="48776" y="1131322"/>
                  </a:cubicBezTo>
                  <a:cubicBezTo>
                    <a:pt x="84051" y="1028016"/>
                    <a:pt x="120587" y="929750"/>
                    <a:pt x="81532" y="835263"/>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54" name="任意多边形: 形状 53"/>
            <p:cNvSpPr/>
            <p:nvPr/>
          </p:nvSpPr>
          <p:spPr>
            <a:xfrm>
              <a:off x="10397831" y="3697569"/>
              <a:ext cx="549142" cy="1192668"/>
            </a:xfrm>
            <a:custGeom>
              <a:avLst/>
              <a:gdLst>
                <a:gd name="connsiteX0" fmla="*/ 274399 w 806286"/>
                <a:gd name="connsiteY0" fmla="*/ 1748516 h 1751154"/>
                <a:gd name="connsiteX1" fmla="*/ 61489 w 806286"/>
                <a:gd name="connsiteY1" fmla="*/ 1436079 h 1751154"/>
                <a:gd name="connsiteX2" fmla="*/ 18655 w 806286"/>
                <a:gd name="connsiteY2" fmla="*/ 918292 h 1751154"/>
                <a:gd name="connsiteX3" fmla="*/ 286997 w 806286"/>
                <a:gd name="connsiteY3" fmla="*/ 496251 h 1751154"/>
                <a:gd name="connsiteX4" fmla="*/ 372665 w 806286"/>
                <a:gd name="connsiteY4" fmla="*/ 123343 h 1751154"/>
                <a:gd name="connsiteX5" fmla="*/ 789667 w 806286"/>
                <a:gd name="connsiteY5" fmla="*/ 319876 h 1751154"/>
                <a:gd name="connsiteX6" fmla="*/ 646047 w 806286"/>
                <a:gd name="connsiteY6" fmla="*/ 694043 h 1751154"/>
                <a:gd name="connsiteX7" fmla="*/ 651086 w 806286"/>
                <a:gd name="connsiteY7" fmla="*/ 1084589 h 1751154"/>
                <a:gd name="connsiteX8" fmla="*/ 496128 w 806286"/>
                <a:gd name="connsiteY8" fmla="*/ 1485212 h 1751154"/>
                <a:gd name="connsiteX9" fmla="*/ 274399 w 806286"/>
                <a:gd name="connsiteY9" fmla="*/ 1748516 h 1751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6286" h="1751154">
                  <a:moveTo>
                    <a:pt x="274399" y="1748516"/>
                  </a:moveTo>
                  <a:cubicBezTo>
                    <a:pt x="153456" y="1730878"/>
                    <a:pt x="40072" y="1672926"/>
                    <a:pt x="61489" y="1436079"/>
                  </a:cubicBezTo>
                  <a:cubicBezTo>
                    <a:pt x="82906" y="1199233"/>
                    <a:pt x="-46856" y="1142541"/>
                    <a:pt x="18655" y="918292"/>
                  </a:cubicBezTo>
                  <a:cubicBezTo>
                    <a:pt x="84166" y="692783"/>
                    <a:pt x="293296" y="683965"/>
                    <a:pt x="286997" y="496251"/>
                  </a:cubicBezTo>
                  <a:cubicBezTo>
                    <a:pt x="284477" y="404284"/>
                    <a:pt x="303375" y="237987"/>
                    <a:pt x="372665" y="123343"/>
                  </a:cubicBezTo>
                  <a:cubicBezTo>
                    <a:pt x="488569" y="-69410"/>
                    <a:pt x="892972" y="-59331"/>
                    <a:pt x="789667" y="319876"/>
                  </a:cubicBezTo>
                  <a:cubicBezTo>
                    <a:pt x="754392" y="449638"/>
                    <a:pt x="651086" y="521448"/>
                    <a:pt x="646047" y="694043"/>
                  </a:cubicBezTo>
                  <a:cubicBezTo>
                    <a:pt x="642267" y="814986"/>
                    <a:pt x="706518" y="867899"/>
                    <a:pt x="651086" y="1084589"/>
                  </a:cubicBezTo>
                  <a:cubicBezTo>
                    <a:pt x="600693" y="1281121"/>
                    <a:pt x="479750" y="1291200"/>
                    <a:pt x="496128" y="1485212"/>
                  </a:cubicBezTo>
                  <a:cubicBezTo>
                    <a:pt x="512505" y="1677965"/>
                    <a:pt x="418019" y="1768672"/>
                    <a:pt x="274399" y="1748516"/>
                  </a:cubicBezTo>
                  <a:close/>
                </a:path>
              </a:pathLst>
            </a:custGeom>
            <a:solidFill>
              <a:srgbClr val="56E395"/>
            </a:solidFill>
            <a:ln w="12584" cap="flat">
              <a:noFill/>
              <a:prstDash val="solid"/>
              <a:miter/>
            </a:ln>
          </p:spPr>
          <p:txBody>
            <a:bodyPr rtlCol="0" anchor="ctr"/>
            <a:lstStyle/>
            <a:p>
              <a:endParaRPr lang="zh-CN" altLang="en-US"/>
            </a:p>
          </p:txBody>
        </p:sp>
        <p:sp>
          <p:nvSpPr>
            <p:cNvPr id="55" name="任意多边形: 形状 54"/>
            <p:cNvSpPr/>
            <p:nvPr/>
          </p:nvSpPr>
          <p:spPr>
            <a:xfrm>
              <a:off x="10397515" y="4395928"/>
              <a:ext cx="326053" cy="489080"/>
            </a:xfrm>
            <a:custGeom>
              <a:avLst/>
              <a:gdLst>
                <a:gd name="connsiteX0" fmla="*/ 221 w 478732"/>
                <a:gd name="connsiteY0" fmla="*/ 0 h 718099"/>
                <a:gd name="connsiteX1" fmla="*/ 489032 w 478732"/>
                <a:gd name="connsiteY1" fmla="*/ 580778 h 718099"/>
                <a:gd name="connsiteX2" fmla="*/ 273602 w 478732"/>
                <a:gd name="connsiteY2" fmla="*/ 723139 h 718099"/>
                <a:gd name="connsiteX3" fmla="*/ 60692 w 478732"/>
                <a:gd name="connsiteY3" fmla="*/ 410702 h 718099"/>
                <a:gd name="connsiteX4" fmla="*/ 221 w 478732"/>
                <a:gd name="connsiteY4" fmla="*/ 0 h 718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32" h="718099">
                  <a:moveTo>
                    <a:pt x="221" y="0"/>
                  </a:moveTo>
                  <a:cubicBezTo>
                    <a:pt x="206832" y="122203"/>
                    <a:pt x="373128" y="321255"/>
                    <a:pt x="489032" y="580778"/>
                  </a:cubicBezTo>
                  <a:cubicBezTo>
                    <a:pt x="463835" y="690383"/>
                    <a:pt x="383207" y="739516"/>
                    <a:pt x="273602" y="723139"/>
                  </a:cubicBezTo>
                  <a:cubicBezTo>
                    <a:pt x="152659" y="705501"/>
                    <a:pt x="39275" y="647549"/>
                    <a:pt x="60692" y="410702"/>
                  </a:cubicBezTo>
                  <a:cubicBezTo>
                    <a:pt x="78329" y="216690"/>
                    <a:pt x="-4819" y="143620"/>
                    <a:pt x="221" y="0"/>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56" name="任意多边形: 形状 55"/>
            <p:cNvSpPr/>
            <p:nvPr/>
          </p:nvSpPr>
          <p:spPr>
            <a:xfrm>
              <a:off x="10559834" y="3708427"/>
              <a:ext cx="265991" cy="1141186"/>
            </a:xfrm>
            <a:custGeom>
              <a:avLst/>
              <a:gdLst>
                <a:gd name="connsiteX0" fmla="*/ 8819 w 390545"/>
                <a:gd name="connsiteY0" fmla="*/ 1685959 h 1675564"/>
                <a:gd name="connsiteX1" fmla="*/ 17637 w 390545"/>
                <a:gd name="connsiteY1" fmla="*/ 1680919 h 1675564"/>
                <a:gd name="connsiteX2" fmla="*/ 65511 w 390545"/>
                <a:gd name="connsiteY2" fmla="*/ 1461710 h 1675564"/>
                <a:gd name="connsiteX3" fmla="*/ 66770 w 390545"/>
                <a:gd name="connsiteY3" fmla="*/ 1354625 h 1675564"/>
                <a:gd name="connsiteX4" fmla="*/ 142360 w 390545"/>
                <a:gd name="connsiteY4" fmla="*/ 801563 h 1675564"/>
                <a:gd name="connsiteX5" fmla="*/ 240626 w 390545"/>
                <a:gd name="connsiteY5" fmla="*/ 618888 h 1675564"/>
                <a:gd name="connsiteX6" fmla="*/ 343932 w 390545"/>
                <a:gd name="connsiteY6" fmla="*/ 423616 h 1675564"/>
                <a:gd name="connsiteX7" fmla="*/ 376687 w 390545"/>
                <a:gd name="connsiteY7" fmla="*/ 7874 h 1675564"/>
                <a:gd name="connsiteX8" fmla="*/ 364089 w 390545"/>
                <a:gd name="connsiteY8" fmla="*/ 315 h 1675564"/>
                <a:gd name="connsiteX9" fmla="*/ 356530 w 390545"/>
                <a:gd name="connsiteY9" fmla="*/ 12913 h 1675564"/>
                <a:gd name="connsiteX10" fmla="*/ 325034 w 390545"/>
                <a:gd name="connsiteY10" fmla="*/ 416057 h 1675564"/>
                <a:gd name="connsiteX11" fmla="*/ 222989 w 390545"/>
                <a:gd name="connsiteY11" fmla="*/ 608810 h 1675564"/>
                <a:gd name="connsiteX12" fmla="*/ 123463 w 390545"/>
                <a:gd name="connsiteY12" fmla="*/ 794004 h 1675564"/>
                <a:gd name="connsiteX13" fmla="*/ 46613 w 390545"/>
                <a:gd name="connsiteY13" fmla="*/ 1354625 h 1675564"/>
                <a:gd name="connsiteX14" fmla="*/ 45354 w 390545"/>
                <a:gd name="connsiteY14" fmla="*/ 1460450 h 1675564"/>
                <a:gd name="connsiteX15" fmla="*/ 1260 w 390545"/>
                <a:gd name="connsiteY15" fmla="*/ 1668321 h 1675564"/>
                <a:gd name="connsiteX16" fmla="*/ 5039 w 390545"/>
                <a:gd name="connsiteY16" fmla="*/ 1683439 h 1675564"/>
                <a:gd name="connsiteX17" fmla="*/ 8819 w 390545"/>
                <a:gd name="connsiteY17" fmla="*/ 1685959 h 167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545" h="1675564">
                  <a:moveTo>
                    <a:pt x="8819" y="1685959"/>
                  </a:moveTo>
                  <a:cubicBezTo>
                    <a:pt x="12598" y="1685959"/>
                    <a:pt x="15118" y="1684699"/>
                    <a:pt x="17637" y="1680919"/>
                  </a:cubicBezTo>
                  <a:cubicBezTo>
                    <a:pt x="57952" y="1616668"/>
                    <a:pt x="62991" y="1537300"/>
                    <a:pt x="65511" y="1461710"/>
                  </a:cubicBezTo>
                  <a:cubicBezTo>
                    <a:pt x="66770" y="1426435"/>
                    <a:pt x="66770" y="1391160"/>
                    <a:pt x="66770" y="1354625"/>
                  </a:cubicBezTo>
                  <a:cubicBezTo>
                    <a:pt x="68030" y="1166911"/>
                    <a:pt x="70550" y="974158"/>
                    <a:pt x="142360" y="801563"/>
                  </a:cubicBezTo>
                  <a:cubicBezTo>
                    <a:pt x="168816" y="738571"/>
                    <a:pt x="205351" y="676840"/>
                    <a:pt x="240626" y="618888"/>
                  </a:cubicBezTo>
                  <a:cubicBezTo>
                    <a:pt x="278421" y="557157"/>
                    <a:pt x="316216" y="491646"/>
                    <a:pt x="343932" y="423616"/>
                  </a:cubicBezTo>
                  <a:cubicBezTo>
                    <a:pt x="396844" y="292594"/>
                    <a:pt x="408183" y="145195"/>
                    <a:pt x="376687" y="7874"/>
                  </a:cubicBezTo>
                  <a:cubicBezTo>
                    <a:pt x="375427" y="1575"/>
                    <a:pt x="369128" y="-945"/>
                    <a:pt x="364089" y="315"/>
                  </a:cubicBezTo>
                  <a:cubicBezTo>
                    <a:pt x="357790" y="1575"/>
                    <a:pt x="355270" y="7874"/>
                    <a:pt x="356530" y="12913"/>
                  </a:cubicBezTo>
                  <a:cubicBezTo>
                    <a:pt x="386766" y="146454"/>
                    <a:pt x="375427" y="290074"/>
                    <a:pt x="325034" y="416057"/>
                  </a:cubicBezTo>
                  <a:cubicBezTo>
                    <a:pt x="298578" y="482827"/>
                    <a:pt x="259524" y="547078"/>
                    <a:pt x="222989" y="608810"/>
                  </a:cubicBezTo>
                  <a:cubicBezTo>
                    <a:pt x="187714" y="668021"/>
                    <a:pt x="151179" y="729753"/>
                    <a:pt x="123463" y="794004"/>
                  </a:cubicBezTo>
                  <a:cubicBezTo>
                    <a:pt x="50393" y="970379"/>
                    <a:pt x="47873" y="1165652"/>
                    <a:pt x="46613" y="1354625"/>
                  </a:cubicBezTo>
                  <a:cubicBezTo>
                    <a:pt x="46613" y="1389900"/>
                    <a:pt x="45354" y="1425175"/>
                    <a:pt x="45354" y="1460450"/>
                  </a:cubicBezTo>
                  <a:cubicBezTo>
                    <a:pt x="44094" y="1532260"/>
                    <a:pt x="39055" y="1607849"/>
                    <a:pt x="1260" y="1668321"/>
                  </a:cubicBezTo>
                  <a:cubicBezTo>
                    <a:pt x="-1260" y="1673360"/>
                    <a:pt x="0" y="1679659"/>
                    <a:pt x="5039" y="1683439"/>
                  </a:cubicBezTo>
                  <a:cubicBezTo>
                    <a:pt x="5039" y="1685959"/>
                    <a:pt x="7559" y="1685959"/>
                    <a:pt x="8819" y="1685959"/>
                  </a:cubicBezTo>
                  <a:close/>
                </a:path>
              </a:pathLst>
            </a:custGeom>
            <a:solidFill>
              <a:srgbClr val="10BE61"/>
            </a:solidFill>
            <a:ln w="12584" cap="flat">
              <a:noFill/>
              <a:prstDash val="solid"/>
              <a:miter/>
            </a:ln>
          </p:spPr>
          <p:txBody>
            <a:bodyPr rtlCol="0" anchor="ctr"/>
            <a:lstStyle/>
            <a:p>
              <a:endParaRPr lang="zh-CN" altLang="en-US"/>
            </a:p>
          </p:txBody>
        </p:sp>
        <p:sp>
          <p:nvSpPr>
            <p:cNvPr id="57" name="任意多边形: 形状 56"/>
            <p:cNvSpPr/>
            <p:nvPr/>
          </p:nvSpPr>
          <p:spPr>
            <a:xfrm>
              <a:off x="10433584" y="4297135"/>
              <a:ext cx="171607" cy="223089"/>
            </a:xfrm>
            <a:custGeom>
              <a:avLst/>
              <a:gdLst>
                <a:gd name="connsiteX0" fmla="*/ 243321 w 251964"/>
                <a:gd name="connsiteY0" fmla="*/ 332768 h 327554"/>
                <a:gd name="connsiteX1" fmla="*/ 249620 w 251964"/>
                <a:gd name="connsiteY1" fmla="*/ 330248 h 327554"/>
                <a:gd name="connsiteX2" fmla="*/ 252139 w 251964"/>
                <a:gd name="connsiteY2" fmla="*/ 315130 h 327554"/>
                <a:gd name="connsiteX3" fmla="*/ 19072 w 251964"/>
                <a:gd name="connsiteY3" fmla="*/ 3954 h 327554"/>
                <a:gd name="connsiteX4" fmla="*/ 3954 w 251964"/>
                <a:gd name="connsiteY4" fmla="*/ 2694 h 327554"/>
                <a:gd name="connsiteX5" fmla="*/ 2694 w 251964"/>
                <a:gd name="connsiteY5" fmla="*/ 17812 h 327554"/>
                <a:gd name="connsiteX6" fmla="*/ 234502 w 251964"/>
                <a:gd name="connsiteY6" fmla="*/ 327728 h 327554"/>
                <a:gd name="connsiteX7" fmla="*/ 243321 w 251964"/>
                <a:gd name="connsiteY7" fmla="*/ 332768 h 32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327554">
                  <a:moveTo>
                    <a:pt x="243321" y="332768"/>
                  </a:moveTo>
                  <a:cubicBezTo>
                    <a:pt x="245840" y="332768"/>
                    <a:pt x="247100" y="331508"/>
                    <a:pt x="249620" y="330248"/>
                  </a:cubicBezTo>
                  <a:cubicBezTo>
                    <a:pt x="254659" y="326469"/>
                    <a:pt x="255919" y="320170"/>
                    <a:pt x="252139" y="315130"/>
                  </a:cubicBezTo>
                  <a:cubicBezTo>
                    <a:pt x="177810" y="209305"/>
                    <a:pt x="99700" y="104740"/>
                    <a:pt x="19072" y="3954"/>
                  </a:cubicBezTo>
                  <a:cubicBezTo>
                    <a:pt x="15292" y="-1085"/>
                    <a:pt x="8993" y="-1085"/>
                    <a:pt x="3954" y="2694"/>
                  </a:cubicBezTo>
                  <a:cubicBezTo>
                    <a:pt x="-1085" y="6474"/>
                    <a:pt x="-1085" y="12773"/>
                    <a:pt x="2694" y="17812"/>
                  </a:cubicBezTo>
                  <a:cubicBezTo>
                    <a:pt x="83323" y="118598"/>
                    <a:pt x="160172" y="223163"/>
                    <a:pt x="234502" y="327728"/>
                  </a:cubicBezTo>
                  <a:cubicBezTo>
                    <a:pt x="237021" y="330248"/>
                    <a:pt x="239541" y="332768"/>
                    <a:pt x="243321" y="332768"/>
                  </a:cubicBezTo>
                  <a:close/>
                </a:path>
              </a:pathLst>
            </a:custGeom>
            <a:solidFill>
              <a:srgbClr val="10BE61"/>
            </a:solidFill>
            <a:ln w="12584" cap="flat">
              <a:noFill/>
              <a:prstDash val="solid"/>
              <a:miter/>
            </a:ln>
          </p:spPr>
          <p:txBody>
            <a:bodyPr rtlCol="0" anchor="ctr"/>
            <a:lstStyle/>
            <a:p>
              <a:endParaRPr lang="zh-CN" altLang="en-US"/>
            </a:p>
          </p:txBody>
        </p:sp>
        <p:sp>
          <p:nvSpPr>
            <p:cNvPr id="58" name="任意多边形: 形状 57"/>
            <p:cNvSpPr/>
            <p:nvPr/>
          </p:nvSpPr>
          <p:spPr>
            <a:xfrm>
              <a:off x="10450649" y="4396571"/>
              <a:ext cx="154446" cy="180187"/>
            </a:xfrm>
            <a:custGeom>
              <a:avLst/>
              <a:gdLst>
                <a:gd name="connsiteX0" fmla="*/ 217005 w 226768"/>
                <a:gd name="connsiteY0" fmla="*/ 269917 h 264562"/>
                <a:gd name="connsiteX1" fmla="*/ 223304 w 226768"/>
                <a:gd name="connsiteY1" fmla="*/ 267398 h 264562"/>
                <a:gd name="connsiteX2" fmla="*/ 225823 w 226768"/>
                <a:gd name="connsiteY2" fmla="*/ 252279 h 264562"/>
                <a:gd name="connsiteX3" fmla="*/ 17952 w 226768"/>
                <a:gd name="connsiteY3" fmla="*/ 2835 h 264562"/>
                <a:gd name="connsiteX4" fmla="*/ 2835 w 226768"/>
                <a:gd name="connsiteY4" fmla="*/ 2835 h 264562"/>
                <a:gd name="connsiteX5" fmla="*/ 2835 w 226768"/>
                <a:gd name="connsiteY5" fmla="*/ 17952 h 264562"/>
                <a:gd name="connsiteX6" fmla="*/ 209446 w 226768"/>
                <a:gd name="connsiteY6" fmla="*/ 264878 h 264562"/>
                <a:gd name="connsiteX7" fmla="*/ 217005 w 226768"/>
                <a:gd name="connsiteY7" fmla="*/ 269917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768" h="264562">
                  <a:moveTo>
                    <a:pt x="217005" y="269917"/>
                  </a:moveTo>
                  <a:cubicBezTo>
                    <a:pt x="219524" y="269917"/>
                    <a:pt x="220784" y="268657"/>
                    <a:pt x="223304" y="267398"/>
                  </a:cubicBezTo>
                  <a:cubicBezTo>
                    <a:pt x="228343" y="263618"/>
                    <a:pt x="229603" y="257319"/>
                    <a:pt x="225823" y="252279"/>
                  </a:cubicBezTo>
                  <a:cubicBezTo>
                    <a:pt x="161573" y="165352"/>
                    <a:pt x="92282" y="80943"/>
                    <a:pt x="17952" y="2835"/>
                  </a:cubicBezTo>
                  <a:cubicBezTo>
                    <a:pt x="14173" y="-945"/>
                    <a:pt x="6614" y="-945"/>
                    <a:pt x="2835" y="2835"/>
                  </a:cubicBezTo>
                  <a:cubicBezTo>
                    <a:pt x="-945" y="6614"/>
                    <a:pt x="-945" y="14173"/>
                    <a:pt x="2835" y="17952"/>
                  </a:cubicBezTo>
                  <a:cubicBezTo>
                    <a:pt x="77164" y="94802"/>
                    <a:pt x="146455" y="177950"/>
                    <a:pt x="209446" y="264878"/>
                  </a:cubicBezTo>
                  <a:cubicBezTo>
                    <a:pt x="210706" y="268657"/>
                    <a:pt x="214485" y="269917"/>
                    <a:pt x="217005" y="269917"/>
                  </a:cubicBezTo>
                  <a:close/>
                </a:path>
              </a:pathLst>
            </a:custGeom>
            <a:solidFill>
              <a:srgbClr val="10BE61"/>
            </a:solidFill>
            <a:ln w="12584" cap="flat">
              <a:noFill/>
              <a:prstDash val="solid"/>
              <a:miter/>
            </a:ln>
          </p:spPr>
          <p:txBody>
            <a:bodyPr rtlCol="0" anchor="ctr"/>
            <a:lstStyle/>
            <a:p>
              <a:endParaRPr lang="zh-CN" altLang="en-US"/>
            </a:p>
          </p:txBody>
        </p:sp>
        <p:sp>
          <p:nvSpPr>
            <p:cNvPr id="59" name="任意多边形: 形状 58"/>
            <p:cNvSpPr/>
            <p:nvPr/>
          </p:nvSpPr>
          <p:spPr>
            <a:xfrm>
              <a:off x="10497937" y="4560551"/>
              <a:ext cx="102964" cy="111544"/>
            </a:xfrm>
            <a:custGeom>
              <a:avLst/>
              <a:gdLst>
                <a:gd name="connsiteX0" fmla="*/ 145054 w 151178"/>
                <a:gd name="connsiteY0" fmla="*/ 168991 h 163777"/>
                <a:gd name="connsiteX1" fmla="*/ 151353 w 151178"/>
                <a:gd name="connsiteY1" fmla="*/ 166471 h 163777"/>
                <a:gd name="connsiteX2" fmla="*/ 153873 w 151178"/>
                <a:gd name="connsiteY2" fmla="*/ 151353 h 163777"/>
                <a:gd name="connsiteX3" fmla="*/ 17812 w 151178"/>
                <a:gd name="connsiteY3" fmla="*/ 2694 h 163777"/>
                <a:gd name="connsiteX4" fmla="*/ 2694 w 151178"/>
                <a:gd name="connsiteY4" fmla="*/ 3954 h 163777"/>
                <a:gd name="connsiteX5" fmla="*/ 3954 w 151178"/>
                <a:gd name="connsiteY5" fmla="*/ 19072 h 163777"/>
                <a:gd name="connsiteX6" fmla="*/ 136236 w 151178"/>
                <a:gd name="connsiteY6" fmla="*/ 163951 h 163777"/>
                <a:gd name="connsiteX7" fmla="*/ 145054 w 151178"/>
                <a:gd name="connsiteY7" fmla="*/ 168991 h 16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163777">
                  <a:moveTo>
                    <a:pt x="145054" y="168991"/>
                  </a:moveTo>
                  <a:cubicBezTo>
                    <a:pt x="147574" y="168991"/>
                    <a:pt x="148834" y="167731"/>
                    <a:pt x="151353" y="166471"/>
                  </a:cubicBezTo>
                  <a:cubicBezTo>
                    <a:pt x="156392" y="162692"/>
                    <a:pt x="157652" y="156392"/>
                    <a:pt x="153873" y="151353"/>
                  </a:cubicBezTo>
                  <a:cubicBezTo>
                    <a:pt x="114818" y="95921"/>
                    <a:pt x="69465" y="45528"/>
                    <a:pt x="17812" y="2694"/>
                  </a:cubicBezTo>
                  <a:cubicBezTo>
                    <a:pt x="12773" y="-1085"/>
                    <a:pt x="6474" y="-1085"/>
                    <a:pt x="2694" y="3954"/>
                  </a:cubicBezTo>
                  <a:cubicBezTo>
                    <a:pt x="-1085" y="8993"/>
                    <a:pt x="-1085" y="15292"/>
                    <a:pt x="3954" y="19072"/>
                  </a:cubicBezTo>
                  <a:cubicBezTo>
                    <a:pt x="54347" y="61906"/>
                    <a:pt x="98441" y="109779"/>
                    <a:pt x="136236" y="163951"/>
                  </a:cubicBezTo>
                  <a:cubicBezTo>
                    <a:pt x="138755" y="167731"/>
                    <a:pt x="142535" y="168991"/>
                    <a:pt x="145054" y="168991"/>
                  </a:cubicBezTo>
                  <a:close/>
                </a:path>
              </a:pathLst>
            </a:custGeom>
            <a:solidFill>
              <a:srgbClr val="10BE61"/>
            </a:solidFill>
            <a:ln w="12584" cap="flat">
              <a:noFill/>
              <a:prstDash val="solid"/>
              <a:miter/>
            </a:ln>
          </p:spPr>
          <p:txBody>
            <a:bodyPr rtlCol="0" anchor="ctr"/>
            <a:lstStyle/>
            <a:p>
              <a:endParaRPr lang="zh-CN" altLang="en-US"/>
            </a:p>
          </p:txBody>
        </p:sp>
        <p:sp>
          <p:nvSpPr>
            <p:cNvPr id="60" name="任意多边形: 形状 59"/>
            <p:cNvSpPr/>
            <p:nvPr/>
          </p:nvSpPr>
          <p:spPr>
            <a:xfrm>
              <a:off x="10598922" y="4312152"/>
              <a:ext cx="223089" cy="102964"/>
            </a:xfrm>
            <a:custGeom>
              <a:avLst/>
              <a:gdLst>
                <a:gd name="connsiteX0" fmla="*/ 11898 w 327554"/>
                <a:gd name="connsiteY0" fmla="*/ 162059 h 151178"/>
                <a:gd name="connsiteX1" fmla="*/ 16938 w 327554"/>
                <a:gd name="connsiteY1" fmla="*/ 160799 h 151178"/>
                <a:gd name="connsiteX2" fmla="*/ 326854 w 327554"/>
                <a:gd name="connsiteY2" fmla="*/ 20959 h 151178"/>
                <a:gd name="connsiteX3" fmla="*/ 333153 w 327554"/>
                <a:gd name="connsiteY3" fmla="*/ 7101 h 151178"/>
                <a:gd name="connsiteX4" fmla="*/ 319295 w 327554"/>
                <a:gd name="connsiteY4" fmla="*/ 802 h 151178"/>
                <a:gd name="connsiteX5" fmla="*/ 5599 w 327554"/>
                <a:gd name="connsiteY5" fmla="*/ 141902 h 151178"/>
                <a:gd name="connsiteX6" fmla="*/ 1820 w 327554"/>
                <a:gd name="connsiteY6" fmla="*/ 155760 h 151178"/>
                <a:gd name="connsiteX7" fmla="*/ 11898 w 327554"/>
                <a:gd name="connsiteY7" fmla="*/ 16205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554" h="151178">
                  <a:moveTo>
                    <a:pt x="11898" y="162059"/>
                  </a:moveTo>
                  <a:cubicBezTo>
                    <a:pt x="13158" y="162059"/>
                    <a:pt x="15678" y="162059"/>
                    <a:pt x="16938" y="160799"/>
                  </a:cubicBezTo>
                  <a:cubicBezTo>
                    <a:pt x="116464" y="106627"/>
                    <a:pt x="221029" y="60014"/>
                    <a:pt x="326854" y="20959"/>
                  </a:cubicBezTo>
                  <a:cubicBezTo>
                    <a:pt x="331893" y="18440"/>
                    <a:pt x="335673" y="13400"/>
                    <a:pt x="333153" y="7101"/>
                  </a:cubicBezTo>
                  <a:cubicBezTo>
                    <a:pt x="330634" y="2062"/>
                    <a:pt x="325594" y="-1718"/>
                    <a:pt x="319295" y="802"/>
                  </a:cubicBezTo>
                  <a:cubicBezTo>
                    <a:pt x="212210" y="39856"/>
                    <a:pt x="106385" y="87730"/>
                    <a:pt x="5599" y="141902"/>
                  </a:cubicBezTo>
                  <a:cubicBezTo>
                    <a:pt x="560" y="144422"/>
                    <a:pt x="-1960" y="150721"/>
                    <a:pt x="1820" y="155760"/>
                  </a:cubicBezTo>
                  <a:cubicBezTo>
                    <a:pt x="4339" y="160799"/>
                    <a:pt x="8119" y="162059"/>
                    <a:pt x="11898" y="162059"/>
                  </a:cubicBezTo>
                  <a:close/>
                </a:path>
              </a:pathLst>
            </a:custGeom>
            <a:solidFill>
              <a:srgbClr val="10BE61"/>
            </a:solidFill>
            <a:ln w="12584" cap="flat">
              <a:noFill/>
              <a:prstDash val="solid"/>
              <a:miter/>
            </a:ln>
          </p:spPr>
          <p:txBody>
            <a:bodyPr rtlCol="0" anchor="ctr"/>
            <a:lstStyle/>
            <a:p>
              <a:endParaRPr lang="zh-CN" altLang="en-US"/>
            </a:p>
          </p:txBody>
        </p:sp>
        <p:sp>
          <p:nvSpPr>
            <p:cNvPr id="61" name="任意多边形: 形状 60"/>
            <p:cNvSpPr/>
            <p:nvPr/>
          </p:nvSpPr>
          <p:spPr>
            <a:xfrm>
              <a:off x="10603048" y="4374788"/>
              <a:ext cx="231669" cy="77223"/>
            </a:xfrm>
            <a:custGeom>
              <a:avLst/>
              <a:gdLst>
                <a:gd name="connsiteX0" fmla="*/ 12140 w 340152"/>
                <a:gd name="connsiteY0" fmla="*/ 125524 h 113384"/>
                <a:gd name="connsiteX1" fmla="*/ 14660 w 340152"/>
                <a:gd name="connsiteY1" fmla="*/ 125524 h 113384"/>
                <a:gd name="connsiteX2" fmla="*/ 339694 w 340152"/>
                <a:gd name="connsiteY2" fmla="*/ 20959 h 113384"/>
                <a:gd name="connsiteX3" fmla="*/ 345994 w 340152"/>
                <a:gd name="connsiteY3" fmla="*/ 7101 h 113384"/>
                <a:gd name="connsiteX4" fmla="*/ 332135 w 340152"/>
                <a:gd name="connsiteY4" fmla="*/ 802 h 113384"/>
                <a:gd name="connsiteX5" fmla="*/ 7101 w 340152"/>
                <a:gd name="connsiteY5" fmla="*/ 105368 h 113384"/>
                <a:gd name="connsiteX6" fmla="*/ 802 w 340152"/>
                <a:gd name="connsiteY6" fmla="*/ 119225 h 113384"/>
                <a:gd name="connsiteX7" fmla="*/ 12140 w 340152"/>
                <a:gd name="connsiteY7" fmla="*/ 125524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0152" h="113384">
                  <a:moveTo>
                    <a:pt x="12140" y="125524"/>
                  </a:moveTo>
                  <a:cubicBezTo>
                    <a:pt x="13400" y="125524"/>
                    <a:pt x="14660" y="125524"/>
                    <a:pt x="14660" y="125524"/>
                  </a:cubicBezTo>
                  <a:lnTo>
                    <a:pt x="339694" y="20959"/>
                  </a:lnTo>
                  <a:cubicBezTo>
                    <a:pt x="344734" y="19699"/>
                    <a:pt x="348513" y="13400"/>
                    <a:pt x="345994" y="7101"/>
                  </a:cubicBezTo>
                  <a:cubicBezTo>
                    <a:pt x="344734" y="2062"/>
                    <a:pt x="338435" y="-1718"/>
                    <a:pt x="332135" y="802"/>
                  </a:cubicBezTo>
                  <a:lnTo>
                    <a:pt x="7101" y="105368"/>
                  </a:lnTo>
                  <a:cubicBezTo>
                    <a:pt x="2062" y="106627"/>
                    <a:pt x="-1718" y="112926"/>
                    <a:pt x="802" y="119225"/>
                  </a:cubicBezTo>
                  <a:cubicBezTo>
                    <a:pt x="3322" y="123005"/>
                    <a:pt x="8361" y="125524"/>
                    <a:pt x="12140" y="125524"/>
                  </a:cubicBezTo>
                  <a:close/>
                </a:path>
              </a:pathLst>
            </a:custGeom>
            <a:solidFill>
              <a:srgbClr val="10BE61"/>
            </a:solidFill>
            <a:ln w="12584" cap="flat">
              <a:noFill/>
              <a:prstDash val="solid"/>
              <a:miter/>
            </a:ln>
          </p:spPr>
          <p:txBody>
            <a:bodyPr rtlCol="0" anchor="ctr"/>
            <a:lstStyle/>
            <a:p>
              <a:endParaRPr lang="zh-CN" altLang="en-US"/>
            </a:p>
          </p:txBody>
        </p:sp>
        <p:sp>
          <p:nvSpPr>
            <p:cNvPr id="62" name="任意多边形: 形状 61"/>
            <p:cNvSpPr/>
            <p:nvPr/>
          </p:nvSpPr>
          <p:spPr>
            <a:xfrm>
              <a:off x="10608961" y="4126724"/>
              <a:ext cx="68643" cy="85803"/>
            </a:xfrm>
            <a:custGeom>
              <a:avLst/>
              <a:gdLst>
                <a:gd name="connsiteX0" fmla="*/ 90385 w 100785"/>
                <a:gd name="connsiteY0" fmla="*/ 128180 h 125982"/>
                <a:gd name="connsiteX1" fmla="*/ 96684 w 100785"/>
                <a:gd name="connsiteY1" fmla="*/ 125660 h 125982"/>
                <a:gd name="connsiteX2" fmla="*/ 99204 w 100785"/>
                <a:gd name="connsiteY2" fmla="*/ 110542 h 125982"/>
                <a:gd name="connsiteX3" fmla="*/ 19835 w 100785"/>
                <a:gd name="connsiteY3" fmla="*/ 4717 h 125982"/>
                <a:gd name="connsiteX4" fmla="*/ 4717 w 100785"/>
                <a:gd name="connsiteY4" fmla="*/ 2198 h 125982"/>
                <a:gd name="connsiteX5" fmla="*/ 2198 w 100785"/>
                <a:gd name="connsiteY5" fmla="*/ 17315 h 125982"/>
                <a:gd name="connsiteX6" fmla="*/ 81566 w 100785"/>
                <a:gd name="connsiteY6" fmla="*/ 123141 h 125982"/>
                <a:gd name="connsiteX7" fmla="*/ 90385 w 100785"/>
                <a:gd name="connsiteY7" fmla="*/ 12818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785" h="125982">
                  <a:moveTo>
                    <a:pt x="90385" y="128180"/>
                  </a:moveTo>
                  <a:cubicBezTo>
                    <a:pt x="92905" y="128180"/>
                    <a:pt x="94164" y="126920"/>
                    <a:pt x="96684" y="125660"/>
                  </a:cubicBezTo>
                  <a:cubicBezTo>
                    <a:pt x="101723" y="121881"/>
                    <a:pt x="102983" y="115582"/>
                    <a:pt x="99204" y="110542"/>
                  </a:cubicBezTo>
                  <a:lnTo>
                    <a:pt x="19835" y="4717"/>
                  </a:lnTo>
                  <a:cubicBezTo>
                    <a:pt x="16056" y="-322"/>
                    <a:pt x="9757" y="-1582"/>
                    <a:pt x="4717" y="2198"/>
                  </a:cubicBezTo>
                  <a:cubicBezTo>
                    <a:pt x="-322" y="5977"/>
                    <a:pt x="-1582" y="12276"/>
                    <a:pt x="2198" y="17315"/>
                  </a:cubicBezTo>
                  <a:lnTo>
                    <a:pt x="81566" y="123141"/>
                  </a:lnTo>
                  <a:cubicBezTo>
                    <a:pt x="84086" y="126920"/>
                    <a:pt x="87865" y="128180"/>
                    <a:pt x="90385" y="128180"/>
                  </a:cubicBezTo>
                  <a:close/>
                </a:path>
              </a:pathLst>
            </a:custGeom>
            <a:solidFill>
              <a:srgbClr val="10BE61"/>
            </a:solidFill>
            <a:ln w="12584" cap="flat">
              <a:noFill/>
              <a:prstDash val="solid"/>
              <a:miter/>
            </a:ln>
          </p:spPr>
          <p:txBody>
            <a:bodyPr rtlCol="0" anchor="ctr"/>
            <a:lstStyle/>
            <a:p>
              <a:endParaRPr lang="zh-CN" altLang="en-US"/>
            </a:p>
          </p:txBody>
        </p:sp>
        <p:sp>
          <p:nvSpPr>
            <p:cNvPr id="63" name="任意多边形: 形状 62"/>
            <p:cNvSpPr/>
            <p:nvPr/>
          </p:nvSpPr>
          <p:spPr>
            <a:xfrm>
              <a:off x="10617323" y="4050140"/>
              <a:ext cx="77223" cy="120125"/>
            </a:xfrm>
            <a:custGeom>
              <a:avLst/>
              <a:gdLst>
                <a:gd name="connsiteX0" fmla="*/ 105825 w 113384"/>
                <a:gd name="connsiteY0" fmla="*/ 180155 h 176375"/>
                <a:gd name="connsiteX1" fmla="*/ 110865 w 113384"/>
                <a:gd name="connsiteY1" fmla="*/ 178895 h 176375"/>
                <a:gd name="connsiteX2" fmla="*/ 114644 w 113384"/>
                <a:gd name="connsiteY2" fmla="*/ 165037 h 176375"/>
                <a:gd name="connsiteX3" fmla="*/ 20157 w 113384"/>
                <a:gd name="connsiteY3" fmla="*/ 5039 h 176375"/>
                <a:gd name="connsiteX4" fmla="*/ 5039 w 113384"/>
                <a:gd name="connsiteY4" fmla="*/ 1260 h 176375"/>
                <a:gd name="connsiteX5" fmla="*/ 1260 w 113384"/>
                <a:gd name="connsiteY5" fmla="*/ 16378 h 176375"/>
                <a:gd name="connsiteX6" fmla="*/ 94487 w 113384"/>
                <a:gd name="connsiteY6" fmla="*/ 175115 h 176375"/>
                <a:gd name="connsiteX7" fmla="*/ 105825 w 113384"/>
                <a:gd name="connsiteY7" fmla="*/ 180155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76375">
                  <a:moveTo>
                    <a:pt x="105825" y="180155"/>
                  </a:moveTo>
                  <a:cubicBezTo>
                    <a:pt x="107085" y="180155"/>
                    <a:pt x="109605" y="180155"/>
                    <a:pt x="110865" y="178895"/>
                  </a:cubicBezTo>
                  <a:cubicBezTo>
                    <a:pt x="115904" y="176375"/>
                    <a:pt x="118424" y="170076"/>
                    <a:pt x="114644" y="165037"/>
                  </a:cubicBezTo>
                  <a:cubicBezTo>
                    <a:pt x="85668" y="110865"/>
                    <a:pt x="54172" y="56692"/>
                    <a:pt x="20157" y="5039"/>
                  </a:cubicBezTo>
                  <a:cubicBezTo>
                    <a:pt x="16378" y="0"/>
                    <a:pt x="10079" y="-1260"/>
                    <a:pt x="5039" y="1260"/>
                  </a:cubicBezTo>
                  <a:cubicBezTo>
                    <a:pt x="0" y="5039"/>
                    <a:pt x="-1260" y="11338"/>
                    <a:pt x="1260" y="16378"/>
                  </a:cubicBezTo>
                  <a:cubicBezTo>
                    <a:pt x="34015" y="68030"/>
                    <a:pt x="65511" y="120943"/>
                    <a:pt x="94487" y="175115"/>
                  </a:cubicBezTo>
                  <a:cubicBezTo>
                    <a:pt x="98266" y="178895"/>
                    <a:pt x="102046" y="180155"/>
                    <a:pt x="105825" y="180155"/>
                  </a:cubicBezTo>
                  <a:close/>
                </a:path>
              </a:pathLst>
            </a:custGeom>
            <a:solidFill>
              <a:srgbClr val="10BE61"/>
            </a:solidFill>
            <a:ln w="12584" cap="flat">
              <a:noFill/>
              <a:prstDash val="solid"/>
              <a:miter/>
            </a:ln>
          </p:spPr>
          <p:txBody>
            <a:bodyPr rtlCol="0" anchor="ctr"/>
            <a:lstStyle/>
            <a:p>
              <a:endParaRPr lang="zh-CN" altLang="en-US"/>
            </a:p>
          </p:txBody>
        </p:sp>
        <p:sp>
          <p:nvSpPr>
            <p:cNvPr id="64" name="任意多边形: 形状 63"/>
            <p:cNvSpPr/>
            <p:nvPr/>
          </p:nvSpPr>
          <p:spPr>
            <a:xfrm>
              <a:off x="10708060" y="4092495"/>
              <a:ext cx="128705" cy="42902"/>
            </a:xfrm>
            <a:custGeom>
              <a:avLst/>
              <a:gdLst>
                <a:gd name="connsiteX0" fmla="*/ 11653 w 188973"/>
                <a:gd name="connsiteY0" fmla="*/ 73872 h 62991"/>
                <a:gd name="connsiteX1" fmla="*/ 14173 w 188973"/>
                <a:gd name="connsiteY1" fmla="*/ 73872 h 62991"/>
                <a:gd name="connsiteX2" fmla="*/ 189288 w 188973"/>
                <a:gd name="connsiteY2" fmla="*/ 20959 h 62991"/>
                <a:gd name="connsiteX3" fmla="*/ 195588 w 188973"/>
                <a:gd name="connsiteY3" fmla="*/ 7101 h 62991"/>
                <a:gd name="connsiteX4" fmla="*/ 181729 w 188973"/>
                <a:gd name="connsiteY4" fmla="*/ 802 h 62991"/>
                <a:gd name="connsiteX5" fmla="*/ 7874 w 188973"/>
                <a:gd name="connsiteY5" fmla="*/ 53715 h 62991"/>
                <a:gd name="connsiteX6" fmla="*/ 315 w 188973"/>
                <a:gd name="connsiteY6" fmla="*/ 66313 h 62991"/>
                <a:gd name="connsiteX7" fmla="*/ 11653 w 188973"/>
                <a:gd name="connsiteY7" fmla="*/ 73872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973" h="62991">
                  <a:moveTo>
                    <a:pt x="11653" y="73872"/>
                  </a:moveTo>
                  <a:cubicBezTo>
                    <a:pt x="12913" y="73872"/>
                    <a:pt x="12913" y="73872"/>
                    <a:pt x="14173" y="73872"/>
                  </a:cubicBezTo>
                  <a:cubicBezTo>
                    <a:pt x="73385" y="60014"/>
                    <a:pt x="132596" y="41116"/>
                    <a:pt x="189288" y="20959"/>
                  </a:cubicBezTo>
                  <a:cubicBezTo>
                    <a:pt x="194328" y="18439"/>
                    <a:pt x="198107" y="12140"/>
                    <a:pt x="195588" y="7101"/>
                  </a:cubicBezTo>
                  <a:cubicBezTo>
                    <a:pt x="193068" y="2062"/>
                    <a:pt x="186769" y="-1718"/>
                    <a:pt x="181729" y="802"/>
                  </a:cubicBezTo>
                  <a:cubicBezTo>
                    <a:pt x="125037" y="22219"/>
                    <a:pt x="67086" y="39857"/>
                    <a:pt x="7874" y="53715"/>
                  </a:cubicBezTo>
                  <a:cubicBezTo>
                    <a:pt x="1575" y="54974"/>
                    <a:pt x="-945" y="61274"/>
                    <a:pt x="315" y="66313"/>
                  </a:cubicBezTo>
                  <a:cubicBezTo>
                    <a:pt x="2835" y="71352"/>
                    <a:pt x="6614" y="75131"/>
                    <a:pt x="11653" y="73872"/>
                  </a:cubicBezTo>
                  <a:close/>
                </a:path>
              </a:pathLst>
            </a:custGeom>
            <a:solidFill>
              <a:srgbClr val="10BE61"/>
            </a:solidFill>
            <a:ln w="12584" cap="flat">
              <a:noFill/>
              <a:prstDash val="solid"/>
              <a:miter/>
            </a:ln>
          </p:spPr>
          <p:txBody>
            <a:bodyPr rtlCol="0" anchor="ctr"/>
            <a:lstStyle/>
            <a:p>
              <a:endParaRPr lang="zh-CN" altLang="en-US"/>
            </a:p>
          </p:txBody>
        </p:sp>
        <p:sp>
          <p:nvSpPr>
            <p:cNvPr id="65" name="任意多边形: 形状 64"/>
            <p:cNvSpPr/>
            <p:nvPr/>
          </p:nvSpPr>
          <p:spPr>
            <a:xfrm>
              <a:off x="10594341" y="4667066"/>
              <a:ext cx="120125" cy="68643"/>
            </a:xfrm>
            <a:custGeom>
              <a:avLst/>
              <a:gdLst>
                <a:gd name="connsiteX0" fmla="*/ 11067 w 176375"/>
                <a:gd name="connsiteY0" fmla="*/ 109605 h 100785"/>
                <a:gd name="connsiteX1" fmla="*/ 14846 w 176375"/>
                <a:gd name="connsiteY1" fmla="*/ 108345 h 100785"/>
                <a:gd name="connsiteX2" fmla="*/ 176104 w 176375"/>
                <a:gd name="connsiteY2" fmla="*/ 20157 h 100785"/>
                <a:gd name="connsiteX3" fmla="*/ 179883 w 176375"/>
                <a:gd name="connsiteY3" fmla="*/ 5039 h 100785"/>
                <a:gd name="connsiteX4" fmla="*/ 164766 w 176375"/>
                <a:gd name="connsiteY4" fmla="*/ 1260 h 100785"/>
                <a:gd name="connsiteX5" fmla="*/ 6028 w 176375"/>
                <a:gd name="connsiteY5" fmla="*/ 88188 h 100785"/>
                <a:gd name="connsiteX6" fmla="*/ 989 w 176375"/>
                <a:gd name="connsiteY6" fmla="*/ 102046 h 100785"/>
                <a:gd name="connsiteX7" fmla="*/ 11067 w 176375"/>
                <a:gd name="connsiteY7" fmla="*/ 10960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100785">
                  <a:moveTo>
                    <a:pt x="11067" y="109605"/>
                  </a:moveTo>
                  <a:cubicBezTo>
                    <a:pt x="12327" y="109605"/>
                    <a:pt x="13587" y="109605"/>
                    <a:pt x="14846" y="108345"/>
                  </a:cubicBezTo>
                  <a:cubicBezTo>
                    <a:pt x="70279" y="83148"/>
                    <a:pt x="124451" y="52913"/>
                    <a:pt x="176104" y="20157"/>
                  </a:cubicBezTo>
                  <a:cubicBezTo>
                    <a:pt x="181143" y="16378"/>
                    <a:pt x="182403" y="10079"/>
                    <a:pt x="179883" y="5039"/>
                  </a:cubicBezTo>
                  <a:cubicBezTo>
                    <a:pt x="176104" y="0"/>
                    <a:pt x="169805" y="-1260"/>
                    <a:pt x="164766" y="1260"/>
                  </a:cubicBezTo>
                  <a:cubicBezTo>
                    <a:pt x="114373" y="34015"/>
                    <a:pt x="60200" y="62991"/>
                    <a:pt x="6028" y="88188"/>
                  </a:cubicBezTo>
                  <a:cubicBezTo>
                    <a:pt x="989" y="90707"/>
                    <a:pt x="-1531" y="97007"/>
                    <a:pt x="989" y="102046"/>
                  </a:cubicBezTo>
                  <a:cubicBezTo>
                    <a:pt x="3508" y="107085"/>
                    <a:pt x="7288" y="109605"/>
                    <a:pt x="11067" y="109605"/>
                  </a:cubicBezTo>
                  <a:close/>
                </a:path>
              </a:pathLst>
            </a:custGeom>
            <a:solidFill>
              <a:srgbClr val="10BE61"/>
            </a:solidFill>
            <a:ln w="12584" cap="flat">
              <a:noFill/>
              <a:prstDash val="solid"/>
              <a:miter/>
            </a:ln>
          </p:spPr>
          <p:txBody>
            <a:bodyPr rtlCol="0" anchor="ctr"/>
            <a:lstStyle/>
            <a:p>
              <a:endParaRPr lang="zh-CN" altLang="en-US"/>
            </a:p>
          </p:txBody>
        </p:sp>
        <p:sp>
          <p:nvSpPr>
            <p:cNvPr id="66" name="任意多边形: 形状 65"/>
            <p:cNvSpPr/>
            <p:nvPr/>
          </p:nvSpPr>
          <p:spPr>
            <a:xfrm>
              <a:off x="10659528" y="3846089"/>
              <a:ext cx="111545" cy="171607"/>
            </a:xfrm>
            <a:custGeom>
              <a:avLst/>
              <a:gdLst>
                <a:gd name="connsiteX0" fmla="*/ 162280 w 163777"/>
                <a:gd name="connsiteY0" fmla="*/ 263066 h 251964"/>
                <a:gd name="connsiteX1" fmla="*/ 166059 w 163777"/>
                <a:gd name="connsiteY1" fmla="*/ 261806 h 251964"/>
                <a:gd name="connsiteX2" fmla="*/ 172358 w 163777"/>
                <a:gd name="connsiteY2" fmla="*/ 247947 h 251964"/>
                <a:gd name="connsiteX3" fmla="*/ 18660 w 163777"/>
                <a:gd name="connsiteY3" fmla="*/ 3542 h 251964"/>
                <a:gd name="connsiteX4" fmla="*/ 3542 w 163777"/>
                <a:gd name="connsiteY4" fmla="*/ 2282 h 251964"/>
                <a:gd name="connsiteX5" fmla="*/ 2282 w 163777"/>
                <a:gd name="connsiteY5" fmla="*/ 17400 h 251964"/>
                <a:gd name="connsiteX6" fmla="*/ 152201 w 163777"/>
                <a:gd name="connsiteY6" fmla="*/ 255507 h 251964"/>
                <a:gd name="connsiteX7" fmla="*/ 162280 w 163777"/>
                <a:gd name="connsiteY7" fmla="*/ 263066 h 25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251964">
                  <a:moveTo>
                    <a:pt x="162280" y="263066"/>
                  </a:moveTo>
                  <a:cubicBezTo>
                    <a:pt x="163540" y="263066"/>
                    <a:pt x="164799" y="263066"/>
                    <a:pt x="166059" y="261806"/>
                  </a:cubicBezTo>
                  <a:cubicBezTo>
                    <a:pt x="171098" y="259286"/>
                    <a:pt x="173618" y="252987"/>
                    <a:pt x="172358" y="247947"/>
                  </a:cubicBezTo>
                  <a:cubicBezTo>
                    <a:pt x="135823" y="157240"/>
                    <a:pt x="84170" y="75352"/>
                    <a:pt x="18660" y="3542"/>
                  </a:cubicBezTo>
                  <a:cubicBezTo>
                    <a:pt x="14880" y="-238"/>
                    <a:pt x="8581" y="-1497"/>
                    <a:pt x="3542" y="2282"/>
                  </a:cubicBezTo>
                  <a:cubicBezTo>
                    <a:pt x="-238" y="6061"/>
                    <a:pt x="-1497" y="12361"/>
                    <a:pt x="2282" y="17400"/>
                  </a:cubicBezTo>
                  <a:cubicBezTo>
                    <a:pt x="66533" y="87950"/>
                    <a:pt x="116926" y="167319"/>
                    <a:pt x="152201" y="255507"/>
                  </a:cubicBezTo>
                  <a:cubicBezTo>
                    <a:pt x="153461" y="260546"/>
                    <a:pt x="158500" y="263066"/>
                    <a:pt x="162280" y="263066"/>
                  </a:cubicBezTo>
                  <a:close/>
                </a:path>
              </a:pathLst>
            </a:custGeom>
            <a:solidFill>
              <a:srgbClr val="10BE61"/>
            </a:solidFill>
            <a:ln w="12584" cap="flat">
              <a:noFill/>
              <a:prstDash val="solid"/>
              <a:miter/>
            </a:ln>
          </p:spPr>
          <p:txBody>
            <a:bodyPr rtlCol="0" anchor="ctr"/>
            <a:lstStyle/>
            <a:p>
              <a:endParaRPr lang="zh-CN" altLang="en-US"/>
            </a:p>
          </p:txBody>
        </p:sp>
        <p:sp>
          <p:nvSpPr>
            <p:cNvPr id="67" name="任意多边形: 形状 66"/>
            <p:cNvSpPr/>
            <p:nvPr/>
          </p:nvSpPr>
          <p:spPr>
            <a:xfrm>
              <a:off x="10753531" y="3862012"/>
              <a:ext cx="51482" cy="102964"/>
            </a:xfrm>
            <a:custGeom>
              <a:avLst/>
              <a:gdLst>
                <a:gd name="connsiteX0" fmla="*/ 67092 w 75589"/>
                <a:gd name="connsiteY0" fmla="*/ 157799 h 151178"/>
                <a:gd name="connsiteX1" fmla="*/ 70871 w 75589"/>
                <a:gd name="connsiteY1" fmla="*/ 156539 h 151178"/>
                <a:gd name="connsiteX2" fmla="*/ 77170 w 75589"/>
                <a:gd name="connsiteY2" fmla="*/ 142681 h 151178"/>
                <a:gd name="connsiteX3" fmla="*/ 20478 w 75589"/>
                <a:gd name="connsiteY3" fmla="*/ 6620 h 151178"/>
                <a:gd name="connsiteX4" fmla="*/ 6620 w 75589"/>
                <a:gd name="connsiteY4" fmla="*/ 321 h 151178"/>
                <a:gd name="connsiteX5" fmla="*/ 321 w 75589"/>
                <a:gd name="connsiteY5" fmla="*/ 14179 h 151178"/>
                <a:gd name="connsiteX6" fmla="*/ 57013 w 75589"/>
                <a:gd name="connsiteY6" fmla="*/ 150240 h 151178"/>
                <a:gd name="connsiteX7" fmla="*/ 67092 w 75589"/>
                <a:gd name="connsiteY7" fmla="*/ 15779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51178">
                  <a:moveTo>
                    <a:pt x="67092" y="157799"/>
                  </a:moveTo>
                  <a:cubicBezTo>
                    <a:pt x="68351" y="157799"/>
                    <a:pt x="69611" y="157799"/>
                    <a:pt x="70871" y="156539"/>
                  </a:cubicBezTo>
                  <a:cubicBezTo>
                    <a:pt x="75910" y="154019"/>
                    <a:pt x="78430" y="147720"/>
                    <a:pt x="77170" y="142681"/>
                  </a:cubicBezTo>
                  <a:lnTo>
                    <a:pt x="20478" y="6620"/>
                  </a:lnTo>
                  <a:cubicBezTo>
                    <a:pt x="17959" y="1581"/>
                    <a:pt x="11659" y="-939"/>
                    <a:pt x="6620" y="321"/>
                  </a:cubicBezTo>
                  <a:cubicBezTo>
                    <a:pt x="1581" y="2841"/>
                    <a:pt x="-939" y="9140"/>
                    <a:pt x="321" y="14179"/>
                  </a:cubicBezTo>
                  <a:lnTo>
                    <a:pt x="57013" y="150240"/>
                  </a:lnTo>
                  <a:cubicBezTo>
                    <a:pt x="58273" y="156539"/>
                    <a:pt x="62052" y="157799"/>
                    <a:pt x="67092" y="157799"/>
                  </a:cubicBezTo>
                  <a:close/>
                </a:path>
              </a:pathLst>
            </a:custGeom>
            <a:solidFill>
              <a:srgbClr val="10BE61"/>
            </a:solidFill>
            <a:ln w="12584" cap="flat">
              <a:noFill/>
              <a:prstDash val="solid"/>
              <a:miter/>
            </a:ln>
          </p:spPr>
          <p:txBody>
            <a:bodyPr rtlCol="0" anchor="ctr"/>
            <a:lstStyle/>
            <a:p>
              <a:endParaRPr lang="zh-CN" altLang="en-US"/>
            </a:p>
          </p:txBody>
        </p:sp>
        <p:sp>
          <p:nvSpPr>
            <p:cNvPr id="68" name="任意多边形: 形状 67"/>
            <p:cNvSpPr/>
            <p:nvPr/>
          </p:nvSpPr>
          <p:spPr>
            <a:xfrm>
              <a:off x="10815839" y="3782164"/>
              <a:ext cx="111545" cy="94384"/>
            </a:xfrm>
            <a:custGeom>
              <a:avLst/>
              <a:gdLst>
                <a:gd name="connsiteX0" fmla="*/ 9623 w 163777"/>
                <a:gd name="connsiteY0" fmla="*/ 147795 h 138580"/>
                <a:gd name="connsiteX1" fmla="*/ 17182 w 163777"/>
                <a:gd name="connsiteY1" fmla="*/ 145275 h 138580"/>
                <a:gd name="connsiteX2" fmla="*/ 167101 w 163777"/>
                <a:gd name="connsiteY2" fmla="*/ 19293 h 138580"/>
                <a:gd name="connsiteX3" fmla="*/ 169620 w 163777"/>
                <a:gd name="connsiteY3" fmla="*/ 4175 h 138580"/>
                <a:gd name="connsiteX4" fmla="*/ 154503 w 163777"/>
                <a:gd name="connsiteY4" fmla="*/ 1655 h 138580"/>
                <a:gd name="connsiteX5" fmla="*/ 3324 w 163777"/>
                <a:gd name="connsiteY5" fmla="*/ 128897 h 138580"/>
                <a:gd name="connsiteX6" fmla="*/ 3324 w 163777"/>
                <a:gd name="connsiteY6" fmla="*/ 144015 h 138580"/>
                <a:gd name="connsiteX7" fmla="*/ 9623 w 163777"/>
                <a:gd name="connsiteY7" fmla="*/ 147795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138580">
                  <a:moveTo>
                    <a:pt x="9623" y="147795"/>
                  </a:moveTo>
                  <a:cubicBezTo>
                    <a:pt x="12142" y="147795"/>
                    <a:pt x="14662" y="146535"/>
                    <a:pt x="17182" y="145275"/>
                  </a:cubicBezTo>
                  <a:cubicBezTo>
                    <a:pt x="65055" y="101181"/>
                    <a:pt x="115448" y="58347"/>
                    <a:pt x="167101" y="19293"/>
                  </a:cubicBezTo>
                  <a:cubicBezTo>
                    <a:pt x="172140" y="15513"/>
                    <a:pt x="172140" y="9214"/>
                    <a:pt x="169620" y="4175"/>
                  </a:cubicBezTo>
                  <a:cubicBezTo>
                    <a:pt x="165841" y="-865"/>
                    <a:pt x="159542" y="-865"/>
                    <a:pt x="154503" y="1655"/>
                  </a:cubicBezTo>
                  <a:cubicBezTo>
                    <a:pt x="102850" y="41970"/>
                    <a:pt x="51197" y="84803"/>
                    <a:pt x="3324" y="128897"/>
                  </a:cubicBezTo>
                  <a:cubicBezTo>
                    <a:pt x="-456" y="132677"/>
                    <a:pt x="-1716" y="140236"/>
                    <a:pt x="3324" y="144015"/>
                  </a:cubicBezTo>
                  <a:cubicBezTo>
                    <a:pt x="4583" y="146535"/>
                    <a:pt x="7103" y="147795"/>
                    <a:pt x="9623" y="147795"/>
                  </a:cubicBezTo>
                  <a:close/>
                </a:path>
              </a:pathLst>
            </a:custGeom>
            <a:solidFill>
              <a:srgbClr val="10BE61"/>
            </a:solidFill>
            <a:ln w="12584" cap="flat">
              <a:noFill/>
              <a:prstDash val="solid"/>
              <a:miter/>
            </a:ln>
          </p:spPr>
          <p:txBody>
            <a:bodyPr rtlCol="0" anchor="ctr"/>
            <a:lstStyle/>
            <a:p>
              <a:endParaRPr lang="zh-CN" altLang="en-US"/>
            </a:p>
          </p:txBody>
        </p:sp>
        <p:sp>
          <p:nvSpPr>
            <p:cNvPr id="69" name="任意多边形: 形状 68"/>
            <p:cNvSpPr/>
            <p:nvPr/>
          </p:nvSpPr>
          <p:spPr>
            <a:xfrm>
              <a:off x="10816548" y="3745757"/>
              <a:ext cx="94384" cy="68643"/>
            </a:xfrm>
            <a:custGeom>
              <a:avLst/>
              <a:gdLst>
                <a:gd name="connsiteX0" fmla="*/ 11101 w 138580"/>
                <a:gd name="connsiteY0" fmla="*/ 113062 h 100785"/>
                <a:gd name="connsiteX1" fmla="*/ 18660 w 138580"/>
                <a:gd name="connsiteY1" fmla="*/ 110542 h 100785"/>
                <a:gd name="connsiteX2" fmla="*/ 134564 w 138580"/>
                <a:gd name="connsiteY2" fmla="*/ 19835 h 100785"/>
                <a:gd name="connsiteX3" fmla="*/ 137083 w 138580"/>
                <a:gd name="connsiteY3" fmla="*/ 4717 h 100785"/>
                <a:gd name="connsiteX4" fmla="*/ 121965 w 138580"/>
                <a:gd name="connsiteY4" fmla="*/ 2198 h 100785"/>
                <a:gd name="connsiteX5" fmla="*/ 3542 w 138580"/>
                <a:gd name="connsiteY5" fmla="*/ 94165 h 100785"/>
                <a:gd name="connsiteX6" fmla="*/ 2282 w 138580"/>
                <a:gd name="connsiteY6" fmla="*/ 109283 h 100785"/>
                <a:gd name="connsiteX7" fmla="*/ 11101 w 138580"/>
                <a:gd name="connsiteY7" fmla="*/ 113062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00785">
                  <a:moveTo>
                    <a:pt x="11101" y="113062"/>
                  </a:moveTo>
                  <a:cubicBezTo>
                    <a:pt x="13621" y="113062"/>
                    <a:pt x="16140" y="111802"/>
                    <a:pt x="18660" y="110542"/>
                  </a:cubicBezTo>
                  <a:cubicBezTo>
                    <a:pt x="55195" y="77787"/>
                    <a:pt x="94249" y="47551"/>
                    <a:pt x="134564" y="19835"/>
                  </a:cubicBezTo>
                  <a:cubicBezTo>
                    <a:pt x="139603" y="16056"/>
                    <a:pt x="140863" y="9757"/>
                    <a:pt x="137083" y="4717"/>
                  </a:cubicBezTo>
                  <a:cubicBezTo>
                    <a:pt x="133304" y="-322"/>
                    <a:pt x="127005" y="-1582"/>
                    <a:pt x="121965" y="2198"/>
                  </a:cubicBezTo>
                  <a:cubicBezTo>
                    <a:pt x="80391" y="29914"/>
                    <a:pt x="40077" y="61409"/>
                    <a:pt x="3542" y="94165"/>
                  </a:cubicBezTo>
                  <a:cubicBezTo>
                    <a:pt x="-238" y="97944"/>
                    <a:pt x="-1498" y="105503"/>
                    <a:pt x="2282" y="109283"/>
                  </a:cubicBezTo>
                  <a:cubicBezTo>
                    <a:pt x="6062" y="111802"/>
                    <a:pt x="8581" y="113062"/>
                    <a:pt x="11101" y="113062"/>
                  </a:cubicBezTo>
                  <a:close/>
                </a:path>
              </a:pathLst>
            </a:custGeom>
            <a:solidFill>
              <a:srgbClr val="10BE61"/>
            </a:solidFill>
            <a:ln w="12584" cap="flat">
              <a:noFill/>
              <a:prstDash val="solid"/>
              <a:miter/>
            </a:ln>
          </p:spPr>
          <p:txBody>
            <a:bodyPr rtlCol="0" anchor="ctr"/>
            <a:lstStyle/>
            <a:p>
              <a:endParaRPr lang="zh-CN" altLang="en-US"/>
            </a:p>
          </p:txBody>
        </p:sp>
        <p:sp>
          <p:nvSpPr>
            <p:cNvPr id="70" name="任意多边形: 形状 69"/>
            <p:cNvSpPr/>
            <p:nvPr/>
          </p:nvSpPr>
          <p:spPr>
            <a:xfrm>
              <a:off x="7524274" y="3911851"/>
              <a:ext cx="429018" cy="926677"/>
            </a:xfrm>
            <a:custGeom>
              <a:avLst/>
              <a:gdLst>
                <a:gd name="connsiteX0" fmla="*/ 213924 w 629911"/>
                <a:gd name="connsiteY0" fmla="*/ 1364602 h 1360609"/>
                <a:gd name="connsiteX1" fmla="*/ 47628 w 629911"/>
                <a:gd name="connsiteY1" fmla="*/ 1120196 h 1360609"/>
                <a:gd name="connsiteX2" fmla="*/ 14872 w 629911"/>
                <a:gd name="connsiteY2" fmla="*/ 715793 h 1360609"/>
                <a:gd name="connsiteX3" fmla="*/ 225263 w 629911"/>
                <a:gd name="connsiteY3" fmla="*/ 386979 h 1360609"/>
                <a:gd name="connsiteX4" fmla="*/ 292033 w 629911"/>
                <a:gd name="connsiteY4" fmla="*/ 95960 h 1360609"/>
                <a:gd name="connsiteX5" fmla="*/ 617068 w 629911"/>
                <a:gd name="connsiteY5" fmla="*/ 249658 h 1360609"/>
                <a:gd name="connsiteX6" fmla="*/ 504943 w 629911"/>
                <a:gd name="connsiteY6" fmla="*/ 540677 h 1360609"/>
                <a:gd name="connsiteX7" fmla="*/ 508723 w 629911"/>
                <a:gd name="connsiteY7" fmla="*/ 845554 h 1360609"/>
                <a:gd name="connsiteX8" fmla="*/ 387780 w 629911"/>
                <a:gd name="connsiteY8" fmla="*/ 1157990 h 1360609"/>
                <a:gd name="connsiteX9" fmla="*/ 213924 w 629911"/>
                <a:gd name="connsiteY9" fmla="*/ 1364602 h 13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911" h="1360609">
                  <a:moveTo>
                    <a:pt x="213924" y="1364602"/>
                  </a:moveTo>
                  <a:cubicBezTo>
                    <a:pt x="119438" y="1350744"/>
                    <a:pt x="31250" y="1305390"/>
                    <a:pt x="47628" y="1120196"/>
                  </a:cubicBezTo>
                  <a:cubicBezTo>
                    <a:pt x="64005" y="935002"/>
                    <a:pt x="-36781" y="890908"/>
                    <a:pt x="14872" y="715793"/>
                  </a:cubicBezTo>
                  <a:cubicBezTo>
                    <a:pt x="66525" y="540677"/>
                    <a:pt x="229042" y="533118"/>
                    <a:pt x="225263" y="386979"/>
                  </a:cubicBezTo>
                  <a:cubicBezTo>
                    <a:pt x="222743" y="315169"/>
                    <a:pt x="237861" y="185407"/>
                    <a:pt x="292033" y="95960"/>
                  </a:cubicBezTo>
                  <a:cubicBezTo>
                    <a:pt x="382741" y="-53959"/>
                    <a:pt x="698956" y="-46401"/>
                    <a:pt x="617068" y="249658"/>
                  </a:cubicBezTo>
                  <a:cubicBezTo>
                    <a:pt x="589352" y="350444"/>
                    <a:pt x="508723" y="407136"/>
                    <a:pt x="504943" y="540677"/>
                  </a:cubicBezTo>
                  <a:cubicBezTo>
                    <a:pt x="502424" y="635164"/>
                    <a:pt x="551557" y="675478"/>
                    <a:pt x="508723" y="845554"/>
                  </a:cubicBezTo>
                  <a:cubicBezTo>
                    <a:pt x="469668" y="997993"/>
                    <a:pt x="375182" y="1006812"/>
                    <a:pt x="387780" y="1157990"/>
                  </a:cubicBezTo>
                  <a:cubicBezTo>
                    <a:pt x="400378" y="1310429"/>
                    <a:pt x="326049" y="1380979"/>
                    <a:pt x="213924" y="1364602"/>
                  </a:cubicBezTo>
                  <a:close/>
                </a:path>
              </a:pathLst>
            </a:custGeom>
            <a:solidFill>
              <a:srgbClr val="56E395"/>
            </a:solidFill>
            <a:ln w="12584" cap="flat">
              <a:noFill/>
              <a:prstDash val="solid"/>
              <a:miter/>
            </a:ln>
          </p:spPr>
          <p:txBody>
            <a:bodyPr rtlCol="0" anchor="ctr"/>
            <a:lstStyle/>
            <a:p>
              <a:endParaRPr lang="zh-CN" altLang="en-US"/>
            </a:p>
          </p:txBody>
        </p:sp>
        <p:sp>
          <p:nvSpPr>
            <p:cNvPr id="71" name="任意多边形: 形状 70"/>
            <p:cNvSpPr/>
            <p:nvPr/>
          </p:nvSpPr>
          <p:spPr>
            <a:xfrm>
              <a:off x="7648522" y="3918694"/>
              <a:ext cx="205929" cy="892356"/>
            </a:xfrm>
            <a:custGeom>
              <a:avLst/>
              <a:gdLst>
                <a:gd name="connsiteX0" fmla="*/ 8819 w 302357"/>
                <a:gd name="connsiteY0" fmla="*/ 1320539 h 1310216"/>
                <a:gd name="connsiteX1" fmla="*/ 5039 w 302357"/>
                <a:gd name="connsiteY1" fmla="*/ 1319279 h 1310216"/>
                <a:gd name="connsiteX2" fmla="*/ 1260 w 302357"/>
                <a:gd name="connsiteY2" fmla="*/ 1304162 h 1310216"/>
                <a:gd name="connsiteX3" fmla="*/ 35275 w 302357"/>
                <a:gd name="connsiteY3" fmla="*/ 1142904 h 1310216"/>
                <a:gd name="connsiteX4" fmla="*/ 36535 w 302357"/>
                <a:gd name="connsiteY4" fmla="*/ 1059755 h 1310216"/>
                <a:gd name="connsiteX5" fmla="*/ 97006 w 302357"/>
                <a:gd name="connsiteY5" fmla="*/ 621337 h 1310216"/>
                <a:gd name="connsiteX6" fmla="*/ 175115 w 302357"/>
                <a:gd name="connsiteY6" fmla="*/ 476457 h 1310216"/>
                <a:gd name="connsiteX7" fmla="*/ 254484 w 302357"/>
                <a:gd name="connsiteY7" fmla="*/ 326539 h 1310216"/>
                <a:gd name="connsiteX8" fmla="*/ 279681 w 302357"/>
                <a:gd name="connsiteY8" fmla="*/ 12842 h 1310216"/>
                <a:gd name="connsiteX9" fmla="*/ 287240 w 302357"/>
                <a:gd name="connsiteY9" fmla="*/ 244 h 1310216"/>
                <a:gd name="connsiteX10" fmla="*/ 299838 w 302357"/>
                <a:gd name="connsiteY10" fmla="*/ 7803 h 1310216"/>
                <a:gd name="connsiteX11" fmla="*/ 273382 w 302357"/>
                <a:gd name="connsiteY11" fmla="*/ 334097 h 1310216"/>
                <a:gd name="connsiteX12" fmla="*/ 192753 w 302357"/>
                <a:gd name="connsiteY12" fmla="*/ 486536 h 1310216"/>
                <a:gd name="connsiteX13" fmla="*/ 115904 w 302357"/>
                <a:gd name="connsiteY13" fmla="*/ 628896 h 1310216"/>
                <a:gd name="connsiteX14" fmla="*/ 56692 w 302357"/>
                <a:gd name="connsiteY14" fmla="*/ 1059755 h 1310216"/>
                <a:gd name="connsiteX15" fmla="*/ 55432 w 302357"/>
                <a:gd name="connsiteY15" fmla="*/ 1142904 h 1310216"/>
                <a:gd name="connsiteX16" fmla="*/ 17638 w 302357"/>
                <a:gd name="connsiteY16" fmla="*/ 1315500 h 1310216"/>
                <a:gd name="connsiteX17" fmla="*/ 8819 w 302357"/>
                <a:gd name="connsiteY17" fmla="*/ 1320539 h 131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2357" h="1310216">
                  <a:moveTo>
                    <a:pt x="8819" y="1320539"/>
                  </a:moveTo>
                  <a:cubicBezTo>
                    <a:pt x="7559" y="1320539"/>
                    <a:pt x="6299" y="1319279"/>
                    <a:pt x="5039" y="1319279"/>
                  </a:cubicBezTo>
                  <a:cubicBezTo>
                    <a:pt x="0" y="1316760"/>
                    <a:pt x="-1260" y="1309201"/>
                    <a:pt x="1260" y="1304162"/>
                  </a:cubicBezTo>
                  <a:cubicBezTo>
                    <a:pt x="30236" y="1257548"/>
                    <a:pt x="34015" y="1199596"/>
                    <a:pt x="35275" y="1142904"/>
                  </a:cubicBezTo>
                  <a:cubicBezTo>
                    <a:pt x="36535" y="1115188"/>
                    <a:pt x="36535" y="1087472"/>
                    <a:pt x="36535" y="1059755"/>
                  </a:cubicBezTo>
                  <a:cubicBezTo>
                    <a:pt x="37795" y="912356"/>
                    <a:pt x="40314" y="758658"/>
                    <a:pt x="97006" y="621337"/>
                  </a:cubicBezTo>
                  <a:cubicBezTo>
                    <a:pt x="118423" y="570944"/>
                    <a:pt x="147399" y="523071"/>
                    <a:pt x="175115" y="476457"/>
                  </a:cubicBezTo>
                  <a:cubicBezTo>
                    <a:pt x="204091" y="428584"/>
                    <a:pt x="233067" y="379451"/>
                    <a:pt x="254484" y="326539"/>
                  </a:cubicBezTo>
                  <a:cubicBezTo>
                    <a:pt x="293539" y="228272"/>
                    <a:pt x="302358" y="116148"/>
                    <a:pt x="279681" y="12842"/>
                  </a:cubicBezTo>
                  <a:cubicBezTo>
                    <a:pt x="278421" y="6543"/>
                    <a:pt x="282200" y="1504"/>
                    <a:pt x="287240" y="244"/>
                  </a:cubicBezTo>
                  <a:cubicBezTo>
                    <a:pt x="293539" y="-1016"/>
                    <a:pt x="298578" y="2764"/>
                    <a:pt x="299838" y="7803"/>
                  </a:cubicBezTo>
                  <a:cubicBezTo>
                    <a:pt x="323775" y="116148"/>
                    <a:pt x="314956" y="230792"/>
                    <a:pt x="273382" y="334097"/>
                  </a:cubicBezTo>
                  <a:cubicBezTo>
                    <a:pt x="251965" y="388270"/>
                    <a:pt x="221729" y="438663"/>
                    <a:pt x="192753" y="486536"/>
                  </a:cubicBezTo>
                  <a:cubicBezTo>
                    <a:pt x="165037" y="531890"/>
                    <a:pt x="137321" y="579763"/>
                    <a:pt x="115904" y="628896"/>
                  </a:cubicBezTo>
                  <a:cubicBezTo>
                    <a:pt x="59212" y="762437"/>
                    <a:pt x="57952" y="913616"/>
                    <a:pt x="56692" y="1059755"/>
                  </a:cubicBezTo>
                  <a:cubicBezTo>
                    <a:pt x="56692" y="1087472"/>
                    <a:pt x="56692" y="1115188"/>
                    <a:pt x="55432" y="1142904"/>
                  </a:cubicBezTo>
                  <a:cubicBezTo>
                    <a:pt x="54172" y="1202116"/>
                    <a:pt x="50393" y="1263847"/>
                    <a:pt x="17638" y="1315500"/>
                  </a:cubicBezTo>
                  <a:cubicBezTo>
                    <a:pt x="17638" y="1319279"/>
                    <a:pt x="12598" y="1321799"/>
                    <a:pt x="8819" y="1320539"/>
                  </a:cubicBezTo>
                  <a:close/>
                </a:path>
              </a:pathLst>
            </a:custGeom>
            <a:solidFill>
              <a:srgbClr val="10BE61"/>
            </a:solidFill>
            <a:ln w="12584" cap="flat">
              <a:noFill/>
              <a:prstDash val="solid"/>
              <a:miter/>
            </a:ln>
          </p:spPr>
          <p:txBody>
            <a:bodyPr rtlCol="0" anchor="ctr"/>
            <a:lstStyle/>
            <a:p>
              <a:endParaRPr lang="zh-CN" altLang="en-US"/>
            </a:p>
          </p:txBody>
        </p:sp>
        <p:sp>
          <p:nvSpPr>
            <p:cNvPr id="72" name="任意多边形: 形状 71"/>
            <p:cNvSpPr/>
            <p:nvPr/>
          </p:nvSpPr>
          <p:spPr>
            <a:xfrm>
              <a:off x="7551726" y="4378071"/>
              <a:ext cx="137286" cy="180187"/>
            </a:xfrm>
            <a:custGeom>
              <a:avLst/>
              <a:gdLst>
                <a:gd name="connsiteX0" fmla="*/ 189996 w 201571"/>
                <a:gd name="connsiteY0" fmla="*/ 264325 h 264562"/>
                <a:gd name="connsiteX1" fmla="*/ 182437 w 201571"/>
                <a:gd name="connsiteY1" fmla="*/ 259286 h 264562"/>
                <a:gd name="connsiteX2" fmla="*/ 2282 w 201571"/>
                <a:gd name="connsiteY2" fmla="*/ 17400 h 264562"/>
                <a:gd name="connsiteX3" fmla="*/ 3542 w 201571"/>
                <a:gd name="connsiteY3" fmla="*/ 2282 h 264562"/>
                <a:gd name="connsiteX4" fmla="*/ 18660 w 201571"/>
                <a:gd name="connsiteY4" fmla="*/ 3542 h 264562"/>
                <a:gd name="connsiteX5" fmla="*/ 200074 w 201571"/>
                <a:gd name="connsiteY5" fmla="*/ 246688 h 264562"/>
                <a:gd name="connsiteX6" fmla="*/ 197555 w 201571"/>
                <a:gd name="connsiteY6" fmla="*/ 261806 h 264562"/>
                <a:gd name="connsiteX7" fmla="*/ 189996 w 201571"/>
                <a:gd name="connsiteY7" fmla="*/ 264325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571" h="264562">
                  <a:moveTo>
                    <a:pt x="189996" y="264325"/>
                  </a:moveTo>
                  <a:cubicBezTo>
                    <a:pt x="187476" y="264325"/>
                    <a:pt x="184956" y="261806"/>
                    <a:pt x="182437" y="259286"/>
                  </a:cubicBezTo>
                  <a:cubicBezTo>
                    <a:pt x="124485" y="177397"/>
                    <a:pt x="64013" y="95509"/>
                    <a:pt x="2282" y="17400"/>
                  </a:cubicBezTo>
                  <a:cubicBezTo>
                    <a:pt x="-1497" y="12361"/>
                    <a:pt x="-238" y="6061"/>
                    <a:pt x="3542" y="2282"/>
                  </a:cubicBezTo>
                  <a:cubicBezTo>
                    <a:pt x="8581" y="-1497"/>
                    <a:pt x="14880" y="-238"/>
                    <a:pt x="18660" y="3542"/>
                  </a:cubicBezTo>
                  <a:cubicBezTo>
                    <a:pt x="81651" y="82911"/>
                    <a:pt x="142122" y="164799"/>
                    <a:pt x="200074" y="246688"/>
                  </a:cubicBezTo>
                  <a:cubicBezTo>
                    <a:pt x="203854" y="251727"/>
                    <a:pt x="202594" y="258026"/>
                    <a:pt x="197555" y="261806"/>
                  </a:cubicBezTo>
                  <a:cubicBezTo>
                    <a:pt x="195035" y="264325"/>
                    <a:pt x="192515" y="265585"/>
                    <a:pt x="189996" y="264325"/>
                  </a:cubicBezTo>
                  <a:close/>
                </a:path>
              </a:pathLst>
            </a:custGeom>
            <a:solidFill>
              <a:srgbClr val="10BE61"/>
            </a:solidFill>
            <a:ln w="12584" cap="flat">
              <a:noFill/>
              <a:prstDash val="solid"/>
              <a:miter/>
            </a:ln>
          </p:spPr>
          <p:txBody>
            <a:bodyPr rtlCol="0" anchor="ctr"/>
            <a:lstStyle/>
            <a:p>
              <a:endParaRPr lang="zh-CN" altLang="en-US"/>
            </a:p>
          </p:txBody>
        </p:sp>
        <p:sp>
          <p:nvSpPr>
            <p:cNvPr id="73" name="任意多边形: 形状 72"/>
            <p:cNvSpPr/>
            <p:nvPr/>
          </p:nvSpPr>
          <p:spPr>
            <a:xfrm>
              <a:off x="7563362" y="4456633"/>
              <a:ext cx="120125" cy="145866"/>
            </a:xfrm>
            <a:custGeom>
              <a:avLst/>
              <a:gdLst>
                <a:gd name="connsiteX0" fmla="*/ 171651 w 176375"/>
                <a:gd name="connsiteY0" fmla="*/ 214485 h 214169"/>
                <a:gd name="connsiteX1" fmla="*/ 164092 w 176375"/>
                <a:gd name="connsiteY1" fmla="*/ 210706 h 214169"/>
                <a:gd name="connsiteX2" fmla="*/ 2835 w 176375"/>
                <a:gd name="connsiteY2" fmla="*/ 17952 h 214169"/>
                <a:gd name="connsiteX3" fmla="*/ 2835 w 176375"/>
                <a:gd name="connsiteY3" fmla="*/ 2835 h 214169"/>
                <a:gd name="connsiteX4" fmla="*/ 17952 w 176375"/>
                <a:gd name="connsiteY4" fmla="*/ 2835 h 214169"/>
                <a:gd name="connsiteX5" fmla="*/ 180470 w 176375"/>
                <a:gd name="connsiteY5" fmla="*/ 198107 h 214169"/>
                <a:gd name="connsiteX6" fmla="*/ 177950 w 176375"/>
                <a:gd name="connsiteY6" fmla="*/ 213225 h 214169"/>
                <a:gd name="connsiteX7" fmla="*/ 171651 w 176375"/>
                <a:gd name="connsiteY7" fmla="*/ 214485 h 21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214169">
                  <a:moveTo>
                    <a:pt x="171651" y="214485"/>
                  </a:moveTo>
                  <a:cubicBezTo>
                    <a:pt x="169131" y="214485"/>
                    <a:pt x="166612" y="213225"/>
                    <a:pt x="164092" y="210706"/>
                  </a:cubicBezTo>
                  <a:cubicBezTo>
                    <a:pt x="114959" y="142675"/>
                    <a:pt x="60786" y="78424"/>
                    <a:pt x="2835" y="17952"/>
                  </a:cubicBezTo>
                  <a:cubicBezTo>
                    <a:pt x="-945" y="14173"/>
                    <a:pt x="-945" y="6614"/>
                    <a:pt x="2835" y="2835"/>
                  </a:cubicBezTo>
                  <a:cubicBezTo>
                    <a:pt x="6614" y="-945"/>
                    <a:pt x="14173" y="-945"/>
                    <a:pt x="17952" y="2835"/>
                  </a:cubicBezTo>
                  <a:cubicBezTo>
                    <a:pt x="75904" y="63306"/>
                    <a:pt x="131337" y="128817"/>
                    <a:pt x="180470" y="198107"/>
                  </a:cubicBezTo>
                  <a:cubicBezTo>
                    <a:pt x="184249" y="203147"/>
                    <a:pt x="182989" y="209446"/>
                    <a:pt x="177950" y="213225"/>
                  </a:cubicBezTo>
                  <a:cubicBezTo>
                    <a:pt x="177950" y="214485"/>
                    <a:pt x="174171" y="214485"/>
                    <a:pt x="171651" y="214485"/>
                  </a:cubicBezTo>
                  <a:close/>
                </a:path>
              </a:pathLst>
            </a:custGeom>
            <a:solidFill>
              <a:srgbClr val="10BE61"/>
            </a:solidFill>
            <a:ln w="12584" cap="flat">
              <a:noFill/>
              <a:prstDash val="solid"/>
              <a:miter/>
            </a:ln>
          </p:spPr>
          <p:txBody>
            <a:bodyPr rtlCol="0" anchor="ctr"/>
            <a:lstStyle/>
            <a:p>
              <a:endParaRPr lang="zh-CN" altLang="en-US"/>
            </a:p>
          </p:txBody>
        </p:sp>
        <p:sp>
          <p:nvSpPr>
            <p:cNvPr id="74" name="任意多边形: 形状 73"/>
            <p:cNvSpPr/>
            <p:nvPr/>
          </p:nvSpPr>
          <p:spPr>
            <a:xfrm>
              <a:off x="7602069" y="4584576"/>
              <a:ext cx="77223" cy="85803"/>
            </a:xfrm>
            <a:custGeom>
              <a:avLst/>
              <a:gdLst>
                <a:gd name="connsiteX0" fmla="*/ 113559 w 113384"/>
                <a:gd name="connsiteY0" fmla="*/ 136235 h 125982"/>
                <a:gd name="connsiteX1" fmla="*/ 106000 w 113384"/>
                <a:gd name="connsiteY1" fmla="*/ 131196 h 125982"/>
                <a:gd name="connsiteX2" fmla="*/ 3954 w 113384"/>
                <a:gd name="connsiteY2" fmla="*/ 19071 h 125982"/>
                <a:gd name="connsiteX3" fmla="*/ 2694 w 113384"/>
                <a:gd name="connsiteY3" fmla="*/ 3954 h 125982"/>
                <a:gd name="connsiteX4" fmla="*/ 17812 w 113384"/>
                <a:gd name="connsiteY4" fmla="*/ 2694 h 125982"/>
                <a:gd name="connsiteX5" fmla="*/ 123637 w 113384"/>
                <a:gd name="connsiteY5" fmla="*/ 119857 h 125982"/>
                <a:gd name="connsiteX6" fmla="*/ 121117 w 113384"/>
                <a:gd name="connsiteY6" fmla="*/ 134975 h 125982"/>
                <a:gd name="connsiteX7" fmla="*/ 113559 w 113384"/>
                <a:gd name="connsiteY7" fmla="*/ 136235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25982">
                  <a:moveTo>
                    <a:pt x="113559" y="136235"/>
                  </a:moveTo>
                  <a:cubicBezTo>
                    <a:pt x="111039" y="136235"/>
                    <a:pt x="108519" y="133715"/>
                    <a:pt x="106000" y="131196"/>
                  </a:cubicBezTo>
                  <a:cubicBezTo>
                    <a:pt x="77024" y="89622"/>
                    <a:pt x="43008" y="51827"/>
                    <a:pt x="3954" y="19071"/>
                  </a:cubicBezTo>
                  <a:cubicBezTo>
                    <a:pt x="-1085" y="15292"/>
                    <a:pt x="-1085" y="8993"/>
                    <a:pt x="2694" y="3954"/>
                  </a:cubicBezTo>
                  <a:cubicBezTo>
                    <a:pt x="6474" y="-1085"/>
                    <a:pt x="12773" y="-1085"/>
                    <a:pt x="17812" y="2694"/>
                  </a:cubicBezTo>
                  <a:cubicBezTo>
                    <a:pt x="58126" y="36709"/>
                    <a:pt x="93401" y="75764"/>
                    <a:pt x="123637" y="119857"/>
                  </a:cubicBezTo>
                  <a:cubicBezTo>
                    <a:pt x="127417" y="124897"/>
                    <a:pt x="126157" y="131196"/>
                    <a:pt x="121117" y="134975"/>
                  </a:cubicBezTo>
                  <a:cubicBezTo>
                    <a:pt x="118598" y="134975"/>
                    <a:pt x="116078" y="136235"/>
                    <a:pt x="113559" y="136235"/>
                  </a:cubicBezTo>
                  <a:close/>
                </a:path>
              </a:pathLst>
            </a:custGeom>
            <a:solidFill>
              <a:srgbClr val="10BE61"/>
            </a:solidFill>
            <a:ln w="12584" cap="flat">
              <a:noFill/>
              <a:prstDash val="solid"/>
              <a:miter/>
            </a:ln>
          </p:spPr>
          <p:txBody>
            <a:bodyPr rtlCol="0" anchor="ctr"/>
            <a:lstStyle/>
            <a:p>
              <a:endParaRPr lang="zh-CN" altLang="en-US"/>
            </a:p>
          </p:txBody>
        </p:sp>
        <p:sp>
          <p:nvSpPr>
            <p:cNvPr id="75" name="任意多边形: 形状 74"/>
            <p:cNvSpPr/>
            <p:nvPr/>
          </p:nvSpPr>
          <p:spPr>
            <a:xfrm>
              <a:off x="7681127" y="4391949"/>
              <a:ext cx="171607" cy="85803"/>
            </a:xfrm>
            <a:custGeom>
              <a:avLst/>
              <a:gdLst>
                <a:gd name="connsiteX0" fmla="*/ 8819 w 251964"/>
                <a:gd name="connsiteY0" fmla="*/ 129304 h 125982"/>
                <a:gd name="connsiteX1" fmla="*/ 1260 w 251964"/>
                <a:gd name="connsiteY1" fmla="*/ 124265 h 125982"/>
                <a:gd name="connsiteX2" fmla="*/ 5039 w 251964"/>
                <a:gd name="connsiteY2" fmla="*/ 110407 h 125982"/>
                <a:gd name="connsiteX3" fmla="*/ 249445 w 251964"/>
                <a:gd name="connsiteY3" fmla="*/ 802 h 125982"/>
                <a:gd name="connsiteX4" fmla="*/ 263303 w 251964"/>
                <a:gd name="connsiteY4" fmla="*/ 7101 h 125982"/>
                <a:gd name="connsiteX5" fmla="*/ 257004 w 251964"/>
                <a:gd name="connsiteY5" fmla="*/ 20959 h 125982"/>
                <a:gd name="connsiteX6" fmla="*/ 15118 w 251964"/>
                <a:gd name="connsiteY6" fmla="*/ 129304 h 125982"/>
                <a:gd name="connsiteX7" fmla="*/ 8819 w 251964"/>
                <a:gd name="connsiteY7" fmla="*/ 129304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125982">
                  <a:moveTo>
                    <a:pt x="8819" y="129304"/>
                  </a:moveTo>
                  <a:cubicBezTo>
                    <a:pt x="5039" y="129304"/>
                    <a:pt x="2520" y="126784"/>
                    <a:pt x="1260" y="124265"/>
                  </a:cubicBezTo>
                  <a:cubicBezTo>
                    <a:pt x="-1260" y="119225"/>
                    <a:pt x="0" y="112926"/>
                    <a:pt x="5039" y="110407"/>
                  </a:cubicBezTo>
                  <a:cubicBezTo>
                    <a:pt x="83148" y="68832"/>
                    <a:pt x="166297" y="31038"/>
                    <a:pt x="249445" y="802"/>
                  </a:cubicBezTo>
                  <a:cubicBezTo>
                    <a:pt x="254484" y="-1718"/>
                    <a:pt x="260783" y="2062"/>
                    <a:pt x="263303" y="7101"/>
                  </a:cubicBezTo>
                  <a:cubicBezTo>
                    <a:pt x="265823" y="12141"/>
                    <a:pt x="262043" y="18440"/>
                    <a:pt x="257004" y="20959"/>
                  </a:cubicBezTo>
                  <a:cubicBezTo>
                    <a:pt x="173856" y="51195"/>
                    <a:pt x="93227" y="87730"/>
                    <a:pt x="15118" y="129304"/>
                  </a:cubicBezTo>
                  <a:cubicBezTo>
                    <a:pt x="13858" y="129304"/>
                    <a:pt x="11338" y="129304"/>
                    <a:pt x="8819" y="129304"/>
                  </a:cubicBezTo>
                  <a:close/>
                </a:path>
              </a:pathLst>
            </a:custGeom>
            <a:solidFill>
              <a:srgbClr val="10BE61"/>
            </a:solidFill>
            <a:ln w="12584" cap="flat">
              <a:noFill/>
              <a:prstDash val="solid"/>
              <a:miter/>
            </a:ln>
          </p:spPr>
          <p:txBody>
            <a:bodyPr rtlCol="0" anchor="ctr"/>
            <a:lstStyle/>
            <a:p>
              <a:endParaRPr lang="zh-CN" altLang="en-US"/>
            </a:p>
          </p:txBody>
        </p:sp>
        <p:sp>
          <p:nvSpPr>
            <p:cNvPr id="76" name="任意多边形: 形状 75"/>
            <p:cNvSpPr/>
            <p:nvPr/>
          </p:nvSpPr>
          <p:spPr>
            <a:xfrm>
              <a:off x="7684341" y="4438611"/>
              <a:ext cx="180187" cy="68643"/>
            </a:xfrm>
            <a:custGeom>
              <a:avLst/>
              <a:gdLst>
                <a:gd name="connsiteX0" fmla="*/ 9140 w 264562"/>
                <a:gd name="connsiteY0" fmla="*/ 103627 h 100785"/>
                <a:gd name="connsiteX1" fmla="*/ 321 w 264562"/>
                <a:gd name="connsiteY1" fmla="*/ 96068 h 100785"/>
                <a:gd name="connsiteX2" fmla="*/ 6620 w 264562"/>
                <a:gd name="connsiteY2" fmla="*/ 82209 h 100785"/>
                <a:gd name="connsiteX3" fmla="*/ 259845 w 264562"/>
                <a:gd name="connsiteY3" fmla="*/ 321 h 100785"/>
                <a:gd name="connsiteX4" fmla="*/ 273703 w 264562"/>
                <a:gd name="connsiteY4" fmla="*/ 6620 h 100785"/>
                <a:gd name="connsiteX5" fmla="*/ 267404 w 264562"/>
                <a:gd name="connsiteY5" fmla="*/ 20478 h 100785"/>
                <a:gd name="connsiteX6" fmla="*/ 14179 w 264562"/>
                <a:gd name="connsiteY6" fmla="*/ 102367 h 100785"/>
                <a:gd name="connsiteX7" fmla="*/ 9140 w 264562"/>
                <a:gd name="connsiteY7" fmla="*/ 103627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562" h="100785">
                  <a:moveTo>
                    <a:pt x="9140" y="103627"/>
                  </a:moveTo>
                  <a:cubicBezTo>
                    <a:pt x="5360" y="103627"/>
                    <a:pt x="1581" y="99847"/>
                    <a:pt x="321" y="96068"/>
                  </a:cubicBezTo>
                  <a:cubicBezTo>
                    <a:pt x="-939" y="91028"/>
                    <a:pt x="1581" y="84729"/>
                    <a:pt x="6620" y="82209"/>
                  </a:cubicBezTo>
                  <a:lnTo>
                    <a:pt x="259845" y="321"/>
                  </a:lnTo>
                  <a:cubicBezTo>
                    <a:pt x="264884" y="-939"/>
                    <a:pt x="271183" y="1581"/>
                    <a:pt x="273703" y="6620"/>
                  </a:cubicBezTo>
                  <a:cubicBezTo>
                    <a:pt x="274963" y="11660"/>
                    <a:pt x="272443" y="17959"/>
                    <a:pt x="267404" y="20478"/>
                  </a:cubicBezTo>
                  <a:lnTo>
                    <a:pt x="14179" y="102367"/>
                  </a:lnTo>
                  <a:cubicBezTo>
                    <a:pt x="11659" y="103627"/>
                    <a:pt x="10400" y="103627"/>
                    <a:pt x="9140" y="103627"/>
                  </a:cubicBezTo>
                  <a:close/>
                </a:path>
              </a:pathLst>
            </a:custGeom>
            <a:solidFill>
              <a:srgbClr val="10BE61"/>
            </a:solidFill>
            <a:ln w="12584" cap="flat">
              <a:noFill/>
              <a:prstDash val="solid"/>
              <a:miter/>
            </a:ln>
          </p:spPr>
          <p:txBody>
            <a:bodyPr rtlCol="0" anchor="ctr"/>
            <a:lstStyle/>
            <a:p>
              <a:endParaRPr lang="zh-CN" altLang="en-US"/>
            </a:p>
          </p:txBody>
        </p:sp>
        <p:sp>
          <p:nvSpPr>
            <p:cNvPr id="77" name="任意多边形: 形状 76"/>
            <p:cNvSpPr/>
            <p:nvPr/>
          </p:nvSpPr>
          <p:spPr>
            <a:xfrm>
              <a:off x="7688211" y="4245991"/>
              <a:ext cx="51482" cy="68643"/>
            </a:xfrm>
            <a:custGeom>
              <a:avLst/>
              <a:gdLst>
                <a:gd name="connsiteX0" fmla="*/ 71488 w 75589"/>
                <a:gd name="connsiteY0" fmla="*/ 104243 h 100785"/>
                <a:gd name="connsiteX1" fmla="*/ 63929 w 75589"/>
                <a:gd name="connsiteY1" fmla="*/ 100464 h 100785"/>
                <a:gd name="connsiteX2" fmla="*/ 2198 w 75589"/>
                <a:gd name="connsiteY2" fmla="*/ 17315 h 100785"/>
                <a:gd name="connsiteX3" fmla="*/ 4717 w 75589"/>
                <a:gd name="connsiteY3" fmla="*/ 2198 h 100785"/>
                <a:gd name="connsiteX4" fmla="*/ 19835 w 75589"/>
                <a:gd name="connsiteY4" fmla="*/ 4717 h 100785"/>
                <a:gd name="connsiteX5" fmla="*/ 81566 w 75589"/>
                <a:gd name="connsiteY5" fmla="*/ 87866 h 100785"/>
                <a:gd name="connsiteX6" fmla="*/ 79047 w 75589"/>
                <a:gd name="connsiteY6" fmla="*/ 102983 h 100785"/>
                <a:gd name="connsiteX7" fmla="*/ 71488 w 75589"/>
                <a:gd name="connsiteY7" fmla="*/ 104243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00785">
                  <a:moveTo>
                    <a:pt x="71488" y="104243"/>
                  </a:moveTo>
                  <a:cubicBezTo>
                    <a:pt x="68968" y="104243"/>
                    <a:pt x="66449" y="102983"/>
                    <a:pt x="63929" y="100464"/>
                  </a:cubicBezTo>
                  <a:lnTo>
                    <a:pt x="2198" y="17315"/>
                  </a:lnTo>
                  <a:cubicBezTo>
                    <a:pt x="-1582" y="12276"/>
                    <a:pt x="-322" y="5977"/>
                    <a:pt x="4717" y="2198"/>
                  </a:cubicBezTo>
                  <a:cubicBezTo>
                    <a:pt x="9757" y="-1582"/>
                    <a:pt x="16056" y="-322"/>
                    <a:pt x="19835" y="4717"/>
                  </a:cubicBezTo>
                  <a:lnTo>
                    <a:pt x="81566" y="87866"/>
                  </a:lnTo>
                  <a:cubicBezTo>
                    <a:pt x="85346" y="92905"/>
                    <a:pt x="84086" y="99204"/>
                    <a:pt x="79047" y="102983"/>
                  </a:cubicBezTo>
                  <a:cubicBezTo>
                    <a:pt x="76527" y="104243"/>
                    <a:pt x="74008" y="104243"/>
                    <a:pt x="71488" y="104243"/>
                  </a:cubicBezTo>
                  <a:close/>
                </a:path>
              </a:pathLst>
            </a:custGeom>
            <a:solidFill>
              <a:srgbClr val="10BE61"/>
            </a:solidFill>
            <a:ln w="12584" cap="flat">
              <a:noFill/>
              <a:prstDash val="solid"/>
              <a:miter/>
            </a:ln>
          </p:spPr>
          <p:txBody>
            <a:bodyPr rtlCol="0" anchor="ctr"/>
            <a:lstStyle/>
            <a:p>
              <a:endParaRPr lang="zh-CN" altLang="en-US"/>
            </a:p>
          </p:txBody>
        </p:sp>
        <p:sp>
          <p:nvSpPr>
            <p:cNvPr id="78" name="任意多边形: 形状 77"/>
            <p:cNvSpPr/>
            <p:nvPr/>
          </p:nvSpPr>
          <p:spPr>
            <a:xfrm>
              <a:off x="7695332" y="4186186"/>
              <a:ext cx="60063" cy="94384"/>
            </a:xfrm>
            <a:custGeom>
              <a:avLst/>
              <a:gdLst>
                <a:gd name="connsiteX0" fmla="*/ 82448 w 88187"/>
                <a:gd name="connsiteY0" fmla="*/ 145440 h 138580"/>
                <a:gd name="connsiteX1" fmla="*/ 74889 w 88187"/>
                <a:gd name="connsiteY1" fmla="*/ 140400 h 138580"/>
                <a:gd name="connsiteX2" fmla="*/ 1820 w 88187"/>
                <a:gd name="connsiteY2" fmla="*/ 16938 h 138580"/>
                <a:gd name="connsiteX3" fmla="*/ 5599 w 88187"/>
                <a:gd name="connsiteY3" fmla="*/ 1820 h 138580"/>
                <a:gd name="connsiteX4" fmla="*/ 20717 w 88187"/>
                <a:gd name="connsiteY4" fmla="*/ 5599 h 138580"/>
                <a:gd name="connsiteX5" fmla="*/ 93787 w 88187"/>
                <a:gd name="connsiteY5" fmla="*/ 130322 h 138580"/>
                <a:gd name="connsiteX6" fmla="*/ 90007 w 88187"/>
                <a:gd name="connsiteY6" fmla="*/ 144180 h 138580"/>
                <a:gd name="connsiteX7" fmla="*/ 82448 w 88187"/>
                <a:gd name="connsiteY7" fmla="*/ 14544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187" h="138580">
                  <a:moveTo>
                    <a:pt x="82448" y="145440"/>
                  </a:moveTo>
                  <a:cubicBezTo>
                    <a:pt x="78669" y="145440"/>
                    <a:pt x="76149" y="142920"/>
                    <a:pt x="74889" y="140400"/>
                  </a:cubicBezTo>
                  <a:cubicBezTo>
                    <a:pt x="52213" y="98826"/>
                    <a:pt x="28276" y="57252"/>
                    <a:pt x="1820" y="16938"/>
                  </a:cubicBezTo>
                  <a:cubicBezTo>
                    <a:pt x="-1960" y="11898"/>
                    <a:pt x="560" y="5599"/>
                    <a:pt x="5599" y="1820"/>
                  </a:cubicBezTo>
                  <a:cubicBezTo>
                    <a:pt x="10638" y="-1960"/>
                    <a:pt x="16938" y="560"/>
                    <a:pt x="20717" y="5599"/>
                  </a:cubicBezTo>
                  <a:cubicBezTo>
                    <a:pt x="47173" y="45914"/>
                    <a:pt x="71110" y="87488"/>
                    <a:pt x="93787" y="130322"/>
                  </a:cubicBezTo>
                  <a:cubicBezTo>
                    <a:pt x="96307" y="135361"/>
                    <a:pt x="95047" y="141660"/>
                    <a:pt x="90007" y="144180"/>
                  </a:cubicBezTo>
                  <a:cubicBezTo>
                    <a:pt x="87488" y="145440"/>
                    <a:pt x="84968" y="145440"/>
                    <a:pt x="82448" y="145440"/>
                  </a:cubicBezTo>
                  <a:close/>
                </a:path>
              </a:pathLst>
            </a:custGeom>
            <a:solidFill>
              <a:srgbClr val="10BE61"/>
            </a:solidFill>
            <a:ln w="12584" cap="flat">
              <a:noFill/>
              <a:prstDash val="solid"/>
              <a:miter/>
            </a:ln>
          </p:spPr>
          <p:txBody>
            <a:bodyPr rtlCol="0" anchor="ctr"/>
            <a:lstStyle/>
            <a:p>
              <a:endParaRPr lang="zh-CN" altLang="en-US"/>
            </a:p>
          </p:txBody>
        </p:sp>
        <p:sp>
          <p:nvSpPr>
            <p:cNvPr id="79" name="任意多边形: 形状 78"/>
            <p:cNvSpPr/>
            <p:nvPr/>
          </p:nvSpPr>
          <p:spPr>
            <a:xfrm>
              <a:off x="7765906" y="4220342"/>
              <a:ext cx="102964" cy="34321"/>
            </a:xfrm>
            <a:custGeom>
              <a:avLst/>
              <a:gdLst>
                <a:gd name="connsiteX0" fmla="*/ 9063 w 151178"/>
                <a:gd name="connsiteY0" fmla="*/ 61274 h 50392"/>
                <a:gd name="connsiteX1" fmla="*/ 244 w 151178"/>
                <a:gd name="connsiteY1" fmla="*/ 53715 h 50392"/>
                <a:gd name="connsiteX2" fmla="*/ 7803 w 151178"/>
                <a:gd name="connsiteY2" fmla="*/ 41116 h 50392"/>
                <a:gd name="connsiteX3" fmla="*/ 142604 w 151178"/>
                <a:gd name="connsiteY3" fmla="*/ 802 h 50392"/>
                <a:gd name="connsiteX4" fmla="*/ 156462 w 151178"/>
                <a:gd name="connsiteY4" fmla="*/ 7101 h 50392"/>
                <a:gd name="connsiteX5" fmla="*/ 150163 w 151178"/>
                <a:gd name="connsiteY5" fmla="*/ 20959 h 50392"/>
                <a:gd name="connsiteX6" fmla="*/ 12842 w 151178"/>
                <a:gd name="connsiteY6" fmla="*/ 62533 h 50392"/>
                <a:gd name="connsiteX7" fmla="*/ 9063 w 151178"/>
                <a:gd name="connsiteY7" fmla="*/ 61274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50392">
                  <a:moveTo>
                    <a:pt x="9063" y="61274"/>
                  </a:moveTo>
                  <a:cubicBezTo>
                    <a:pt x="5283" y="61274"/>
                    <a:pt x="1504" y="57494"/>
                    <a:pt x="244" y="53715"/>
                  </a:cubicBezTo>
                  <a:cubicBezTo>
                    <a:pt x="-1016" y="47416"/>
                    <a:pt x="2764" y="42376"/>
                    <a:pt x="7803" y="41116"/>
                  </a:cubicBezTo>
                  <a:cubicBezTo>
                    <a:pt x="53157" y="29778"/>
                    <a:pt x="98510" y="17180"/>
                    <a:pt x="142604" y="802"/>
                  </a:cubicBezTo>
                  <a:cubicBezTo>
                    <a:pt x="147643" y="-1718"/>
                    <a:pt x="153943" y="2062"/>
                    <a:pt x="156462" y="7101"/>
                  </a:cubicBezTo>
                  <a:cubicBezTo>
                    <a:pt x="158982" y="12141"/>
                    <a:pt x="155202" y="18440"/>
                    <a:pt x="150163" y="20959"/>
                  </a:cubicBezTo>
                  <a:cubicBezTo>
                    <a:pt x="104810" y="37337"/>
                    <a:pt x="59456" y="51195"/>
                    <a:pt x="12842" y="62533"/>
                  </a:cubicBezTo>
                  <a:cubicBezTo>
                    <a:pt x="12842" y="61274"/>
                    <a:pt x="10323" y="61274"/>
                    <a:pt x="9063" y="61274"/>
                  </a:cubicBezTo>
                  <a:close/>
                </a:path>
              </a:pathLst>
            </a:custGeom>
            <a:solidFill>
              <a:srgbClr val="10BE61"/>
            </a:solidFill>
            <a:ln w="12584" cap="flat">
              <a:noFill/>
              <a:prstDash val="solid"/>
              <a:miter/>
            </a:ln>
          </p:spPr>
          <p:txBody>
            <a:bodyPr rtlCol="0" anchor="ctr"/>
            <a:lstStyle/>
            <a:p>
              <a:endParaRPr lang="zh-CN" altLang="en-US"/>
            </a:p>
          </p:txBody>
        </p:sp>
        <p:sp>
          <p:nvSpPr>
            <p:cNvPr id="80" name="任意多边形: 形状 79"/>
            <p:cNvSpPr/>
            <p:nvPr/>
          </p:nvSpPr>
          <p:spPr>
            <a:xfrm>
              <a:off x="7677022" y="4667543"/>
              <a:ext cx="94384" cy="60063"/>
            </a:xfrm>
            <a:custGeom>
              <a:avLst/>
              <a:gdLst>
                <a:gd name="connsiteX0" fmla="*/ 8547 w 138580"/>
                <a:gd name="connsiteY0" fmla="*/ 88748 h 88187"/>
                <a:gd name="connsiteX1" fmla="*/ 988 w 138580"/>
                <a:gd name="connsiteY1" fmla="*/ 82448 h 88187"/>
                <a:gd name="connsiteX2" fmla="*/ 6028 w 138580"/>
                <a:gd name="connsiteY2" fmla="*/ 68590 h 88187"/>
                <a:gd name="connsiteX3" fmla="*/ 130750 w 138580"/>
                <a:gd name="connsiteY3" fmla="*/ 1820 h 88187"/>
                <a:gd name="connsiteX4" fmla="*/ 145868 w 138580"/>
                <a:gd name="connsiteY4" fmla="*/ 5599 h 88187"/>
                <a:gd name="connsiteX5" fmla="*/ 142089 w 138580"/>
                <a:gd name="connsiteY5" fmla="*/ 20717 h 88187"/>
                <a:gd name="connsiteX6" fmla="*/ 14847 w 138580"/>
                <a:gd name="connsiteY6" fmla="*/ 90008 h 88187"/>
                <a:gd name="connsiteX7" fmla="*/ 8547 w 138580"/>
                <a:gd name="connsiteY7" fmla="*/ 88748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88187">
                  <a:moveTo>
                    <a:pt x="8547" y="88748"/>
                  </a:moveTo>
                  <a:cubicBezTo>
                    <a:pt x="4768" y="88748"/>
                    <a:pt x="2248" y="86228"/>
                    <a:pt x="988" y="82448"/>
                  </a:cubicBezTo>
                  <a:cubicBezTo>
                    <a:pt x="-1531" y="77409"/>
                    <a:pt x="988" y="71110"/>
                    <a:pt x="6028" y="68590"/>
                  </a:cubicBezTo>
                  <a:cubicBezTo>
                    <a:pt x="48862" y="49693"/>
                    <a:pt x="90436" y="27016"/>
                    <a:pt x="130750" y="1820"/>
                  </a:cubicBezTo>
                  <a:cubicBezTo>
                    <a:pt x="135790" y="-1960"/>
                    <a:pt x="142089" y="560"/>
                    <a:pt x="145868" y="5599"/>
                  </a:cubicBezTo>
                  <a:cubicBezTo>
                    <a:pt x="149648" y="10638"/>
                    <a:pt x="147128" y="16938"/>
                    <a:pt x="142089" y="20717"/>
                  </a:cubicBezTo>
                  <a:cubicBezTo>
                    <a:pt x="101774" y="45914"/>
                    <a:pt x="58940" y="69850"/>
                    <a:pt x="14847" y="90008"/>
                  </a:cubicBezTo>
                  <a:cubicBezTo>
                    <a:pt x="12327" y="88748"/>
                    <a:pt x="11067" y="90008"/>
                    <a:pt x="8547" y="88748"/>
                  </a:cubicBezTo>
                  <a:close/>
                </a:path>
              </a:pathLst>
            </a:custGeom>
            <a:solidFill>
              <a:srgbClr val="10BE61"/>
            </a:solidFill>
            <a:ln w="12584" cap="flat">
              <a:noFill/>
              <a:prstDash val="solid"/>
              <a:miter/>
            </a:ln>
          </p:spPr>
          <p:txBody>
            <a:bodyPr rtlCol="0" anchor="ctr"/>
            <a:lstStyle/>
            <a:p>
              <a:endParaRPr lang="zh-CN" altLang="en-US"/>
            </a:p>
          </p:txBody>
        </p:sp>
        <p:sp>
          <p:nvSpPr>
            <p:cNvPr id="81" name="任意多边形: 形状 80"/>
            <p:cNvSpPr/>
            <p:nvPr/>
          </p:nvSpPr>
          <p:spPr>
            <a:xfrm>
              <a:off x="7728200" y="4027712"/>
              <a:ext cx="94384" cy="137286"/>
            </a:xfrm>
            <a:custGeom>
              <a:avLst/>
              <a:gdLst>
                <a:gd name="connsiteX0" fmla="*/ 127417 w 138580"/>
                <a:gd name="connsiteY0" fmla="*/ 209305 h 201571"/>
                <a:gd name="connsiteX1" fmla="*/ 118598 w 138580"/>
                <a:gd name="connsiteY1" fmla="*/ 203006 h 201571"/>
                <a:gd name="connsiteX2" fmla="*/ 2694 w 138580"/>
                <a:gd name="connsiteY2" fmla="*/ 17812 h 201571"/>
                <a:gd name="connsiteX3" fmla="*/ 3954 w 138580"/>
                <a:gd name="connsiteY3" fmla="*/ 2694 h 201571"/>
                <a:gd name="connsiteX4" fmla="*/ 19072 w 138580"/>
                <a:gd name="connsiteY4" fmla="*/ 3954 h 201571"/>
                <a:gd name="connsiteX5" fmla="*/ 138755 w 138580"/>
                <a:gd name="connsiteY5" fmla="*/ 195447 h 201571"/>
                <a:gd name="connsiteX6" fmla="*/ 132456 w 138580"/>
                <a:gd name="connsiteY6" fmla="*/ 209305 h 201571"/>
                <a:gd name="connsiteX7" fmla="*/ 127417 w 138580"/>
                <a:gd name="connsiteY7" fmla="*/ 209305 h 201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201571">
                  <a:moveTo>
                    <a:pt x="127417" y="209305"/>
                  </a:moveTo>
                  <a:cubicBezTo>
                    <a:pt x="123637" y="209305"/>
                    <a:pt x="121117" y="206785"/>
                    <a:pt x="118598" y="203006"/>
                  </a:cubicBezTo>
                  <a:cubicBezTo>
                    <a:pt x="90882" y="134976"/>
                    <a:pt x="51827" y="71984"/>
                    <a:pt x="2694" y="17812"/>
                  </a:cubicBezTo>
                  <a:cubicBezTo>
                    <a:pt x="-1085" y="14032"/>
                    <a:pt x="-1085" y="6473"/>
                    <a:pt x="3954" y="2694"/>
                  </a:cubicBezTo>
                  <a:cubicBezTo>
                    <a:pt x="7733" y="-1085"/>
                    <a:pt x="15292" y="-1085"/>
                    <a:pt x="19072" y="3954"/>
                  </a:cubicBezTo>
                  <a:cubicBezTo>
                    <a:pt x="70724" y="60646"/>
                    <a:pt x="111039" y="124897"/>
                    <a:pt x="138755" y="195447"/>
                  </a:cubicBezTo>
                  <a:cubicBezTo>
                    <a:pt x="141275" y="200486"/>
                    <a:pt x="138755" y="206785"/>
                    <a:pt x="132456" y="209305"/>
                  </a:cubicBezTo>
                  <a:cubicBezTo>
                    <a:pt x="131196" y="209305"/>
                    <a:pt x="128676" y="209305"/>
                    <a:pt x="127417" y="209305"/>
                  </a:cubicBezTo>
                  <a:close/>
                </a:path>
              </a:pathLst>
            </a:custGeom>
            <a:solidFill>
              <a:srgbClr val="10BE61"/>
            </a:solidFill>
            <a:ln w="12584" cap="flat">
              <a:noFill/>
              <a:prstDash val="solid"/>
              <a:miter/>
            </a:ln>
          </p:spPr>
          <p:txBody>
            <a:bodyPr rtlCol="0" anchor="ctr"/>
            <a:lstStyle/>
            <a:p>
              <a:endParaRPr lang="zh-CN" altLang="en-US"/>
            </a:p>
          </p:txBody>
        </p:sp>
        <p:sp>
          <p:nvSpPr>
            <p:cNvPr id="82" name="任意多边形: 形状 81"/>
            <p:cNvSpPr/>
            <p:nvPr/>
          </p:nvSpPr>
          <p:spPr>
            <a:xfrm>
              <a:off x="7800594" y="4040043"/>
              <a:ext cx="42902" cy="85803"/>
            </a:xfrm>
            <a:custGeom>
              <a:avLst/>
              <a:gdLst>
                <a:gd name="connsiteX0" fmla="*/ 53878 w 62991"/>
                <a:gd name="connsiteY0" fmla="*/ 126948 h 125982"/>
                <a:gd name="connsiteX1" fmla="*/ 45059 w 62991"/>
                <a:gd name="connsiteY1" fmla="*/ 120649 h 125982"/>
                <a:gd name="connsiteX2" fmla="*/ 966 w 62991"/>
                <a:gd name="connsiteY2" fmla="*/ 14824 h 125982"/>
                <a:gd name="connsiteX3" fmla="*/ 7265 w 62991"/>
                <a:gd name="connsiteY3" fmla="*/ 966 h 125982"/>
                <a:gd name="connsiteX4" fmla="*/ 21123 w 62991"/>
                <a:gd name="connsiteY4" fmla="*/ 7265 h 125982"/>
                <a:gd name="connsiteX5" fmla="*/ 65216 w 62991"/>
                <a:gd name="connsiteY5" fmla="*/ 113090 h 125982"/>
                <a:gd name="connsiteX6" fmla="*/ 58917 w 62991"/>
                <a:gd name="connsiteY6" fmla="*/ 126948 h 125982"/>
                <a:gd name="connsiteX7" fmla="*/ 53878 w 62991"/>
                <a:gd name="connsiteY7" fmla="*/ 126948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991" h="125982">
                  <a:moveTo>
                    <a:pt x="53878" y="126948"/>
                  </a:moveTo>
                  <a:cubicBezTo>
                    <a:pt x="50099" y="126948"/>
                    <a:pt x="47579" y="124428"/>
                    <a:pt x="45059" y="120649"/>
                  </a:cubicBezTo>
                  <a:lnTo>
                    <a:pt x="966" y="14824"/>
                  </a:lnTo>
                  <a:cubicBezTo>
                    <a:pt x="-1554" y="9784"/>
                    <a:pt x="966" y="3485"/>
                    <a:pt x="7265" y="966"/>
                  </a:cubicBezTo>
                  <a:cubicBezTo>
                    <a:pt x="12304" y="-1554"/>
                    <a:pt x="18603" y="966"/>
                    <a:pt x="21123" y="7265"/>
                  </a:cubicBezTo>
                  <a:lnTo>
                    <a:pt x="65216" y="113090"/>
                  </a:lnTo>
                  <a:cubicBezTo>
                    <a:pt x="67736" y="118129"/>
                    <a:pt x="65216" y="124428"/>
                    <a:pt x="58917" y="126948"/>
                  </a:cubicBezTo>
                  <a:cubicBezTo>
                    <a:pt x="57658" y="126948"/>
                    <a:pt x="56398" y="126948"/>
                    <a:pt x="53878" y="126948"/>
                  </a:cubicBezTo>
                  <a:close/>
                </a:path>
              </a:pathLst>
            </a:custGeom>
            <a:solidFill>
              <a:srgbClr val="10BE61"/>
            </a:solidFill>
            <a:ln w="12584" cap="flat">
              <a:noFill/>
              <a:prstDash val="solid"/>
              <a:miter/>
            </a:ln>
          </p:spPr>
          <p:txBody>
            <a:bodyPr rtlCol="0" anchor="ctr"/>
            <a:lstStyle/>
            <a:p>
              <a:endParaRPr lang="zh-CN" altLang="en-US"/>
            </a:p>
          </p:txBody>
        </p:sp>
        <p:sp>
          <p:nvSpPr>
            <p:cNvPr id="83" name="任意多边形: 形状 82"/>
            <p:cNvSpPr/>
            <p:nvPr/>
          </p:nvSpPr>
          <p:spPr>
            <a:xfrm>
              <a:off x="7850041" y="3976568"/>
              <a:ext cx="94384" cy="77223"/>
            </a:xfrm>
            <a:custGeom>
              <a:avLst/>
              <a:gdLst>
                <a:gd name="connsiteX0" fmla="*/ 8993 w 138580"/>
                <a:gd name="connsiteY0" fmla="*/ 120621 h 113384"/>
                <a:gd name="connsiteX1" fmla="*/ 2694 w 138580"/>
                <a:gd name="connsiteY1" fmla="*/ 116841 h 113384"/>
                <a:gd name="connsiteX2" fmla="*/ 3954 w 138580"/>
                <a:gd name="connsiteY2" fmla="*/ 101724 h 113384"/>
                <a:gd name="connsiteX3" fmla="*/ 122377 w 138580"/>
                <a:gd name="connsiteY3" fmla="*/ 2198 h 113384"/>
                <a:gd name="connsiteX4" fmla="*/ 137495 w 138580"/>
                <a:gd name="connsiteY4" fmla="*/ 4717 h 113384"/>
                <a:gd name="connsiteX5" fmla="*/ 134976 w 138580"/>
                <a:gd name="connsiteY5" fmla="*/ 19835 h 113384"/>
                <a:gd name="connsiteX6" fmla="*/ 17812 w 138580"/>
                <a:gd name="connsiteY6" fmla="*/ 118101 h 113384"/>
                <a:gd name="connsiteX7" fmla="*/ 8993 w 138580"/>
                <a:gd name="connsiteY7" fmla="*/ 120621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13384">
                  <a:moveTo>
                    <a:pt x="8993" y="120621"/>
                  </a:moveTo>
                  <a:cubicBezTo>
                    <a:pt x="6474" y="120621"/>
                    <a:pt x="3954" y="119361"/>
                    <a:pt x="2694" y="116841"/>
                  </a:cubicBezTo>
                  <a:cubicBezTo>
                    <a:pt x="-1085" y="113062"/>
                    <a:pt x="-1085" y="105503"/>
                    <a:pt x="3954" y="101724"/>
                  </a:cubicBezTo>
                  <a:cubicBezTo>
                    <a:pt x="41749" y="66448"/>
                    <a:pt x="82063" y="33693"/>
                    <a:pt x="122377" y="2198"/>
                  </a:cubicBezTo>
                  <a:cubicBezTo>
                    <a:pt x="127417" y="-1582"/>
                    <a:pt x="133716" y="-322"/>
                    <a:pt x="137495" y="4717"/>
                  </a:cubicBezTo>
                  <a:cubicBezTo>
                    <a:pt x="141275" y="9756"/>
                    <a:pt x="140015" y="16056"/>
                    <a:pt x="134976" y="19835"/>
                  </a:cubicBezTo>
                  <a:cubicBezTo>
                    <a:pt x="94661" y="50071"/>
                    <a:pt x="55607" y="84086"/>
                    <a:pt x="17812" y="118101"/>
                  </a:cubicBezTo>
                  <a:cubicBezTo>
                    <a:pt x="15292" y="120621"/>
                    <a:pt x="11513" y="120621"/>
                    <a:pt x="8993" y="120621"/>
                  </a:cubicBezTo>
                  <a:close/>
                </a:path>
              </a:pathLst>
            </a:custGeom>
            <a:solidFill>
              <a:srgbClr val="10BE61"/>
            </a:solidFill>
            <a:ln w="12584" cap="flat">
              <a:noFill/>
              <a:prstDash val="solid"/>
              <a:miter/>
            </a:ln>
          </p:spPr>
          <p:txBody>
            <a:bodyPr rtlCol="0" anchor="ctr"/>
            <a:lstStyle/>
            <a:p>
              <a:endParaRPr lang="zh-CN" altLang="en-US"/>
            </a:p>
          </p:txBody>
        </p:sp>
        <p:sp>
          <p:nvSpPr>
            <p:cNvPr id="84" name="任意多边形: 形状 83"/>
            <p:cNvSpPr/>
            <p:nvPr/>
          </p:nvSpPr>
          <p:spPr>
            <a:xfrm>
              <a:off x="7850899" y="3948253"/>
              <a:ext cx="77223" cy="60063"/>
            </a:xfrm>
            <a:custGeom>
              <a:avLst/>
              <a:gdLst>
                <a:gd name="connsiteX0" fmla="*/ 8993 w 113384"/>
                <a:gd name="connsiteY0" fmla="*/ 92905 h 88187"/>
                <a:gd name="connsiteX1" fmla="*/ 2694 w 113384"/>
                <a:gd name="connsiteY1" fmla="*/ 89125 h 88187"/>
                <a:gd name="connsiteX2" fmla="*/ 3954 w 113384"/>
                <a:gd name="connsiteY2" fmla="*/ 74007 h 88187"/>
                <a:gd name="connsiteX3" fmla="*/ 97181 w 113384"/>
                <a:gd name="connsiteY3" fmla="*/ 2198 h 88187"/>
                <a:gd name="connsiteX4" fmla="*/ 112299 w 113384"/>
                <a:gd name="connsiteY4" fmla="*/ 4717 h 88187"/>
                <a:gd name="connsiteX5" fmla="*/ 109779 w 113384"/>
                <a:gd name="connsiteY5" fmla="*/ 19835 h 88187"/>
                <a:gd name="connsiteX6" fmla="*/ 19072 w 113384"/>
                <a:gd name="connsiteY6" fmla="*/ 90385 h 88187"/>
                <a:gd name="connsiteX7" fmla="*/ 8993 w 113384"/>
                <a:gd name="connsiteY7" fmla="*/ 92905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88187">
                  <a:moveTo>
                    <a:pt x="8993" y="92905"/>
                  </a:moveTo>
                  <a:cubicBezTo>
                    <a:pt x="6474" y="92905"/>
                    <a:pt x="3954" y="91645"/>
                    <a:pt x="2694" y="89125"/>
                  </a:cubicBezTo>
                  <a:cubicBezTo>
                    <a:pt x="-1085" y="85346"/>
                    <a:pt x="-1085" y="77787"/>
                    <a:pt x="3954" y="74007"/>
                  </a:cubicBezTo>
                  <a:cubicBezTo>
                    <a:pt x="32930" y="47551"/>
                    <a:pt x="64425" y="23615"/>
                    <a:pt x="97181" y="2198"/>
                  </a:cubicBezTo>
                  <a:cubicBezTo>
                    <a:pt x="102220" y="-1582"/>
                    <a:pt x="108519" y="-322"/>
                    <a:pt x="112299" y="4717"/>
                  </a:cubicBezTo>
                  <a:cubicBezTo>
                    <a:pt x="116078" y="9756"/>
                    <a:pt x="114818" y="16056"/>
                    <a:pt x="109779" y="19835"/>
                  </a:cubicBezTo>
                  <a:cubicBezTo>
                    <a:pt x="78283" y="41252"/>
                    <a:pt x="48048" y="63929"/>
                    <a:pt x="19072" y="90385"/>
                  </a:cubicBezTo>
                  <a:cubicBezTo>
                    <a:pt x="15292" y="92905"/>
                    <a:pt x="12773" y="92905"/>
                    <a:pt x="8993" y="92905"/>
                  </a:cubicBezTo>
                  <a:close/>
                </a:path>
              </a:pathLst>
            </a:custGeom>
            <a:solidFill>
              <a:srgbClr val="10BE61"/>
            </a:solidFill>
            <a:ln w="12584" cap="flat">
              <a:noFill/>
              <a:prstDash val="solid"/>
              <a:miter/>
            </a:ln>
          </p:spPr>
          <p:txBody>
            <a:bodyPr rtlCol="0" anchor="ctr"/>
            <a:lstStyle/>
            <a:p>
              <a:endParaRPr lang="zh-CN" altLang="en-US"/>
            </a:p>
          </p:txBody>
        </p:sp>
        <p:sp>
          <p:nvSpPr>
            <p:cNvPr id="85" name="任意多边形: 形状 84"/>
            <p:cNvSpPr/>
            <p:nvPr/>
          </p:nvSpPr>
          <p:spPr>
            <a:xfrm>
              <a:off x="7525132" y="4010670"/>
              <a:ext cx="283152" cy="832294"/>
            </a:xfrm>
            <a:custGeom>
              <a:avLst/>
              <a:gdLst>
                <a:gd name="connsiteX0" fmla="*/ 342426 w 415741"/>
                <a:gd name="connsiteY0" fmla="*/ 835263 h 1222028"/>
                <a:gd name="connsiteX1" fmla="*/ 268097 w 415741"/>
                <a:gd name="connsiteY1" fmla="*/ 0 h 1222028"/>
                <a:gd name="connsiteX2" fmla="*/ 225263 w 415741"/>
                <a:gd name="connsiteY2" fmla="*/ 243146 h 1222028"/>
                <a:gd name="connsiteX3" fmla="*/ 14872 w 415741"/>
                <a:gd name="connsiteY3" fmla="*/ 571960 h 1222028"/>
                <a:gd name="connsiteX4" fmla="*/ 47628 w 415741"/>
                <a:gd name="connsiteY4" fmla="*/ 976363 h 1222028"/>
                <a:gd name="connsiteX5" fmla="*/ 213924 w 415741"/>
                <a:gd name="connsiteY5" fmla="*/ 1220769 h 1222028"/>
                <a:gd name="connsiteX6" fmla="*/ 375182 w 415741"/>
                <a:gd name="connsiteY6" fmla="*/ 1131322 h 1222028"/>
                <a:gd name="connsiteX7" fmla="*/ 342426 w 415741"/>
                <a:gd name="connsiteY7" fmla="*/ 835263 h 122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5741" h="1222028">
                  <a:moveTo>
                    <a:pt x="342426" y="835263"/>
                  </a:moveTo>
                  <a:cubicBezTo>
                    <a:pt x="454551" y="549283"/>
                    <a:pt x="469668" y="212910"/>
                    <a:pt x="268097" y="0"/>
                  </a:cubicBezTo>
                  <a:cubicBezTo>
                    <a:pt x="234081" y="83148"/>
                    <a:pt x="222743" y="182674"/>
                    <a:pt x="225263" y="243146"/>
                  </a:cubicBezTo>
                  <a:cubicBezTo>
                    <a:pt x="230302" y="389286"/>
                    <a:pt x="66525" y="396844"/>
                    <a:pt x="14872" y="571960"/>
                  </a:cubicBezTo>
                  <a:cubicBezTo>
                    <a:pt x="-36781" y="747075"/>
                    <a:pt x="64005" y="791169"/>
                    <a:pt x="47628" y="976363"/>
                  </a:cubicBezTo>
                  <a:cubicBezTo>
                    <a:pt x="31250" y="1161557"/>
                    <a:pt x="119438" y="1206911"/>
                    <a:pt x="213924" y="1220769"/>
                  </a:cubicBezTo>
                  <a:cubicBezTo>
                    <a:pt x="290774" y="1232107"/>
                    <a:pt x="349985" y="1201871"/>
                    <a:pt x="375182" y="1131322"/>
                  </a:cubicBezTo>
                  <a:cubicBezTo>
                    <a:pt x="339907" y="1028016"/>
                    <a:pt x="303372" y="929750"/>
                    <a:pt x="342426" y="835263"/>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86" name="任意多边形: 形状 85"/>
            <p:cNvSpPr/>
            <p:nvPr/>
          </p:nvSpPr>
          <p:spPr>
            <a:xfrm>
              <a:off x="7178083" y="3697569"/>
              <a:ext cx="549142" cy="1192668"/>
            </a:xfrm>
            <a:custGeom>
              <a:avLst/>
              <a:gdLst>
                <a:gd name="connsiteX0" fmla="*/ 531991 w 806286"/>
                <a:gd name="connsiteY0" fmla="*/ 1748516 h 1751154"/>
                <a:gd name="connsiteX1" fmla="*/ 744901 w 806286"/>
                <a:gd name="connsiteY1" fmla="*/ 1436079 h 1751154"/>
                <a:gd name="connsiteX2" fmla="*/ 787735 w 806286"/>
                <a:gd name="connsiteY2" fmla="*/ 918292 h 1751154"/>
                <a:gd name="connsiteX3" fmla="*/ 519393 w 806286"/>
                <a:gd name="connsiteY3" fmla="*/ 496251 h 1751154"/>
                <a:gd name="connsiteX4" fmla="*/ 433725 w 806286"/>
                <a:gd name="connsiteY4" fmla="*/ 123343 h 1751154"/>
                <a:gd name="connsiteX5" fmla="*/ 16724 w 806286"/>
                <a:gd name="connsiteY5" fmla="*/ 319876 h 1751154"/>
                <a:gd name="connsiteX6" fmla="*/ 160343 w 806286"/>
                <a:gd name="connsiteY6" fmla="*/ 694043 h 1751154"/>
                <a:gd name="connsiteX7" fmla="*/ 155304 w 806286"/>
                <a:gd name="connsiteY7" fmla="*/ 1084589 h 1751154"/>
                <a:gd name="connsiteX8" fmla="*/ 310262 w 806286"/>
                <a:gd name="connsiteY8" fmla="*/ 1485212 h 1751154"/>
                <a:gd name="connsiteX9" fmla="*/ 531991 w 806286"/>
                <a:gd name="connsiteY9" fmla="*/ 1748516 h 1751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6286" h="1751154">
                  <a:moveTo>
                    <a:pt x="531991" y="1748516"/>
                  </a:moveTo>
                  <a:cubicBezTo>
                    <a:pt x="652934" y="1730878"/>
                    <a:pt x="766318" y="1672926"/>
                    <a:pt x="744901" y="1436079"/>
                  </a:cubicBezTo>
                  <a:cubicBezTo>
                    <a:pt x="723484" y="1199233"/>
                    <a:pt x="853246" y="1142541"/>
                    <a:pt x="787735" y="918292"/>
                  </a:cubicBezTo>
                  <a:cubicBezTo>
                    <a:pt x="722225" y="692783"/>
                    <a:pt x="513094" y="683965"/>
                    <a:pt x="519393" y="496251"/>
                  </a:cubicBezTo>
                  <a:cubicBezTo>
                    <a:pt x="521913" y="404284"/>
                    <a:pt x="503015" y="237987"/>
                    <a:pt x="433725" y="123343"/>
                  </a:cubicBezTo>
                  <a:cubicBezTo>
                    <a:pt x="317821" y="-69410"/>
                    <a:pt x="-86582" y="-59331"/>
                    <a:pt x="16724" y="319876"/>
                  </a:cubicBezTo>
                  <a:cubicBezTo>
                    <a:pt x="51999" y="449638"/>
                    <a:pt x="155304" y="521448"/>
                    <a:pt x="160343" y="694043"/>
                  </a:cubicBezTo>
                  <a:cubicBezTo>
                    <a:pt x="164123" y="814986"/>
                    <a:pt x="99872" y="867899"/>
                    <a:pt x="155304" y="1084589"/>
                  </a:cubicBezTo>
                  <a:cubicBezTo>
                    <a:pt x="205697" y="1281121"/>
                    <a:pt x="326640" y="1291200"/>
                    <a:pt x="310262" y="1485212"/>
                  </a:cubicBezTo>
                  <a:cubicBezTo>
                    <a:pt x="293885" y="1677965"/>
                    <a:pt x="388371" y="1768672"/>
                    <a:pt x="531991" y="1748516"/>
                  </a:cubicBezTo>
                  <a:close/>
                </a:path>
              </a:pathLst>
            </a:custGeom>
            <a:solidFill>
              <a:srgbClr val="10BE61"/>
            </a:solidFill>
            <a:ln w="12584" cap="flat">
              <a:noFill/>
              <a:prstDash val="solid"/>
              <a:miter/>
            </a:ln>
          </p:spPr>
          <p:txBody>
            <a:bodyPr rtlCol="0" anchor="ctr"/>
            <a:lstStyle/>
            <a:p>
              <a:endParaRPr lang="zh-CN" altLang="en-US"/>
            </a:p>
          </p:txBody>
        </p:sp>
        <p:sp>
          <p:nvSpPr>
            <p:cNvPr id="87" name="任意多边形: 形状 86"/>
            <p:cNvSpPr/>
            <p:nvPr/>
          </p:nvSpPr>
          <p:spPr>
            <a:xfrm>
              <a:off x="7394543" y="4395928"/>
              <a:ext cx="326053" cy="489080"/>
            </a:xfrm>
            <a:custGeom>
              <a:avLst/>
              <a:gdLst>
                <a:gd name="connsiteX0" fmla="*/ 488811 w 478732"/>
                <a:gd name="connsiteY0" fmla="*/ 0 h 718099"/>
                <a:gd name="connsiteX1" fmla="*/ 0 w 478732"/>
                <a:gd name="connsiteY1" fmla="*/ 580778 h 718099"/>
                <a:gd name="connsiteX2" fmla="*/ 215430 w 478732"/>
                <a:gd name="connsiteY2" fmla="*/ 723139 h 718099"/>
                <a:gd name="connsiteX3" fmla="*/ 428340 w 478732"/>
                <a:gd name="connsiteY3" fmla="*/ 410702 h 718099"/>
                <a:gd name="connsiteX4" fmla="*/ 488811 w 478732"/>
                <a:gd name="connsiteY4" fmla="*/ 0 h 718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32" h="718099">
                  <a:moveTo>
                    <a:pt x="488811" y="0"/>
                  </a:moveTo>
                  <a:cubicBezTo>
                    <a:pt x="282200" y="122203"/>
                    <a:pt x="115904" y="321255"/>
                    <a:pt x="0" y="580778"/>
                  </a:cubicBezTo>
                  <a:cubicBezTo>
                    <a:pt x="25196" y="690383"/>
                    <a:pt x="105825" y="739516"/>
                    <a:pt x="215430" y="723139"/>
                  </a:cubicBezTo>
                  <a:cubicBezTo>
                    <a:pt x="336373" y="705501"/>
                    <a:pt x="449757" y="647549"/>
                    <a:pt x="428340" y="410702"/>
                  </a:cubicBezTo>
                  <a:cubicBezTo>
                    <a:pt x="410702" y="216690"/>
                    <a:pt x="493851" y="143620"/>
                    <a:pt x="488811" y="0"/>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88" name="任意多边形: 形状 87"/>
            <p:cNvSpPr/>
            <p:nvPr/>
          </p:nvSpPr>
          <p:spPr>
            <a:xfrm>
              <a:off x="7296867" y="3708427"/>
              <a:ext cx="265991" cy="1141186"/>
            </a:xfrm>
            <a:custGeom>
              <a:avLst/>
              <a:gdLst>
                <a:gd name="connsiteX0" fmla="*/ 385300 w 390545"/>
                <a:gd name="connsiteY0" fmla="*/ 1685959 h 1675564"/>
                <a:gd name="connsiteX1" fmla="*/ 376482 w 390545"/>
                <a:gd name="connsiteY1" fmla="*/ 1680919 h 1675564"/>
                <a:gd name="connsiteX2" fmla="*/ 328608 w 390545"/>
                <a:gd name="connsiteY2" fmla="*/ 1461710 h 1675564"/>
                <a:gd name="connsiteX3" fmla="*/ 327349 w 390545"/>
                <a:gd name="connsiteY3" fmla="*/ 1354625 h 1675564"/>
                <a:gd name="connsiteX4" fmla="*/ 251759 w 390545"/>
                <a:gd name="connsiteY4" fmla="*/ 801563 h 1675564"/>
                <a:gd name="connsiteX5" fmla="*/ 153493 w 390545"/>
                <a:gd name="connsiteY5" fmla="*/ 618888 h 1675564"/>
                <a:gd name="connsiteX6" fmla="*/ 50187 w 390545"/>
                <a:gd name="connsiteY6" fmla="*/ 423616 h 1675564"/>
                <a:gd name="connsiteX7" fmla="*/ 17432 w 390545"/>
                <a:gd name="connsiteY7" fmla="*/ 7874 h 1675564"/>
                <a:gd name="connsiteX8" fmla="*/ 30030 w 390545"/>
                <a:gd name="connsiteY8" fmla="*/ 315 h 1675564"/>
                <a:gd name="connsiteX9" fmla="*/ 37589 w 390545"/>
                <a:gd name="connsiteY9" fmla="*/ 12913 h 1675564"/>
                <a:gd name="connsiteX10" fmla="*/ 69085 w 390545"/>
                <a:gd name="connsiteY10" fmla="*/ 416057 h 1675564"/>
                <a:gd name="connsiteX11" fmla="*/ 171130 w 390545"/>
                <a:gd name="connsiteY11" fmla="*/ 608810 h 1675564"/>
                <a:gd name="connsiteX12" fmla="*/ 270656 w 390545"/>
                <a:gd name="connsiteY12" fmla="*/ 794004 h 1675564"/>
                <a:gd name="connsiteX13" fmla="*/ 347506 w 390545"/>
                <a:gd name="connsiteY13" fmla="*/ 1354625 h 1675564"/>
                <a:gd name="connsiteX14" fmla="*/ 348766 w 390545"/>
                <a:gd name="connsiteY14" fmla="*/ 1460450 h 1675564"/>
                <a:gd name="connsiteX15" fmla="*/ 392859 w 390545"/>
                <a:gd name="connsiteY15" fmla="*/ 1668321 h 1675564"/>
                <a:gd name="connsiteX16" fmla="*/ 389080 w 390545"/>
                <a:gd name="connsiteY16" fmla="*/ 1683439 h 1675564"/>
                <a:gd name="connsiteX17" fmla="*/ 385300 w 390545"/>
                <a:gd name="connsiteY17" fmla="*/ 1685959 h 167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545" h="1675564">
                  <a:moveTo>
                    <a:pt x="385300" y="1685959"/>
                  </a:moveTo>
                  <a:cubicBezTo>
                    <a:pt x="381521" y="1685959"/>
                    <a:pt x="379001" y="1684699"/>
                    <a:pt x="376482" y="1680919"/>
                  </a:cubicBezTo>
                  <a:cubicBezTo>
                    <a:pt x="336167" y="1616668"/>
                    <a:pt x="331128" y="1537300"/>
                    <a:pt x="328608" y="1461710"/>
                  </a:cubicBezTo>
                  <a:cubicBezTo>
                    <a:pt x="327349" y="1426435"/>
                    <a:pt x="327349" y="1391160"/>
                    <a:pt x="327349" y="1354625"/>
                  </a:cubicBezTo>
                  <a:cubicBezTo>
                    <a:pt x="326089" y="1166911"/>
                    <a:pt x="323569" y="974158"/>
                    <a:pt x="251759" y="801563"/>
                  </a:cubicBezTo>
                  <a:cubicBezTo>
                    <a:pt x="225303" y="738571"/>
                    <a:pt x="188768" y="676840"/>
                    <a:pt x="153493" y="618888"/>
                  </a:cubicBezTo>
                  <a:cubicBezTo>
                    <a:pt x="115698" y="557157"/>
                    <a:pt x="77904" y="491646"/>
                    <a:pt x="50187" y="423616"/>
                  </a:cubicBezTo>
                  <a:cubicBezTo>
                    <a:pt x="-2725" y="292594"/>
                    <a:pt x="-14064" y="145195"/>
                    <a:pt x="17432" y="7874"/>
                  </a:cubicBezTo>
                  <a:cubicBezTo>
                    <a:pt x="18692" y="1575"/>
                    <a:pt x="24991" y="-945"/>
                    <a:pt x="30030" y="315"/>
                  </a:cubicBezTo>
                  <a:cubicBezTo>
                    <a:pt x="36329" y="1575"/>
                    <a:pt x="38849" y="7874"/>
                    <a:pt x="37589" y="12913"/>
                  </a:cubicBezTo>
                  <a:cubicBezTo>
                    <a:pt x="7353" y="146454"/>
                    <a:pt x="18692" y="290074"/>
                    <a:pt x="69085" y="416057"/>
                  </a:cubicBezTo>
                  <a:cubicBezTo>
                    <a:pt x="95541" y="482827"/>
                    <a:pt x="134596" y="547078"/>
                    <a:pt x="171130" y="608810"/>
                  </a:cubicBezTo>
                  <a:cubicBezTo>
                    <a:pt x="206406" y="668021"/>
                    <a:pt x="242940" y="729753"/>
                    <a:pt x="270656" y="794004"/>
                  </a:cubicBezTo>
                  <a:cubicBezTo>
                    <a:pt x="343726" y="970379"/>
                    <a:pt x="346246" y="1165652"/>
                    <a:pt x="347506" y="1354625"/>
                  </a:cubicBezTo>
                  <a:cubicBezTo>
                    <a:pt x="347506" y="1389900"/>
                    <a:pt x="348766" y="1425175"/>
                    <a:pt x="348766" y="1460450"/>
                  </a:cubicBezTo>
                  <a:cubicBezTo>
                    <a:pt x="350025" y="1532260"/>
                    <a:pt x="355065" y="1607849"/>
                    <a:pt x="392859" y="1668321"/>
                  </a:cubicBezTo>
                  <a:cubicBezTo>
                    <a:pt x="395379" y="1673360"/>
                    <a:pt x="394119" y="1679659"/>
                    <a:pt x="389080" y="1683439"/>
                  </a:cubicBezTo>
                  <a:cubicBezTo>
                    <a:pt x="389080" y="1685959"/>
                    <a:pt x="386560" y="1685959"/>
                    <a:pt x="385300" y="1685959"/>
                  </a:cubicBezTo>
                  <a:close/>
                </a:path>
              </a:pathLst>
            </a:custGeom>
            <a:solidFill>
              <a:srgbClr val="56E395"/>
            </a:solidFill>
            <a:ln w="12584" cap="flat">
              <a:noFill/>
              <a:prstDash val="solid"/>
              <a:miter/>
            </a:ln>
          </p:spPr>
          <p:txBody>
            <a:bodyPr rtlCol="0" anchor="ctr"/>
            <a:lstStyle/>
            <a:p>
              <a:endParaRPr lang="zh-CN" altLang="en-US"/>
            </a:p>
          </p:txBody>
        </p:sp>
        <p:sp>
          <p:nvSpPr>
            <p:cNvPr id="89" name="任意多边形: 形状 88"/>
            <p:cNvSpPr/>
            <p:nvPr/>
          </p:nvSpPr>
          <p:spPr>
            <a:xfrm>
              <a:off x="7518320" y="4297135"/>
              <a:ext cx="171607" cy="223089"/>
            </a:xfrm>
            <a:custGeom>
              <a:avLst/>
              <a:gdLst>
                <a:gd name="connsiteX0" fmla="*/ 11016 w 251964"/>
                <a:gd name="connsiteY0" fmla="*/ 332768 h 327554"/>
                <a:gd name="connsiteX1" fmla="*/ 4717 w 251964"/>
                <a:gd name="connsiteY1" fmla="*/ 330248 h 327554"/>
                <a:gd name="connsiteX2" fmla="*/ 2198 w 251964"/>
                <a:gd name="connsiteY2" fmla="*/ 315130 h 327554"/>
                <a:gd name="connsiteX3" fmla="*/ 235265 w 251964"/>
                <a:gd name="connsiteY3" fmla="*/ 3954 h 327554"/>
                <a:gd name="connsiteX4" fmla="*/ 250383 w 251964"/>
                <a:gd name="connsiteY4" fmla="*/ 2694 h 327554"/>
                <a:gd name="connsiteX5" fmla="*/ 251643 w 251964"/>
                <a:gd name="connsiteY5" fmla="*/ 17812 h 327554"/>
                <a:gd name="connsiteX6" fmla="*/ 19835 w 251964"/>
                <a:gd name="connsiteY6" fmla="*/ 327728 h 327554"/>
                <a:gd name="connsiteX7" fmla="*/ 11016 w 251964"/>
                <a:gd name="connsiteY7" fmla="*/ 332768 h 32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327554">
                  <a:moveTo>
                    <a:pt x="11016" y="332768"/>
                  </a:moveTo>
                  <a:cubicBezTo>
                    <a:pt x="8497" y="332768"/>
                    <a:pt x="7237" y="331508"/>
                    <a:pt x="4717" y="330248"/>
                  </a:cubicBezTo>
                  <a:cubicBezTo>
                    <a:pt x="-322" y="326469"/>
                    <a:pt x="-1582" y="320170"/>
                    <a:pt x="2198" y="315130"/>
                  </a:cubicBezTo>
                  <a:cubicBezTo>
                    <a:pt x="76527" y="209305"/>
                    <a:pt x="154636" y="104740"/>
                    <a:pt x="235265" y="3954"/>
                  </a:cubicBezTo>
                  <a:cubicBezTo>
                    <a:pt x="239044" y="-1085"/>
                    <a:pt x="245343" y="-1085"/>
                    <a:pt x="250383" y="2694"/>
                  </a:cubicBezTo>
                  <a:cubicBezTo>
                    <a:pt x="255422" y="6474"/>
                    <a:pt x="255422" y="12773"/>
                    <a:pt x="251643" y="17812"/>
                  </a:cubicBezTo>
                  <a:cubicBezTo>
                    <a:pt x="171014" y="118598"/>
                    <a:pt x="94165" y="223163"/>
                    <a:pt x="19835" y="327728"/>
                  </a:cubicBezTo>
                  <a:cubicBezTo>
                    <a:pt x="17315" y="330248"/>
                    <a:pt x="14796" y="332768"/>
                    <a:pt x="11016" y="332768"/>
                  </a:cubicBezTo>
                  <a:close/>
                </a:path>
              </a:pathLst>
            </a:custGeom>
            <a:solidFill>
              <a:srgbClr val="56E395"/>
            </a:solidFill>
            <a:ln w="12584" cap="flat">
              <a:noFill/>
              <a:prstDash val="solid"/>
              <a:miter/>
            </a:ln>
          </p:spPr>
          <p:txBody>
            <a:bodyPr rtlCol="0" anchor="ctr"/>
            <a:lstStyle/>
            <a:p>
              <a:endParaRPr lang="zh-CN" altLang="en-US"/>
            </a:p>
          </p:txBody>
        </p:sp>
        <p:sp>
          <p:nvSpPr>
            <p:cNvPr id="90" name="任意多边形: 形状 89"/>
            <p:cNvSpPr/>
            <p:nvPr/>
          </p:nvSpPr>
          <p:spPr>
            <a:xfrm>
              <a:off x="7519178" y="4396571"/>
              <a:ext cx="154446" cy="180187"/>
            </a:xfrm>
            <a:custGeom>
              <a:avLst/>
              <a:gdLst>
                <a:gd name="connsiteX0" fmla="*/ 11016 w 226768"/>
                <a:gd name="connsiteY0" fmla="*/ 269917 h 264562"/>
                <a:gd name="connsiteX1" fmla="*/ 4717 w 226768"/>
                <a:gd name="connsiteY1" fmla="*/ 267398 h 264562"/>
                <a:gd name="connsiteX2" fmla="*/ 2198 w 226768"/>
                <a:gd name="connsiteY2" fmla="*/ 252279 h 264562"/>
                <a:gd name="connsiteX3" fmla="*/ 210068 w 226768"/>
                <a:gd name="connsiteY3" fmla="*/ 2835 h 264562"/>
                <a:gd name="connsiteX4" fmla="*/ 225186 w 226768"/>
                <a:gd name="connsiteY4" fmla="*/ 2835 h 264562"/>
                <a:gd name="connsiteX5" fmla="*/ 225186 w 226768"/>
                <a:gd name="connsiteY5" fmla="*/ 17952 h 264562"/>
                <a:gd name="connsiteX6" fmla="*/ 18575 w 226768"/>
                <a:gd name="connsiteY6" fmla="*/ 264878 h 264562"/>
                <a:gd name="connsiteX7" fmla="*/ 11016 w 226768"/>
                <a:gd name="connsiteY7" fmla="*/ 269917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768" h="264562">
                  <a:moveTo>
                    <a:pt x="11016" y="269917"/>
                  </a:moveTo>
                  <a:cubicBezTo>
                    <a:pt x="8497" y="269917"/>
                    <a:pt x="7237" y="268657"/>
                    <a:pt x="4717" y="267398"/>
                  </a:cubicBezTo>
                  <a:cubicBezTo>
                    <a:pt x="-322" y="263618"/>
                    <a:pt x="-1582" y="257319"/>
                    <a:pt x="2198" y="252279"/>
                  </a:cubicBezTo>
                  <a:cubicBezTo>
                    <a:pt x="66449" y="165352"/>
                    <a:pt x="135739" y="80943"/>
                    <a:pt x="210068" y="2835"/>
                  </a:cubicBezTo>
                  <a:cubicBezTo>
                    <a:pt x="213848" y="-945"/>
                    <a:pt x="221407" y="-945"/>
                    <a:pt x="225186" y="2835"/>
                  </a:cubicBezTo>
                  <a:cubicBezTo>
                    <a:pt x="228966" y="6614"/>
                    <a:pt x="228966" y="14173"/>
                    <a:pt x="225186" y="17952"/>
                  </a:cubicBezTo>
                  <a:cubicBezTo>
                    <a:pt x="150857" y="94802"/>
                    <a:pt x="81566" y="177950"/>
                    <a:pt x="18575" y="264878"/>
                  </a:cubicBezTo>
                  <a:cubicBezTo>
                    <a:pt x="17315" y="268657"/>
                    <a:pt x="13536" y="269917"/>
                    <a:pt x="11016" y="269917"/>
                  </a:cubicBezTo>
                  <a:close/>
                </a:path>
              </a:pathLst>
            </a:custGeom>
            <a:solidFill>
              <a:srgbClr val="56E395"/>
            </a:solidFill>
            <a:ln w="12584" cap="flat">
              <a:noFill/>
              <a:prstDash val="solid"/>
              <a:miter/>
            </a:ln>
          </p:spPr>
          <p:txBody>
            <a:bodyPr rtlCol="0" anchor="ctr"/>
            <a:lstStyle/>
            <a:p>
              <a:endParaRPr lang="zh-CN" altLang="en-US"/>
            </a:p>
          </p:txBody>
        </p:sp>
        <p:sp>
          <p:nvSpPr>
            <p:cNvPr id="91" name="任意多边形: 形状 90"/>
            <p:cNvSpPr/>
            <p:nvPr/>
          </p:nvSpPr>
          <p:spPr>
            <a:xfrm>
              <a:off x="7520894" y="4560551"/>
              <a:ext cx="102964" cy="111544"/>
            </a:xfrm>
            <a:custGeom>
              <a:avLst/>
              <a:gdLst>
                <a:gd name="connsiteX0" fmla="*/ 11016 w 151178"/>
                <a:gd name="connsiteY0" fmla="*/ 168991 h 163777"/>
                <a:gd name="connsiteX1" fmla="*/ 4717 w 151178"/>
                <a:gd name="connsiteY1" fmla="*/ 166471 h 163777"/>
                <a:gd name="connsiteX2" fmla="*/ 2198 w 151178"/>
                <a:gd name="connsiteY2" fmla="*/ 151353 h 163777"/>
                <a:gd name="connsiteX3" fmla="*/ 138258 w 151178"/>
                <a:gd name="connsiteY3" fmla="*/ 2694 h 163777"/>
                <a:gd name="connsiteX4" fmla="*/ 153376 w 151178"/>
                <a:gd name="connsiteY4" fmla="*/ 3954 h 163777"/>
                <a:gd name="connsiteX5" fmla="*/ 152117 w 151178"/>
                <a:gd name="connsiteY5" fmla="*/ 19072 h 163777"/>
                <a:gd name="connsiteX6" fmla="*/ 19835 w 151178"/>
                <a:gd name="connsiteY6" fmla="*/ 163951 h 163777"/>
                <a:gd name="connsiteX7" fmla="*/ 11016 w 151178"/>
                <a:gd name="connsiteY7" fmla="*/ 168991 h 16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163777">
                  <a:moveTo>
                    <a:pt x="11016" y="168991"/>
                  </a:moveTo>
                  <a:cubicBezTo>
                    <a:pt x="8497" y="168991"/>
                    <a:pt x="7237" y="167731"/>
                    <a:pt x="4717" y="166471"/>
                  </a:cubicBezTo>
                  <a:cubicBezTo>
                    <a:pt x="-322" y="162692"/>
                    <a:pt x="-1582" y="156392"/>
                    <a:pt x="2198" y="151353"/>
                  </a:cubicBezTo>
                  <a:cubicBezTo>
                    <a:pt x="41252" y="95921"/>
                    <a:pt x="86606" y="45528"/>
                    <a:pt x="138258" y="2694"/>
                  </a:cubicBezTo>
                  <a:cubicBezTo>
                    <a:pt x="143298" y="-1085"/>
                    <a:pt x="149597" y="-1085"/>
                    <a:pt x="153376" y="3954"/>
                  </a:cubicBezTo>
                  <a:cubicBezTo>
                    <a:pt x="157156" y="8993"/>
                    <a:pt x="157156" y="15292"/>
                    <a:pt x="152117" y="19072"/>
                  </a:cubicBezTo>
                  <a:cubicBezTo>
                    <a:pt x="101724" y="61906"/>
                    <a:pt x="57630" y="109779"/>
                    <a:pt x="19835" y="163951"/>
                  </a:cubicBezTo>
                  <a:cubicBezTo>
                    <a:pt x="17315" y="167731"/>
                    <a:pt x="13536" y="168991"/>
                    <a:pt x="11016" y="168991"/>
                  </a:cubicBezTo>
                  <a:close/>
                </a:path>
              </a:pathLst>
            </a:custGeom>
            <a:solidFill>
              <a:srgbClr val="56E395"/>
            </a:solidFill>
            <a:ln w="12584" cap="flat">
              <a:noFill/>
              <a:prstDash val="solid"/>
              <a:miter/>
            </a:ln>
          </p:spPr>
          <p:txBody>
            <a:bodyPr rtlCol="0" anchor="ctr"/>
            <a:lstStyle/>
            <a:p>
              <a:endParaRPr lang="zh-CN" altLang="en-US"/>
            </a:p>
          </p:txBody>
        </p:sp>
        <p:sp>
          <p:nvSpPr>
            <p:cNvPr id="92" name="任意多边形: 形状 91"/>
            <p:cNvSpPr/>
            <p:nvPr/>
          </p:nvSpPr>
          <p:spPr>
            <a:xfrm>
              <a:off x="7298755" y="4312152"/>
              <a:ext cx="223089" cy="102964"/>
            </a:xfrm>
            <a:custGeom>
              <a:avLst/>
              <a:gdLst>
                <a:gd name="connsiteX0" fmla="*/ 322057 w 327554"/>
                <a:gd name="connsiteY0" fmla="*/ 162059 h 151178"/>
                <a:gd name="connsiteX1" fmla="*/ 317018 w 327554"/>
                <a:gd name="connsiteY1" fmla="*/ 160799 h 151178"/>
                <a:gd name="connsiteX2" fmla="*/ 7101 w 327554"/>
                <a:gd name="connsiteY2" fmla="*/ 20959 h 151178"/>
                <a:gd name="connsiteX3" fmla="*/ 802 w 327554"/>
                <a:gd name="connsiteY3" fmla="*/ 7101 h 151178"/>
                <a:gd name="connsiteX4" fmla="*/ 14660 w 327554"/>
                <a:gd name="connsiteY4" fmla="*/ 802 h 151178"/>
                <a:gd name="connsiteX5" fmla="*/ 328356 w 327554"/>
                <a:gd name="connsiteY5" fmla="*/ 141902 h 151178"/>
                <a:gd name="connsiteX6" fmla="*/ 332136 w 327554"/>
                <a:gd name="connsiteY6" fmla="*/ 155760 h 151178"/>
                <a:gd name="connsiteX7" fmla="*/ 322057 w 327554"/>
                <a:gd name="connsiteY7" fmla="*/ 16205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554" h="151178">
                  <a:moveTo>
                    <a:pt x="322057" y="162059"/>
                  </a:moveTo>
                  <a:cubicBezTo>
                    <a:pt x="320797" y="162059"/>
                    <a:pt x="318277" y="162059"/>
                    <a:pt x="317018" y="160799"/>
                  </a:cubicBezTo>
                  <a:cubicBezTo>
                    <a:pt x="217492" y="106627"/>
                    <a:pt x="112926" y="60014"/>
                    <a:pt x="7101" y="20959"/>
                  </a:cubicBezTo>
                  <a:cubicBezTo>
                    <a:pt x="2062" y="18440"/>
                    <a:pt x="-1718" y="13400"/>
                    <a:pt x="802" y="7101"/>
                  </a:cubicBezTo>
                  <a:cubicBezTo>
                    <a:pt x="3322" y="2062"/>
                    <a:pt x="8361" y="-1718"/>
                    <a:pt x="14660" y="802"/>
                  </a:cubicBezTo>
                  <a:cubicBezTo>
                    <a:pt x="121745" y="39856"/>
                    <a:pt x="227570" y="87730"/>
                    <a:pt x="328356" y="141902"/>
                  </a:cubicBezTo>
                  <a:cubicBezTo>
                    <a:pt x="333395" y="144422"/>
                    <a:pt x="335915" y="150721"/>
                    <a:pt x="332136" y="155760"/>
                  </a:cubicBezTo>
                  <a:cubicBezTo>
                    <a:pt x="329616" y="160799"/>
                    <a:pt x="325836" y="162059"/>
                    <a:pt x="322057" y="162059"/>
                  </a:cubicBezTo>
                  <a:close/>
                </a:path>
              </a:pathLst>
            </a:custGeom>
            <a:solidFill>
              <a:srgbClr val="56E395"/>
            </a:solidFill>
            <a:ln w="12584" cap="flat">
              <a:noFill/>
              <a:prstDash val="solid"/>
              <a:miter/>
            </a:ln>
          </p:spPr>
          <p:txBody>
            <a:bodyPr rtlCol="0" anchor="ctr"/>
            <a:lstStyle/>
            <a:p>
              <a:endParaRPr lang="zh-CN" altLang="en-US"/>
            </a:p>
          </p:txBody>
        </p:sp>
        <p:sp>
          <p:nvSpPr>
            <p:cNvPr id="93" name="任意多边形: 形状 92"/>
            <p:cNvSpPr/>
            <p:nvPr/>
          </p:nvSpPr>
          <p:spPr>
            <a:xfrm>
              <a:off x="7285885" y="4374788"/>
              <a:ext cx="231669" cy="77223"/>
            </a:xfrm>
            <a:custGeom>
              <a:avLst/>
              <a:gdLst>
                <a:gd name="connsiteX0" fmla="*/ 334655 w 340152"/>
                <a:gd name="connsiteY0" fmla="*/ 125524 h 113384"/>
                <a:gd name="connsiteX1" fmla="*/ 332136 w 340152"/>
                <a:gd name="connsiteY1" fmla="*/ 125524 h 113384"/>
                <a:gd name="connsiteX2" fmla="*/ 7101 w 340152"/>
                <a:gd name="connsiteY2" fmla="*/ 20959 h 113384"/>
                <a:gd name="connsiteX3" fmla="*/ 802 w 340152"/>
                <a:gd name="connsiteY3" fmla="*/ 7101 h 113384"/>
                <a:gd name="connsiteX4" fmla="*/ 14660 w 340152"/>
                <a:gd name="connsiteY4" fmla="*/ 802 h 113384"/>
                <a:gd name="connsiteX5" fmla="*/ 339694 w 340152"/>
                <a:gd name="connsiteY5" fmla="*/ 105368 h 113384"/>
                <a:gd name="connsiteX6" fmla="*/ 345994 w 340152"/>
                <a:gd name="connsiteY6" fmla="*/ 119225 h 113384"/>
                <a:gd name="connsiteX7" fmla="*/ 334655 w 340152"/>
                <a:gd name="connsiteY7" fmla="*/ 125524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0152" h="113384">
                  <a:moveTo>
                    <a:pt x="334655" y="125524"/>
                  </a:moveTo>
                  <a:cubicBezTo>
                    <a:pt x="333395" y="125524"/>
                    <a:pt x="332136" y="125524"/>
                    <a:pt x="332136" y="125524"/>
                  </a:cubicBezTo>
                  <a:lnTo>
                    <a:pt x="7101" y="20959"/>
                  </a:lnTo>
                  <a:cubicBezTo>
                    <a:pt x="2062" y="19699"/>
                    <a:pt x="-1718" y="13400"/>
                    <a:pt x="802" y="7101"/>
                  </a:cubicBezTo>
                  <a:cubicBezTo>
                    <a:pt x="2062" y="2062"/>
                    <a:pt x="8361" y="-1718"/>
                    <a:pt x="14660" y="802"/>
                  </a:cubicBezTo>
                  <a:lnTo>
                    <a:pt x="339694" y="105368"/>
                  </a:lnTo>
                  <a:cubicBezTo>
                    <a:pt x="344734" y="106627"/>
                    <a:pt x="348513" y="112926"/>
                    <a:pt x="345994" y="119225"/>
                  </a:cubicBezTo>
                  <a:cubicBezTo>
                    <a:pt x="343474" y="123005"/>
                    <a:pt x="338435" y="125524"/>
                    <a:pt x="334655" y="125524"/>
                  </a:cubicBezTo>
                  <a:close/>
                </a:path>
              </a:pathLst>
            </a:custGeom>
            <a:solidFill>
              <a:srgbClr val="56E395"/>
            </a:solidFill>
            <a:ln w="12584" cap="flat">
              <a:noFill/>
              <a:prstDash val="solid"/>
              <a:miter/>
            </a:ln>
          </p:spPr>
          <p:txBody>
            <a:bodyPr rtlCol="0" anchor="ctr"/>
            <a:lstStyle/>
            <a:p>
              <a:endParaRPr lang="zh-CN" altLang="en-US"/>
            </a:p>
          </p:txBody>
        </p:sp>
        <p:sp>
          <p:nvSpPr>
            <p:cNvPr id="94" name="任意多边形: 形状 93"/>
            <p:cNvSpPr/>
            <p:nvPr/>
          </p:nvSpPr>
          <p:spPr>
            <a:xfrm>
              <a:off x="7447103" y="4126724"/>
              <a:ext cx="68643" cy="85803"/>
            </a:xfrm>
            <a:custGeom>
              <a:avLst/>
              <a:gdLst>
                <a:gd name="connsiteX0" fmla="*/ 11016 w 100785"/>
                <a:gd name="connsiteY0" fmla="*/ 128180 h 125982"/>
                <a:gd name="connsiteX1" fmla="*/ 4717 w 100785"/>
                <a:gd name="connsiteY1" fmla="*/ 125660 h 125982"/>
                <a:gd name="connsiteX2" fmla="*/ 2198 w 100785"/>
                <a:gd name="connsiteY2" fmla="*/ 110542 h 125982"/>
                <a:gd name="connsiteX3" fmla="*/ 81566 w 100785"/>
                <a:gd name="connsiteY3" fmla="*/ 4717 h 125982"/>
                <a:gd name="connsiteX4" fmla="*/ 96684 w 100785"/>
                <a:gd name="connsiteY4" fmla="*/ 2198 h 125982"/>
                <a:gd name="connsiteX5" fmla="*/ 99204 w 100785"/>
                <a:gd name="connsiteY5" fmla="*/ 17315 h 125982"/>
                <a:gd name="connsiteX6" fmla="*/ 19835 w 100785"/>
                <a:gd name="connsiteY6" fmla="*/ 123141 h 125982"/>
                <a:gd name="connsiteX7" fmla="*/ 11016 w 100785"/>
                <a:gd name="connsiteY7" fmla="*/ 12818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785" h="125982">
                  <a:moveTo>
                    <a:pt x="11016" y="128180"/>
                  </a:moveTo>
                  <a:cubicBezTo>
                    <a:pt x="8497" y="128180"/>
                    <a:pt x="7237" y="126920"/>
                    <a:pt x="4717" y="125660"/>
                  </a:cubicBezTo>
                  <a:cubicBezTo>
                    <a:pt x="-322" y="121881"/>
                    <a:pt x="-1582" y="115582"/>
                    <a:pt x="2198" y="110542"/>
                  </a:cubicBezTo>
                  <a:lnTo>
                    <a:pt x="81566" y="4717"/>
                  </a:lnTo>
                  <a:cubicBezTo>
                    <a:pt x="85346" y="-322"/>
                    <a:pt x="91645" y="-1582"/>
                    <a:pt x="96684" y="2198"/>
                  </a:cubicBezTo>
                  <a:cubicBezTo>
                    <a:pt x="101724" y="5977"/>
                    <a:pt x="102983" y="12276"/>
                    <a:pt x="99204" y="17315"/>
                  </a:cubicBezTo>
                  <a:lnTo>
                    <a:pt x="19835" y="123141"/>
                  </a:lnTo>
                  <a:cubicBezTo>
                    <a:pt x="17315" y="126920"/>
                    <a:pt x="13536" y="128180"/>
                    <a:pt x="11016" y="128180"/>
                  </a:cubicBezTo>
                  <a:close/>
                </a:path>
              </a:pathLst>
            </a:custGeom>
            <a:solidFill>
              <a:srgbClr val="56E395"/>
            </a:solidFill>
            <a:ln w="12584" cap="flat">
              <a:noFill/>
              <a:prstDash val="solid"/>
              <a:miter/>
            </a:ln>
          </p:spPr>
          <p:txBody>
            <a:bodyPr rtlCol="0" anchor="ctr"/>
            <a:lstStyle/>
            <a:p>
              <a:endParaRPr lang="zh-CN" altLang="en-US"/>
            </a:p>
          </p:txBody>
        </p:sp>
        <p:sp>
          <p:nvSpPr>
            <p:cNvPr id="95" name="任意多边形: 形状 94"/>
            <p:cNvSpPr/>
            <p:nvPr/>
          </p:nvSpPr>
          <p:spPr>
            <a:xfrm>
              <a:off x="7428483" y="4050140"/>
              <a:ext cx="77223" cy="120125"/>
            </a:xfrm>
            <a:custGeom>
              <a:avLst/>
              <a:gdLst>
                <a:gd name="connsiteX0" fmla="*/ 10639 w 113384"/>
                <a:gd name="connsiteY0" fmla="*/ 180155 h 176375"/>
                <a:gd name="connsiteX1" fmla="*/ 5599 w 113384"/>
                <a:gd name="connsiteY1" fmla="*/ 178895 h 176375"/>
                <a:gd name="connsiteX2" fmla="*/ 1820 w 113384"/>
                <a:gd name="connsiteY2" fmla="*/ 165037 h 176375"/>
                <a:gd name="connsiteX3" fmla="*/ 96306 w 113384"/>
                <a:gd name="connsiteY3" fmla="*/ 5039 h 176375"/>
                <a:gd name="connsiteX4" fmla="*/ 111424 w 113384"/>
                <a:gd name="connsiteY4" fmla="*/ 1260 h 176375"/>
                <a:gd name="connsiteX5" fmla="*/ 115204 w 113384"/>
                <a:gd name="connsiteY5" fmla="*/ 16378 h 176375"/>
                <a:gd name="connsiteX6" fmla="*/ 21977 w 113384"/>
                <a:gd name="connsiteY6" fmla="*/ 175115 h 176375"/>
                <a:gd name="connsiteX7" fmla="*/ 10639 w 113384"/>
                <a:gd name="connsiteY7" fmla="*/ 180155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76375">
                  <a:moveTo>
                    <a:pt x="10639" y="180155"/>
                  </a:moveTo>
                  <a:cubicBezTo>
                    <a:pt x="9379" y="180155"/>
                    <a:pt x="6859" y="180155"/>
                    <a:pt x="5599" y="178895"/>
                  </a:cubicBezTo>
                  <a:cubicBezTo>
                    <a:pt x="560" y="176375"/>
                    <a:pt x="-1960" y="170076"/>
                    <a:pt x="1820" y="165037"/>
                  </a:cubicBezTo>
                  <a:cubicBezTo>
                    <a:pt x="30796" y="110865"/>
                    <a:pt x="62291" y="56692"/>
                    <a:pt x="96306" y="5039"/>
                  </a:cubicBezTo>
                  <a:cubicBezTo>
                    <a:pt x="100086" y="0"/>
                    <a:pt x="106385" y="-1260"/>
                    <a:pt x="111424" y="1260"/>
                  </a:cubicBezTo>
                  <a:cubicBezTo>
                    <a:pt x="116464" y="5039"/>
                    <a:pt x="117723" y="11338"/>
                    <a:pt x="115204" y="16378"/>
                  </a:cubicBezTo>
                  <a:cubicBezTo>
                    <a:pt x="82448" y="68030"/>
                    <a:pt x="50953" y="120943"/>
                    <a:pt x="21977" y="175115"/>
                  </a:cubicBezTo>
                  <a:cubicBezTo>
                    <a:pt x="18197" y="178895"/>
                    <a:pt x="14418" y="180155"/>
                    <a:pt x="10639" y="180155"/>
                  </a:cubicBezTo>
                  <a:close/>
                </a:path>
              </a:pathLst>
            </a:custGeom>
            <a:solidFill>
              <a:srgbClr val="56E395"/>
            </a:solidFill>
            <a:ln w="12584" cap="flat">
              <a:noFill/>
              <a:prstDash val="solid"/>
              <a:miter/>
            </a:ln>
          </p:spPr>
          <p:txBody>
            <a:bodyPr rtlCol="0" anchor="ctr"/>
            <a:lstStyle/>
            <a:p>
              <a:endParaRPr lang="zh-CN" altLang="en-US"/>
            </a:p>
          </p:txBody>
        </p:sp>
        <p:sp>
          <p:nvSpPr>
            <p:cNvPr id="96" name="任意多边形: 形状 95"/>
            <p:cNvSpPr/>
            <p:nvPr/>
          </p:nvSpPr>
          <p:spPr>
            <a:xfrm>
              <a:off x="7283311" y="4092495"/>
              <a:ext cx="128705" cy="42902"/>
            </a:xfrm>
            <a:custGeom>
              <a:avLst/>
              <a:gdLst>
                <a:gd name="connsiteX0" fmla="*/ 184736 w 188973"/>
                <a:gd name="connsiteY0" fmla="*/ 73872 h 62991"/>
                <a:gd name="connsiteX1" fmla="*/ 182217 w 188973"/>
                <a:gd name="connsiteY1" fmla="*/ 73872 h 62991"/>
                <a:gd name="connsiteX2" fmla="*/ 7101 w 188973"/>
                <a:gd name="connsiteY2" fmla="*/ 20959 h 62991"/>
                <a:gd name="connsiteX3" fmla="*/ 802 w 188973"/>
                <a:gd name="connsiteY3" fmla="*/ 7101 h 62991"/>
                <a:gd name="connsiteX4" fmla="*/ 14660 w 188973"/>
                <a:gd name="connsiteY4" fmla="*/ 802 h 62991"/>
                <a:gd name="connsiteX5" fmla="*/ 188516 w 188973"/>
                <a:gd name="connsiteY5" fmla="*/ 53715 h 62991"/>
                <a:gd name="connsiteX6" fmla="*/ 196075 w 188973"/>
                <a:gd name="connsiteY6" fmla="*/ 66313 h 62991"/>
                <a:gd name="connsiteX7" fmla="*/ 184736 w 188973"/>
                <a:gd name="connsiteY7" fmla="*/ 73872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973" h="62991">
                  <a:moveTo>
                    <a:pt x="184736" y="73872"/>
                  </a:moveTo>
                  <a:cubicBezTo>
                    <a:pt x="183476" y="73872"/>
                    <a:pt x="183476" y="73872"/>
                    <a:pt x="182217" y="73872"/>
                  </a:cubicBezTo>
                  <a:cubicBezTo>
                    <a:pt x="123005" y="60014"/>
                    <a:pt x="63793" y="41116"/>
                    <a:pt x="7101" y="20959"/>
                  </a:cubicBezTo>
                  <a:cubicBezTo>
                    <a:pt x="2062" y="18439"/>
                    <a:pt x="-1718" y="12140"/>
                    <a:pt x="802" y="7101"/>
                  </a:cubicBezTo>
                  <a:cubicBezTo>
                    <a:pt x="3322" y="2062"/>
                    <a:pt x="9621" y="-1718"/>
                    <a:pt x="14660" y="802"/>
                  </a:cubicBezTo>
                  <a:cubicBezTo>
                    <a:pt x="71352" y="22219"/>
                    <a:pt x="129304" y="39857"/>
                    <a:pt x="188516" y="53715"/>
                  </a:cubicBezTo>
                  <a:cubicBezTo>
                    <a:pt x="194815" y="54974"/>
                    <a:pt x="197334" y="61274"/>
                    <a:pt x="196075" y="66313"/>
                  </a:cubicBezTo>
                  <a:cubicBezTo>
                    <a:pt x="193555" y="71352"/>
                    <a:pt x="189775" y="75131"/>
                    <a:pt x="184736" y="73872"/>
                  </a:cubicBezTo>
                  <a:close/>
                </a:path>
              </a:pathLst>
            </a:custGeom>
            <a:solidFill>
              <a:srgbClr val="56E395"/>
            </a:solidFill>
            <a:ln w="12584" cap="flat">
              <a:noFill/>
              <a:prstDash val="solid"/>
              <a:miter/>
            </a:ln>
          </p:spPr>
          <p:txBody>
            <a:bodyPr rtlCol="0" anchor="ctr"/>
            <a:lstStyle/>
            <a:p>
              <a:endParaRPr lang="zh-CN" altLang="en-US"/>
            </a:p>
          </p:txBody>
        </p:sp>
        <p:sp>
          <p:nvSpPr>
            <p:cNvPr id="97" name="任意多边形: 形状 96"/>
            <p:cNvSpPr/>
            <p:nvPr/>
          </p:nvSpPr>
          <p:spPr>
            <a:xfrm>
              <a:off x="7407414" y="4667066"/>
              <a:ext cx="120125" cy="68643"/>
            </a:xfrm>
            <a:custGeom>
              <a:avLst/>
              <a:gdLst>
                <a:gd name="connsiteX0" fmla="*/ 170076 w 176375"/>
                <a:gd name="connsiteY0" fmla="*/ 109605 h 100785"/>
                <a:gd name="connsiteX1" fmla="*/ 166297 w 176375"/>
                <a:gd name="connsiteY1" fmla="*/ 108345 h 100785"/>
                <a:gd name="connsiteX2" fmla="*/ 5039 w 176375"/>
                <a:gd name="connsiteY2" fmla="*/ 20157 h 100785"/>
                <a:gd name="connsiteX3" fmla="*/ 1260 w 176375"/>
                <a:gd name="connsiteY3" fmla="*/ 5039 h 100785"/>
                <a:gd name="connsiteX4" fmla="*/ 16378 w 176375"/>
                <a:gd name="connsiteY4" fmla="*/ 1260 h 100785"/>
                <a:gd name="connsiteX5" fmla="*/ 175115 w 176375"/>
                <a:gd name="connsiteY5" fmla="*/ 88188 h 100785"/>
                <a:gd name="connsiteX6" fmla="*/ 180155 w 176375"/>
                <a:gd name="connsiteY6" fmla="*/ 102046 h 100785"/>
                <a:gd name="connsiteX7" fmla="*/ 170076 w 176375"/>
                <a:gd name="connsiteY7" fmla="*/ 10960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100785">
                  <a:moveTo>
                    <a:pt x="170076" y="109605"/>
                  </a:moveTo>
                  <a:cubicBezTo>
                    <a:pt x="168816" y="109605"/>
                    <a:pt x="167556" y="109605"/>
                    <a:pt x="166297" y="108345"/>
                  </a:cubicBezTo>
                  <a:cubicBezTo>
                    <a:pt x="110864" y="83148"/>
                    <a:pt x="56692" y="52913"/>
                    <a:pt x="5039" y="20157"/>
                  </a:cubicBezTo>
                  <a:cubicBezTo>
                    <a:pt x="0" y="16378"/>
                    <a:pt x="-1260" y="10079"/>
                    <a:pt x="1260" y="5039"/>
                  </a:cubicBezTo>
                  <a:cubicBezTo>
                    <a:pt x="5039" y="0"/>
                    <a:pt x="11338" y="-1260"/>
                    <a:pt x="16378" y="1260"/>
                  </a:cubicBezTo>
                  <a:cubicBezTo>
                    <a:pt x="66771" y="34015"/>
                    <a:pt x="120943" y="62991"/>
                    <a:pt x="175115" y="88188"/>
                  </a:cubicBezTo>
                  <a:cubicBezTo>
                    <a:pt x="180155" y="90707"/>
                    <a:pt x="182674" y="97007"/>
                    <a:pt x="180155" y="102046"/>
                  </a:cubicBezTo>
                  <a:cubicBezTo>
                    <a:pt x="177635" y="107085"/>
                    <a:pt x="173856" y="109605"/>
                    <a:pt x="170076" y="109605"/>
                  </a:cubicBezTo>
                  <a:close/>
                </a:path>
              </a:pathLst>
            </a:custGeom>
            <a:solidFill>
              <a:srgbClr val="56E395"/>
            </a:solidFill>
            <a:ln w="12584" cap="flat">
              <a:noFill/>
              <a:prstDash val="solid"/>
              <a:miter/>
            </a:ln>
          </p:spPr>
          <p:txBody>
            <a:bodyPr rtlCol="0" anchor="ctr"/>
            <a:lstStyle/>
            <a:p>
              <a:endParaRPr lang="zh-CN" altLang="en-US"/>
            </a:p>
          </p:txBody>
        </p:sp>
        <p:sp>
          <p:nvSpPr>
            <p:cNvPr id="98" name="任意多边形: 形状 97"/>
            <p:cNvSpPr/>
            <p:nvPr/>
          </p:nvSpPr>
          <p:spPr>
            <a:xfrm>
              <a:off x="7347991" y="3846089"/>
              <a:ext cx="111545" cy="171607"/>
            </a:xfrm>
            <a:custGeom>
              <a:avLst/>
              <a:gdLst>
                <a:gd name="connsiteX0" fmla="*/ 10400 w 163777"/>
                <a:gd name="connsiteY0" fmla="*/ 263066 h 251964"/>
                <a:gd name="connsiteX1" fmla="*/ 6620 w 163777"/>
                <a:gd name="connsiteY1" fmla="*/ 261806 h 251964"/>
                <a:gd name="connsiteX2" fmla="*/ 321 w 163777"/>
                <a:gd name="connsiteY2" fmla="*/ 247947 h 251964"/>
                <a:gd name="connsiteX3" fmla="*/ 154019 w 163777"/>
                <a:gd name="connsiteY3" fmla="*/ 3542 h 251964"/>
                <a:gd name="connsiteX4" fmla="*/ 169137 w 163777"/>
                <a:gd name="connsiteY4" fmla="*/ 2282 h 251964"/>
                <a:gd name="connsiteX5" fmla="*/ 170397 w 163777"/>
                <a:gd name="connsiteY5" fmla="*/ 17400 h 251964"/>
                <a:gd name="connsiteX6" fmla="*/ 20478 w 163777"/>
                <a:gd name="connsiteY6" fmla="*/ 255507 h 251964"/>
                <a:gd name="connsiteX7" fmla="*/ 10400 w 163777"/>
                <a:gd name="connsiteY7" fmla="*/ 263066 h 25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251964">
                  <a:moveTo>
                    <a:pt x="10400" y="263066"/>
                  </a:moveTo>
                  <a:cubicBezTo>
                    <a:pt x="9140" y="263066"/>
                    <a:pt x="7880" y="263066"/>
                    <a:pt x="6620" y="261806"/>
                  </a:cubicBezTo>
                  <a:cubicBezTo>
                    <a:pt x="1581" y="259286"/>
                    <a:pt x="-939" y="252987"/>
                    <a:pt x="321" y="247947"/>
                  </a:cubicBezTo>
                  <a:cubicBezTo>
                    <a:pt x="36856" y="157240"/>
                    <a:pt x="88509" y="75352"/>
                    <a:pt x="154019" y="3542"/>
                  </a:cubicBezTo>
                  <a:cubicBezTo>
                    <a:pt x="157799" y="-238"/>
                    <a:pt x="164098" y="-1497"/>
                    <a:pt x="169137" y="2282"/>
                  </a:cubicBezTo>
                  <a:cubicBezTo>
                    <a:pt x="172917" y="6061"/>
                    <a:pt x="174177" y="12361"/>
                    <a:pt x="170397" y="17400"/>
                  </a:cubicBezTo>
                  <a:cubicBezTo>
                    <a:pt x="106146" y="87950"/>
                    <a:pt x="55753" y="167319"/>
                    <a:pt x="20478" y="255507"/>
                  </a:cubicBezTo>
                  <a:cubicBezTo>
                    <a:pt x="19218" y="260546"/>
                    <a:pt x="15439" y="263066"/>
                    <a:pt x="10400" y="263066"/>
                  </a:cubicBezTo>
                  <a:close/>
                </a:path>
              </a:pathLst>
            </a:custGeom>
            <a:solidFill>
              <a:srgbClr val="56E395"/>
            </a:solidFill>
            <a:ln w="12584" cap="flat">
              <a:noFill/>
              <a:prstDash val="solid"/>
              <a:miter/>
            </a:ln>
          </p:spPr>
          <p:txBody>
            <a:bodyPr rtlCol="0" anchor="ctr"/>
            <a:lstStyle/>
            <a:p>
              <a:endParaRPr lang="zh-CN" altLang="en-US"/>
            </a:p>
          </p:txBody>
        </p:sp>
        <p:sp>
          <p:nvSpPr>
            <p:cNvPr id="99" name="任意多边形: 形状 98"/>
            <p:cNvSpPr/>
            <p:nvPr/>
          </p:nvSpPr>
          <p:spPr>
            <a:xfrm>
              <a:off x="7318818" y="3862012"/>
              <a:ext cx="51482" cy="102964"/>
            </a:xfrm>
            <a:custGeom>
              <a:avLst/>
              <a:gdLst>
                <a:gd name="connsiteX0" fmla="*/ 10400 w 75589"/>
                <a:gd name="connsiteY0" fmla="*/ 157799 h 151178"/>
                <a:gd name="connsiteX1" fmla="*/ 6620 w 75589"/>
                <a:gd name="connsiteY1" fmla="*/ 156539 h 151178"/>
                <a:gd name="connsiteX2" fmla="*/ 321 w 75589"/>
                <a:gd name="connsiteY2" fmla="*/ 142681 h 151178"/>
                <a:gd name="connsiteX3" fmla="*/ 57013 w 75589"/>
                <a:gd name="connsiteY3" fmla="*/ 6620 h 151178"/>
                <a:gd name="connsiteX4" fmla="*/ 70871 w 75589"/>
                <a:gd name="connsiteY4" fmla="*/ 321 h 151178"/>
                <a:gd name="connsiteX5" fmla="*/ 77170 w 75589"/>
                <a:gd name="connsiteY5" fmla="*/ 14179 h 151178"/>
                <a:gd name="connsiteX6" fmla="*/ 20478 w 75589"/>
                <a:gd name="connsiteY6" fmla="*/ 151500 h 151178"/>
                <a:gd name="connsiteX7" fmla="*/ 10400 w 75589"/>
                <a:gd name="connsiteY7" fmla="*/ 15779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51178">
                  <a:moveTo>
                    <a:pt x="10400" y="157799"/>
                  </a:moveTo>
                  <a:cubicBezTo>
                    <a:pt x="9140" y="157799"/>
                    <a:pt x="7880" y="157799"/>
                    <a:pt x="6620" y="156539"/>
                  </a:cubicBezTo>
                  <a:cubicBezTo>
                    <a:pt x="1581" y="154019"/>
                    <a:pt x="-939" y="147720"/>
                    <a:pt x="321" y="142681"/>
                  </a:cubicBezTo>
                  <a:lnTo>
                    <a:pt x="57013" y="6620"/>
                  </a:lnTo>
                  <a:cubicBezTo>
                    <a:pt x="59533" y="1581"/>
                    <a:pt x="65832" y="-939"/>
                    <a:pt x="70871" y="321"/>
                  </a:cubicBezTo>
                  <a:cubicBezTo>
                    <a:pt x="75910" y="2841"/>
                    <a:pt x="78430" y="9140"/>
                    <a:pt x="77170" y="14179"/>
                  </a:cubicBezTo>
                  <a:lnTo>
                    <a:pt x="20478" y="151500"/>
                  </a:lnTo>
                  <a:cubicBezTo>
                    <a:pt x="19218" y="156539"/>
                    <a:pt x="15439" y="157799"/>
                    <a:pt x="10400" y="157799"/>
                  </a:cubicBezTo>
                  <a:close/>
                </a:path>
              </a:pathLst>
            </a:custGeom>
            <a:solidFill>
              <a:srgbClr val="56E395"/>
            </a:solidFill>
            <a:ln w="12584" cap="flat">
              <a:noFill/>
              <a:prstDash val="solid"/>
              <a:miter/>
            </a:ln>
          </p:spPr>
          <p:txBody>
            <a:bodyPr rtlCol="0" anchor="ctr"/>
            <a:lstStyle/>
            <a:p>
              <a:endParaRPr lang="zh-CN" altLang="en-US"/>
            </a:p>
          </p:txBody>
        </p:sp>
        <p:sp>
          <p:nvSpPr>
            <p:cNvPr id="100" name="任意多边形: 形状 99"/>
            <p:cNvSpPr/>
            <p:nvPr/>
          </p:nvSpPr>
          <p:spPr>
            <a:xfrm>
              <a:off x="7192636" y="3782164"/>
              <a:ext cx="111545" cy="94384"/>
            </a:xfrm>
            <a:custGeom>
              <a:avLst/>
              <a:gdLst>
                <a:gd name="connsiteX0" fmla="*/ 161653 w 163777"/>
                <a:gd name="connsiteY0" fmla="*/ 147795 h 138580"/>
                <a:gd name="connsiteX1" fmla="*/ 154094 w 163777"/>
                <a:gd name="connsiteY1" fmla="*/ 145275 h 138580"/>
                <a:gd name="connsiteX2" fmla="*/ 4175 w 163777"/>
                <a:gd name="connsiteY2" fmla="*/ 19293 h 138580"/>
                <a:gd name="connsiteX3" fmla="*/ 1655 w 163777"/>
                <a:gd name="connsiteY3" fmla="*/ 4175 h 138580"/>
                <a:gd name="connsiteX4" fmla="*/ 16773 w 163777"/>
                <a:gd name="connsiteY4" fmla="*/ 1655 h 138580"/>
                <a:gd name="connsiteX5" fmla="*/ 167952 w 163777"/>
                <a:gd name="connsiteY5" fmla="*/ 128897 h 138580"/>
                <a:gd name="connsiteX6" fmla="*/ 167952 w 163777"/>
                <a:gd name="connsiteY6" fmla="*/ 144015 h 138580"/>
                <a:gd name="connsiteX7" fmla="*/ 161653 w 163777"/>
                <a:gd name="connsiteY7" fmla="*/ 147795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138580">
                  <a:moveTo>
                    <a:pt x="161653" y="147795"/>
                  </a:moveTo>
                  <a:cubicBezTo>
                    <a:pt x="159133" y="147795"/>
                    <a:pt x="156613" y="146535"/>
                    <a:pt x="154094" y="145275"/>
                  </a:cubicBezTo>
                  <a:cubicBezTo>
                    <a:pt x="106220" y="101181"/>
                    <a:pt x="55827" y="58347"/>
                    <a:pt x="4175" y="19293"/>
                  </a:cubicBezTo>
                  <a:cubicBezTo>
                    <a:pt x="-865" y="15513"/>
                    <a:pt x="-865" y="9214"/>
                    <a:pt x="1655" y="4175"/>
                  </a:cubicBezTo>
                  <a:cubicBezTo>
                    <a:pt x="5435" y="-865"/>
                    <a:pt x="11734" y="-865"/>
                    <a:pt x="16773" y="1655"/>
                  </a:cubicBezTo>
                  <a:cubicBezTo>
                    <a:pt x="68426" y="41970"/>
                    <a:pt x="120078" y="84803"/>
                    <a:pt x="167952" y="128897"/>
                  </a:cubicBezTo>
                  <a:cubicBezTo>
                    <a:pt x="171731" y="132677"/>
                    <a:pt x="172991" y="140236"/>
                    <a:pt x="167952" y="144015"/>
                  </a:cubicBezTo>
                  <a:cubicBezTo>
                    <a:pt x="166692" y="146535"/>
                    <a:pt x="164172" y="147795"/>
                    <a:pt x="161653" y="147795"/>
                  </a:cubicBezTo>
                  <a:close/>
                </a:path>
              </a:pathLst>
            </a:custGeom>
            <a:solidFill>
              <a:srgbClr val="56E395"/>
            </a:solidFill>
            <a:ln w="12584" cap="flat">
              <a:noFill/>
              <a:prstDash val="solid"/>
              <a:miter/>
            </a:ln>
          </p:spPr>
          <p:txBody>
            <a:bodyPr rtlCol="0" anchor="ctr"/>
            <a:lstStyle/>
            <a:p>
              <a:endParaRPr lang="zh-CN" altLang="en-US"/>
            </a:p>
          </p:txBody>
        </p:sp>
        <p:sp>
          <p:nvSpPr>
            <p:cNvPr id="101" name="任意多边形: 形状 100"/>
            <p:cNvSpPr/>
            <p:nvPr/>
          </p:nvSpPr>
          <p:spPr>
            <a:xfrm>
              <a:off x="7213718" y="3745757"/>
              <a:ext cx="94384" cy="68643"/>
            </a:xfrm>
            <a:custGeom>
              <a:avLst/>
              <a:gdLst>
                <a:gd name="connsiteX0" fmla="*/ 128180 w 138580"/>
                <a:gd name="connsiteY0" fmla="*/ 113062 h 100785"/>
                <a:gd name="connsiteX1" fmla="*/ 120621 w 138580"/>
                <a:gd name="connsiteY1" fmla="*/ 110542 h 100785"/>
                <a:gd name="connsiteX2" fmla="*/ 4717 w 138580"/>
                <a:gd name="connsiteY2" fmla="*/ 19835 h 100785"/>
                <a:gd name="connsiteX3" fmla="*/ 2198 w 138580"/>
                <a:gd name="connsiteY3" fmla="*/ 4717 h 100785"/>
                <a:gd name="connsiteX4" fmla="*/ 17315 w 138580"/>
                <a:gd name="connsiteY4" fmla="*/ 2198 h 100785"/>
                <a:gd name="connsiteX5" fmla="*/ 135739 w 138580"/>
                <a:gd name="connsiteY5" fmla="*/ 94165 h 100785"/>
                <a:gd name="connsiteX6" fmla="*/ 136999 w 138580"/>
                <a:gd name="connsiteY6" fmla="*/ 109283 h 100785"/>
                <a:gd name="connsiteX7" fmla="*/ 128180 w 138580"/>
                <a:gd name="connsiteY7" fmla="*/ 113062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00785">
                  <a:moveTo>
                    <a:pt x="128180" y="113062"/>
                  </a:moveTo>
                  <a:cubicBezTo>
                    <a:pt x="125660" y="113062"/>
                    <a:pt x="123141" y="111802"/>
                    <a:pt x="120621" y="110542"/>
                  </a:cubicBezTo>
                  <a:cubicBezTo>
                    <a:pt x="84086" y="77787"/>
                    <a:pt x="45032" y="47551"/>
                    <a:pt x="4717" y="19835"/>
                  </a:cubicBezTo>
                  <a:cubicBezTo>
                    <a:pt x="-322" y="16056"/>
                    <a:pt x="-1582" y="9757"/>
                    <a:pt x="2198" y="4717"/>
                  </a:cubicBezTo>
                  <a:cubicBezTo>
                    <a:pt x="5977" y="-322"/>
                    <a:pt x="12276" y="-1582"/>
                    <a:pt x="17315" y="2198"/>
                  </a:cubicBezTo>
                  <a:cubicBezTo>
                    <a:pt x="58890" y="29914"/>
                    <a:pt x="99204" y="61409"/>
                    <a:pt x="135739" y="94165"/>
                  </a:cubicBezTo>
                  <a:cubicBezTo>
                    <a:pt x="139518" y="97944"/>
                    <a:pt x="140778" y="105503"/>
                    <a:pt x="136999" y="109283"/>
                  </a:cubicBezTo>
                  <a:cubicBezTo>
                    <a:pt x="133219" y="111802"/>
                    <a:pt x="130700" y="113062"/>
                    <a:pt x="128180" y="113062"/>
                  </a:cubicBezTo>
                  <a:close/>
                </a:path>
              </a:pathLst>
            </a:custGeom>
            <a:solidFill>
              <a:srgbClr val="56E395"/>
            </a:solidFill>
            <a:ln w="12584" cap="flat">
              <a:noFill/>
              <a:prstDash val="solid"/>
              <a:miter/>
            </a:ln>
          </p:spPr>
          <p:txBody>
            <a:bodyPr rtlCol="0" anchor="ctr"/>
            <a:lstStyle/>
            <a:p>
              <a:endParaRPr lang="zh-CN" altLang="en-US"/>
            </a:p>
          </p:txBody>
        </p:sp>
        <p:sp>
          <p:nvSpPr>
            <p:cNvPr id="102" name="任意多边形: 形状 101"/>
            <p:cNvSpPr/>
            <p:nvPr/>
          </p:nvSpPr>
          <p:spPr>
            <a:xfrm>
              <a:off x="10323875" y="4791481"/>
              <a:ext cx="429018" cy="128705"/>
            </a:xfrm>
            <a:custGeom>
              <a:avLst/>
              <a:gdLst>
                <a:gd name="connsiteX0" fmla="*/ 621093 w 629911"/>
                <a:gd name="connsiteY0" fmla="*/ 0 h 188973"/>
                <a:gd name="connsiteX1" fmla="*/ 8819 w 629911"/>
                <a:gd name="connsiteY1" fmla="*/ 0 h 188973"/>
                <a:gd name="connsiteX2" fmla="*/ 0 w 629911"/>
                <a:gd name="connsiteY2" fmla="*/ 8819 h 188973"/>
                <a:gd name="connsiteX3" fmla="*/ 0 w 629911"/>
                <a:gd name="connsiteY3" fmla="*/ 105825 h 188973"/>
                <a:gd name="connsiteX4" fmla="*/ 85668 w 629911"/>
                <a:gd name="connsiteY4" fmla="*/ 191493 h 188973"/>
                <a:gd name="connsiteX5" fmla="*/ 544243 w 629911"/>
                <a:gd name="connsiteY5" fmla="*/ 191493 h 188973"/>
                <a:gd name="connsiteX6" fmla="*/ 629912 w 629911"/>
                <a:gd name="connsiteY6" fmla="*/ 105825 h 188973"/>
                <a:gd name="connsiteX7" fmla="*/ 629912 w 629911"/>
                <a:gd name="connsiteY7" fmla="*/ 8819 h 188973"/>
                <a:gd name="connsiteX8" fmla="*/ 621093 w 629911"/>
                <a:gd name="connsiteY8" fmla="*/ 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9911" h="188973">
                  <a:moveTo>
                    <a:pt x="621093" y="0"/>
                  </a:moveTo>
                  <a:lnTo>
                    <a:pt x="8819" y="0"/>
                  </a:lnTo>
                  <a:cubicBezTo>
                    <a:pt x="3779" y="0"/>
                    <a:pt x="0" y="3780"/>
                    <a:pt x="0" y="8819"/>
                  </a:cubicBezTo>
                  <a:lnTo>
                    <a:pt x="0" y="105825"/>
                  </a:lnTo>
                  <a:cubicBezTo>
                    <a:pt x="0" y="153699"/>
                    <a:pt x="39055" y="191493"/>
                    <a:pt x="85668" y="191493"/>
                  </a:cubicBezTo>
                  <a:lnTo>
                    <a:pt x="544243" y="191493"/>
                  </a:lnTo>
                  <a:cubicBezTo>
                    <a:pt x="592117" y="191493"/>
                    <a:pt x="629912" y="152439"/>
                    <a:pt x="629912" y="105825"/>
                  </a:cubicBezTo>
                  <a:lnTo>
                    <a:pt x="629912" y="8819"/>
                  </a:lnTo>
                  <a:cubicBezTo>
                    <a:pt x="631172" y="3780"/>
                    <a:pt x="626132" y="0"/>
                    <a:pt x="621093" y="0"/>
                  </a:cubicBezTo>
                  <a:close/>
                </a:path>
              </a:pathLst>
            </a:custGeom>
            <a:solidFill>
              <a:srgbClr val="001675"/>
            </a:solidFill>
            <a:ln w="12584" cap="flat">
              <a:noFill/>
              <a:prstDash val="solid"/>
              <a:miter/>
            </a:ln>
          </p:spPr>
          <p:txBody>
            <a:bodyPr rtlCol="0" anchor="ctr"/>
            <a:lstStyle/>
            <a:p>
              <a:endParaRPr lang="zh-CN" altLang="en-US"/>
            </a:p>
          </p:txBody>
        </p:sp>
        <p:sp>
          <p:nvSpPr>
            <p:cNvPr id="103" name="任意多边形: 形状 102"/>
            <p:cNvSpPr/>
            <p:nvPr/>
          </p:nvSpPr>
          <p:spPr>
            <a:xfrm>
              <a:off x="7376525" y="4791481"/>
              <a:ext cx="420437" cy="128705"/>
            </a:xfrm>
            <a:custGeom>
              <a:avLst/>
              <a:gdLst>
                <a:gd name="connsiteX0" fmla="*/ 621093 w 617313"/>
                <a:gd name="connsiteY0" fmla="*/ 0 h 188973"/>
                <a:gd name="connsiteX1" fmla="*/ 8819 w 617313"/>
                <a:gd name="connsiteY1" fmla="*/ 0 h 188973"/>
                <a:gd name="connsiteX2" fmla="*/ 0 w 617313"/>
                <a:gd name="connsiteY2" fmla="*/ 8819 h 188973"/>
                <a:gd name="connsiteX3" fmla="*/ 0 w 617313"/>
                <a:gd name="connsiteY3" fmla="*/ 105825 h 188973"/>
                <a:gd name="connsiteX4" fmla="*/ 85668 w 617313"/>
                <a:gd name="connsiteY4" fmla="*/ 191493 h 188973"/>
                <a:gd name="connsiteX5" fmla="*/ 544244 w 617313"/>
                <a:gd name="connsiteY5" fmla="*/ 191493 h 188973"/>
                <a:gd name="connsiteX6" fmla="*/ 629912 w 617313"/>
                <a:gd name="connsiteY6" fmla="*/ 105825 h 188973"/>
                <a:gd name="connsiteX7" fmla="*/ 629912 w 617313"/>
                <a:gd name="connsiteY7" fmla="*/ 8819 h 188973"/>
                <a:gd name="connsiteX8" fmla="*/ 621093 w 617313"/>
                <a:gd name="connsiteY8" fmla="*/ 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7313" h="188973">
                  <a:moveTo>
                    <a:pt x="621093" y="0"/>
                  </a:moveTo>
                  <a:lnTo>
                    <a:pt x="8819" y="0"/>
                  </a:lnTo>
                  <a:cubicBezTo>
                    <a:pt x="3779" y="0"/>
                    <a:pt x="0" y="3780"/>
                    <a:pt x="0" y="8819"/>
                  </a:cubicBezTo>
                  <a:lnTo>
                    <a:pt x="0" y="105825"/>
                  </a:lnTo>
                  <a:cubicBezTo>
                    <a:pt x="0" y="153699"/>
                    <a:pt x="39055" y="191493"/>
                    <a:pt x="85668" y="191493"/>
                  </a:cubicBezTo>
                  <a:lnTo>
                    <a:pt x="544244" y="191493"/>
                  </a:lnTo>
                  <a:cubicBezTo>
                    <a:pt x="592117" y="191493"/>
                    <a:pt x="629912" y="152439"/>
                    <a:pt x="629912" y="105825"/>
                  </a:cubicBezTo>
                  <a:lnTo>
                    <a:pt x="629912" y="8819"/>
                  </a:lnTo>
                  <a:cubicBezTo>
                    <a:pt x="629912" y="3780"/>
                    <a:pt x="626132" y="0"/>
                    <a:pt x="621093" y="0"/>
                  </a:cubicBezTo>
                  <a:close/>
                </a:path>
              </a:pathLst>
            </a:custGeom>
            <a:solidFill>
              <a:srgbClr val="001675"/>
            </a:solidFill>
            <a:ln w="12584" cap="flat">
              <a:noFill/>
              <a:prstDash val="solid"/>
              <a:miter/>
            </a:ln>
          </p:spPr>
          <p:txBody>
            <a:bodyPr rtlCol="0" anchor="ctr"/>
            <a:lstStyle/>
            <a:p>
              <a:endParaRPr lang="zh-CN" altLang="en-US"/>
            </a:p>
          </p:txBody>
        </p:sp>
        <p:sp>
          <p:nvSpPr>
            <p:cNvPr id="104" name="任意多边形: 形状 103"/>
            <p:cNvSpPr/>
            <p:nvPr/>
          </p:nvSpPr>
          <p:spPr>
            <a:xfrm>
              <a:off x="8779412" y="4101621"/>
              <a:ext cx="154446" cy="154446"/>
            </a:xfrm>
            <a:custGeom>
              <a:avLst/>
              <a:gdLst>
                <a:gd name="connsiteX0" fmla="*/ 0 w 226768"/>
                <a:gd name="connsiteY0" fmla="*/ 94487 h 226768"/>
                <a:gd name="connsiteX1" fmla="*/ 0 w 226768"/>
                <a:gd name="connsiteY1" fmla="*/ 137321 h 226768"/>
                <a:gd name="connsiteX2" fmla="*/ 21417 w 226768"/>
                <a:gd name="connsiteY2" fmla="*/ 177635 h 226768"/>
                <a:gd name="connsiteX3" fmla="*/ 49133 w 226768"/>
                <a:gd name="connsiteY3" fmla="*/ 186454 h 226768"/>
                <a:gd name="connsiteX4" fmla="*/ 61731 w 226768"/>
                <a:gd name="connsiteY4" fmla="*/ 186454 h 226768"/>
                <a:gd name="connsiteX5" fmla="*/ 61731 w 226768"/>
                <a:gd name="connsiteY5" fmla="*/ 229288 h 226768"/>
                <a:gd name="connsiteX6" fmla="*/ 238107 w 226768"/>
                <a:gd name="connsiteY6" fmla="*/ 229288 h 226768"/>
                <a:gd name="connsiteX7" fmla="*/ 238107 w 226768"/>
                <a:gd name="connsiteY7" fmla="*/ 45354 h 226768"/>
                <a:gd name="connsiteX8" fmla="*/ 192753 w 226768"/>
                <a:gd name="connsiteY8" fmla="*/ 0 h 226768"/>
                <a:gd name="connsiteX9" fmla="*/ 108345 w 226768"/>
                <a:gd name="connsiteY9" fmla="*/ 0 h 226768"/>
                <a:gd name="connsiteX10" fmla="*/ 62991 w 226768"/>
                <a:gd name="connsiteY10" fmla="*/ 45354 h 226768"/>
                <a:gd name="connsiteX11" fmla="*/ 62991 w 226768"/>
                <a:gd name="connsiteY11" fmla="*/ 46613 h 226768"/>
                <a:gd name="connsiteX12" fmla="*/ 50393 w 226768"/>
                <a:gd name="connsiteY12" fmla="*/ 46613 h 226768"/>
                <a:gd name="connsiteX13" fmla="*/ 18897 w 226768"/>
                <a:gd name="connsiteY13" fmla="*/ 57952 h 226768"/>
                <a:gd name="connsiteX14" fmla="*/ 0 w 226768"/>
                <a:gd name="connsiteY14" fmla="*/ 94487 h 226768"/>
                <a:gd name="connsiteX15" fmla="*/ 30236 w 226768"/>
                <a:gd name="connsiteY15" fmla="*/ 153698 h 226768"/>
                <a:gd name="connsiteX16" fmla="*/ 23937 w 226768"/>
                <a:gd name="connsiteY16" fmla="*/ 138581 h 226768"/>
                <a:gd name="connsiteX17" fmla="*/ 23937 w 226768"/>
                <a:gd name="connsiteY17" fmla="*/ 94487 h 226768"/>
                <a:gd name="connsiteX18" fmla="*/ 32755 w 226768"/>
                <a:gd name="connsiteY18" fmla="*/ 76849 h 226768"/>
                <a:gd name="connsiteX19" fmla="*/ 46613 w 226768"/>
                <a:gd name="connsiteY19" fmla="*/ 71810 h 226768"/>
                <a:gd name="connsiteX20" fmla="*/ 61731 w 226768"/>
                <a:gd name="connsiteY20" fmla="*/ 71810 h 226768"/>
                <a:gd name="connsiteX21" fmla="*/ 62991 w 226768"/>
                <a:gd name="connsiteY21" fmla="*/ 71810 h 226768"/>
                <a:gd name="connsiteX22" fmla="*/ 62991 w 226768"/>
                <a:gd name="connsiteY22" fmla="*/ 159998 h 226768"/>
                <a:gd name="connsiteX23" fmla="*/ 61731 w 226768"/>
                <a:gd name="connsiteY23" fmla="*/ 159998 h 226768"/>
                <a:gd name="connsiteX24" fmla="*/ 46613 w 226768"/>
                <a:gd name="connsiteY24" fmla="*/ 159998 h 226768"/>
                <a:gd name="connsiteX25" fmla="*/ 30236 w 226768"/>
                <a:gd name="connsiteY25" fmla="*/ 153698 h 22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6768" h="226768">
                  <a:moveTo>
                    <a:pt x="0" y="94487"/>
                  </a:moveTo>
                  <a:lnTo>
                    <a:pt x="0" y="137321"/>
                  </a:lnTo>
                  <a:cubicBezTo>
                    <a:pt x="0" y="153698"/>
                    <a:pt x="8819" y="168816"/>
                    <a:pt x="21417" y="177635"/>
                  </a:cubicBezTo>
                  <a:cubicBezTo>
                    <a:pt x="28976" y="182674"/>
                    <a:pt x="39054" y="186454"/>
                    <a:pt x="49133" y="186454"/>
                  </a:cubicBezTo>
                  <a:lnTo>
                    <a:pt x="61731" y="186454"/>
                  </a:lnTo>
                  <a:lnTo>
                    <a:pt x="61731" y="229288"/>
                  </a:lnTo>
                  <a:lnTo>
                    <a:pt x="238107" y="229288"/>
                  </a:lnTo>
                  <a:lnTo>
                    <a:pt x="238107" y="45354"/>
                  </a:lnTo>
                  <a:cubicBezTo>
                    <a:pt x="238107" y="20157"/>
                    <a:pt x="217949" y="0"/>
                    <a:pt x="192753" y="0"/>
                  </a:cubicBezTo>
                  <a:lnTo>
                    <a:pt x="108345" y="0"/>
                  </a:lnTo>
                  <a:cubicBezTo>
                    <a:pt x="83148" y="0"/>
                    <a:pt x="62991" y="20157"/>
                    <a:pt x="62991" y="45354"/>
                  </a:cubicBezTo>
                  <a:lnTo>
                    <a:pt x="62991" y="46613"/>
                  </a:lnTo>
                  <a:lnTo>
                    <a:pt x="50393" y="46613"/>
                  </a:lnTo>
                  <a:cubicBezTo>
                    <a:pt x="39054" y="46613"/>
                    <a:pt x="27716" y="50393"/>
                    <a:pt x="18897" y="57952"/>
                  </a:cubicBezTo>
                  <a:cubicBezTo>
                    <a:pt x="6299" y="65511"/>
                    <a:pt x="0" y="79369"/>
                    <a:pt x="0" y="94487"/>
                  </a:cubicBezTo>
                  <a:close/>
                  <a:moveTo>
                    <a:pt x="30236" y="153698"/>
                  </a:moveTo>
                  <a:cubicBezTo>
                    <a:pt x="26456" y="149919"/>
                    <a:pt x="23937" y="143620"/>
                    <a:pt x="23937" y="138581"/>
                  </a:cubicBezTo>
                  <a:lnTo>
                    <a:pt x="23937" y="94487"/>
                  </a:lnTo>
                  <a:cubicBezTo>
                    <a:pt x="23937" y="86928"/>
                    <a:pt x="27716" y="80629"/>
                    <a:pt x="32755" y="76849"/>
                  </a:cubicBezTo>
                  <a:cubicBezTo>
                    <a:pt x="36535" y="74330"/>
                    <a:pt x="41574" y="71810"/>
                    <a:pt x="46613" y="71810"/>
                  </a:cubicBezTo>
                  <a:lnTo>
                    <a:pt x="61731" y="71810"/>
                  </a:lnTo>
                  <a:cubicBezTo>
                    <a:pt x="61731" y="71810"/>
                    <a:pt x="61731" y="71810"/>
                    <a:pt x="62991" y="71810"/>
                  </a:cubicBezTo>
                  <a:lnTo>
                    <a:pt x="62991" y="159998"/>
                  </a:lnTo>
                  <a:cubicBezTo>
                    <a:pt x="62991" y="159998"/>
                    <a:pt x="62991" y="159998"/>
                    <a:pt x="61731" y="159998"/>
                  </a:cubicBezTo>
                  <a:lnTo>
                    <a:pt x="46613" y="159998"/>
                  </a:lnTo>
                  <a:cubicBezTo>
                    <a:pt x="39054" y="159998"/>
                    <a:pt x="34015" y="157478"/>
                    <a:pt x="30236" y="153698"/>
                  </a:cubicBezTo>
                  <a:close/>
                </a:path>
              </a:pathLst>
            </a:custGeom>
            <a:solidFill>
              <a:srgbClr val="F3B04B"/>
            </a:solidFill>
            <a:ln w="12584" cap="flat">
              <a:noFill/>
              <a:prstDash val="solid"/>
              <a:miter/>
            </a:ln>
          </p:spPr>
          <p:txBody>
            <a:bodyPr rtlCol="0" anchor="ctr"/>
            <a:lstStyle/>
            <a:p>
              <a:endParaRPr lang="zh-CN" altLang="en-US"/>
            </a:p>
          </p:txBody>
        </p:sp>
        <p:sp>
          <p:nvSpPr>
            <p:cNvPr id="105" name="任意多边形: 形状 104"/>
            <p:cNvSpPr/>
            <p:nvPr/>
          </p:nvSpPr>
          <p:spPr>
            <a:xfrm>
              <a:off x="8839474" y="4109344"/>
              <a:ext cx="85803" cy="8580"/>
            </a:xfrm>
            <a:custGeom>
              <a:avLst/>
              <a:gdLst>
                <a:gd name="connsiteX0" fmla="*/ 0 w 125982"/>
                <a:gd name="connsiteY0" fmla="*/ 11339 h 12598"/>
                <a:gd name="connsiteX1" fmla="*/ 11338 w 125982"/>
                <a:gd name="connsiteY1" fmla="*/ 22677 h 12598"/>
                <a:gd name="connsiteX2" fmla="*/ 118423 w 125982"/>
                <a:gd name="connsiteY2" fmla="*/ 22677 h 12598"/>
                <a:gd name="connsiteX3" fmla="*/ 129762 w 125982"/>
                <a:gd name="connsiteY3" fmla="*/ 11339 h 12598"/>
                <a:gd name="connsiteX4" fmla="*/ 129762 w 125982"/>
                <a:gd name="connsiteY4" fmla="*/ 11339 h 12598"/>
                <a:gd name="connsiteX5" fmla="*/ 118423 w 125982"/>
                <a:gd name="connsiteY5" fmla="*/ 0 h 12598"/>
                <a:gd name="connsiteX6" fmla="*/ 11338 w 125982"/>
                <a:gd name="connsiteY6" fmla="*/ 0 h 12598"/>
                <a:gd name="connsiteX7" fmla="*/ 0 w 125982"/>
                <a:gd name="connsiteY7" fmla="*/ 11339 h 12598"/>
                <a:gd name="connsiteX8" fmla="*/ 0 w 125982"/>
                <a:gd name="connsiteY8" fmla="*/ 11339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82" h="12598">
                  <a:moveTo>
                    <a:pt x="0" y="11339"/>
                  </a:moveTo>
                  <a:cubicBezTo>
                    <a:pt x="0" y="17638"/>
                    <a:pt x="5039" y="22677"/>
                    <a:pt x="11338" y="22677"/>
                  </a:cubicBezTo>
                  <a:lnTo>
                    <a:pt x="118423" y="22677"/>
                  </a:lnTo>
                  <a:cubicBezTo>
                    <a:pt x="124722" y="22677"/>
                    <a:pt x="129762" y="17638"/>
                    <a:pt x="129762" y="11339"/>
                  </a:cubicBezTo>
                  <a:lnTo>
                    <a:pt x="129762" y="11339"/>
                  </a:lnTo>
                  <a:cubicBezTo>
                    <a:pt x="129762" y="5039"/>
                    <a:pt x="124722" y="0"/>
                    <a:pt x="118423" y="0"/>
                  </a:cubicBezTo>
                  <a:lnTo>
                    <a:pt x="11338" y="0"/>
                  </a:lnTo>
                  <a:cubicBezTo>
                    <a:pt x="5039" y="1260"/>
                    <a:pt x="0" y="6299"/>
                    <a:pt x="0" y="11339"/>
                  </a:cubicBezTo>
                  <a:lnTo>
                    <a:pt x="0" y="11339"/>
                  </a:lnTo>
                  <a:close/>
                </a:path>
              </a:pathLst>
            </a:custGeom>
            <a:solidFill>
              <a:srgbClr val="001675"/>
            </a:solidFill>
            <a:ln w="12584" cap="flat">
              <a:noFill/>
              <a:prstDash val="solid"/>
              <a:miter/>
            </a:ln>
          </p:spPr>
          <p:txBody>
            <a:bodyPr rtlCol="0" anchor="ctr"/>
            <a:lstStyle/>
            <a:p>
              <a:endParaRPr lang="zh-CN" altLang="en-US"/>
            </a:p>
          </p:txBody>
        </p:sp>
        <p:sp>
          <p:nvSpPr>
            <p:cNvPr id="106" name="任意多边形: 形状 105"/>
            <p:cNvSpPr/>
            <p:nvPr/>
          </p:nvSpPr>
          <p:spPr>
            <a:xfrm>
              <a:off x="8113843" y="3994367"/>
              <a:ext cx="454758" cy="506241"/>
            </a:xfrm>
            <a:custGeom>
              <a:avLst/>
              <a:gdLst>
                <a:gd name="connsiteX0" fmla="*/ 528734 w 667706"/>
                <a:gd name="connsiteY0" fmla="*/ 51653 h 743295"/>
                <a:gd name="connsiteX1" fmla="*/ 465743 w 667706"/>
                <a:gd name="connsiteY1" fmla="*/ 0 h 743295"/>
                <a:gd name="connsiteX2" fmla="*/ 43702 w 667706"/>
                <a:gd name="connsiteY2" fmla="*/ 0 h 743295"/>
                <a:gd name="connsiteX3" fmla="*/ 43702 w 667706"/>
                <a:gd name="connsiteY3" fmla="*/ 0 h 743295"/>
                <a:gd name="connsiteX4" fmla="*/ 22285 w 667706"/>
                <a:gd name="connsiteY4" fmla="*/ 5039 h 743295"/>
                <a:gd name="connsiteX5" fmla="*/ 868 w 667706"/>
                <a:gd name="connsiteY5" fmla="*/ 51653 h 743295"/>
                <a:gd name="connsiteX6" fmla="*/ 130630 w 667706"/>
                <a:gd name="connsiteY6" fmla="*/ 720619 h 743295"/>
                <a:gd name="connsiteX7" fmla="*/ 130630 w 667706"/>
                <a:gd name="connsiteY7" fmla="*/ 720619 h 743295"/>
                <a:gd name="connsiteX8" fmla="*/ 172204 w 667706"/>
                <a:gd name="connsiteY8" fmla="*/ 754634 h 743295"/>
                <a:gd name="connsiteX9" fmla="*/ 173464 w 667706"/>
                <a:gd name="connsiteY9" fmla="*/ 754634 h 743295"/>
                <a:gd name="connsiteX10" fmla="*/ 673614 w 667706"/>
                <a:gd name="connsiteY10" fmla="*/ 754634 h 743295"/>
                <a:gd name="connsiteX11" fmla="*/ 528734 w 667706"/>
                <a:gd name="connsiteY11" fmla="*/ 51653 h 74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7706" h="743295">
                  <a:moveTo>
                    <a:pt x="528734" y="51653"/>
                  </a:moveTo>
                  <a:cubicBezTo>
                    <a:pt x="522435" y="21417"/>
                    <a:pt x="495979" y="0"/>
                    <a:pt x="465743" y="0"/>
                  </a:cubicBezTo>
                  <a:lnTo>
                    <a:pt x="43702" y="0"/>
                  </a:lnTo>
                  <a:lnTo>
                    <a:pt x="43702" y="0"/>
                  </a:lnTo>
                  <a:cubicBezTo>
                    <a:pt x="37403" y="0"/>
                    <a:pt x="29844" y="1260"/>
                    <a:pt x="22285" y="5039"/>
                  </a:cubicBezTo>
                  <a:cubicBezTo>
                    <a:pt x="5907" y="13858"/>
                    <a:pt x="-2911" y="32755"/>
                    <a:pt x="868" y="51653"/>
                  </a:cubicBezTo>
                  <a:lnTo>
                    <a:pt x="130630" y="720619"/>
                  </a:lnTo>
                  <a:lnTo>
                    <a:pt x="130630" y="720619"/>
                  </a:lnTo>
                  <a:cubicBezTo>
                    <a:pt x="134409" y="740776"/>
                    <a:pt x="152047" y="754634"/>
                    <a:pt x="172204" y="754634"/>
                  </a:cubicBezTo>
                  <a:lnTo>
                    <a:pt x="173464" y="754634"/>
                  </a:lnTo>
                  <a:lnTo>
                    <a:pt x="673614" y="754634"/>
                  </a:lnTo>
                  <a:lnTo>
                    <a:pt x="528734" y="51653"/>
                  </a:lnTo>
                  <a:close/>
                </a:path>
              </a:pathLst>
            </a:custGeom>
            <a:solidFill>
              <a:srgbClr val="F3B04B"/>
            </a:solidFill>
            <a:ln w="12584" cap="flat">
              <a:noFill/>
              <a:prstDash val="solid"/>
              <a:miter/>
            </a:ln>
          </p:spPr>
          <p:txBody>
            <a:bodyPr rtlCol="0" anchor="ctr"/>
            <a:lstStyle/>
            <a:p>
              <a:endParaRPr lang="zh-CN" altLang="en-US"/>
            </a:p>
          </p:txBody>
        </p:sp>
        <p:sp>
          <p:nvSpPr>
            <p:cNvPr id="107" name="任意多边形: 形状 106"/>
            <p:cNvSpPr/>
            <p:nvPr/>
          </p:nvSpPr>
          <p:spPr>
            <a:xfrm>
              <a:off x="8114040" y="3994566"/>
              <a:ext cx="677847" cy="506241"/>
            </a:xfrm>
            <a:custGeom>
              <a:avLst/>
              <a:gdLst>
                <a:gd name="connsiteX0" fmla="*/ 34594 w 995260"/>
                <a:gd name="connsiteY0" fmla="*/ 968 h 743295"/>
                <a:gd name="connsiteX1" fmla="*/ 83727 w 995260"/>
                <a:gd name="connsiteY1" fmla="*/ 34984 h 743295"/>
                <a:gd name="connsiteX2" fmla="*/ 207190 w 995260"/>
                <a:gd name="connsiteY2" fmla="*/ 669935 h 743295"/>
                <a:gd name="connsiteX3" fmla="*/ 363408 w 995260"/>
                <a:gd name="connsiteY3" fmla="*/ 669935 h 743295"/>
                <a:gd name="connsiteX4" fmla="*/ 517106 w 995260"/>
                <a:gd name="connsiteY4" fmla="*/ 669935 h 743295"/>
                <a:gd name="connsiteX5" fmla="*/ 953005 w 995260"/>
                <a:gd name="connsiteY5" fmla="*/ 669935 h 743295"/>
                <a:gd name="connsiteX6" fmla="*/ 995839 w 995260"/>
                <a:gd name="connsiteY6" fmla="*/ 712769 h 743295"/>
                <a:gd name="connsiteX7" fmla="*/ 953005 w 995260"/>
                <a:gd name="connsiteY7" fmla="*/ 755602 h 743295"/>
                <a:gd name="connsiteX8" fmla="*/ 517106 w 995260"/>
                <a:gd name="connsiteY8" fmla="*/ 755602 h 743295"/>
                <a:gd name="connsiteX9" fmla="*/ 417580 w 995260"/>
                <a:gd name="connsiteY9" fmla="*/ 755602 h 743295"/>
                <a:gd name="connsiteX10" fmla="*/ 173175 w 995260"/>
                <a:gd name="connsiteY10" fmla="*/ 755602 h 743295"/>
                <a:gd name="connsiteX11" fmla="*/ 171915 w 995260"/>
                <a:gd name="connsiteY11" fmla="*/ 755602 h 743295"/>
                <a:gd name="connsiteX12" fmla="*/ 130341 w 995260"/>
                <a:gd name="connsiteY12" fmla="*/ 721587 h 743295"/>
                <a:gd name="connsiteX13" fmla="*/ 579 w 995260"/>
                <a:gd name="connsiteY13" fmla="*/ 52621 h 743295"/>
                <a:gd name="connsiteX14" fmla="*/ 34594 w 995260"/>
                <a:gd name="connsiteY14" fmla="*/ 968 h 74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5260" h="743295">
                  <a:moveTo>
                    <a:pt x="34594" y="968"/>
                  </a:moveTo>
                  <a:cubicBezTo>
                    <a:pt x="57271" y="-4071"/>
                    <a:pt x="79948" y="11047"/>
                    <a:pt x="83727" y="34984"/>
                  </a:cubicBezTo>
                  <a:lnTo>
                    <a:pt x="207190" y="669935"/>
                  </a:lnTo>
                  <a:lnTo>
                    <a:pt x="363408" y="669935"/>
                  </a:lnTo>
                  <a:lnTo>
                    <a:pt x="517106" y="669935"/>
                  </a:lnTo>
                  <a:lnTo>
                    <a:pt x="953005" y="669935"/>
                  </a:lnTo>
                  <a:cubicBezTo>
                    <a:pt x="976942" y="669935"/>
                    <a:pt x="995839" y="688832"/>
                    <a:pt x="995839" y="712769"/>
                  </a:cubicBezTo>
                  <a:cubicBezTo>
                    <a:pt x="995839" y="736705"/>
                    <a:pt x="976942" y="755602"/>
                    <a:pt x="953005" y="755602"/>
                  </a:cubicBezTo>
                  <a:lnTo>
                    <a:pt x="517106" y="755602"/>
                  </a:lnTo>
                  <a:lnTo>
                    <a:pt x="417580" y="755602"/>
                  </a:lnTo>
                  <a:lnTo>
                    <a:pt x="173175" y="755602"/>
                  </a:lnTo>
                  <a:cubicBezTo>
                    <a:pt x="173175" y="755602"/>
                    <a:pt x="173175" y="755602"/>
                    <a:pt x="171915" y="755602"/>
                  </a:cubicBezTo>
                  <a:cubicBezTo>
                    <a:pt x="151758" y="755602"/>
                    <a:pt x="134120" y="741744"/>
                    <a:pt x="130341" y="721587"/>
                  </a:cubicBezTo>
                  <a:lnTo>
                    <a:pt x="579" y="52621"/>
                  </a:lnTo>
                  <a:cubicBezTo>
                    <a:pt x="-3201" y="27424"/>
                    <a:pt x="11917" y="4748"/>
                    <a:pt x="34594" y="968"/>
                  </a:cubicBezTo>
                  <a:close/>
                </a:path>
              </a:pathLst>
            </a:custGeom>
            <a:solidFill>
              <a:srgbClr val="FFD671"/>
            </a:solidFill>
            <a:ln w="12584" cap="flat">
              <a:noFill/>
              <a:prstDash val="solid"/>
              <a:miter/>
            </a:ln>
          </p:spPr>
          <p:txBody>
            <a:bodyPr rtlCol="0" anchor="ctr"/>
            <a:lstStyle/>
            <a:p>
              <a:endParaRPr lang="zh-CN" altLang="en-US"/>
            </a:p>
          </p:txBody>
        </p:sp>
        <p:sp>
          <p:nvSpPr>
            <p:cNvPr id="108" name="任意多边形: 形状 107"/>
            <p:cNvSpPr/>
            <p:nvPr/>
          </p:nvSpPr>
          <p:spPr>
            <a:xfrm>
              <a:off x="8300453" y="4508330"/>
              <a:ext cx="334634" cy="411857"/>
            </a:xfrm>
            <a:custGeom>
              <a:avLst/>
              <a:gdLst>
                <a:gd name="connsiteX0" fmla="*/ 33012 w 491331"/>
                <a:gd name="connsiteY0" fmla="*/ 544244 h 604715"/>
                <a:gd name="connsiteX1" fmla="*/ 36792 w 491331"/>
                <a:gd name="connsiteY1" fmla="*/ 544244 h 604715"/>
                <a:gd name="connsiteX2" fmla="*/ 33012 w 491331"/>
                <a:gd name="connsiteY2" fmla="*/ 531646 h 604715"/>
                <a:gd name="connsiteX3" fmla="*/ 33012 w 491331"/>
                <a:gd name="connsiteY3" fmla="*/ 524087 h 604715"/>
                <a:gd name="connsiteX4" fmla="*/ 54429 w 491331"/>
                <a:gd name="connsiteY4" fmla="*/ 502669 h 604715"/>
                <a:gd name="connsiteX5" fmla="*/ 194270 w 491331"/>
                <a:gd name="connsiteY5" fmla="*/ 502669 h 604715"/>
                <a:gd name="connsiteX6" fmla="*/ 194270 w 491331"/>
                <a:gd name="connsiteY6" fmla="*/ 306137 h 604715"/>
                <a:gd name="connsiteX7" fmla="*/ 214427 w 491331"/>
                <a:gd name="connsiteY7" fmla="*/ 273382 h 604715"/>
                <a:gd name="connsiteX8" fmla="*/ 214427 w 491331"/>
                <a:gd name="connsiteY8" fmla="*/ 134801 h 604715"/>
                <a:gd name="connsiteX9" fmla="*/ 214427 w 491331"/>
                <a:gd name="connsiteY9" fmla="*/ 73070 h 604715"/>
                <a:gd name="connsiteX10" fmla="*/ 64508 w 491331"/>
                <a:gd name="connsiteY10" fmla="*/ 73070 h 604715"/>
                <a:gd name="connsiteX11" fmla="*/ 6556 w 491331"/>
                <a:gd name="connsiteY11" fmla="*/ 15118 h 604715"/>
                <a:gd name="connsiteX12" fmla="*/ 6556 w 491331"/>
                <a:gd name="connsiteY12" fmla="*/ 0 h 604715"/>
                <a:gd name="connsiteX13" fmla="*/ 484029 w 491331"/>
                <a:gd name="connsiteY13" fmla="*/ 0 h 604715"/>
                <a:gd name="connsiteX14" fmla="*/ 484029 w 491331"/>
                <a:gd name="connsiteY14" fmla="*/ 15118 h 604715"/>
                <a:gd name="connsiteX15" fmla="*/ 426077 w 491331"/>
                <a:gd name="connsiteY15" fmla="*/ 73070 h 604715"/>
                <a:gd name="connsiteX16" fmla="*/ 276158 w 491331"/>
                <a:gd name="connsiteY16" fmla="*/ 73070 h 604715"/>
                <a:gd name="connsiteX17" fmla="*/ 276158 w 491331"/>
                <a:gd name="connsiteY17" fmla="*/ 273382 h 604715"/>
                <a:gd name="connsiteX18" fmla="*/ 296316 w 491331"/>
                <a:gd name="connsiteY18" fmla="*/ 306137 h 604715"/>
                <a:gd name="connsiteX19" fmla="*/ 296316 w 491331"/>
                <a:gd name="connsiteY19" fmla="*/ 502669 h 604715"/>
                <a:gd name="connsiteX20" fmla="*/ 436156 w 491331"/>
                <a:gd name="connsiteY20" fmla="*/ 502669 h 604715"/>
                <a:gd name="connsiteX21" fmla="*/ 457573 w 491331"/>
                <a:gd name="connsiteY21" fmla="*/ 524087 h 604715"/>
                <a:gd name="connsiteX22" fmla="*/ 457573 w 491331"/>
                <a:gd name="connsiteY22" fmla="*/ 531646 h 604715"/>
                <a:gd name="connsiteX23" fmla="*/ 453793 w 491331"/>
                <a:gd name="connsiteY23" fmla="*/ 544244 h 604715"/>
                <a:gd name="connsiteX24" fmla="*/ 457573 w 491331"/>
                <a:gd name="connsiteY24" fmla="*/ 544244 h 604715"/>
                <a:gd name="connsiteX25" fmla="*/ 492848 w 491331"/>
                <a:gd name="connsiteY25" fmla="*/ 579519 h 604715"/>
                <a:gd name="connsiteX26" fmla="*/ 457573 w 491331"/>
                <a:gd name="connsiteY26" fmla="*/ 614794 h 604715"/>
                <a:gd name="connsiteX27" fmla="*/ 422298 w 491331"/>
                <a:gd name="connsiteY27" fmla="*/ 579519 h 604715"/>
                <a:gd name="connsiteX28" fmla="*/ 433636 w 491331"/>
                <a:gd name="connsiteY28" fmla="*/ 553062 h 604715"/>
                <a:gd name="connsiteX29" fmla="*/ 342929 w 491331"/>
                <a:gd name="connsiteY29" fmla="*/ 553062 h 604715"/>
                <a:gd name="connsiteX30" fmla="*/ 354267 w 491331"/>
                <a:gd name="connsiteY30" fmla="*/ 579519 h 604715"/>
                <a:gd name="connsiteX31" fmla="*/ 318992 w 491331"/>
                <a:gd name="connsiteY31" fmla="*/ 614794 h 604715"/>
                <a:gd name="connsiteX32" fmla="*/ 283717 w 491331"/>
                <a:gd name="connsiteY32" fmla="*/ 579519 h 604715"/>
                <a:gd name="connsiteX33" fmla="*/ 295056 w 491331"/>
                <a:gd name="connsiteY33" fmla="*/ 553062 h 604715"/>
                <a:gd name="connsiteX34" fmla="*/ 198049 w 491331"/>
                <a:gd name="connsiteY34" fmla="*/ 553062 h 604715"/>
                <a:gd name="connsiteX35" fmla="*/ 209388 w 491331"/>
                <a:gd name="connsiteY35" fmla="*/ 579519 h 604715"/>
                <a:gd name="connsiteX36" fmla="*/ 174113 w 491331"/>
                <a:gd name="connsiteY36" fmla="*/ 614794 h 604715"/>
                <a:gd name="connsiteX37" fmla="*/ 138838 w 491331"/>
                <a:gd name="connsiteY37" fmla="*/ 579519 h 604715"/>
                <a:gd name="connsiteX38" fmla="*/ 150176 w 491331"/>
                <a:gd name="connsiteY38" fmla="*/ 553062 h 604715"/>
                <a:gd name="connsiteX39" fmla="*/ 59469 w 491331"/>
                <a:gd name="connsiteY39" fmla="*/ 553062 h 604715"/>
                <a:gd name="connsiteX40" fmla="*/ 70807 w 491331"/>
                <a:gd name="connsiteY40" fmla="*/ 579519 h 604715"/>
                <a:gd name="connsiteX41" fmla="*/ 35532 w 491331"/>
                <a:gd name="connsiteY41" fmla="*/ 614794 h 604715"/>
                <a:gd name="connsiteX42" fmla="*/ 257 w 491331"/>
                <a:gd name="connsiteY42" fmla="*/ 579519 h 604715"/>
                <a:gd name="connsiteX43" fmla="*/ 33012 w 491331"/>
                <a:gd name="connsiteY43" fmla="*/ 544244 h 604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91331" h="604715">
                  <a:moveTo>
                    <a:pt x="33012" y="544244"/>
                  </a:moveTo>
                  <a:cubicBezTo>
                    <a:pt x="34272" y="544244"/>
                    <a:pt x="35532" y="544244"/>
                    <a:pt x="36792" y="544244"/>
                  </a:cubicBezTo>
                  <a:cubicBezTo>
                    <a:pt x="34272" y="540464"/>
                    <a:pt x="33012" y="536685"/>
                    <a:pt x="33012" y="531646"/>
                  </a:cubicBezTo>
                  <a:lnTo>
                    <a:pt x="33012" y="524087"/>
                  </a:lnTo>
                  <a:cubicBezTo>
                    <a:pt x="33012" y="511488"/>
                    <a:pt x="43091" y="502669"/>
                    <a:pt x="54429" y="502669"/>
                  </a:cubicBezTo>
                  <a:lnTo>
                    <a:pt x="194270" y="502669"/>
                  </a:lnTo>
                  <a:lnTo>
                    <a:pt x="194270" y="306137"/>
                  </a:lnTo>
                  <a:cubicBezTo>
                    <a:pt x="194270" y="292279"/>
                    <a:pt x="203088" y="279681"/>
                    <a:pt x="214427" y="273382"/>
                  </a:cubicBezTo>
                  <a:lnTo>
                    <a:pt x="214427" y="134801"/>
                  </a:lnTo>
                  <a:lnTo>
                    <a:pt x="214427" y="73070"/>
                  </a:lnTo>
                  <a:lnTo>
                    <a:pt x="64508" y="73070"/>
                  </a:lnTo>
                  <a:cubicBezTo>
                    <a:pt x="31753" y="73070"/>
                    <a:pt x="6556" y="46614"/>
                    <a:pt x="6556" y="15118"/>
                  </a:cubicBezTo>
                  <a:lnTo>
                    <a:pt x="6556" y="0"/>
                  </a:lnTo>
                  <a:lnTo>
                    <a:pt x="484029" y="0"/>
                  </a:lnTo>
                  <a:lnTo>
                    <a:pt x="484029" y="15118"/>
                  </a:lnTo>
                  <a:cubicBezTo>
                    <a:pt x="484029" y="47874"/>
                    <a:pt x="457573" y="73070"/>
                    <a:pt x="426077" y="73070"/>
                  </a:cubicBezTo>
                  <a:lnTo>
                    <a:pt x="276158" y="73070"/>
                  </a:lnTo>
                  <a:lnTo>
                    <a:pt x="276158" y="273382"/>
                  </a:lnTo>
                  <a:cubicBezTo>
                    <a:pt x="287497" y="279681"/>
                    <a:pt x="296316" y="291019"/>
                    <a:pt x="296316" y="306137"/>
                  </a:cubicBezTo>
                  <a:lnTo>
                    <a:pt x="296316" y="502669"/>
                  </a:lnTo>
                  <a:lnTo>
                    <a:pt x="436156" y="502669"/>
                  </a:lnTo>
                  <a:cubicBezTo>
                    <a:pt x="448754" y="502669"/>
                    <a:pt x="457573" y="512748"/>
                    <a:pt x="457573" y="524087"/>
                  </a:cubicBezTo>
                  <a:lnTo>
                    <a:pt x="457573" y="531646"/>
                  </a:lnTo>
                  <a:cubicBezTo>
                    <a:pt x="457573" y="536685"/>
                    <a:pt x="456313" y="540464"/>
                    <a:pt x="453793" y="544244"/>
                  </a:cubicBezTo>
                  <a:cubicBezTo>
                    <a:pt x="455053" y="544244"/>
                    <a:pt x="456313" y="544244"/>
                    <a:pt x="457573" y="544244"/>
                  </a:cubicBezTo>
                  <a:cubicBezTo>
                    <a:pt x="477730" y="544244"/>
                    <a:pt x="492848" y="560621"/>
                    <a:pt x="492848" y="579519"/>
                  </a:cubicBezTo>
                  <a:cubicBezTo>
                    <a:pt x="492848" y="599676"/>
                    <a:pt x="476470" y="614794"/>
                    <a:pt x="457573" y="614794"/>
                  </a:cubicBezTo>
                  <a:cubicBezTo>
                    <a:pt x="437416" y="614794"/>
                    <a:pt x="422298" y="598416"/>
                    <a:pt x="422298" y="579519"/>
                  </a:cubicBezTo>
                  <a:cubicBezTo>
                    <a:pt x="422298" y="569440"/>
                    <a:pt x="427337" y="559361"/>
                    <a:pt x="433636" y="553062"/>
                  </a:cubicBezTo>
                  <a:lnTo>
                    <a:pt x="342929" y="553062"/>
                  </a:lnTo>
                  <a:cubicBezTo>
                    <a:pt x="350488" y="559361"/>
                    <a:pt x="354267" y="569440"/>
                    <a:pt x="354267" y="579519"/>
                  </a:cubicBezTo>
                  <a:cubicBezTo>
                    <a:pt x="354267" y="599676"/>
                    <a:pt x="337890" y="614794"/>
                    <a:pt x="318992" y="614794"/>
                  </a:cubicBezTo>
                  <a:cubicBezTo>
                    <a:pt x="298835" y="614794"/>
                    <a:pt x="283717" y="598416"/>
                    <a:pt x="283717" y="579519"/>
                  </a:cubicBezTo>
                  <a:cubicBezTo>
                    <a:pt x="283717" y="569440"/>
                    <a:pt x="288756" y="559361"/>
                    <a:pt x="295056" y="553062"/>
                  </a:cubicBezTo>
                  <a:lnTo>
                    <a:pt x="198049" y="553062"/>
                  </a:lnTo>
                  <a:cubicBezTo>
                    <a:pt x="205608" y="559361"/>
                    <a:pt x="209388" y="569440"/>
                    <a:pt x="209388" y="579519"/>
                  </a:cubicBezTo>
                  <a:cubicBezTo>
                    <a:pt x="209388" y="599676"/>
                    <a:pt x="193010" y="614794"/>
                    <a:pt x="174113" y="614794"/>
                  </a:cubicBezTo>
                  <a:cubicBezTo>
                    <a:pt x="153955" y="614794"/>
                    <a:pt x="138838" y="598416"/>
                    <a:pt x="138838" y="579519"/>
                  </a:cubicBezTo>
                  <a:cubicBezTo>
                    <a:pt x="138838" y="569440"/>
                    <a:pt x="143877" y="559361"/>
                    <a:pt x="150176" y="553062"/>
                  </a:cubicBezTo>
                  <a:lnTo>
                    <a:pt x="59469" y="553062"/>
                  </a:lnTo>
                  <a:cubicBezTo>
                    <a:pt x="67028" y="559361"/>
                    <a:pt x="70807" y="569440"/>
                    <a:pt x="70807" y="579519"/>
                  </a:cubicBezTo>
                  <a:cubicBezTo>
                    <a:pt x="70807" y="599676"/>
                    <a:pt x="54429" y="614794"/>
                    <a:pt x="35532" y="614794"/>
                  </a:cubicBezTo>
                  <a:cubicBezTo>
                    <a:pt x="15375" y="614794"/>
                    <a:pt x="257" y="598416"/>
                    <a:pt x="257" y="579519"/>
                  </a:cubicBezTo>
                  <a:cubicBezTo>
                    <a:pt x="-2263" y="560621"/>
                    <a:pt x="14115" y="544244"/>
                    <a:pt x="33012" y="544244"/>
                  </a:cubicBezTo>
                  <a:close/>
                </a:path>
              </a:pathLst>
            </a:custGeom>
            <a:solidFill>
              <a:srgbClr val="001675"/>
            </a:solidFill>
            <a:ln w="12584" cap="flat">
              <a:noFill/>
              <a:prstDash val="solid"/>
              <a:miter/>
            </a:ln>
          </p:spPr>
          <p:txBody>
            <a:bodyPr rtlCol="0" anchor="ctr"/>
            <a:lstStyle/>
            <a:p>
              <a:endParaRPr lang="zh-CN" altLang="en-US"/>
            </a:p>
          </p:txBody>
        </p:sp>
        <p:sp>
          <p:nvSpPr>
            <p:cNvPr id="109" name="任意多边形: 形状 108"/>
            <p:cNvSpPr/>
            <p:nvPr/>
          </p:nvSpPr>
          <p:spPr>
            <a:xfrm>
              <a:off x="8698849" y="4338574"/>
              <a:ext cx="111545" cy="523401"/>
            </a:xfrm>
            <a:custGeom>
              <a:avLst/>
              <a:gdLst>
                <a:gd name="connsiteX0" fmla="*/ 127107 w 163777"/>
                <a:gd name="connsiteY0" fmla="*/ 767035 h 768492"/>
                <a:gd name="connsiteX1" fmla="*/ 164902 w 163777"/>
                <a:gd name="connsiteY1" fmla="*/ 82951 h 768492"/>
                <a:gd name="connsiteX2" fmla="*/ 83013 w 163777"/>
                <a:gd name="connsiteY2" fmla="*/ 2322 h 768492"/>
                <a:gd name="connsiteX3" fmla="*/ 2384 w 163777"/>
                <a:gd name="connsiteY3" fmla="*/ 84211 h 768492"/>
                <a:gd name="connsiteX4" fmla="*/ 14982 w 163777"/>
                <a:gd name="connsiteY4" fmla="*/ 770814 h 768492"/>
                <a:gd name="connsiteX5" fmla="*/ 127107 w 163777"/>
                <a:gd name="connsiteY5" fmla="*/ 767035 h 76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777" h="768492">
                  <a:moveTo>
                    <a:pt x="127107" y="767035"/>
                  </a:moveTo>
                  <a:lnTo>
                    <a:pt x="164902" y="82951"/>
                  </a:lnTo>
                  <a:cubicBezTo>
                    <a:pt x="164902" y="37597"/>
                    <a:pt x="127107" y="2322"/>
                    <a:pt x="83013" y="2322"/>
                  </a:cubicBezTo>
                  <a:cubicBezTo>
                    <a:pt x="37659" y="2322"/>
                    <a:pt x="-11474" y="-21614"/>
                    <a:pt x="2384" y="84211"/>
                  </a:cubicBezTo>
                  <a:lnTo>
                    <a:pt x="14982" y="770814"/>
                  </a:lnTo>
                  <a:lnTo>
                    <a:pt x="127107" y="767035"/>
                  </a:lnTo>
                  <a:close/>
                </a:path>
              </a:pathLst>
            </a:custGeom>
            <a:solidFill>
              <a:srgbClr val="557FF6"/>
            </a:solidFill>
            <a:ln w="12584" cap="flat">
              <a:noFill/>
              <a:prstDash val="solid"/>
              <a:miter/>
            </a:ln>
          </p:spPr>
          <p:txBody>
            <a:bodyPr rtlCol="0" anchor="ctr"/>
            <a:lstStyle/>
            <a:p>
              <a:endParaRPr lang="zh-CN" altLang="en-US"/>
            </a:p>
          </p:txBody>
        </p:sp>
        <p:sp>
          <p:nvSpPr>
            <p:cNvPr id="110" name="任意多边形: 形状 109"/>
            <p:cNvSpPr/>
            <p:nvPr/>
          </p:nvSpPr>
          <p:spPr>
            <a:xfrm>
              <a:off x="8328943" y="4339297"/>
              <a:ext cx="411857" cy="102964"/>
            </a:xfrm>
            <a:custGeom>
              <a:avLst/>
              <a:gdLst>
                <a:gd name="connsiteX0" fmla="*/ 531645 w 604715"/>
                <a:gd name="connsiteY0" fmla="*/ 0 h 151178"/>
                <a:gd name="connsiteX1" fmla="*/ 0 w 604715"/>
                <a:gd name="connsiteY1" fmla="*/ 0 h 151178"/>
                <a:gd name="connsiteX2" fmla="*/ 0 w 604715"/>
                <a:gd name="connsiteY2" fmla="*/ 69290 h 151178"/>
                <a:gd name="connsiteX3" fmla="*/ 93227 w 604715"/>
                <a:gd name="connsiteY3" fmla="*/ 162517 h 151178"/>
                <a:gd name="connsiteX4" fmla="*/ 531645 w 604715"/>
                <a:gd name="connsiteY4" fmla="*/ 162517 h 151178"/>
                <a:gd name="connsiteX5" fmla="*/ 613534 w 604715"/>
                <a:gd name="connsiteY5" fmla="*/ 80629 h 151178"/>
                <a:gd name="connsiteX6" fmla="*/ 613534 w 604715"/>
                <a:gd name="connsiteY6" fmla="*/ 80629 h 151178"/>
                <a:gd name="connsiteX7" fmla="*/ 531645 w 604715"/>
                <a:gd name="connsiteY7" fmla="*/ 0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715" h="151178">
                  <a:moveTo>
                    <a:pt x="531645" y="0"/>
                  </a:moveTo>
                  <a:lnTo>
                    <a:pt x="0" y="0"/>
                  </a:lnTo>
                  <a:lnTo>
                    <a:pt x="0" y="69290"/>
                  </a:lnTo>
                  <a:cubicBezTo>
                    <a:pt x="0" y="120943"/>
                    <a:pt x="41574" y="162517"/>
                    <a:pt x="93227" y="162517"/>
                  </a:cubicBezTo>
                  <a:lnTo>
                    <a:pt x="531645" y="162517"/>
                  </a:lnTo>
                  <a:cubicBezTo>
                    <a:pt x="576999" y="162517"/>
                    <a:pt x="613534" y="125983"/>
                    <a:pt x="613534" y="80629"/>
                  </a:cubicBezTo>
                  <a:lnTo>
                    <a:pt x="613534" y="80629"/>
                  </a:lnTo>
                  <a:cubicBezTo>
                    <a:pt x="612274" y="36535"/>
                    <a:pt x="575739" y="0"/>
                    <a:pt x="531645" y="0"/>
                  </a:cubicBezTo>
                  <a:close/>
                </a:path>
              </a:pathLst>
            </a:custGeom>
            <a:solidFill>
              <a:srgbClr val="779AF8"/>
            </a:solidFill>
            <a:ln w="12584" cap="flat">
              <a:noFill/>
              <a:prstDash val="solid"/>
              <a:miter/>
            </a:ln>
          </p:spPr>
          <p:txBody>
            <a:bodyPr rtlCol="0" anchor="ctr"/>
            <a:lstStyle/>
            <a:p>
              <a:endParaRPr lang="zh-CN" altLang="en-US"/>
            </a:p>
          </p:txBody>
        </p:sp>
        <p:sp>
          <p:nvSpPr>
            <p:cNvPr id="111" name="任意多边形: 形状 110"/>
            <p:cNvSpPr/>
            <p:nvPr/>
          </p:nvSpPr>
          <p:spPr>
            <a:xfrm>
              <a:off x="8518569" y="4339226"/>
              <a:ext cx="223089" cy="489080"/>
            </a:xfrm>
            <a:custGeom>
              <a:avLst/>
              <a:gdLst>
                <a:gd name="connsiteX0" fmla="*/ 273382 w 327554"/>
                <a:gd name="connsiteY0" fmla="*/ 2624 h 718099"/>
                <a:gd name="connsiteX1" fmla="*/ 175116 w 327554"/>
                <a:gd name="connsiteY1" fmla="*/ 61835 h 718099"/>
                <a:gd name="connsiteX2" fmla="*/ 0 w 327554"/>
                <a:gd name="connsiteY2" fmla="*/ 700566 h 718099"/>
                <a:gd name="connsiteX3" fmla="*/ 44094 w 327554"/>
                <a:gd name="connsiteY3" fmla="*/ 700566 h 718099"/>
                <a:gd name="connsiteX4" fmla="*/ 88188 w 327554"/>
                <a:gd name="connsiteY4" fmla="*/ 719463 h 718099"/>
                <a:gd name="connsiteX5" fmla="*/ 120943 w 327554"/>
                <a:gd name="connsiteY5" fmla="*/ 729542 h 718099"/>
                <a:gd name="connsiteX6" fmla="*/ 113384 w 327554"/>
                <a:gd name="connsiteY6" fmla="*/ 721983 h 718099"/>
                <a:gd name="connsiteX7" fmla="*/ 332593 w 327554"/>
                <a:gd name="connsiteY7" fmla="*/ 102150 h 718099"/>
                <a:gd name="connsiteX8" fmla="*/ 273382 w 327554"/>
                <a:gd name="connsiteY8" fmla="*/ 2624 h 718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7554" h="718099">
                  <a:moveTo>
                    <a:pt x="273382" y="2624"/>
                  </a:moveTo>
                  <a:cubicBezTo>
                    <a:pt x="229288" y="-8715"/>
                    <a:pt x="185194" y="17742"/>
                    <a:pt x="175116" y="61835"/>
                  </a:cubicBezTo>
                  <a:lnTo>
                    <a:pt x="0" y="700566"/>
                  </a:lnTo>
                  <a:cubicBezTo>
                    <a:pt x="12598" y="696786"/>
                    <a:pt x="27716" y="696786"/>
                    <a:pt x="44094" y="700566"/>
                  </a:cubicBezTo>
                  <a:cubicBezTo>
                    <a:pt x="60472" y="704345"/>
                    <a:pt x="74330" y="713164"/>
                    <a:pt x="88188" y="719463"/>
                  </a:cubicBezTo>
                  <a:cubicBezTo>
                    <a:pt x="98266" y="723243"/>
                    <a:pt x="109605" y="725762"/>
                    <a:pt x="120943" y="729542"/>
                  </a:cubicBezTo>
                  <a:lnTo>
                    <a:pt x="113384" y="721983"/>
                  </a:lnTo>
                  <a:lnTo>
                    <a:pt x="332593" y="102150"/>
                  </a:lnTo>
                  <a:cubicBezTo>
                    <a:pt x="342672" y="58056"/>
                    <a:pt x="316216" y="13962"/>
                    <a:pt x="273382" y="2624"/>
                  </a:cubicBezTo>
                  <a:close/>
                </a:path>
              </a:pathLst>
            </a:custGeom>
            <a:solidFill>
              <a:srgbClr val="779AF8"/>
            </a:solidFill>
            <a:ln w="12584" cap="flat">
              <a:noFill/>
              <a:prstDash val="solid"/>
              <a:miter/>
            </a:ln>
          </p:spPr>
          <p:txBody>
            <a:bodyPr rtlCol="0" anchor="ctr"/>
            <a:lstStyle/>
            <a:p>
              <a:endParaRPr lang="zh-CN" altLang="en-US"/>
            </a:p>
          </p:txBody>
        </p:sp>
        <p:sp>
          <p:nvSpPr>
            <p:cNvPr id="112" name="任意多边形: 形状 111"/>
            <p:cNvSpPr/>
            <p:nvPr/>
          </p:nvSpPr>
          <p:spPr>
            <a:xfrm>
              <a:off x="8393296" y="4286957"/>
              <a:ext cx="8580" cy="8580"/>
            </a:xfrm>
            <a:custGeom>
              <a:avLst/>
              <a:gdLst>
                <a:gd name="connsiteX0" fmla="*/ 0 w 0"/>
                <a:gd name="connsiteY0" fmla="*/ 1260 h 0"/>
                <a:gd name="connsiteX1" fmla="*/ 0 w 0"/>
                <a:gd name="connsiteY1" fmla="*/ 1260 h 0"/>
                <a:gd name="connsiteX2" fmla="*/ 0 w 0"/>
                <a:gd name="connsiteY2" fmla="*/ 0 h 0"/>
                <a:gd name="connsiteX3" fmla="*/ 0 w 0"/>
                <a:gd name="connsiteY3" fmla="*/ 1260 h 0"/>
                <a:gd name="connsiteX4" fmla="*/ 0 w 0"/>
                <a:gd name="connsiteY4" fmla="*/ 7559 h 0"/>
                <a:gd name="connsiteX5" fmla="*/ 0 w 0"/>
                <a:gd name="connsiteY5" fmla="*/ 6299 h 0"/>
                <a:gd name="connsiteX6" fmla="*/ 0 w 0"/>
                <a:gd name="connsiteY6"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1260"/>
                  </a:moveTo>
                  <a:lnTo>
                    <a:pt x="0" y="1260"/>
                  </a:lnTo>
                  <a:lnTo>
                    <a:pt x="0" y="0"/>
                  </a:lnTo>
                  <a:lnTo>
                    <a:pt x="0" y="1260"/>
                  </a:lnTo>
                  <a:cubicBezTo>
                    <a:pt x="0" y="3779"/>
                    <a:pt x="0" y="5039"/>
                    <a:pt x="0" y="7559"/>
                  </a:cubicBezTo>
                  <a:cubicBezTo>
                    <a:pt x="0" y="7559"/>
                    <a:pt x="0" y="6299"/>
                    <a:pt x="0" y="6299"/>
                  </a:cubicBezTo>
                  <a:cubicBezTo>
                    <a:pt x="0" y="3779"/>
                    <a:pt x="0" y="2520"/>
                    <a:pt x="0" y="1260"/>
                  </a:cubicBezTo>
                  <a:close/>
                </a:path>
              </a:pathLst>
            </a:custGeom>
            <a:solidFill>
              <a:srgbClr val="54F3F5"/>
            </a:solidFill>
            <a:ln w="12584" cap="flat">
              <a:noFill/>
              <a:prstDash val="solid"/>
              <a:miter/>
            </a:ln>
          </p:spPr>
          <p:txBody>
            <a:bodyPr rtlCol="0" anchor="ctr"/>
            <a:lstStyle/>
            <a:p>
              <a:endParaRPr lang="zh-CN" altLang="en-US"/>
            </a:p>
          </p:txBody>
        </p:sp>
        <p:sp>
          <p:nvSpPr>
            <p:cNvPr id="113" name="任意多边形: 形状 112"/>
            <p:cNvSpPr/>
            <p:nvPr/>
          </p:nvSpPr>
          <p:spPr>
            <a:xfrm>
              <a:off x="8361549" y="4335007"/>
              <a:ext cx="8580" cy="8580"/>
            </a:xfrm>
            <a:custGeom>
              <a:avLst/>
              <a:gdLst>
                <a:gd name="connsiteX0" fmla="*/ 2520 w 0"/>
                <a:gd name="connsiteY0" fmla="*/ 0 h 0"/>
                <a:gd name="connsiteX1" fmla="*/ 2520 w 0"/>
                <a:gd name="connsiteY1" fmla="*/ 0 h 0"/>
                <a:gd name="connsiteX2" fmla="*/ 2520 w 0"/>
                <a:gd name="connsiteY2" fmla="*/ 0 h 0"/>
                <a:gd name="connsiteX3" fmla="*/ 2520 w 0"/>
                <a:gd name="connsiteY3" fmla="*/ 0 h 0"/>
                <a:gd name="connsiteX4" fmla="*/ 0 w 0"/>
                <a:gd name="connsiteY4" fmla="*/ 1260 h 0"/>
                <a:gd name="connsiteX5" fmla="*/ 1260 w 0"/>
                <a:gd name="connsiteY5" fmla="*/ 1260 h 0"/>
                <a:gd name="connsiteX6" fmla="*/ 2520 w 0"/>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2520" y="0"/>
                  </a:moveTo>
                  <a:lnTo>
                    <a:pt x="2520" y="0"/>
                  </a:lnTo>
                  <a:lnTo>
                    <a:pt x="2520" y="0"/>
                  </a:lnTo>
                  <a:lnTo>
                    <a:pt x="2520" y="0"/>
                  </a:lnTo>
                  <a:cubicBezTo>
                    <a:pt x="1260" y="0"/>
                    <a:pt x="0" y="1260"/>
                    <a:pt x="0" y="1260"/>
                  </a:cubicBezTo>
                  <a:cubicBezTo>
                    <a:pt x="0" y="1260"/>
                    <a:pt x="1260" y="1260"/>
                    <a:pt x="1260" y="1260"/>
                  </a:cubicBezTo>
                  <a:cubicBezTo>
                    <a:pt x="1260" y="1260"/>
                    <a:pt x="1260" y="1260"/>
                    <a:pt x="2520" y="0"/>
                  </a:cubicBezTo>
                  <a:close/>
                </a:path>
              </a:pathLst>
            </a:custGeom>
            <a:solidFill>
              <a:srgbClr val="54F3F5"/>
            </a:solidFill>
            <a:ln w="12584" cap="flat">
              <a:noFill/>
              <a:prstDash val="solid"/>
              <a:miter/>
            </a:ln>
          </p:spPr>
          <p:txBody>
            <a:bodyPr rtlCol="0" anchor="ctr"/>
            <a:lstStyle/>
            <a:p>
              <a:endParaRPr lang="zh-CN" altLang="en-US"/>
            </a:p>
          </p:txBody>
        </p:sp>
        <p:sp>
          <p:nvSpPr>
            <p:cNvPr id="114" name="任意多边形: 形状 113"/>
            <p:cNvSpPr/>
            <p:nvPr/>
          </p:nvSpPr>
          <p:spPr>
            <a:xfrm>
              <a:off x="8376993" y="4327285"/>
              <a:ext cx="8580" cy="8580"/>
            </a:xfrm>
            <a:custGeom>
              <a:avLst/>
              <a:gdLst>
                <a:gd name="connsiteX0" fmla="*/ 0 w 0"/>
                <a:gd name="connsiteY0" fmla="*/ 1260 h 0"/>
                <a:gd name="connsiteX1" fmla="*/ 0 w 0"/>
                <a:gd name="connsiteY1" fmla="*/ 1260 h 0"/>
                <a:gd name="connsiteX2" fmla="*/ 1260 w 0"/>
                <a:gd name="connsiteY2" fmla="*/ 0 h 0"/>
                <a:gd name="connsiteX3" fmla="*/ 0 w 0"/>
                <a:gd name="connsiteY3" fmla="*/ 1260 h 0"/>
                <a:gd name="connsiteX4" fmla="*/ 0 w 0"/>
                <a:gd name="connsiteY4" fmla="*/ 1260 h 0"/>
                <a:gd name="connsiteX5" fmla="*/ 0 w 0"/>
                <a:gd name="connsiteY5" fmla="*/ 1260 h 0"/>
                <a:gd name="connsiteX6" fmla="*/ 0 w 0"/>
                <a:gd name="connsiteY6"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1260"/>
                  </a:moveTo>
                  <a:cubicBezTo>
                    <a:pt x="0" y="1260"/>
                    <a:pt x="0" y="0"/>
                    <a:pt x="0" y="1260"/>
                  </a:cubicBezTo>
                  <a:cubicBezTo>
                    <a:pt x="1260" y="0"/>
                    <a:pt x="1260" y="0"/>
                    <a:pt x="1260" y="0"/>
                  </a:cubicBezTo>
                  <a:cubicBezTo>
                    <a:pt x="1260" y="0"/>
                    <a:pt x="0" y="0"/>
                    <a:pt x="0" y="1260"/>
                  </a:cubicBezTo>
                  <a:lnTo>
                    <a:pt x="0" y="1260"/>
                  </a:lnTo>
                  <a:lnTo>
                    <a:pt x="0" y="1260"/>
                  </a:lnTo>
                  <a:lnTo>
                    <a:pt x="0" y="1260"/>
                  </a:lnTo>
                  <a:close/>
                </a:path>
              </a:pathLst>
            </a:custGeom>
            <a:solidFill>
              <a:srgbClr val="54F3F5"/>
            </a:solidFill>
            <a:ln w="12584" cap="flat">
              <a:noFill/>
              <a:prstDash val="solid"/>
              <a:miter/>
            </a:ln>
          </p:spPr>
          <p:txBody>
            <a:bodyPr rtlCol="0" anchor="ctr"/>
            <a:lstStyle/>
            <a:p>
              <a:endParaRPr lang="zh-CN" altLang="en-US"/>
            </a:p>
          </p:txBody>
        </p:sp>
        <p:sp>
          <p:nvSpPr>
            <p:cNvPr id="115" name="任意多边形: 形状 114"/>
            <p:cNvSpPr/>
            <p:nvPr/>
          </p:nvSpPr>
          <p:spPr>
            <a:xfrm>
              <a:off x="8363265" y="4332433"/>
              <a:ext cx="8580" cy="8580"/>
            </a:xfrm>
            <a:custGeom>
              <a:avLst/>
              <a:gdLst>
                <a:gd name="connsiteX0" fmla="*/ 6299 w 0"/>
                <a:gd name="connsiteY0" fmla="*/ 1260 h 0"/>
                <a:gd name="connsiteX1" fmla="*/ 6299 w 0"/>
                <a:gd name="connsiteY1" fmla="*/ 1260 h 0"/>
                <a:gd name="connsiteX2" fmla="*/ 7559 w 0"/>
                <a:gd name="connsiteY2" fmla="*/ 0 h 0"/>
                <a:gd name="connsiteX3" fmla="*/ 6299 w 0"/>
                <a:gd name="connsiteY3" fmla="*/ 1260 h 0"/>
                <a:gd name="connsiteX4" fmla="*/ 0 w 0"/>
                <a:gd name="connsiteY4" fmla="*/ 3780 h 0"/>
                <a:gd name="connsiteX5" fmla="*/ 1260 w 0"/>
                <a:gd name="connsiteY5" fmla="*/ 3780 h 0"/>
                <a:gd name="connsiteX6" fmla="*/ 6299 w 0"/>
                <a:gd name="connsiteY6"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6299" y="1260"/>
                  </a:moveTo>
                  <a:cubicBezTo>
                    <a:pt x="7559" y="1260"/>
                    <a:pt x="7559" y="1260"/>
                    <a:pt x="6299" y="1260"/>
                  </a:cubicBezTo>
                  <a:cubicBezTo>
                    <a:pt x="7559" y="1260"/>
                    <a:pt x="7559" y="0"/>
                    <a:pt x="7559" y="0"/>
                  </a:cubicBezTo>
                  <a:cubicBezTo>
                    <a:pt x="7559" y="1260"/>
                    <a:pt x="7559" y="1260"/>
                    <a:pt x="6299" y="1260"/>
                  </a:cubicBezTo>
                  <a:cubicBezTo>
                    <a:pt x="5039" y="1260"/>
                    <a:pt x="2520" y="2520"/>
                    <a:pt x="0" y="3780"/>
                  </a:cubicBezTo>
                  <a:cubicBezTo>
                    <a:pt x="0" y="3780"/>
                    <a:pt x="1260" y="3780"/>
                    <a:pt x="1260" y="3780"/>
                  </a:cubicBezTo>
                  <a:cubicBezTo>
                    <a:pt x="3779" y="2520"/>
                    <a:pt x="5039" y="2520"/>
                    <a:pt x="6299" y="1260"/>
                  </a:cubicBezTo>
                  <a:close/>
                </a:path>
              </a:pathLst>
            </a:custGeom>
            <a:solidFill>
              <a:srgbClr val="54F3F5"/>
            </a:solidFill>
            <a:ln w="12584" cap="flat">
              <a:noFill/>
              <a:prstDash val="solid"/>
              <a:miter/>
            </a:ln>
          </p:spPr>
          <p:txBody>
            <a:bodyPr rtlCol="0" anchor="ctr"/>
            <a:lstStyle/>
            <a:p>
              <a:endParaRPr lang="zh-CN" altLang="en-US"/>
            </a:p>
          </p:txBody>
        </p:sp>
        <p:sp>
          <p:nvSpPr>
            <p:cNvPr id="116" name="任意多边形: 形状 115"/>
            <p:cNvSpPr/>
            <p:nvPr/>
          </p:nvSpPr>
          <p:spPr>
            <a:xfrm>
              <a:off x="8391580" y="4265506"/>
              <a:ext cx="8580" cy="8580"/>
            </a:xfrm>
            <a:custGeom>
              <a:avLst/>
              <a:gdLst>
                <a:gd name="connsiteX0" fmla="*/ 1260 w 0"/>
                <a:gd name="connsiteY0" fmla="*/ 6299 h 0"/>
                <a:gd name="connsiteX1" fmla="*/ 0 w 0"/>
                <a:gd name="connsiteY1" fmla="*/ 0 h 0"/>
                <a:gd name="connsiteX2" fmla="*/ 1260 w 0"/>
                <a:gd name="connsiteY2" fmla="*/ 6299 h 0"/>
                <a:gd name="connsiteX3" fmla="*/ 1260 w 0"/>
                <a:gd name="connsiteY3" fmla="*/ 8819 h 0"/>
                <a:gd name="connsiteX4" fmla="*/ 1260 w 0"/>
                <a:gd name="connsiteY4" fmla="*/ 6299 h 0"/>
                <a:gd name="connsiteX5" fmla="*/ 1260 w 0"/>
                <a:gd name="connsiteY5" fmla="*/ 629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260" y="6299"/>
                  </a:moveTo>
                  <a:cubicBezTo>
                    <a:pt x="1260" y="3779"/>
                    <a:pt x="0" y="2520"/>
                    <a:pt x="0" y="0"/>
                  </a:cubicBezTo>
                  <a:cubicBezTo>
                    <a:pt x="0" y="2520"/>
                    <a:pt x="1260" y="3779"/>
                    <a:pt x="1260" y="6299"/>
                  </a:cubicBezTo>
                  <a:cubicBezTo>
                    <a:pt x="1260" y="7559"/>
                    <a:pt x="1260" y="7559"/>
                    <a:pt x="1260" y="8819"/>
                  </a:cubicBezTo>
                  <a:cubicBezTo>
                    <a:pt x="1260" y="7559"/>
                    <a:pt x="1260" y="7559"/>
                    <a:pt x="1260" y="6299"/>
                  </a:cubicBezTo>
                  <a:cubicBezTo>
                    <a:pt x="1260" y="6299"/>
                    <a:pt x="1260" y="6299"/>
                    <a:pt x="1260" y="6299"/>
                  </a:cubicBezTo>
                  <a:close/>
                </a:path>
              </a:pathLst>
            </a:custGeom>
            <a:solidFill>
              <a:srgbClr val="54F3F5"/>
            </a:solidFill>
            <a:ln w="12584" cap="flat">
              <a:noFill/>
              <a:prstDash val="solid"/>
              <a:miter/>
            </a:ln>
          </p:spPr>
          <p:txBody>
            <a:bodyPr rtlCol="0" anchor="ctr"/>
            <a:lstStyle/>
            <a:p>
              <a:endParaRPr lang="zh-CN" altLang="en-US"/>
            </a:p>
          </p:txBody>
        </p:sp>
        <p:sp>
          <p:nvSpPr>
            <p:cNvPr id="117" name="任意多边形: 形状 116"/>
            <p:cNvSpPr/>
            <p:nvPr/>
          </p:nvSpPr>
          <p:spPr>
            <a:xfrm>
              <a:off x="8330660" y="4324710"/>
              <a:ext cx="17160" cy="8580"/>
            </a:xfrm>
            <a:custGeom>
              <a:avLst/>
              <a:gdLst>
                <a:gd name="connsiteX0" fmla="*/ 8819 w 25196"/>
                <a:gd name="connsiteY0" fmla="*/ 15118 h 12598"/>
                <a:gd name="connsiteX1" fmla="*/ 13858 w 25196"/>
                <a:gd name="connsiteY1" fmla="*/ 16378 h 12598"/>
                <a:gd name="connsiteX2" fmla="*/ 17637 w 25196"/>
                <a:gd name="connsiteY2" fmla="*/ 16378 h 12598"/>
                <a:gd name="connsiteX3" fmla="*/ 17637 w 25196"/>
                <a:gd name="connsiteY3" fmla="*/ 16378 h 12598"/>
                <a:gd name="connsiteX4" fmla="*/ 25196 w 25196"/>
                <a:gd name="connsiteY4" fmla="*/ 17637 h 12598"/>
                <a:gd name="connsiteX5" fmla="*/ 20157 w 25196"/>
                <a:gd name="connsiteY5" fmla="*/ 16378 h 12598"/>
                <a:gd name="connsiteX6" fmla="*/ 15118 w 25196"/>
                <a:gd name="connsiteY6" fmla="*/ 13858 h 12598"/>
                <a:gd name="connsiteX7" fmla="*/ 10079 w 25196"/>
                <a:gd name="connsiteY7" fmla="*/ 11338 h 12598"/>
                <a:gd name="connsiteX8" fmla="*/ 10079 w 25196"/>
                <a:gd name="connsiteY8" fmla="*/ 11338 h 12598"/>
                <a:gd name="connsiteX9" fmla="*/ 7559 w 25196"/>
                <a:gd name="connsiteY9" fmla="*/ 8819 h 12598"/>
                <a:gd name="connsiteX10" fmla="*/ 1260 w 25196"/>
                <a:gd name="connsiteY10" fmla="*/ 2520 h 12598"/>
                <a:gd name="connsiteX11" fmla="*/ 0 w 25196"/>
                <a:gd name="connsiteY11" fmla="*/ 0 h 12598"/>
                <a:gd name="connsiteX12" fmla="*/ 0 w 25196"/>
                <a:gd name="connsiteY12" fmla="*/ 1260 h 12598"/>
                <a:gd name="connsiteX13" fmla="*/ 2520 w 25196"/>
                <a:gd name="connsiteY13" fmla="*/ 8819 h 12598"/>
                <a:gd name="connsiteX14" fmla="*/ 3780 w 25196"/>
                <a:gd name="connsiteY14" fmla="*/ 10079 h 12598"/>
                <a:gd name="connsiteX15" fmla="*/ 5039 w 25196"/>
                <a:gd name="connsiteY15" fmla="*/ 11338 h 12598"/>
                <a:gd name="connsiteX16" fmla="*/ 8819 w 25196"/>
                <a:gd name="connsiteY16" fmla="*/ 15118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196" h="12598">
                  <a:moveTo>
                    <a:pt x="8819" y="15118"/>
                  </a:moveTo>
                  <a:cubicBezTo>
                    <a:pt x="10079" y="16378"/>
                    <a:pt x="12598" y="16378"/>
                    <a:pt x="13858" y="16378"/>
                  </a:cubicBezTo>
                  <a:cubicBezTo>
                    <a:pt x="15118" y="16378"/>
                    <a:pt x="16378" y="16378"/>
                    <a:pt x="17637" y="16378"/>
                  </a:cubicBezTo>
                  <a:lnTo>
                    <a:pt x="17637" y="16378"/>
                  </a:lnTo>
                  <a:cubicBezTo>
                    <a:pt x="20157" y="16378"/>
                    <a:pt x="22677" y="16378"/>
                    <a:pt x="25196" y="17637"/>
                  </a:cubicBezTo>
                  <a:cubicBezTo>
                    <a:pt x="23937" y="17637"/>
                    <a:pt x="21417" y="16378"/>
                    <a:pt x="20157" y="16378"/>
                  </a:cubicBezTo>
                  <a:cubicBezTo>
                    <a:pt x="17637" y="15118"/>
                    <a:pt x="16378" y="15118"/>
                    <a:pt x="15118" y="13858"/>
                  </a:cubicBezTo>
                  <a:cubicBezTo>
                    <a:pt x="13858" y="12598"/>
                    <a:pt x="12598" y="12598"/>
                    <a:pt x="10079" y="11338"/>
                  </a:cubicBezTo>
                  <a:lnTo>
                    <a:pt x="10079" y="11338"/>
                  </a:lnTo>
                  <a:cubicBezTo>
                    <a:pt x="8819" y="10079"/>
                    <a:pt x="7559" y="10079"/>
                    <a:pt x="7559" y="8819"/>
                  </a:cubicBezTo>
                  <a:cubicBezTo>
                    <a:pt x="6299" y="7559"/>
                    <a:pt x="3780" y="5039"/>
                    <a:pt x="1260" y="2520"/>
                  </a:cubicBezTo>
                  <a:cubicBezTo>
                    <a:pt x="0" y="1260"/>
                    <a:pt x="0" y="1260"/>
                    <a:pt x="0" y="0"/>
                  </a:cubicBezTo>
                  <a:cubicBezTo>
                    <a:pt x="0" y="0"/>
                    <a:pt x="0" y="1260"/>
                    <a:pt x="0" y="1260"/>
                  </a:cubicBezTo>
                  <a:cubicBezTo>
                    <a:pt x="1260" y="3780"/>
                    <a:pt x="2520" y="6299"/>
                    <a:pt x="2520" y="8819"/>
                  </a:cubicBezTo>
                  <a:cubicBezTo>
                    <a:pt x="2520" y="8819"/>
                    <a:pt x="2520" y="10079"/>
                    <a:pt x="3780" y="10079"/>
                  </a:cubicBezTo>
                  <a:cubicBezTo>
                    <a:pt x="3780" y="10079"/>
                    <a:pt x="3780" y="11338"/>
                    <a:pt x="5039" y="11338"/>
                  </a:cubicBezTo>
                  <a:cubicBezTo>
                    <a:pt x="6299" y="12598"/>
                    <a:pt x="7559" y="13858"/>
                    <a:pt x="8819" y="15118"/>
                  </a:cubicBezTo>
                  <a:close/>
                </a:path>
              </a:pathLst>
            </a:custGeom>
            <a:solidFill>
              <a:srgbClr val="54F3F5"/>
            </a:solidFill>
            <a:ln w="12584" cap="flat">
              <a:noFill/>
              <a:prstDash val="solid"/>
              <a:miter/>
            </a:ln>
          </p:spPr>
          <p:txBody>
            <a:bodyPr rtlCol="0" anchor="ctr"/>
            <a:lstStyle/>
            <a:p>
              <a:endParaRPr lang="zh-CN" altLang="en-US"/>
            </a:p>
          </p:txBody>
        </p:sp>
        <p:sp>
          <p:nvSpPr>
            <p:cNvPr id="118" name="任意多边形: 形状 117"/>
            <p:cNvSpPr/>
            <p:nvPr/>
          </p:nvSpPr>
          <p:spPr>
            <a:xfrm>
              <a:off x="8355757" y="4337581"/>
              <a:ext cx="8580" cy="8580"/>
            </a:xfrm>
            <a:custGeom>
              <a:avLst/>
              <a:gdLst>
                <a:gd name="connsiteX0" fmla="*/ 945 w 0"/>
                <a:gd name="connsiteY0" fmla="*/ 0 h 0"/>
                <a:gd name="connsiteX1" fmla="*/ 945 w 0"/>
                <a:gd name="connsiteY1" fmla="*/ 0 h 0"/>
                <a:gd name="connsiteX2" fmla="*/ 945 w 0"/>
                <a:gd name="connsiteY2" fmla="*/ 0 h 0"/>
                <a:gd name="connsiteX3" fmla="*/ 945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45" y="0"/>
                  </a:moveTo>
                  <a:cubicBezTo>
                    <a:pt x="-315" y="0"/>
                    <a:pt x="-315" y="0"/>
                    <a:pt x="945" y="0"/>
                  </a:cubicBezTo>
                  <a:cubicBezTo>
                    <a:pt x="-315" y="0"/>
                    <a:pt x="-315" y="0"/>
                    <a:pt x="945" y="0"/>
                  </a:cubicBezTo>
                  <a:cubicBezTo>
                    <a:pt x="-315" y="0"/>
                    <a:pt x="-315" y="0"/>
                    <a:pt x="945" y="0"/>
                  </a:cubicBezTo>
                  <a:close/>
                </a:path>
              </a:pathLst>
            </a:custGeom>
            <a:solidFill>
              <a:srgbClr val="54F3F5"/>
            </a:solidFill>
            <a:ln w="12584" cap="flat">
              <a:noFill/>
              <a:prstDash val="solid"/>
              <a:miter/>
            </a:ln>
          </p:spPr>
          <p:txBody>
            <a:bodyPr rtlCol="0" anchor="ctr"/>
            <a:lstStyle/>
            <a:p>
              <a:endParaRPr lang="zh-CN" altLang="en-US"/>
            </a:p>
          </p:txBody>
        </p:sp>
        <p:sp>
          <p:nvSpPr>
            <p:cNvPr id="119" name="任意多边形: 形状 118"/>
            <p:cNvSpPr/>
            <p:nvPr/>
          </p:nvSpPr>
          <p:spPr>
            <a:xfrm>
              <a:off x="8393296" y="4280951"/>
              <a:ext cx="8580" cy="8580"/>
            </a:xfrm>
            <a:custGeom>
              <a:avLst/>
              <a:gdLst>
                <a:gd name="connsiteX0" fmla="*/ 0 w 0"/>
                <a:gd name="connsiteY0" fmla="*/ 0 h 0"/>
                <a:gd name="connsiteX1" fmla="*/ 0 w 0"/>
                <a:gd name="connsiteY1" fmla="*/ 0 h 0"/>
                <a:gd name="connsiteX2" fmla="*/ 0 w 0"/>
                <a:gd name="connsiteY2" fmla="*/ 0 h 0"/>
                <a:gd name="connsiteX3" fmla="*/ 0 w 0"/>
                <a:gd name="connsiteY3" fmla="*/ 1260 h 0"/>
                <a:gd name="connsiteX4" fmla="*/ 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0"/>
                  </a:moveTo>
                  <a:lnTo>
                    <a:pt x="0" y="0"/>
                  </a:lnTo>
                  <a:lnTo>
                    <a:pt x="0" y="0"/>
                  </a:lnTo>
                  <a:lnTo>
                    <a:pt x="0" y="1260"/>
                  </a:lnTo>
                  <a:lnTo>
                    <a:pt x="0" y="0"/>
                  </a:lnTo>
                  <a:close/>
                </a:path>
              </a:pathLst>
            </a:custGeom>
            <a:solidFill>
              <a:srgbClr val="54F3F5"/>
            </a:solidFill>
            <a:ln w="12584" cap="flat">
              <a:noFill/>
              <a:prstDash val="solid"/>
              <a:miter/>
            </a:ln>
          </p:spPr>
          <p:txBody>
            <a:bodyPr rtlCol="0" anchor="ctr"/>
            <a:lstStyle/>
            <a:p>
              <a:endParaRPr lang="zh-CN" altLang="en-US"/>
            </a:p>
          </p:txBody>
        </p:sp>
        <p:sp>
          <p:nvSpPr>
            <p:cNvPr id="120" name="任意多边形: 形状 119"/>
            <p:cNvSpPr/>
            <p:nvPr/>
          </p:nvSpPr>
          <p:spPr>
            <a:xfrm>
              <a:off x="8383000" y="4244055"/>
              <a:ext cx="8580" cy="8580"/>
            </a:xfrm>
            <a:custGeom>
              <a:avLst/>
              <a:gdLst>
                <a:gd name="connsiteX0" fmla="*/ 0 w 0"/>
                <a:gd name="connsiteY0" fmla="*/ 0 h 0"/>
                <a:gd name="connsiteX1" fmla="*/ 1260 w 0"/>
                <a:gd name="connsiteY1" fmla="*/ 3779 h 0"/>
                <a:gd name="connsiteX2" fmla="*/ 1260 w 0"/>
                <a:gd name="connsiteY2" fmla="*/ 3779 h 0"/>
                <a:gd name="connsiteX3" fmla="*/ 1260 w 0"/>
                <a:gd name="connsiteY3" fmla="*/ 3779 h 0"/>
                <a:gd name="connsiteX4" fmla="*/ 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0"/>
                  </a:moveTo>
                  <a:cubicBezTo>
                    <a:pt x="0" y="1260"/>
                    <a:pt x="1260" y="2520"/>
                    <a:pt x="1260" y="3779"/>
                  </a:cubicBezTo>
                  <a:lnTo>
                    <a:pt x="1260" y="3779"/>
                  </a:lnTo>
                  <a:lnTo>
                    <a:pt x="1260" y="3779"/>
                  </a:lnTo>
                  <a:cubicBezTo>
                    <a:pt x="1260" y="2520"/>
                    <a:pt x="0" y="1260"/>
                    <a:pt x="0" y="0"/>
                  </a:cubicBezTo>
                  <a:close/>
                </a:path>
              </a:pathLst>
            </a:custGeom>
            <a:solidFill>
              <a:srgbClr val="54F3F5"/>
            </a:solidFill>
            <a:ln w="12584" cap="flat">
              <a:noFill/>
              <a:prstDash val="solid"/>
              <a:miter/>
            </a:ln>
          </p:spPr>
          <p:txBody>
            <a:bodyPr rtlCol="0" anchor="ctr"/>
            <a:lstStyle/>
            <a:p>
              <a:endParaRPr lang="zh-CN" altLang="en-US"/>
            </a:p>
          </p:txBody>
        </p:sp>
        <p:sp>
          <p:nvSpPr>
            <p:cNvPr id="121" name="任意多边形: 形状 120"/>
            <p:cNvSpPr/>
            <p:nvPr/>
          </p:nvSpPr>
          <p:spPr>
            <a:xfrm>
              <a:off x="8313499" y="4031263"/>
              <a:ext cx="8580" cy="42902"/>
            </a:xfrm>
            <a:custGeom>
              <a:avLst/>
              <a:gdLst>
                <a:gd name="connsiteX0" fmla="*/ 1260 w 0"/>
                <a:gd name="connsiteY0" fmla="*/ 68030 h 62991"/>
                <a:gd name="connsiteX1" fmla="*/ 1260 w 0"/>
                <a:gd name="connsiteY1" fmla="*/ 68030 h 62991"/>
                <a:gd name="connsiteX2" fmla="*/ 1260 w 0"/>
                <a:gd name="connsiteY2" fmla="*/ 66771 h 62991"/>
                <a:gd name="connsiteX3" fmla="*/ 1260 w 0"/>
                <a:gd name="connsiteY3" fmla="*/ 65511 h 62991"/>
                <a:gd name="connsiteX4" fmla="*/ 1260 w 0"/>
                <a:gd name="connsiteY4" fmla="*/ 64251 h 62991"/>
                <a:gd name="connsiteX5" fmla="*/ 1260 w 0"/>
                <a:gd name="connsiteY5" fmla="*/ 60472 h 62991"/>
                <a:gd name="connsiteX6" fmla="*/ 1260 w 0"/>
                <a:gd name="connsiteY6" fmla="*/ 57952 h 62991"/>
                <a:gd name="connsiteX7" fmla="*/ 1260 w 0"/>
                <a:gd name="connsiteY7" fmla="*/ 55432 h 62991"/>
                <a:gd name="connsiteX8" fmla="*/ 1260 w 0"/>
                <a:gd name="connsiteY8" fmla="*/ 45354 h 62991"/>
                <a:gd name="connsiteX9" fmla="*/ 1260 w 0"/>
                <a:gd name="connsiteY9" fmla="*/ 42834 h 62991"/>
                <a:gd name="connsiteX10" fmla="*/ 0 w 0"/>
                <a:gd name="connsiteY10" fmla="*/ 32755 h 62991"/>
                <a:gd name="connsiteX11" fmla="*/ 0 w 0"/>
                <a:gd name="connsiteY11" fmla="*/ 30236 h 62991"/>
                <a:gd name="connsiteX12" fmla="*/ 0 w 0"/>
                <a:gd name="connsiteY12" fmla="*/ 27716 h 62991"/>
                <a:gd name="connsiteX13" fmla="*/ 0 w 0"/>
                <a:gd name="connsiteY13" fmla="*/ 25196 h 62991"/>
                <a:gd name="connsiteX14" fmla="*/ 0 w 0"/>
                <a:gd name="connsiteY14" fmla="*/ 21417 h 62991"/>
                <a:gd name="connsiteX15" fmla="*/ 0 w 0"/>
                <a:gd name="connsiteY15" fmla="*/ 13858 h 62991"/>
                <a:gd name="connsiteX16" fmla="*/ 0 w 0"/>
                <a:gd name="connsiteY16" fmla="*/ 10079 h 62991"/>
                <a:gd name="connsiteX17" fmla="*/ 0 w 0"/>
                <a:gd name="connsiteY17" fmla="*/ 8819 h 62991"/>
                <a:gd name="connsiteX18" fmla="*/ 0 w 0"/>
                <a:gd name="connsiteY18" fmla="*/ 5039 h 62991"/>
                <a:gd name="connsiteX19" fmla="*/ 0 w 0"/>
                <a:gd name="connsiteY19" fmla="*/ 3780 h 62991"/>
                <a:gd name="connsiteX20" fmla="*/ 0 w 0"/>
                <a:gd name="connsiteY20" fmla="*/ 1260 h 62991"/>
                <a:gd name="connsiteX21" fmla="*/ 0 w 0"/>
                <a:gd name="connsiteY21" fmla="*/ 1260 h 62991"/>
                <a:gd name="connsiteX22" fmla="*/ 0 w 0"/>
                <a:gd name="connsiteY22" fmla="*/ 1260 h 62991"/>
                <a:gd name="connsiteX23" fmla="*/ 0 w 0"/>
                <a:gd name="connsiteY23" fmla="*/ 1260 h 62991"/>
                <a:gd name="connsiteX24" fmla="*/ 0 w 0"/>
                <a:gd name="connsiteY24" fmla="*/ 1260 h 62991"/>
                <a:gd name="connsiteX25" fmla="*/ 0 w 0"/>
                <a:gd name="connsiteY25" fmla="*/ 1260 h 62991"/>
                <a:gd name="connsiteX26" fmla="*/ 0 w 0"/>
                <a:gd name="connsiteY26" fmla="*/ 0 h 62991"/>
                <a:gd name="connsiteX27" fmla="*/ 0 w 0"/>
                <a:gd name="connsiteY27" fmla="*/ 6299 h 62991"/>
                <a:gd name="connsiteX28" fmla="*/ 1260 w 0"/>
                <a:gd name="connsiteY28" fmla="*/ 31496 h 62991"/>
                <a:gd name="connsiteX29" fmla="*/ 2520 w 0"/>
                <a:gd name="connsiteY29" fmla="*/ 70550 h 62991"/>
                <a:gd name="connsiteX30" fmla="*/ 2520 w 0"/>
                <a:gd name="connsiteY30" fmla="*/ 70550 h 62991"/>
                <a:gd name="connsiteX31" fmla="*/ 2520 w 0"/>
                <a:gd name="connsiteY31" fmla="*/ 70550 h 62991"/>
                <a:gd name="connsiteX32" fmla="*/ 1260 w 0"/>
                <a:gd name="connsiteY32" fmla="*/ 68030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h="62991">
                  <a:moveTo>
                    <a:pt x="1260" y="68030"/>
                  </a:moveTo>
                  <a:cubicBezTo>
                    <a:pt x="1260" y="68030"/>
                    <a:pt x="1260" y="68030"/>
                    <a:pt x="1260" y="68030"/>
                  </a:cubicBezTo>
                  <a:lnTo>
                    <a:pt x="1260" y="66771"/>
                  </a:lnTo>
                  <a:lnTo>
                    <a:pt x="1260" y="65511"/>
                  </a:lnTo>
                  <a:lnTo>
                    <a:pt x="1260" y="64251"/>
                  </a:lnTo>
                  <a:cubicBezTo>
                    <a:pt x="1260" y="62991"/>
                    <a:pt x="1260" y="61731"/>
                    <a:pt x="1260" y="60472"/>
                  </a:cubicBezTo>
                  <a:cubicBezTo>
                    <a:pt x="1260" y="59212"/>
                    <a:pt x="1260" y="59212"/>
                    <a:pt x="1260" y="57952"/>
                  </a:cubicBezTo>
                  <a:cubicBezTo>
                    <a:pt x="1260" y="56692"/>
                    <a:pt x="1260" y="56692"/>
                    <a:pt x="1260" y="55432"/>
                  </a:cubicBezTo>
                  <a:cubicBezTo>
                    <a:pt x="1260" y="51653"/>
                    <a:pt x="1260" y="49133"/>
                    <a:pt x="1260" y="45354"/>
                  </a:cubicBezTo>
                  <a:cubicBezTo>
                    <a:pt x="1260" y="44094"/>
                    <a:pt x="1260" y="44094"/>
                    <a:pt x="1260" y="42834"/>
                  </a:cubicBezTo>
                  <a:cubicBezTo>
                    <a:pt x="1260" y="40314"/>
                    <a:pt x="1260" y="36535"/>
                    <a:pt x="0" y="32755"/>
                  </a:cubicBezTo>
                  <a:cubicBezTo>
                    <a:pt x="0" y="31496"/>
                    <a:pt x="0" y="30236"/>
                    <a:pt x="0" y="30236"/>
                  </a:cubicBezTo>
                  <a:cubicBezTo>
                    <a:pt x="0" y="28976"/>
                    <a:pt x="0" y="28976"/>
                    <a:pt x="0" y="27716"/>
                  </a:cubicBezTo>
                  <a:lnTo>
                    <a:pt x="0" y="25196"/>
                  </a:lnTo>
                  <a:cubicBezTo>
                    <a:pt x="0" y="23937"/>
                    <a:pt x="0" y="22677"/>
                    <a:pt x="0" y="21417"/>
                  </a:cubicBezTo>
                  <a:cubicBezTo>
                    <a:pt x="0" y="18897"/>
                    <a:pt x="0" y="16378"/>
                    <a:pt x="0" y="13858"/>
                  </a:cubicBezTo>
                  <a:cubicBezTo>
                    <a:pt x="0" y="12598"/>
                    <a:pt x="0" y="11338"/>
                    <a:pt x="0" y="10079"/>
                  </a:cubicBezTo>
                  <a:lnTo>
                    <a:pt x="0" y="8819"/>
                  </a:lnTo>
                  <a:cubicBezTo>
                    <a:pt x="0" y="7559"/>
                    <a:pt x="0" y="6299"/>
                    <a:pt x="0" y="5039"/>
                  </a:cubicBezTo>
                  <a:cubicBezTo>
                    <a:pt x="0" y="5039"/>
                    <a:pt x="0" y="3780"/>
                    <a:pt x="0" y="3780"/>
                  </a:cubicBezTo>
                  <a:cubicBezTo>
                    <a:pt x="0" y="2520"/>
                    <a:pt x="0" y="2520"/>
                    <a:pt x="0" y="1260"/>
                  </a:cubicBezTo>
                  <a:lnTo>
                    <a:pt x="0" y="1260"/>
                  </a:lnTo>
                  <a:lnTo>
                    <a:pt x="0" y="1260"/>
                  </a:lnTo>
                  <a:cubicBezTo>
                    <a:pt x="0" y="1260"/>
                    <a:pt x="0" y="1260"/>
                    <a:pt x="0" y="1260"/>
                  </a:cubicBezTo>
                  <a:lnTo>
                    <a:pt x="0" y="1260"/>
                  </a:lnTo>
                  <a:cubicBezTo>
                    <a:pt x="0" y="1260"/>
                    <a:pt x="0" y="1260"/>
                    <a:pt x="0" y="1260"/>
                  </a:cubicBezTo>
                  <a:cubicBezTo>
                    <a:pt x="0" y="1260"/>
                    <a:pt x="0" y="0"/>
                    <a:pt x="0" y="0"/>
                  </a:cubicBezTo>
                  <a:cubicBezTo>
                    <a:pt x="0" y="2520"/>
                    <a:pt x="0" y="3780"/>
                    <a:pt x="0" y="6299"/>
                  </a:cubicBezTo>
                  <a:cubicBezTo>
                    <a:pt x="0" y="13858"/>
                    <a:pt x="1260" y="22677"/>
                    <a:pt x="1260" y="31496"/>
                  </a:cubicBezTo>
                  <a:cubicBezTo>
                    <a:pt x="1260" y="44094"/>
                    <a:pt x="2520" y="57952"/>
                    <a:pt x="2520" y="70550"/>
                  </a:cubicBezTo>
                  <a:cubicBezTo>
                    <a:pt x="2520" y="70550"/>
                    <a:pt x="2520" y="70550"/>
                    <a:pt x="2520" y="70550"/>
                  </a:cubicBezTo>
                  <a:cubicBezTo>
                    <a:pt x="2520" y="70550"/>
                    <a:pt x="2520" y="70550"/>
                    <a:pt x="2520" y="70550"/>
                  </a:cubicBezTo>
                  <a:cubicBezTo>
                    <a:pt x="1260" y="70550"/>
                    <a:pt x="1260" y="69290"/>
                    <a:pt x="1260" y="68030"/>
                  </a:cubicBezTo>
                  <a:close/>
                </a:path>
              </a:pathLst>
            </a:custGeom>
            <a:solidFill>
              <a:srgbClr val="54F3F5"/>
            </a:solidFill>
            <a:ln w="12584" cap="flat">
              <a:noFill/>
              <a:prstDash val="solid"/>
              <a:miter/>
            </a:ln>
          </p:spPr>
          <p:txBody>
            <a:bodyPr rtlCol="0" anchor="ctr"/>
            <a:lstStyle/>
            <a:p>
              <a:endParaRPr lang="zh-CN" altLang="en-US"/>
            </a:p>
          </p:txBody>
        </p:sp>
        <p:sp>
          <p:nvSpPr>
            <p:cNvPr id="122" name="任意多边形: 形状 121"/>
            <p:cNvSpPr/>
            <p:nvPr/>
          </p:nvSpPr>
          <p:spPr>
            <a:xfrm>
              <a:off x="8304919" y="3989219"/>
              <a:ext cx="25741" cy="120125"/>
            </a:xfrm>
            <a:custGeom>
              <a:avLst/>
              <a:gdLst>
                <a:gd name="connsiteX0" fmla="*/ 8819 w 37794"/>
                <a:gd name="connsiteY0" fmla="*/ 44094 h 176375"/>
                <a:gd name="connsiteX1" fmla="*/ 8819 w 37794"/>
                <a:gd name="connsiteY1" fmla="*/ 45354 h 176375"/>
                <a:gd name="connsiteX2" fmla="*/ 8819 w 37794"/>
                <a:gd name="connsiteY2" fmla="*/ 46614 h 176375"/>
                <a:gd name="connsiteX3" fmla="*/ 8819 w 37794"/>
                <a:gd name="connsiteY3" fmla="*/ 49133 h 176375"/>
                <a:gd name="connsiteX4" fmla="*/ 8819 w 37794"/>
                <a:gd name="connsiteY4" fmla="*/ 50393 h 176375"/>
                <a:gd name="connsiteX5" fmla="*/ 8819 w 37794"/>
                <a:gd name="connsiteY5" fmla="*/ 52913 h 176375"/>
                <a:gd name="connsiteX6" fmla="*/ 8819 w 37794"/>
                <a:gd name="connsiteY6" fmla="*/ 59212 h 176375"/>
                <a:gd name="connsiteX7" fmla="*/ 8819 w 37794"/>
                <a:gd name="connsiteY7" fmla="*/ 62991 h 176375"/>
                <a:gd name="connsiteX8" fmla="*/ 8819 w 37794"/>
                <a:gd name="connsiteY8" fmla="*/ 64251 h 176375"/>
                <a:gd name="connsiteX9" fmla="*/ 8819 w 37794"/>
                <a:gd name="connsiteY9" fmla="*/ 64251 h 176375"/>
                <a:gd name="connsiteX10" fmla="*/ 8819 w 37794"/>
                <a:gd name="connsiteY10" fmla="*/ 64251 h 176375"/>
                <a:gd name="connsiteX11" fmla="*/ 8819 w 37794"/>
                <a:gd name="connsiteY11" fmla="*/ 64251 h 176375"/>
                <a:gd name="connsiteX12" fmla="*/ 8819 w 37794"/>
                <a:gd name="connsiteY12" fmla="*/ 64251 h 176375"/>
                <a:gd name="connsiteX13" fmla="*/ 8819 w 37794"/>
                <a:gd name="connsiteY13" fmla="*/ 64251 h 176375"/>
                <a:gd name="connsiteX14" fmla="*/ 8819 w 37794"/>
                <a:gd name="connsiteY14" fmla="*/ 66771 h 176375"/>
                <a:gd name="connsiteX15" fmla="*/ 8819 w 37794"/>
                <a:gd name="connsiteY15" fmla="*/ 68031 h 176375"/>
                <a:gd name="connsiteX16" fmla="*/ 8819 w 37794"/>
                <a:gd name="connsiteY16" fmla="*/ 71810 h 176375"/>
                <a:gd name="connsiteX17" fmla="*/ 8819 w 37794"/>
                <a:gd name="connsiteY17" fmla="*/ 73070 h 176375"/>
                <a:gd name="connsiteX18" fmla="*/ 8819 w 37794"/>
                <a:gd name="connsiteY18" fmla="*/ 76849 h 176375"/>
                <a:gd name="connsiteX19" fmla="*/ 8819 w 37794"/>
                <a:gd name="connsiteY19" fmla="*/ 84408 h 176375"/>
                <a:gd name="connsiteX20" fmla="*/ 8819 w 37794"/>
                <a:gd name="connsiteY20" fmla="*/ 88188 h 176375"/>
                <a:gd name="connsiteX21" fmla="*/ 8819 w 37794"/>
                <a:gd name="connsiteY21" fmla="*/ 90707 h 176375"/>
                <a:gd name="connsiteX22" fmla="*/ 8819 w 37794"/>
                <a:gd name="connsiteY22" fmla="*/ 93227 h 176375"/>
                <a:gd name="connsiteX23" fmla="*/ 8819 w 37794"/>
                <a:gd name="connsiteY23" fmla="*/ 95747 h 176375"/>
                <a:gd name="connsiteX24" fmla="*/ 10079 w 37794"/>
                <a:gd name="connsiteY24" fmla="*/ 105825 h 176375"/>
                <a:gd name="connsiteX25" fmla="*/ 10079 w 37794"/>
                <a:gd name="connsiteY25" fmla="*/ 108345 h 176375"/>
                <a:gd name="connsiteX26" fmla="*/ 10079 w 37794"/>
                <a:gd name="connsiteY26" fmla="*/ 118424 h 176375"/>
                <a:gd name="connsiteX27" fmla="*/ 10079 w 37794"/>
                <a:gd name="connsiteY27" fmla="*/ 120943 h 176375"/>
                <a:gd name="connsiteX28" fmla="*/ 10079 w 37794"/>
                <a:gd name="connsiteY28" fmla="*/ 123463 h 176375"/>
                <a:gd name="connsiteX29" fmla="*/ 10079 w 37794"/>
                <a:gd name="connsiteY29" fmla="*/ 127242 h 176375"/>
                <a:gd name="connsiteX30" fmla="*/ 10079 w 37794"/>
                <a:gd name="connsiteY30" fmla="*/ 128502 h 176375"/>
                <a:gd name="connsiteX31" fmla="*/ 10079 w 37794"/>
                <a:gd name="connsiteY31" fmla="*/ 129762 h 176375"/>
                <a:gd name="connsiteX32" fmla="*/ 10079 w 37794"/>
                <a:gd name="connsiteY32" fmla="*/ 131022 h 176375"/>
                <a:gd name="connsiteX33" fmla="*/ 10079 w 37794"/>
                <a:gd name="connsiteY33" fmla="*/ 132281 h 176375"/>
                <a:gd name="connsiteX34" fmla="*/ 10079 w 37794"/>
                <a:gd name="connsiteY34" fmla="*/ 136061 h 176375"/>
                <a:gd name="connsiteX35" fmla="*/ 10079 w 37794"/>
                <a:gd name="connsiteY35" fmla="*/ 136061 h 176375"/>
                <a:gd name="connsiteX36" fmla="*/ 10079 w 37794"/>
                <a:gd name="connsiteY36" fmla="*/ 148659 h 176375"/>
                <a:gd name="connsiteX37" fmla="*/ 10079 w 37794"/>
                <a:gd name="connsiteY37" fmla="*/ 149919 h 176375"/>
                <a:gd name="connsiteX38" fmla="*/ 11338 w 37794"/>
                <a:gd name="connsiteY38" fmla="*/ 166297 h 176375"/>
                <a:gd name="connsiteX39" fmla="*/ 11338 w 37794"/>
                <a:gd name="connsiteY39" fmla="*/ 173856 h 176375"/>
                <a:gd name="connsiteX40" fmla="*/ 11338 w 37794"/>
                <a:gd name="connsiteY40" fmla="*/ 183934 h 176375"/>
                <a:gd name="connsiteX41" fmla="*/ 11338 w 37794"/>
                <a:gd name="connsiteY41" fmla="*/ 183934 h 176375"/>
                <a:gd name="connsiteX42" fmla="*/ 11338 w 37794"/>
                <a:gd name="connsiteY42" fmla="*/ 183934 h 176375"/>
                <a:gd name="connsiteX43" fmla="*/ 11338 w 37794"/>
                <a:gd name="connsiteY43" fmla="*/ 183934 h 176375"/>
                <a:gd name="connsiteX44" fmla="*/ 11338 w 37794"/>
                <a:gd name="connsiteY44" fmla="*/ 183934 h 176375"/>
                <a:gd name="connsiteX45" fmla="*/ 12598 w 37794"/>
                <a:gd name="connsiteY45" fmla="*/ 185194 h 176375"/>
                <a:gd name="connsiteX46" fmla="*/ 12598 w 37794"/>
                <a:gd name="connsiteY46" fmla="*/ 185194 h 176375"/>
                <a:gd name="connsiteX47" fmla="*/ 13858 w 37794"/>
                <a:gd name="connsiteY47" fmla="*/ 185194 h 176375"/>
                <a:gd name="connsiteX48" fmla="*/ 15118 w 37794"/>
                <a:gd name="connsiteY48" fmla="*/ 185194 h 176375"/>
                <a:gd name="connsiteX49" fmla="*/ 16378 w 37794"/>
                <a:gd name="connsiteY49" fmla="*/ 185194 h 176375"/>
                <a:gd name="connsiteX50" fmla="*/ 17637 w 37794"/>
                <a:gd name="connsiteY50" fmla="*/ 183934 h 176375"/>
                <a:gd name="connsiteX51" fmla="*/ 17637 w 37794"/>
                <a:gd name="connsiteY51" fmla="*/ 183934 h 176375"/>
                <a:gd name="connsiteX52" fmla="*/ 18897 w 37794"/>
                <a:gd name="connsiteY52" fmla="*/ 178895 h 176375"/>
                <a:gd name="connsiteX53" fmla="*/ 18897 w 37794"/>
                <a:gd name="connsiteY53" fmla="*/ 178895 h 176375"/>
                <a:gd name="connsiteX54" fmla="*/ 18897 w 37794"/>
                <a:gd name="connsiteY54" fmla="*/ 177635 h 176375"/>
                <a:gd name="connsiteX55" fmla="*/ 20157 w 37794"/>
                <a:gd name="connsiteY55" fmla="*/ 173856 h 176375"/>
                <a:gd name="connsiteX56" fmla="*/ 20157 w 37794"/>
                <a:gd name="connsiteY56" fmla="*/ 173856 h 176375"/>
                <a:gd name="connsiteX57" fmla="*/ 20157 w 37794"/>
                <a:gd name="connsiteY57" fmla="*/ 173856 h 176375"/>
                <a:gd name="connsiteX58" fmla="*/ 21417 w 37794"/>
                <a:gd name="connsiteY58" fmla="*/ 165037 h 176375"/>
                <a:gd name="connsiteX59" fmla="*/ 21417 w 37794"/>
                <a:gd name="connsiteY59" fmla="*/ 163777 h 176375"/>
                <a:gd name="connsiteX60" fmla="*/ 21417 w 37794"/>
                <a:gd name="connsiteY60" fmla="*/ 161257 h 176375"/>
                <a:gd name="connsiteX61" fmla="*/ 21417 w 37794"/>
                <a:gd name="connsiteY61" fmla="*/ 158738 h 176375"/>
                <a:gd name="connsiteX62" fmla="*/ 21417 w 37794"/>
                <a:gd name="connsiteY62" fmla="*/ 158738 h 176375"/>
                <a:gd name="connsiteX63" fmla="*/ 21417 w 37794"/>
                <a:gd name="connsiteY63" fmla="*/ 158738 h 176375"/>
                <a:gd name="connsiteX64" fmla="*/ 21417 w 37794"/>
                <a:gd name="connsiteY64" fmla="*/ 158738 h 176375"/>
                <a:gd name="connsiteX65" fmla="*/ 21417 w 37794"/>
                <a:gd name="connsiteY65" fmla="*/ 154958 h 176375"/>
                <a:gd name="connsiteX66" fmla="*/ 22677 w 37794"/>
                <a:gd name="connsiteY66" fmla="*/ 143620 h 176375"/>
                <a:gd name="connsiteX67" fmla="*/ 23937 w 37794"/>
                <a:gd name="connsiteY67" fmla="*/ 133541 h 176375"/>
                <a:gd name="connsiteX68" fmla="*/ 25196 w 37794"/>
                <a:gd name="connsiteY68" fmla="*/ 128502 h 176375"/>
                <a:gd name="connsiteX69" fmla="*/ 25196 w 37794"/>
                <a:gd name="connsiteY69" fmla="*/ 127242 h 176375"/>
                <a:gd name="connsiteX70" fmla="*/ 26456 w 37794"/>
                <a:gd name="connsiteY70" fmla="*/ 122203 h 176375"/>
                <a:gd name="connsiteX71" fmla="*/ 26456 w 37794"/>
                <a:gd name="connsiteY71" fmla="*/ 119683 h 176375"/>
                <a:gd name="connsiteX72" fmla="*/ 26456 w 37794"/>
                <a:gd name="connsiteY72" fmla="*/ 119683 h 176375"/>
                <a:gd name="connsiteX73" fmla="*/ 26456 w 37794"/>
                <a:gd name="connsiteY73" fmla="*/ 119683 h 176375"/>
                <a:gd name="connsiteX74" fmla="*/ 26456 w 37794"/>
                <a:gd name="connsiteY74" fmla="*/ 118424 h 176375"/>
                <a:gd name="connsiteX75" fmla="*/ 26456 w 37794"/>
                <a:gd name="connsiteY75" fmla="*/ 117164 h 176375"/>
                <a:gd name="connsiteX76" fmla="*/ 26456 w 37794"/>
                <a:gd name="connsiteY76" fmla="*/ 117164 h 176375"/>
                <a:gd name="connsiteX77" fmla="*/ 26456 w 37794"/>
                <a:gd name="connsiteY77" fmla="*/ 117164 h 176375"/>
                <a:gd name="connsiteX78" fmla="*/ 27716 w 37794"/>
                <a:gd name="connsiteY78" fmla="*/ 112124 h 176375"/>
                <a:gd name="connsiteX79" fmla="*/ 28976 w 37794"/>
                <a:gd name="connsiteY79" fmla="*/ 102046 h 176375"/>
                <a:gd name="connsiteX80" fmla="*/ 31496 w 37794"/>
                <a:gd name="connsiteY80" fmla="*/ 86928 h 176375"/>
                <a:gd name="connsiteX81" fmla="*/ 31496 w 37794"/>
                <a:gd name="connsiteY81" fmla="*/ 85668 h 176375"/>
                <a:gd name="connsiteX82" fmla="*/ 32755 w 37794"/>
                <a:gd name="connsiteY82" fmla="*/ 79369 h 176375"/>
                <a:gd name="connsiteX83" fmla="*/ 32755 w 37794"/>
                <a:gd name="connsiteY83" fmla="*/ 75589 h 176375"/>
                <a:gd name="connsiteX84" fmla="*/ 32755 w 37794"/>
                <a:gd name="connsiteY84" fmla="*/ 74330 h 176375"/>
                <a:gd name="connsiteX85" fmla="*/ 32755 w 37794"/>
                <a:gd name="connsiteY85" fmla="*/ 73070 h 176375"/>
                <a:gd name="connsiteX86" fmla="*/ 32755 w 37794"/>
                <a:gd name="connsiteY86" fmla="*/ 73070 h 176375"/>
                <a:gd name="connsiteX87" fmla="*/ 34015 w 37794"/>
                <a:gd name="connsiteY87" fmla="*/ 69290 h 176375"/>
                <a:gd name="connsiteX88" fmla="*/ 34015 w 37794"/>
                <a:gd name="connsiteY88" fmla="*/ 68031 h 176375"/>
                <a:gd name="connsiteX89" fmla="*/ 34015 w 37794"/>
                <a:gd name="connsiteY89" fmla="*/ 66771 h 176375"/>
                <a:gd name="connsiteX90" fmla="*/ 35275 w 37794"/>
                <a:gd name="connsiteY90" fmla="*/ 64251 h 176375"/>
                <a:gd name="connsiteX91" fmla="*/ 35275 w 37794"/>
                <a:gd name="connsiteY91" fmla="*/ 61731 h 176375"/>
                <a:gd name="connsiteX92" fmla="*/ 35275 w 37794"/>
                <a:gd name="connsiteY92" fmla="*/ 59212 h 176375"/>
                <a:gd name="connsiteX93" fmla="*/ 36535 w 37794"/>
                <a:gd name="connsiteY93" fmla="*/ 55432 h 176375"/>
                <a:gd name="connsiteX94" fmla="*/ 36535 w 37794"/>
                <a:gd name="connsiteY94" fmla="*/ 54172 h 176375"/>
                <a:gd name="connsiteX95" fmla="*/ 37795 w 37794"/>
                <a:gd name="connsiteY95" fmla="*/ 50393 h 176375"/>
                <a:gd name="connsiteX96" fmla="*/ 40314 w 37794"/>
                <a:gd name="connsiteY96" fmla="*/ 39055 h 176375"/>
                <a:gd name="connsiteX97" fmla="*/ 40314 w 37794"/>
                <a:gd name="connsiteY97" fmla="*/ 36535 h 176375"/>
                <a:gd name="connsiteX98" fmla="*/ 41574 w 37794"/>
                <a:gd name="connsiteY98" fmla="*/ 34015 h 176375"/>
                <a:gd name="connsiteX99" fmla="*/ 41574 w 37794"/>
                <a:gd name="connsiteY99" fmla="*/ 34015 h 176375"/>
                <a:gd name="connsiteX100" fmla="*/ 41574 w 37794"/>
                <a:gd name="connsiteY100" fmla="*/ 32755 h 176375"/>
                <a:gd name="connsiteX101" fmla="*/ 42834 w 37794"/>
                <a:gd name="connsiteY101" fmla="*/ 30236 h 176375"/>
                <a:gd name="connsiteX102" fmla="*/ 42834 w 37794"/>
                <a:gd name="connsiteY102" fmla="*/ 28976 h 176375"/>
                <a:gd name="connsiteX103" fmla="*/ 42834 w 37794"/>
                <a:gd name="connsiteY103" fmla="*/ 27716 h 176375"/>
                <a:gd name="connsiteX104" fmla="*/ 42834 w 37794"/>
                <a:gd name="connsiteY104" fmla="*/ 26456 h 176375"/>
                <a:gd name="connsiteX105" fmla="*/ 42834 w 37794"/>
                <a:gd name="connsiteY105" fmla="*/ 26456 h 176375"/>
                <a:gd name="connsiteX106" fmla="*/ 42834 w 37794"/>
                <a:gd name="connsiteY106" fmla="*/ 25196 h 176375"/>
                <a:gd name="connsiteX107" fmla="*/ 42834 w 37794"/>
                <a:gd name="connsiteY107" fmla="*/ 25196 h 176375"/>
                <a:gd name="connsiteX108" fmla="*/ 42834 w 37794"/>
                <a:gd name="connsiteY108" fmla="*/ 25196 h 176375"/>
                <a:gd name="connsiteX109" fmla="*/ 42834 w 37794"/>
                <a:gd name="connsiteY109" fmla="*/ 22677 h 176375"/>
                <a:gd name="connsiteX110" fmla="*/ 42834 w 37794"/>
                <a:gd name="connsiteY110" fmla="*/ 21417 h 176375"/>
                <a:gd name="connsiteX111" fmla="*/ 44094 w 37794"/>
                <a:gd name="connsiteY111" fmla="*/ 17638 h 176375"/>
                <a:gd name="connsiteX112" fmla="*/ 44094 w 37794"/>
                <a:gd name="connsiteY112" fmla="*/ 16378 h 176375"/>
                <a:gd name="connsiteX113" fmla="*/ 44094 w 37794"/>
                <a:gd name="connsiteY113" fmla="*/ 13858 h 176375"/>
                <a:gd name="connsiteX114" fmla="*/ 44094 w 37794"/>
                <a:gd name="connsiteY114" fmla="*/ 10079 h 176375"/>
                <a:gd name="connsiteX115" fmla="*/ 44094 w 37794"/>
                <a:gd name="connsiteY115" fmla="*/ 8819 h 176375"/>
                <a:gd name="connsiteX116" fmla="*/ 44094 w 37794"/>
                <a:gd name="connsiteY116" fmla="*/ 7559 h 176375"/>
                <a:gd name="connsiteX117" fmla="*/ 44094 w 37794"/>
                <a:gd name="connsiteY117" fmla="*/ 5039 h 176375"/>
                <a:gd name="connsiteX118" fmla="*/ 44094 w 37794"/>
                <a:gd name="connsiteY118" fmla="*/ 2520 h 176375"/>
                <a:gd name="connsiteX119" fmla="*/ 44094 w 37794"/>
                <a:gd name="connsiteY119" fmla="*/ 2520 h 176375"/>
                <a:gd name="connsiteX120" fmla="*/ 44094 w 37794"/>
                <a:gd name="connsiteY120" fmla="*/ 1260 h 176375"/>
                <a:gd name="connsiteX121" fmla="*/ 44094 w 37794"/>
                <a:gd name="connsiteY121" fmla="*/ 1260 h 176375"/>
                <a:gd name="connsiteX122" fmla="*/ 44094 w 37794"/>
                <a:gd name="connsiteY122" fmla="*/ 1260 h 176375"/>
                <a:gd name="connsiteX123" fmla="*/ 44094 w 37794"/>
                <a:gd name="connsiteY123" fmla="*/ 0 h 176375"/>
                <a:gd name="connsiteX124" fmla="*/ 44094 w 37794"/>
                <a:gd name="connsiteY124" fmla="*/ 0 h 176375"/>
                <a:gd name="connsiteX125" fmla="*/ 44094 w 37794"/>
                <a:gd name="connsiteY125" fmla="*/ 0 h 176375"/>
                <a:gd name="connsiteX126" fmla="*/ 44094 w 37794"/>
                <a:gd name="connsiteY126" fmla="*/ 0 h 176375"/>
                <a:gd name="connsiteX127" fmla="*/ 44094 w 37794"/>
                <a:gd name="connsiteY127" fmla="*/ 0 h 176375"/>
                <a:gd name="connsiteX128" fmla="*/ 42834 w 37794"/>
                <a:gd name="connsiteY128" fmla="*/ 0 h 176375"/>
                <a:gd name="connsiteX129" fmla="*/ 42834 w 37794"/>
                <a:gd name="connsiteY129" fmla="*/ 0 h 176375"/>
                <a:gd name="connsiteX130" fmla="*/ 42834 w 37794"/>
                <a:gd name="connsiteY130" fmla="*/ 0 h 176375"/>
                <a:gd name="connsiteX131" fmla="*/ 42834 w 37794"/>
                <a:gd name="connsiteY131" fmla="*/ 0 h 176375"/>
                <a:gd name="connsiteX132" fmla="*/ 41574 w 37794"/>
                <a:gd name="connsiteY132" fmla="*/ 1260 h 176375"/>
                <a:gd name="connsiteX133" fmla="*/ 41574 w 37794"/>
                <a:gd name="connsiteY133" fmla="*/ 1260 h 176375"/>
                <a:gd name="connsiteX134" fmla="*/ 41574 w 37794"/>
                <a:gd name="connsiteY134" fmla="*/ 1260 h 176375"/>
                <a:gd name="connsiteX135" fmla="*/ 39054 w 37794"/>
                <a:gd name="connsiteY135" fmla="*/ 2520 h 176375"/>
                <a:gd name="connsiteX136" fmla="*/ 39054 w 37794"/>
                <a:gd name="connsiteY136" fmla="*/ 2520 h 176375"/>
                <a:gd name="connsiteX137" fmla="*/ 36535 w 37794"/>
                <a:gd name="connsiteY137" fmla="*/ 5039 h 176375"/>
                <a:gd name="connsiteX138" fmla="*/ 36535 w 37794"/>
                <a:gd name="connsiteY138" fmla="*/ 5039 h 176375"/>
                <a:gd name="connsiteX139" fmla="*/ 35275 w 37794"/>
                <a:gd name="connsiteY139" fmla="*/ 6299 h 176375"/>
                <a:gd name="connsiteX140" fmla="*/ 34015 w 37794"/>
                <a:gd name="connsiteY140" fmla="*/ 7559 h 176375"/>
                <a:gd name="connsiteX141" fmla="*/ 34015 w 37794"/>
                <a:gd name="connsiteY141" fmla="*/ 7559 h 176375"/>
                <a:gd name="connsiteX142" fmla="*/ 34015 w 37794"/>
                <a:gd name="connsiteY142" fmla="*/ 7559 h 176375"/>
                <a:gd name="connsiteX143" fmla="*/ 34015 w 37794"/>
                <a:gd name="connsiteY143" fmla="*/ 7559 h 176375"/>
                <a:gd name="connsiteX144" fmla="*/ 34015 w 37794"/>
                <a:gd name="connsiteY144" fmla="*/ 7559 h 176375"/>
                <a:gd name="connsiteX145" fmla="*/ 34015 w 37794"/>
                <a:gd name="connsiteY145" fmla="*/ 7559 h 176375"/>
                <a:gd name="connsiteX146" fmla="*/ 34015 w 37794"/>
                <a:gd name="connsiteY146" fmla="*/ 7559 h 176375"/>
                <a:gd name="connsiteX147" fmla="*/ 34015 w 37794"/>
                <a:gd name="connsiteY147" fmla="*/ 7559 h 176375"/>
                <a:gd name="connsiteX148" fmla="*/ 34015 w 37794"/>
                <a:gd name="connsiteY148" fmla="*/ 7559 h 176375"/>
                <a:gd name="connsiteX149" fmla="*/ 31496 w 37794"/>
                <a:gd name="connsiteY149" fmla="*/ 10079 h 176375"/>
                <a:gd name="connsiteX150" fmla="*/ 28976 w 37794"/>
                <a:gd name="connsiteY150" fmla="*/ 12598 h 176375"/>
                <a:gd name="connsiteX151" fmla="*/ 27716 w 37794"/>
                <a:gd name="connsiteY151" fmla="*/ 13858 h 176375"/>
                <a:gd name="connsiteX152" fmla="*/ 27716 w 37794"/>
                <a:gd name="connsiteY152" fmla="*/ 13858 h 176375"/>
                <a:gd name="connsiteX153" fmla="*/ 25196 w 37794"/>
                <a:gd name="connsiteY153" fmla="*/ 16378 h 176375"/>
                <a:gd name="connsiteX154" fmla="*/ 22677 w 37794"/>
                <a:gd name="connsiteY154" fmla="*/ 17638 h 176375"/>
                <a:gd name="connsiteX155" fmla="*/ 21417 w 37794"/>
                <a:gd name="connsiteY155" fmla="*/ 18897 h 176375"/>
                <a:gd name="connsiteX156" fmla="*/ 21417 w 37794"/>
                <a:gd name="connsiteY156" fmla="*/ 18897 h 176375"/>
                <a:gd name="connsiteX157" fmla="*/ 20157 w 37794"/>
                <a:gd name="connsiteY157" fmla="*/ 20157 h 176375"/>
                <a:gd name="connsiteX158" fmla="*/ 18897 w 37794"/>
                <a:gd name="connsiteY158" fmla="*/ 21417 h 176375"/>
                <a:gd name="connsiteX159" fmla="*/ 16378 w 37794"/>
                <a:gd name="connsiteY159" fmla="*/ 25196 h 176375"/>
                <a:gd name="connsiteX160" fmla="*/ 15118 w 37794"/>
                <a:gd name="connsiteY160" fmla="*/ 26456 h 176375"/>
                <a:gd name="connsiteX161" fmla="*/ 13858 w 37794"/>
                <a:gd name="connsiteY161" fmla="*/ 27716 h 176375"/>
                <a:gd name="connsiteX162" fmla="*/ 13858 w 37794"/>
                <a:gd name="connsiteY162" fmla="*/ 28976 h 176375"/>
                <a:gd name="connsiteX163" fmla="*/ 12598 w 37794"/>
                <a:gd name="connsiteY163" fmla="*/ 31496 h 176375"/>
                <a:gd name="connsiteX164" fmla="*/ 11338 w 37794"/>
                <a:gd name="connsiteY164" fmla="*/ 32755 h 176375"/>
                <a:gd name="connsiteX165" fmla="*/ 10079 w 37794"/>
                <a:gd name="connsiteY165" fmla="*/ 34015 h 176375"/>
                <a:gd name="connsiteX166" fmla="*/ 8819 w 37794"/>
                <a:gd name="connsiteY166" fmla="*/ 35275 h 176375"/>
                <a:gd name="connsiteX167" fmla="*/ 7559 w 37794"/>
                <a:gd name="connsiteY167" fmla="*/ 36535 h 176375"/>
                <a:gd name="connsiteX168" fmla="*/ 7559 w 37794"/>
                <a:gd name="connsiteY168" fmla="*/ 37795 h 176375"/>
                <a:gd name="connsiteX169" fmla="*/ 7559 w 37794"/>
                <a:gd name="connsiteY169" fmla="*/ 37795 h 176375"/>
                <a:gd name="connsiteX170" fmla="*/ 7559 w 37794"/>
                <a:gd name="connsiteY170" fmla="*/ 37795 h 176375"/>
                <a:gd name="connsiteX171" fmla="*/ 5039 w 37794"/>
                <a:gd name="connsiteY171" fmla="*/ 40315 h 176375"/>
                <a:gd name="connsiteX172" fmla="*/ 5039 w 37794"/>
                <a:gd name="connsiteY172" fmla="*/ 40315 h 176375"/>
                <a:gd name="connsiteX173" fmla="*/ 3780 w 37794"/>
                <a:gd name="connsiteY173" fmla="*/ 41574 h 176375"/>
                <a:gd name="connsiteX174" fmla="*/ 3780 w 37794"/>
                <a:gd name="connsiteY174" fmla="*/ 41574 h 176375"/>
                <a:gd name="connsiteX175" fmla="*/ 1260 w 37794"/>
                <a:gd name="connsiteY175" fmla="*/ 44094 h 176375"/>
                <a:gd name="connsiteX176" fmla="*/ 0 w 37794"/>
                <a:gd name="connsiteY176" fmla="*/ 46614 h 176375"/>
                <a:gd name="connsiteX177" fmla="*/ 0 w 37794"/>
                <a:gd name="connsiteY177" fmla="*/ 46614 h 176375"/>
                <a:gd name="connsiteX178" fmla="*/ 0 w 37794"/>
                <a:gd name="connsiteY178" fmla="*/ 46614 h 176375"/>
                <a:gd name="connsiteX179" fmla="*/ 0 w 37794"/>
                <a:gd name="connsiteY179" fmla="*/ 46614 h 176375"/>
                <a:gd name="connsiteX180" fmla="*/ 0 w 37794"/>
                <a:gd name="connsiteY180" fmla="*/ 46614 h 176375"/>
                <a:gd name="connsiteX181" fmla="*/ 0 w 37794"/>
                <a:gd name="connsiteY181" fmla="*/ 47873 h 176375"/>
                <a:gd name="connsiteX182" fmla="*/ 8819 w 37794"/>
                <a:gd name="connsiteY182" fmla="*/ 44094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37794" h="176375">
                  <a:moveTo>
                    <a:pt x="8819" y="44094"/>
                  </a:moveTo>
                  <a:cubicBezTo>
                    <a:pt x="8819" y="44094"/>
                    <a:pt x="8819" y="45354"/>
                    <a:pt x="8819" y="45354"/>
                  </a:cubicBezTo>
                  <a:cubicBezTo>
                    <a:pt x="8819" y="45354"/>
                    <a:pt x="8819" y="46614"/>
                    <a:pt x="8819" y="46614"/>
                  </a:cubicBezTo>
                  <a:cubicBezTo>
                    <a:pt x="8819" y="47873"/>
                    <a:pt x="8819" y="47873"/>
                    <a:pt x="8819" y="49133"/>
                  </a:cubicBezTo>
                  <a:lnTo>
                    <a:pt x="8819" y="50393"/>
                  </a:lnTo>
                  <a:cubicBezTo>
                    <a:pt x="8819" y="51653"/>
                    <a:pt x="8819" y="52913"/>
                    <a:pt x="8819" y="52913"/>
                  </a:cubicBezTo>
                  <a:cubicBezTo>
                    <a:pt x="8819" y="55432"/>
                    <a:pt x="8819" y="57952"/>
                    <a:pt x="8819" y="59212"/>
                  </a:cubicBezTo>
                  <a:cubicBezTo>
                    <a:pt x="8819" y="60472"/>
                    <a:pt x="8819" y="61731"/>
                    <a:pt x="8819" y="62991"/>
                  </a:cubicBezTo>
                  <a:cubicBezTo>
                    <a:pt x="8819" y="62991"/>
                    <a:pt x="8819" y="64251"/>
                    <a:pt x="8819" y="64251"/>
                  </a:cubicBezTo>
                  <a:cubicBezTo>
                    <a:pt x="8819" y="64251"/>
                    <a:pt x="8819" y="64251"/>
                    <a:pt x="8819" y="64251"/>
                  </a:cubicBezTo>
                  <a:cubicBezTo>
                    <a:pt x="8819" y="64251"/>
                    <a:pt x="8819" y="64251"/>
                    <a:pt x="8819" y="64251"/>
                  </a:cubicBezTo>
                  <a:lnTo>
                    <a:pt x="8819" y="64251"/>
                  </a:lnTo>
                  <a:lnTo>
                    <a:pt x="8819" y="64251"/>
                  </a:lnTo>
                  <a:cubicBezTo>
                    <a:pt x="8819" y="64251"/>
                    <a:pt x="8819" y="64251"/>
                    <a:pt x="8819" y="64251"/>
                  </a:cubicBezTo>
                  <a:cubicBezTo>
                    <a:pt x="8819" y="65511"/>
                    <a:pt x="8819" y="65511"/>
                    <a:pt x="8819" y="66771"/>
                  </a:cubicBezTo>
                  <a:cubicBezTo>
                    <a:pt x="8819" y="66771"/>
                    <a:pt x="8819" y="68031"/>
                    <a:pt x="8819" y="68031"/>
                  </a:cubicBezTo>
                  <a:cubicBezTo>
                    <a:pt x="8819" y="69290"/>
                    <a:pt x="8819" y="70550"/>
                    <a:pt x="8819" y="71810"/>
                  </a:cubicBezTo>
                  <a:lnTo>
                    <a:pt x="8819" y="73070"/>
                  </a:lnTo>
                  <a:cubicBezTo>
                    <a:pt x="8819" y="74330"/>
                    <a:pt x="8819" y="75589"/>
                    <a:pt x="8819" y="76849"/>
                  </a:cubicBezTo>
                  <a:cubicBezTo>
                    <a:pt x="8819" y="79369"/>
                    <a:pt x="8819" y="81889"/>
                    <a:pt x="8819" y="84408"/>
                  </a:cubicBezTo>
                  <a:cubicBezTo>
                    <a:pt x="8819" y="85668"/>
                    <a:pt x="8819" y="86928"/>
                    <a:pt x="8819" y="88188"/>
                  </a:cubicBezTo>
                  <a:lnTo>
                    <a:pt x="8819" y="90707"/>
                  </a:lnTo>
                  <a:cubicBezTo>
                    <a:pt x="8819" y="91967"/>
                    <a:pt x="8819" y="91967"/>
                    <a:pt x="8819" y="93227"/>
                  </a:cubicBezTo>
                  <a:cubicBezTo>
                    <a:pt x="8819" y="94487"/>
                    <a:pt x="8819" y="95747"/>
                    <a:pt x="8819" y="95747"/>
                  </a:cubicBezTo>
                  <a:cubicBezTo>
                    <a:pt x="8819" y="99526"/>
                    <a:pt x="8819" y="103306"/>
                    <a:pt x="10079" y="105825"/>
                  </a:cubicBezTo>
                  <a:cubicBezTo>
                    <a:pt x="10079" y="107085"/>
                    <a:pt x="10079" y="107085"/>
                    <a:pt x="10079" y="108345"/>
                  </a:cubicBezTo>
                  <a:cubicBezTo>
                    <a:pt x="10079" y="110864"/>
                    <a:pt x="10079" y="114644"/>
                    <a:pt x="10079" y="118424"/>
                  </a:cubicBezTo>
                  <a:cubicBezTo>
                    <a:pt x="10079" y="119683"/>
                    <a:pt x="10079" y="119683"/>
                    <a:pt x="10079" y="120943"/>
                  </a:cubicBezTo>
                  <a:cubicBezTo>
                    <a:pt x="10079" y="122203"/>
                    <a:pt x="10079" y="122203"/>
                    <a:pt x="10079" y="123463"/>
                  </a:cubicBezTo>
                  <a:cubicBezTo>
                    <a:pt x="10079" y="124723"/>
                    <a:pt x="10079" y="125982"/>
                    <a:pt x="10079" y="127242"/>
                  </a:cubicBezTo>
                  <a:lnTo>
                    <a:pt x="10079" y="128502"/>
                  </a:lnTo>
                  <a:lnTo>
                    <a:pt x="10079" y="129762"/>
                  </a:lnTo>
                  <a:lnTo>
                    <a:pt x="10079" y="131022"/>
                  </a:lnTo>
                  <a:cubicBezTo>
                    <a:pt x="10079" y="131022"/>
                    <a:pt x="10079" y="132281"/>
                    <a:pt x="10079" y="132281"/>
                  </a:cubicBezTo>
                  <a:cubicBezTo>
                    <a:pt x="10079" y="133541"/>
                    <a:pt x="10079" y="134801"/>
                    <a:pt x="10079" y="136061"/>
                  </a:cubicBezTo>
                  <a:cubicBezTo>
                    <a:pt x="10079" y="136061"/>
                    <a:pt x="10079" y="136061"/>
                    <a:pt x="10079" y="136061"/>
                  </a:cubicBezTo>
                  <a:cubicBezTo>
                    <a:pt x="10079" y="139840"/>
                    <a:pt x="10079" y="143620"/>
                    <a:pt x="10079" y="148659"/>
                  </a:cubicBezTo>
                  <a:cubicBezTo>
                    <a:pt x="10079" y="148659"/>
                    <a:pt x="10079" y="149919"/>
                    <a:pt x="10079" y="149919"/>
                  </a:cubicBezTo>
                  <a:cubicBezTo>
                    <a:pt x="11338" y="154958"/>
                    <a:pt x="11338" y="161257"/>
                    <a:pt x="11338" y="166297"/>
                  </a:cubicBezTo>
                  <a:cubicBezTo>
                    <a:pt x="11338" y="168816"/>
                    <a:pt x="11338" y="171336"/>
                    <a:pt x="11338" y="173856"/>
                  </a:cubicBezTo>
                  <a:cubicBezTo>
                    <a:pt x="11338" y="177635"/>
                    <a:pt x="11338" y="180155"/>
                    <a:pt x="11338" y="183934"/>
                  </a:cubicBezTo>
                  <a:cubicBezTo>
                    <a:pt x="11338" y="183934"/>
                    <a:pt x="11338" y="183934"/>
                    <a:pt x="11338" y="183934"/>
                  </a:cubicBezTo>
                  <a:cubicBezTo>
                    <a:pt x="11338" y="183934"/>
                    <a:pt x="11338" y="183934"/>
                    <a:pt x="11338" y="183934"/>
                  </a:cubicBezTo>
                  <a:lnTo>
                    <a:pt x="11338" y="183934"/>
                  </a:lnTo>
                  <a:lnTo>
                    <a:pt x="11338" y="183934"/>
                  </a:lnTo>
                  <a:cubicBezTo>
                    <a:pt x="11338" y="183934"/>
                    <a:pt x="11338" y="183934"/>
                    <a:pt x="12598" y="185194"/>
                  </a:cubicBezTo>
                  <a:cubicBezTo>
                    <a:pt x="12598" y="185194"/>
                    <a:pt x="12598" y="185194"/>
                    <a:pt x="12598" y="185194"/>
                  </a:cubicBezTo>
                  <a:cubicBezTo>
                    <a:pt x="12598" y="185194"/>
                    <a:pt x="12598" y="185194"/>
                    <a:pt x="13858" y="185194"/>
                  </a:cubicBezTo>
                  <a:cubicBezTo>
                    <a:pt x="13858" y="185194"/>
                    <a:pt x="15118" y="185194"/>
                    <a:pt x="15118" y="185194"/>
                  </a:cubicBezTo>
                  <a:cubicBezTo>
                    <a:pt x="15118" y="185194"/>
                    <a:pt x="16378" y="185194"/>
                    <a:pt x="16378" y="185194"/>
                  </a:cubicBezTo>
                  <a:cubicBezTo>
                    <a:pt x="16378" y="185194"/>
                    <a:pt x="17637" y="185194"/>
                    <a:pt x="17637" y="183934"/>
                  </a:cubicBezTo>
                  <a:cubicBezTo>
                    <a:pt x="17637" y="183934"/>
                    <a:pt x="17637" y="183934"/>
                    <a:pt x="17637" y="183934"/>
                  </a:cubicBezTo>
                  <a:cubicBezTo>
                    <a:pt x="17637" y="182674"/>
                    <a:pt x="18897" y="181415"/>
                    <a:pt x="18897" y="178895"/>
                  </a:cubicBezTo>
                  <a:lnTo>
                    <a:pt x="18897" y="178895"/>
                  </a:lnTo>
                  <a:cubicBezTo>
                    <a:pt x="18897" y="178895"/>
                    <a:pt x="18897" y="177635"/>
                    <a:pt x="18897" y="177635"/>
                  </a:cubicBezTo>
                  <a:cubicBezTo>
                    <a:pt x="18897" y="176375"/>
                    <a:pt x="20157" y="175116"/>
                    <a:pt x="20157" y="173856"/>
                  </a:cubicBezTo>
                  <a:lnTo>
                    <a:pt x="20157" y="173856"/>
                  </a:lnTo>
                  <a:lnTo>
                    <a:pt x="20157" y="173856"/>
                  </a:lnTo>
                  <a:cubicBezTo>
                    <a:pt x="21417" y="171336"/>
                    <a:pt x="21417" y="167557"/>
                    <a:pt x="21417" y="165037"/>
                  </a:cubicBezTo>
                  <a:cubicBezTo>
                    <a:pt x="21417" y="165037"/>
                    <a:pt x="21417" y="163777"/>
                    <a:pt x="21417" y="163777"/>
                  </a:cubicBezTo>
                  <a:cubicBezTo>
                    <a:pt x="21417" y="162517"/>
                    <a:pt x="21417" y="162517"/>
                    <a:pt x="21417" y="161257"/>
                  </a:cubicBezTo>
                  <a:cubicBezTo>
                    <a:pt x="21417" y="159998"/>
                    <a:pt x="21417" y="159998"/>
                    <a:pt x="21417" y="158738"/>
                  </a:cubicBezTo>
                  <a:lnTo>
                    <a:pt x="21417" y="158738"/>
                  </a:lnTo>
                  <a:lnTo>
                    <a:pt x="21417" y="158738"/>
                  </a:lnTo>
                  <a:lnTo>
                    <a:pt x="21417" y="158738"/>
                  </a:lnTo>
                  <a:lnTo>
                    <a:pt x="21417" y="154958"/>
                  </a:lnTo>
                  <a:cubicBezTo>
                    <a:pt x="22677" y="151179"/>
                    <a:pt x="22677" y="147399"/>
                    <a:pt x="22677" y="143620"/>
                  </a:cubicBezTo>
                  <a:cubicBezTo>
                    <a:pt x="22677" y="139840"/>
                    <a:pt x="23937" y="137321"/>
                    <a:pt x="23937" y="133541"/>
                  </a:cubicBezTo>
                  <a:cubicBezTo>
                    <a:pt x="23937" y="132281"/>
                    <a:pt x="23937" y="129762"/>
                    <a:pt x="25196" y="128502"/>
                  </a:cubicBezTo>
                  <a:lnTo>
                    <a:pt x="25196" y="127242"/>
                  </a:lnTo>
                  <a:cubicBezTo>
                    <a:pt x="25196" y="125982"/>
                    <a:pt x="25196" y="123463"/>
                    <a:pt x="26456" y="122203"/>
                  </a:cubicBezTo>
                  <a:cubicBezTo>
                    <a:pt x="26456" y="120943"/>
                    <a:pt x="26456" y="120943"/>
                    <a:pt x="26456" y="119683"/>
                  </a:cubicBezTo>
                  <a:cubicBezTo>
                    <a:pt x="26456" y="119683"/>
                    <a:pt x="26456" y="119683"/>
                    <a:pt x="26456" y="119683"/>
                  </a:cubicBezTo>
                  <a:lnTo>
                    <a:pt x="26456" y="119683"/>
                  </a:lnTo>
                  <a:lnTo>
                    <a:pt x="26456" y="118424"/>
                  </a:lnTo>
                  <a:lnTo>
                    <a:pt x="26456" y="117164"/>
                  </a:lnTo>
                  <a:lnTo>
                    <a:pt x="26456" y="117164"/>
                  </a:lnTo>
                  <a:cubicBezTo>
                    <a:pt x="26456" y="117164"/>
                    <a:pt x="26456" y="117164"/>
                    <a:pt x="26456" y="117164"/>
                  </a:cubicBezTo>
                  <a:cubicBezTo>
                    <a:pt x="26456" y="115904"/>
                    <a:pt x="26456" y="113384"/>
                    <a:pt x="27716" y="112124"/>
                  </a:cubicBezTo>
                  <a:cubicBezTo>
                    <a:pt x="27716" y="108345"/>
                    <a:pt x="28976" y="105825"/>
                    <a:pt x="28976" y="102046"/>
                  </a:cubicBezTo>
                  <a:cubicBezTo>
                    <a:pt x="30236" y="97007"/>
                    <a:pt x="31496" y="91967"/>
                    <a:pt x="31496" y="86928"/>
                  </a:cubicBezTo>
                  <a:lnTo>
                    <a:pt x="31496" y="85668"/>
                  </a:lnTo>
                  <a:cubicBezTo>
                    <a:pt x="31496" y="84408"/>
                    <a:pt x="32755" y="81889"/>
                    <a:pt x="32755" y="79369"/>
                  </a:cubicBezTo>
                  <a:cubicBezTo>
                    <a:pt x="32755" y="78109"/>
                    <a:pt x="32755" y="76849"/>
                    <a:pt x="32755" y="75589"/>
                  </a:cubicBezTo>
                  <a:cubicBezTo>
                    <a:pt x="32755" y="75589"/>
                    <a:pt x="32755" y="74330"/>
                    <a:pt x="32755" y="74330"/>
                  </a:cubicBezTo>
                  <a:cubicBezTo>
                    <a:pt x="32755" y="74330"/>
                    <a:pt x="32755" y="73070"/>
                    <a:pt x="32755" y="73070"/>
                  </a:cubicBezTo>
                  <a:cubicBezTo>
                    <a:pt x="32755" y="73070"/>
                    <a:pt x="32755" y="73070"/>
                    <a:pt x="32755" y="73070"/>
                  </a:cubicBezTo>
                  <a:lnTo>
                    <a:pt x="34015" y="69290"/>
                  </a:lnTo>
                  <a:lnTo>
                    <a:pt x="34015" y="68031"/>
                  </a:lnTo>
                  <a:lnTo>
                    <a:pt x="34015" y="66771"/>
                  </a:lnTo>
                  <a:cubicBezTo>
                    <a:pt x="34015" y="65511"/>
                    <a:pt x="34015" y="65511"/>
                    <a:pt x="35275" y="64251"/>
                  </a:cubicBezTo>
                  <a:cubicBezTo>
                    <a:pt x="35275" y="62991"/>
                    <a:pt x="35275" y="62991"/>
                    <a:pt x="35275" y="61731"/>
                  </a:cubicBezTo>
                  <a:cubicBezTo>
                    <a:pt x="35275" y="60472"/>
                    <a:pt x="35275" y="60472"/>
                    <a:pt x="35275" y="59212"/>
                  </a:cubicBezTo>
                  <a:cubicBezTo>
                    <a:pt x="35275" y="57952"/>
                    <a:pt x="36535" y="56692"/>
                    <a:pt x="36535" y="55432"/>
                  </a:cubicBezTo>
                  <a:lnTo>
                    <a:pt x="36535" y="54172"/>
                  </a:lnTo>
                  <a:cubicBezTo>
                    <a:pt x="36535" y="52913"/>
                    <a:pt x="37795" y="51653"/>
                    <a:pt x="37795" y="50393"/>
                  </a:cubicBezTo>
                  <a:cubicBezTo>
                    <a:pt x="39054" y="46614"/>
                    <a:pt x="40314" y="42834"/>
                    <a:pt x="40314" y="39055"/>
                  </a:cubicBezTo>
                  <a:lnTo>
                    <a:pt x="40314" y="36535"/>
                  </a:lnTo>
                  <a:cubicBezTo>
                    <a:pt x="40314" y="35275"/>
                    <a:pt x="40314" y="34015"/>
                    <a:pt x="41574" y="34015"/>
                  </a:cubicBezTo>
                  <a:cubicBezTo>
                    <a:pt x="41574" y="34015"/>
                    <a:pt x="41574" y="34015"/>
                    <a:pt x="41574" y="34015"/>
                  </a:cubicBezTo>
                  <a:lnTo>
                    <a:pt x="41574" y="32755"/>
                  </a:lnTo>
                  <a:cubicBezTo>
                    <a:pt x="41574" y="31496"/>
                    <a:pt x="41574" y="30236"/>
                    <a:pt x="42834" y="30236"/>
                  </a:cubicBezTo>
                  <a:cubicBezTo>
                    <a:pt x="42834" y="30236"/>
                    <a:pt x="42834" y="28976"/>
                    <a:pt x="42834" y="28976"/>
                  </a:cubicBezTo>
                  <a:lnTo>
                    <a:pt x="42834" y="27716"/>
                  </a:lnTo>
                  <a:lnTo>
                    <a:pt x="42834" y="26456"/>
                  </a:lnTo>
                  <a:lnTo>
                    <a:pt x="42834" y="26456"/>
                  </a:lnTo>
                  <a:lnTo>
                    <a:pt x="42834" y="25196"/>
                  </a:lnTo>
                  <a:lnTo>
                    <a:pt x="42834" y="25196"/>
                  </a:lnTo>
                  <a:cubicBezTo>
                    <a:pt x="42834" y="25196"/>
                    <a:pt x="42834" y="25196"/>
                    <a:pt x="42834" y="25196"/>
                  </a:cubicBezTo>
                  <a:cubicBezTo>
                    <a:pt x="42834" y="23937"/>
                    <a:pt x="42834" y="23937"/>
                    <a:pt x="42834" y="22677"/>
                  </a:cubicBezTo>
                  <a:lnTo>
                    <a:pt x="42834" y="21417"/>
                  </a:lnTo>
                  <a:cubicBezTo>
                    <a:pt x="42834" y="20157"/>
                    <a:pt x="42834" y="18897"/>
                    <a:pt x="44094" y="17638"/>
                  </a:cubicBezTo>
                  <a:lnTo>
                    <a:pt x="44094" y="16378"/>
                  </a:lnTo>
                  <a:lnTo>
                    <a:pt x="44094" y="13858"/>
                  </a:lnTo>
                  <a:cubicBezTo>
                    <a:pt x="44094" y="12598"/>
                    <a:pt x="44094" y="11339"/>
                    <a:pt x="44094" y="10079"/>
                  </a:cubicBezTo>
                  <a:lnTo>
                    <a:pt x="44094" y="8819"/>
                  </a:lnTo>
                  <a:lnTo>
                    <a:pt x="44094" y="7559"/>
                  </a:lnTo>
                  <a:cubicBezTo>
                    <a:pt x="44094" y="6299"/>
                    <a:pt x="44094" y="6299"/>
                    <a:pt x="44094" y="5039"/>
                  </a:cubicBezTo>
                  <a:cubicBezTo>
                    <a:pt x="44094" y="3780"/>
                    <a:pt x="44094" y="3780"/>
                    <a:pt x="44094" y="2520"/>
                  </a:cubicBezTo>
                  <a:lnTo>
                    <a:pt x="44094" y="2520"/>
                  </a:lnTo>
                  <a:cubicBezTo>
                    <a:pt x="44094" y="2520"/>
                    <a:pt x="44094" y="1260"/>
                    <a:pt x="44094" y="1260"/>
                  </a:cubicBezTo>
                  <a:cubicBezTo>
                    <a:pt x="44094" y="1260"/>
                    <a:pt x="44094" y="1260"/>
                    <a:pt x="44094" y="1260"/>
                  </a:cubicBezTo>
                  <a:lnTo>
                    <a:pt x="44094" y="1260"/>
                  </a:lnTo>
                  <a:cubicBezTo>
                    <a:pt x="44094" y="1260"/>
                    <a:pt x="44094" y="0"/>
                    <a:pt x="44094" y="0"/>
                  </a:cubicBezTo>
                  <a:cubicBezTo>
                    <a:pt x="44094" y="0"/>
                    <a:pt x="44094" y="0"/>
                    <a:pt x="44094" y="0"/>
                  </a:cubicBezTo>
                  <a:lnTo>
                    <a:pt x="44094" y="0"/>
                  </a:lnTo>
                  <a:lnTo>
                    <a:pt x="44094" y="0"/>
                  </a:lnTo>
                  <a:lnTo>
                    <a:pt x="44094" y="0"/>
                  </a:lnTo>
                  <a:cubicBezTo>
                    <a:pt x="44094" y="0"/>
                    <a:pt x="42834" y="0"/>
                    <a:pt x="42834" y="0"/>
                  </a:cubicBezTo>
                  <a:cubicBezTo>
                    <a:pt x="42834" y="0"/>
                    <a:pt x="42834" y="0"/>
                    <a:pt x="42834" y="0"/>
                  </a:cubicBezTo>
                  <a:cubicBezTo>
                    <a:pt x="42834" y="0"/>
                    <a:pt x="42834" y="0"/>
                    <a:pt x="42834" y="0"/>
                  </a:cubicBezTo>
                  <a:cubicBezTo>
                    <a:pt x="42834" y="0"/>
                    <a:pt x="42834" y="0"/>
                    <a:pt x="42834" y="0"/>
                  </a:cubicBezTo>
                  <a:cubicBezTo>
                    <a:pt x="42834" y="0"/>
                    <a:pt x="41574" y="0"/>
                    <a:pt x="41574" y="1260"/>
                  </a:cubicBezTo>
                  <a:cubicBezTo>
                    <a:pt x="41574" y="1260"/>
                    <a:pt x="41574" y="1260"/>
                    <a:pt x="41574" y="1260"/>
                  </a:cubicBezTo>
                  <a:lnTo>
                    <a:pt x="41574" y="1260"/>
                  </a:lnTo>
                  <a:cubicBezTo>
                    <a:pt x="40314" y="1260"/>
                    <a:pt x="40314" y="2520"/>
                    <a:pt x="39054" y="2520"/>
                  </a:cubicBezTo>
                  <a:lnTo>
                    <a:pt x="39054" y="2520"/>
                  </a:lnTo>
                  <a:cubicBezTo>
                    <a:pt x="37795" y="2520"/>
                    <a:pt x="36535" y="3780"/>
                    <a:pt x="36535" y="5039"/>
                  </a:cubicBezTo>
                  <a:cubicBezTo>
                    <a:pt x="36535" y="5039"/>
                    <a:pt x="36535" y="5039"/>
                    <a:pt x="36535" y="5039"/>
                  </a:cubicBezTo>
                  <a:cubicBezTo>
                    <a:pt x="36535" y="5039"/>
                    <a:pt x="35275" y="6299"/>
                    <a:pt x="35275" y="6299"/>
                  </a:cubicBezTo>
                  <a:cubicBezTo>
                    <a:pt x="35275" y="6299"/>
                    <a:pt x="34015" y="7559"/>
                    <a:pt x="34015" y="7559"/>
                  </a:cubicBezTo>
                  <a:lnTo>
                    <a:pt x="34015" y="7559"/>
                  </a:lnTo>
                  <a:lnTo>
                    <a:pt x="34015" y="7559"/>
                  </a:lnTo>
                  <a:lnTo>
                    <a:pt x="34015" y="7559"/>
                  </a:lnTo>
                  <a:lnTo>
                    <a:pt x="34015" y="7559"/>
                  </a:lnTo>
                  <a:lnTo>
                    <a:pt x="34015" y="7559"/>
                  </a:lnTo>
                  <a:lnTo>
                    <a:pt x="34015" y="7559"/>
                  </a:lnTo>
                  <a:lnTo>
                    <a:pt x="34015" y="7559"/>
                  </a:lnTo>
                  <a:lnTo>
                    <a:pt x="34015" y="7559"/>
                  </a:lnTo>
                  <a:cubicBezTo>
                    <a:pt x="32755" y="8819"/>
                    <a:pt x="32755" y="8819"/>
                    <a:pt x="31496" y="10079"/>
                  </a:cubicBezTo>
                  <a:cubicBezTo>
                    <a:pt x="30236" y="11339"/>
                    <a:pt x="30236" y="11339"/>
                    <a:pt x="28976" y="12598"/>
                  </a:cubicBezTo>
                  <a:lnTo>
                    <a:pt x="27716" y="13858"/>
                  </a:lnTo>
                  <a:cubicBezTo>
                    <a:pt x="27716" y="13858"/>
                    <a:pt x="27716" y="13858"/>
                    <a:pt x="27716" y="13858"/>
                  </a:cubicBezTo>
                  <a:cubicBezTo>
                    <a:pt x="26456" y="15118"/>
                    <a:pt x="26456" y="15118"/>
                    <a:pt x="25196" y="16378"/>
                  </a:cubicBezTo>
                  <a:cubicBezTo>
                    <a:pt x="23937" y="16378"/>
                    <a:pt x="23937" y="17638"/>
                    <a:pt x="22677" y="17638"/>
                  </a:cubicBezTo>
                  <a:cubicBezTo>
                    <a:pt x="22677" y="17638"/>
                    <a:pt x="22677" y="17638"/>
                    <a:pt x="21417" y="18897"/>
                  </a:cubicBezTo>
                  <a:lnTo>
                    <a:pt x="21417" y="18897"/>
                  </a:lnTo>
                  <a:lnTo>
                    <a:pt x="20157" y="20157"/>
                  </a:lnTo>
                  <a:cubicBezTo>
                    <a:pt x="20157" y="20157"/>
                    <a:pt x="18897" y="21417"/>
                    <a:pt x="18897" y="21417"/>
                  </a:cubicBezTo>
                  <a:cubicBezTo>
                    <a:pt x="17637" y="22677"/>
                    <a:pt x="16378" y="23937"/>
                    <a:pt x="16378" y="25196"/>
                  </a:cubicBezTo>
                  <a:lnTo>
                    <a:pt x="15118" y="26456"/>
                  </a:lnTo>
                  <a:lnTo>
                    <a:pt x="13858" y="27716"/>
                  </a:lnTo>
                  <a:lnTo>
                    <a:pt x="13858" y="28976"/>
                  </a:lnTo>
                  <a:cubicBezTo>
                    <a:pt x="13858" y="30236"/>
                    <a:pt x="12598" y="30236"/>
                    <a:pt x="12598" y="31496"/>
                  </a:cubicBezTo>
                  <a:cubicBezTo>
                    <a:pt x="12598" y="31496"/>
                    <a:pt x="11338" y="32755"/>
                    <a:pt x="11338" y="32755"/>
                  </a:cubicBezTo>
                  <a:cubicBezTo>
                    <a:pt x="11338" y="32755"/>
                    <a:pt x="10079" y="34015"/>
                    <a:pt x="10079" y="34015"/>
                  </a:cubicBezTo>
                  <a:cubicBezTo>
                    <a:pt x="10079" y="34015"/>
                    <a:pt x="8819" y="35275"/>
                    <a:pt x="8819" y="35275"/>
                  </a:cubicBezTo>
                  <a:lnTo>
                    <a:pt x="7559" y="36535"/>
                  </a:lnTo>
                  <a:lnTo>
                    <a:pt x="7559" y="37795"/>
                  </a:lnTo>
                  <a:lnTo>
                    <a:pt x="7559" y="37795"/>
                  </a:lnTo>
                  <a:lnTo>
                    <a:pt x="7559" y="37795"/>
                  </a:lnTo>
                  <a:cubicBezTo>
                    <a:pt x="6299" y="39055"/>
                    <a:pt x="6299" y="39055"/>
                    <a:pt x="5039" y="40315"/>
                  </a:cubicBezTo>
                  <a:cubicBezTo>
                    <a:pt x="5039" y="40315"/>
                    <a:pt x="5039" y="40315"/>
                    <a:pt x="5039" y="40315"/>
                  </a:cubicBezTo>
                  <a:cubicBezTo>
                    <a:pt x="5039" y="40315"/>
                    <a:pt x="3780" y="41574"/>
                    <a:pt x="3780" y="41574"/>
                  </a:cubicBezTo>
                  <a:cubicBezTo>
                    <a:pt x="3780" y="41574"/>
                    <a:pt x="3780" y="41574"/>
                    <a:pt x="3780" y="41574"/>
                  </a:cubicBezTo>
                  <a:cubicBezTo>
                    <a:pt x="2520" y="42834"/>
                    <a:pt x="2520" y="42834"/>
                    <a:pt x="1260" y="44094"/>
                  </a:cubicBezTo>
                  <a:cubicBezTo>
                    <a:pt x="1260" y="44094"/>
                    <a:pt x="0" y="45354"/>
                    <a:pt x="0" y="46614"/>
                  </a:cubicBezTo>
                  <a:cubicBezTo>
                    <a:pt x="0" y="46614"/>
                    <a:pt x="0" y="46614"/>
                    <a:pt x="0" y="46614"/>
                  </a:cubicBezTo>
                  <a:cubicBezTo>
                    <a:pt x="0" y="46614"/>
                    <a:pt x="0" y="46614"/>
                    <a:pt x="0" y="46614"/>
                  </a:cubicBezTo>
                  <a:cubicBezTo>
                    <a:pt x="0" y="46614"/>
                    <a:pt x="0" y="46614"/>
                    <a:pt x="0" y="46614"/>
                  </a:cubicBezTo>
                  <a:cubicBezTo>
                    <a:pt x="0" y="46614"/>
                    <a:pt x="0" y="46614"/>
                    <a:pt x="0" y="46614"/>
                  </a:cubicBezTo>
                  <a:cubicBezTo>
                    <a:pt x="0" y="46614"/>
                    <a:pt x="0" y="47873"/>
                    <a:pt x="0" y="47873"/>
                  </a:cubicBezTo>
                  <a:cubicBezTo>
                    <a:pt x="8819" y="42834"/>
                    <a:pt x="8819" y="44094"/>
                    <a:pt x="8819" y="44094"/>
                  </a:cubicBezTo>
                  <a:close/>
                </a:path>
              </a:pathLst>
            </a:custGeom>
            <a:solidFill>
              <a:srgbClr val="00CFF0"/>
            </a:solidFill>
            <a:ln w="12584" cap="flat">
              <a:noFill/>
              <a:prstDash val="solid"/>
              <a:miter/>
            </a:ln>
          </p:spPr>
          <p:txBody>
            <a:bodyPr rtlCol="0" anchor="ctr"/>
            <a:lstStyle/>
            <a:p>
              <a:endParaRPr lang="zh-CN" altLang="en-US"/>
            </a:p>
          </p:txBody>
        </p:sp>
        <p:sp>
          <p:nvSpPr>
            <p:cNvPr id="123" name="任意多边形: 形状 122"/>
            <p:cNvSpPr/>
            <p:nvPr/>
          </p:nvSpPr>
          <p:spPr>
            <a:xfrm>
              <a:off x="8140176" y="4076738"/>
              <a:ext cx="248830" cy="257410"/>
            </a:xfrm>
            <a:custGeom>
              <a:avLst/>
              <a:gdLst>
                <a:gd name="connsiteX0" fmla="*/ 287240 w 365348"/>
                <a:gd name="connsiteY0" fmla="*/ 371648 h 377946"/>
                <a:gd name="connsiteX1" fmla="*/ 289759 w 365348"/>
                <a:gd name="connsiteY1" fmla="*/ 374167 h 377946"/>
                <a:gd name="connsiteX2" fmla="*/ 289759 w 365348"/>
                <a:gd name="connsiteY2" fmla="*/ 374167 h 377946"/>
                <a:gd name="connsiteX3" fmla="*/ 294799 w 365348"/>
                <a:gd name="connsiteY3" fmla="*/ 376687 h 377946"/>
                <a:gd name="connsiteX4" fmla="*/ 299838 w 365348"/>
                <a:gd name="connsiteY4" fmla="*/ 379207 h 377946"/>
                <a:gd name="connsiteX5" fmla="*/ 304877 w 365348"/>
                <a:gd name="connsiteY5" fmla="*/ 380467 h 377946"/>
                <a:gd name="connsiteX6" fmla="*/ 306137 w 365348"/>
                <a:gd name="connsiteY6" fmla="*/ 380467 h 377946"/>
                <a:gd name="connsiteX7" fmla="*/ 311176 w 365348"/>
                <a:gd name="connsiteY7" fmla="*/ 381726 h 377946"/>
                <a:gd name="connsiteX8" fmla="*/ 312436 w 365348"/>
                <a:gd name="connsiteY8" fmla="*/ 381726 h 377946"/>
                <a:gd name="connsiteX9" fmla="*/ 314956 w 365348"/>
                <a:gd name="connsiteY9" fmla="*/ 381726 h 377946"/>
                <a:gd name="connsiteX10" fmla="*/ 314956 w 365348"/>
                <a:gd name="connsiteY10" fmla="*/ 381726 h 377946"/>
                <a:gd name="connsiteX11" fmla="*/ 314956 w 365348"/>
                <a:gd name="connsiteY11" fmla="*/ 381726 h 377946"/>
                <a:gd name="connsiteX12" fmla="*/ 314956 w 365348"/>
                <a:gd name="connsiteY12" fmla="*/ 381726 h 377946"/>
                <a:gd name="connsiteX13" fmla="*/ 314956 w 365348"/>
                <a:gd name="connsiteY13" fmla="*/ 381726 h 377946"/>
                <a:gd name="connsiteX14" fmla="*/ 314956 w 365348"/>
                <a:gd name="connsiteY14" fmla="*/ 381726 h 377946"/>
                <a:gd name="connsiteX15" fmla="*/ 314956 w 365348"/>
                <a:gd name="connsiteY15" fmla="*/ 381726 h 377946"/>
                <a:gd name="connsiteX16" fmla="*/ 314956 w 365348"/>
                <a:gd name="connsiteY16" fmla="*/ 381726 h 377946"/>
                <a:gd name="connsiteX17" fmla="*/ 314956 w 365348"/>
                <a:gd name="connsiteY17" fmla="*/ 381726 h 377946"/>
                <a:gd name="connsiteX18" fmla="*/ 314956 w 365348"/>
                <a:gd name="connsiteY18" fmla="*/ 381726 h 377946"/>
                <a:gd name="connsiteX19" fmla="*/ 322515 w 365348"/>
                <a:gd name="connsiteY19" fmla="*/ 379207 h 377946"/>
                <a:gd name="connsiteX20" fmla="*/ 325034 w 365348"/>
                <a:gd name="connsiteY20" fmla="*/ 377947 h 377946"/>
                <a:gd name="connsiteX21" fmla="*/ 325034 w 365348"/>
                <a:gd name="connsiteY21" fmla="*/ 377947 h 377946"/>
                <a:gd name="connsiteX22" fmla="*/ 325034 w 365348"/>
                <a:gd name="connsiteY22" fmla="*/ 377947 h 377946"/>
                <a:gd name="connsiteX23" fmla="*/ 326294 w 365348"/>
                <a:gd name="connsiteY23" fmla="*/ 377947 h 377946"/>
                <a:gd name="connsiteX24" fmla="*/ 333853 w 365348"/>
                <a:gd name="connsiteY24" fmla="*/ 375427 h 377946"/>
                <a:gd name="connsiteX25" fmla="*/ 335113 w 365348"/>
                <a:gd name="connsiteY25" fmla="*/ 375427 h 377946"/>
                <a:gd name="connsiteX26" fmla="*/ 337633 w 365348"/>
                <a:gd name="connsiteY26" fmla="*/ 374167 h 377946"/>
                <a:gd name="connsiteX27" fmla="*/ 337633 w 365348"/>
                <a:gd name="connsiteY27" fmla="*/ 374167 h 377946"/>
                <a:gd name="connsiteX28" fmla="*/ 338892 w 365348"/>
                <a:gd name="connsiteY28" fmla="*/ 374167 h 377946"/>
                <a:gd name="connsiteX29" fmla="*/ 343932 w 365348"/>
                <a:gd name="connsiteY29" fmla="*/ 371648 h 377946"/>
                <a:gd name="connsiteX30" fmla="*/ 346452 w 365348"/>
                <a:gd name="connsiteY30" fmla="*/ 370388 h 377946"/>
                <a:gd name="connsiteX31" fmla="*/ 347711 w 365348"/>
                <a:gd name="connsiteY31" fmla="*/ 369128 h 377946"/>
                <a:gd name="connsiteX32" fmla="*/ 347711 w 365348"/>
                <a:gd name="connsiteY32" fmla="*/ 369128 h 377946"/>
                <a:gd name="connsiteX33" fmla="*/ 347711 w 365348"/>
                <a:gd name="connsiteY33" fmla="*/ 369128 h 377946"/>
                <a:gd name="connsiteX34" fmla="*/ 348971 w 365348"/>
                <a:gd name="connsiteY34" fmla="*/ 367868 h 377946"/>
                <a:gd name="connsiteX35" fmla="*/ 354010 w 365348"/>
                <a:gd name="connsiteY35" fmla="*/ 362829 h 377946"/>
                <a:gd name="connsiteX36" fmla="*/ 354010 w 365348"/>
                <a:gd name="connsiteY36" fmla="*/ 362829 h 377946"/>
                <a:gd name="connsiteX37" fmla="*/ 354010 w 365348"/>
                <a:gd name="connsiteY37" fmla="*/ 362829 h 377946"/>
                <a:gd name="connsiteX38" fmla="*/ 354010 w 365348"/>
                <a:gd name="connsiteY38" fmla="*/ 362829 h 377946"/>
                <a:gd name="connsiteX39" fmla="*/ 354010 w 365348"/>
                <a:gd name="connsiteY39" fmla="*/ 362829 h 377946"/>
                <a:gd name="connsiteX40" fmla="*/ 355270 w 365348"/>
                <a:gd name="connsiteY40" fmla="*/ 361569 h 377946"/>
                <a:gd name="connsiteX41" fmla="*/ 355270 w 365348"/>
                <a:gd name="connsiteY41" fmla="*/ 361569 h 377946"/>
                <a:gd name="connsiteX42" fmla="*/ 355270 w 365348"/>
                <a:gd name="connsiteY42" fmla="*/ 361569 h 377946"/>
                <a:gd name="connsiteX43" fmla="*/ 355270 w 365348"/>
                <a:gd name="connsiteY43" fmla="*/ 361569 h 377946"/>
                <a:gd name="connsiteX44" fmla="*/ 356530 w 365348"/>
                <a:gd name="connsiteY44" fmla="*/ 359050 h 377946"/>
                <a:gd name="connsiteX45" fmla="*/ 357790 w 365348"/>
                <a:gd name="connsiteY45" fmla="*/ 356530 h 377946"/>
                <a:gd name="connsiteX46" fmla="*/ 360309 w 365348"/>
                <a:gd name="connsiteY46" fmla="*/ 351491 h 377946"/>
                <a:gd name="connsiteX47" fmla="*/ 361569 w 365348"/>
                <a:gd name="connsiteY47" fmla="*/ 348971 h 377946"/>
                <a:gd name="connsiteX48" fmla="*/ 364089 w 365348"/>
                <a:gd name="connsiteY48" fmla="*/ 342672 h 377946"/>
                <a:gd name="connsiteX49" fmla="*/ 365349 w 365348"/>
                <a:gd name="connsiteY49" fmla="*/ 338892 h 377946"/>
                <a:gd name="connsiteX50" fmla="*/ 365349 w 365348"/>
                <a:gd name="connsiteY50" fmla="*/ 338892 h 377946"/>
                <a:gd name="connsiteX51" fmla="*/ 365349 w 365348"/>
                <a:gd name="connsiteY51" fmla="*/ 337633 h 377946"/>
                <a:gd name="connsiteX52" fmla="*/ 365349 w 365348"/>
                <a:gd name="connsiteY52" fmla="*/ 337633 h 377946"/>
                <a:gd name="connsiteX53" fmla="*/ 369128 w 365348"/>
                <a:gd name="connsiteY53" fmla="*/ 322515 h 377946"/>
                <a:gd name="connsiteX54" fmla="*/ 369128 w 365348"/>
                <a:gd name="connsiteY54" fmla="*/ 319995 h 377946"/>
                <a:gd name="connsiteX55" fmla="*/ 369128 w 365348"/>
                <a:gd name="connsiteY55" fmla="*/ 317475 h 377946"/>
                <a:gd name="connsiteX56" fmla="*/ 369128 w 365348"/>
                <a:gd name="connsiteY56" fmla="*/ 311176 h 377946"/>
                <a:gd name="connsiteX57" fmla="*/ 369128 w 365348"/>
                <a:gd name="connsiteY57" fmla="*/ 309916 h 377946"/>
                <a:gd name="connsiteX58" fmla="*/ 369128 w 365348"/>
                <a:gd name="connsiteY58" fmla="*/ 309916 h 377946"/>
                <a:gd name="connsiteX59" fmla="*/ 369128 w 365348"/>
                <a:gd name="connsiteY59" fmla="*/ 309916 h 377946"/>
                <a:gd name="connsiteX60" fmla="*/ 369128 w 365348"/>
                <a:gd name="connsiteY60" fmla="*/ 303617 h 377946"/>
                <a:gd name="connsiteX61" fmla="*/ 369128 w 365348"/>
                <a:gd name="connsiteY61" fmla="*/ 302358 h 377946"/>
                <a:gd name="connsiteX62" fmla="*/ 369128 w 365348"/>
                <a:gd name="connsiteY62" fmla="*/ 302358 h 377946"/>
                <a:gd name="connsiteX63" fmla="*/ 369128 w 365348"/>
                <a:gd name="connsiteY63" fmla="*/ 301098 h 377946"/>
                <a:gd name="connsiteX64" fmla="*/ 369128 w 365348"/>
                <a:gd name="connsiteY64" fmla="*/ 301098 h 377946"/>
                <a:gd name="connsiteX65" fmla="*/ 369128 w 365348"/>
                <a:gd name="connsiteY65" fmla="*/ 301098 h 377946"/>
                <a:gd name="connsiteX66" fmla="*/ 369128 w 365348"/>
                <a:gd name="connsiteY66" fmla="*/ 301098 h 377946"/>
                <a:gd name="connsiteX67" fmla="*/ 369128 w 365348"/>
                <a:gd name="connsiteY67" fmla="*/ 301098 h 377946"/>
                <a:gd name="connsiteX68" fmla="*/ 369128 w 365348"/>
                <a:gd name="connsiteY68" fmla="*/ 296058 h 377946"/>
                <a:gd name="connsiteX69" fmla="*/ 369128 w 365348"/>
                <a:gd name="connsiteY69" fmla="*/ 293539 h 377946"/>
                <a:gd name="connsiteX70" fmla="*/ 369128 w 365348"/>
                <a:gd name="connsiteY70" fmla="*/ 291019 h 377946"/>
                <a:gd name="connsiteX71" fmla="*/ 369128 w 365348"/>
                <a:gd name="connsiteY71" fmla="*/ 288499 h 377946"/>
                <a:gd name="connsiteX72" fmla="*/ 369128 w 365348"/>
                <a:gd name="connsiteY72" fmla="*/ 288499 h 377946"/>
                <a:gd name="connsiteX73" fmla="*/ 369128 w 365348"/>
                <a:gd name="connsiteY73" fmla="*/ 287240 h 377946"/>
                <a:gd name="connsiteX74" fmla="*/ 367868 w 365348"/>
                <a:gd name="connsiteY74" fmla="*/ 280940 h 377946"/>
                <a:gd name="connsiteX75" fmla="*/ 367868 w 365348"/>
                <a:gd name="connsiteY75" fmla="*/ 280940 h 377946"/>
                <a:gd name="connsiteX76" fmla="*/ 367868 w 365348"/>
                <a:gd name="connsiteY76" fmla="*/ 279681 h 377946"/>
                <a:gd name="connsiteX77" fmla="*/ 365349 w 365348"/>
                <a:gd name="connsiteY77" fmla="*/ 274641 h 377946"/>
                <a:gd name="connsiteX78" fmla="*/ 364089 w 365348"/>
                <a:gd name="connsiteY78" fmla="*/ 270862 h 377946"/>
                <a:gd name="connsiteX79" fmla="*/ 364089 w 365348"/>
                <a:gd name="connsiteY79" fmla="*/ 270862 h 377946"/>
                <a:gd name="connsiteX80" fmla="*/ 364089 w 365348"/>
                <a:gd name="connsiteY80" fmla="*/ 270862 h 377946"/>
                <a:gd name="connsiteX81" fmla="*/ 364089 w 365348"/>
                <a:gd name="connsiteY81" fmla="*/ 269602 h 377946"/>
                <a:gd name="connsiteX82" fmla="*/ 357790 w 365348"/>
                <a:gd name="connsiteY82" fmla="*/ 255744 h 377946"/>
                <a:gd name="connsiteX83" fmla="*/ 356530 w 365348"/>
                <a:gd name="connsiteY83" fmla="*/ 253224 h 377946"/>
                <a:gd name="connsiteX84" fmla="*/ 356530 w 365348"/>
                <a:gd name="connsiteY84" fmla="*/ 253224 h 377946"/>
                <a:gd name="connsiteX85" fmla="*/ 356530 w 365348"/>
                <a:gd name="connsiteY85" fmla="*/ 253224 h 377946"/>
                <a:gd name="connsiteX86" fmla="*/ 356530 w 365348"/>
                <a:gd name="connsiteY86" fmla="*/ 253224 h 377946"/>
                <a:gd name="connsiteX87" fmla="*/ 356530 w 365348"/>
                <a:gd name="connsiteY87" fmla="*/ 253224 h 377946"/>
                <a:gd name="connsiteX88" fmla="*/ 355270 w 365348"/>
                <a:gd name="connsiteY88" fmla="*/ 249445 h 377946"/>
                <a:gd name="connsiteX89" fmla="*/ 355270 w 365348"/>
                <a:gd name="connsiteY89" fmla="*/ 248185 h 377946"/>
                <a:gd name="connsiteX90" fmla="*/ 354010 w 365348"/>
                <a:gd name="connsiteY90" fmla="*/ 246925 h 377946"/>
                <a:gd name="connsiteX91" fmla="*/ 354010 w 365348"/>
                <a:gd name="connsiteY91" fmla="*/ 246925 h 377946"/>
                <a:gd name="connsiteX92" fmla="*/ 348971 w 365348"/>
                <a:gd name="connsiteY92" fmla="*/ 238107 h 377946"/>
                <a:gd name="connsiteX93" fmla="*/ 347711 w 365348"/>
                <a:gd name="connsiteY93" fmla="*/ 236847 h 377946"/>
                <a:gd name="connsiteX94" fmla="*/ 345192 w 365348"/>
                <a:gd name="connsiteY94" fmla="*/ 233067 h 377946"/>
                <a:gd name="connsiteX95" fmla="*/ 345192 w 365348"/>
                <a:gd name="connsiteY95" fmla="*/ 233067 h 377946"/>
                <a:gd name="connsiteX96" fmla="*/ 343932 w 365348"/>
                <a:gd name="connsiteY96" fmla="*/ 231807 h 377946"/>
                <a:gd name="connsiteX97" fmla="*/ 340152 w 365348"/>
                <a:gd name="connsiteY97" fmla="*/ 225508 h 377946"/>
                <a:gd name="connsiteX98" fmla="*/ 340152 w 365348"/>
                <a:gd name="connsiteY98" fmla="*/ 225508 h 377946"/>
                <a:gd name="connsiteX99" fmla="*/ 337633 w 365348"/>
                <a:gd name="connsiteY99" fmla="*/ 221729 h 377946"/>
                <a:gd name="connsiteX100" fmla="*/ 330074 w 365348"/>
                <a:gd name="connsiteY100" fmla="*/ 210390 h 377946"/>
                <a:gd name="connsiteX101" fmla="*/ 330074 w 365348"/>
                <a:gd name="connsiteY101" fmla="*/ 210390 h 377946"/>
                <a:gd name="connsiteX102" fmla="*/ 326294 w 365348"/>
                <a:gd name="connsiteY102" fmla="*/ 205351 h 377946"/>
                <a:gd name="connsiteX103" fmla="*/ 323775 w 365348"/>
                <a:gd name="connsiteY103" fmla="*/ 201572 h 377946"/>
                <a:gd name="connsiteX104" fmla="*/ 318735 w 365348"/>
                <a:gd name="connsiteY104" fmla="*/ 195273 h 377946"/>
                <a:gd name="connsiteX105" fmla="*/ 303617 w 365348"/>
                <a:gd name="connsiteY105" fmla="*/ 177635 h 377946"/>
                <a:gd name="connsiteX106" fmla="*/ 301098 w 365348"/>
                <a:gd name="connsiteY106" fmla="*/ 175115 h 377946"/>
                <a:gd name="connsiteX107" fmla="*/ 301098 w 365348"/>
                <a:gd name="connsiteY107" fmla="*/ 175115 h 377946"/>
                <a:gd name="connsiteX108" fmla="*/ 301098 w 365348"/>
                <a:gd name="connsiteY108" fmla="*/ 175115 h 377946"/>
                <a:gd name="connsiteX109" fmla="*/ 299838 w 365348"/>
                <a:gd name="connsiteY109" fmla="*/ 172596 h 377946"/>
                <a:gd name="connsiteX110" fmla="*/ 298578 w 365348"/>
                <a:gd name="connsiteY110" fmla="*/ 171336 h 377946"/>
                <a:gd name="connsiteX111" fmla="*/ 296059 w 365348"/>
                <a:gd name="connsiteY111" fmla="*/ 168816 h 377946"/>
                <a:gd name="connsiteX112" fmla="*/ 277161 w 365348"/>
                <a:gd name="connsiteY112" fmla="*/ 149919 h 377946"/>
                <a:gd name="connsiteX113" fmla="*/ 269602 w 365348"/>
                <a:gd name="connsiteY113" fmla="*/ 143620 h 377946"/>
                <a:gd name="connsiteX114" fmla="*/ 260783 w 365348"/>
                <a:gd name="connsiteY114" fmla="*/ 136061 h 377946"/>
                <a:gd name="connsiteX115" fmla="*/ 260783 w 365348"/>
                <a:gd name="connsiteY115" fmla="*/ 136061 h 377946"/>
                <a:gd name="connsiteX116" fmla="*/ 260783 w 365348"/>
                <a:gd name="connsiteY116" fmla="*/ 136061 h 377946"/>
                <a:gd name="connsiteX117" fmla="*/ 260783 w 365348"/>
                <a:gd name="connsiteY117" fmla="*/ 136061 h 377946"/>
                <a:gd name="connsiteX118" fmla="*/ 260783 w 365348"/>
                <a:gd name="connsiteY118" fmla="*/ 136061 h 377946"/>
                <a:gd name="connsiteX119" fmla="*/ 243146 w 365348"/>
                <a:gd name="connsiteY119" fmla="*/ 119683 h 377946"/>
                <a:gd name="connsiteX120" fmla="*/ 216690 w 365348"/>
                <a:gd name="connsiteY120" fmla="*/ 95746 h 377946"/>
                <a:gd name="connsiteX121" fmla="*/ 201572 w 365348"/>
                <a:gd name="connsiteY121" fmla="*/ 83148 h 377946"/>
                <a:gd name="connsiteX122" fmla="*/ 192753 w 365348"/>
                <a:gd name="connsiteY122" fmla="*/ 76849 h 377946"/>
                <a:gd name="connsiteX123" fmla="*/ 186454 w 365348"/>
                <a:gd name="connsiteY123" fmla="*/ 71810 h 377946"/>
                <a:gd name="connsiteX124" fmla="*/ 182674 w 365348"/>
                <a:gd name="connsiteY124" fmla="*/ 69290 h 377946"/>
                <a:gd name="connsiteX125" fmla="*/ 170076 w 365348"/>
                <a:gd name="connsiteY125" fmla="*/ 59212 h 377946"/>
                <a:gd name="connsiteX126" fmla="*/ 168816 w 365348"/>
                <a:gd name="connsiteY126" fmla="*/ 57952 h 377946"/>
                <a:gd name="connsiteX127" fmla="*/ 166297 w 365348"/>
                <a:gd name="connsiteY127" fmla="*/ 55432 h 377946"/>
                <a:gd name="connsiteX128" fmla="*/ 162517 w 365348"/>
                <a:gd name="connsiteY128" fmla="*/ 51653 h 377946"/>
                <a:gd name="connsiteX129" fmla="*/ 156218 w 365348"/>
                <a:gd name="connsiteY129" fmla="*/ 45354 h 377946"/>
                <a:gd name="connsiteX130" fmla="*/ 156218 w 365348"/>
                <a:gd name="connsiteY130" fmla="*/ 45354 h 377946"/>
                <a:gd name="connsiteX131" fmla="*/ 156218 w 365348"/>
                <a:gd name="connsiteY131" fmla="*/ 45354 h 377946"/>
                <a:gd name="connsiteX132" fmla="*/ 156218 w 365348"/>
                <a:gd name="connsiteY132" fmla="*/ 45354 h 377946"/>
                <a:gd name="connsiteX133" fmla="*/ 156218 w 365348"/>
                <a:gd name="connsiteY133" fmla="*/ 45354 h 377946"/>
                <a:gd name="connsiteX134" fmla="*/ 156218 w 365348"/>
                <a:gd name="connsiteY134" fmla="*/ 45354 h 377946"/>
                <a:gd name="connsiteX135" fmla="*/ 156218 w 365348"/>
                <a:gd name="connsiteY135" fmla="*/ 45354 h 377946"/>
                <a:gd name="connsiteX136" fmla="*/ 156218 w 365348"/>
                <a:gd name="connsiteY136" fmla="*/ 45354 h 377946"/>
                <a:gd name="connsiteX137" fmla="*/ 156218 w 365348"/>
                <a:gd name="connsiteY137" fmla="*/ 45354 h 377946"/>
                <a:gd name="connsiteX138" fmla="*/ 152439 w 365348"/>
                <a:gd name="connsiteY138" fmla="*/ 42834 h 377946"/>
                <a:gd name="connsiteX139" fmla="*/ 151179 w 365348"/>
                <a:gd name="connsiteY139" fmla="*/ 42834 h 377946"/>
                <a:gd name="connsiteX140" fmla="*/ 151179 w 365348"/>
                <a:gd name="connsiteY140" fmla="*/ 42834 h 377946"/>
                <a:gd name="connsiteX141" fmla="*/ 151179 w 365348"/>
                <a:gd name="connsiteY141" fmla="*/ 42834 h 377946"/>
                <a:gd name="connsiteX142" fmla="*/ 151179 w 365348"/>
                <a:gd name="connsiteY142" fmla="*/ 42834 h 377946"/>
                <a:gd name="connsiteX143" fmla="*/ 151179 w 365348"/>
                <a:gd name="connsiteY143" fmla="*/ 42834 h 377946"/>
                <a:gd name="connsiteX144" fmla="*/ 151179 w 365348"/>
                <a:gd name="connsiteY144" fmla="*/ 42834 h 377946"/>
                <a:gd name="connsiteX145" fmla="*/ 151179 w 365348"/>
                <a:gd name="connsiteY145" fmla="*/ 42834 h 377946"/>
                <a:gd name="connsiteX146" fmla="*/ 151179 w 365348"/>
                <a:gd name="connsiteY146" fmla="*/ 42834 h 377946"/>
                <a:gd name="connsiteX147" fmla="*/ 151179 w 365348"/>
                <a:gd name="connsiteY147" fmla="*/ 42834 h 377946"/>
                <a:gd name="connsiteX148" fmla="*/ 151179 w 365348"/>
                <a:gd name="connsiteY148" fmla="*/ 42834 h 377946"/>
                <a:gd name="connsiteX149" fmla="*/ 151179 w 365348"/>
                <a:gd name="connsiteY149" fmla="*/ 42834 h 377946"/>
                <a:gd name="connsiteX150" fmla="*/ 138581 w 365348"/>
                <a:gd name="connsiteY150" fmla="*/ 34015 h 377946"/>
                <a:gd name="connsiteX151" fmla="*/ 133541 w 365348"/>
                <a:gd name="connsiteY151" fmla="*/ 30236 h 377946"/>
                <a:gd name="connsiteX152" fmla="*/ 128502 w 365348"/>
                <a:gd name="connsiteY152" fmla="*/ 26456 h 377946"/>
                <a:gd name="connsiteX153" fmla="*/ 119683 w 365348"/>
                <a:gd name="connsiteY153" fmla="*/ 21417 h 377946"/>
                <a:gd name="connsiteX154" fmla="*/ 119683 w 365348"/>
                <a:gd name="connsiteY154" fmla="*/ 21417 h 377946"/>
                <a:gd name="connsiteX155" fmla="*/ 119683 w 365348"/>
                <a:gd name="connsiteY155" fmla="*/ 21417 h 377946"/>
                <a:gd name="connsiteX156" fmla="*/ 115904 w 365348"/>
                <a:gd name="connsiteY156" fmla="*/ 20157 h 377946"/>
                <a:gd name="connsiteX157" fmla="*/ 109605 w 365348"/>
                <a:gd name="connsiteY157" fmla="*/ 16378 h 377946"/>
                <a:gd name="connsiteX158" fmla="*/ 109605 w 365348"/>
                <a:gd name="connsiteY158" fmla="*/ 16378 h 377946"/>
                <a:gd name="connsiteX159" fmla="*/ 105825 w 365348"/>
                <a:gd name="connsiteY159" fmla="*/ 13858 h 377946"/>
                <a:gd name="connsiteX160" fmla="*/ 91967 w 365348"/>
                <a:gd name="connsiteY160" fmla="*/ 7559 h 377946"/>
                <a:gd name="connsiteX161" fmla="*/ 69290 w 365348"/>
                <a:gd name="connsiteY161" fmla="*/ 1260 h 377946"/>
                <a:gd name="connsiteX162" fmla="*/ 55432 w 365348"/>
                <a:gd name="connsiteY162" fmla="*/ 0 h 377946"/>
                <a:gd name="connsiteX163" fmla="*/ 42834 w 365348"/>
                <a:gd name="connsiteY163" fmla="*/ 0 h 377946"/>
                <a:gd name="connsiteX164" fmla="*/ 41574 w 365348"/>
                <a:gd name="connsiteY164" fmla="*/ 0 h 377946"/>
                <a:gd name="connsiteX165" fmla="*/ 35275 w 365348"/>
                <a:gd name="connsiteY165" fmla="*/ 1260 h 377946"/>
                <a:gd name="connsiteX166" fmla="*/ 26456 w 365348"/>
                <a:gd name="connsiteY166" fmla="*/ 5039 h 377946"/>
                <a:gd name="connsiteX167" fmla="*/ 25196 w 365348"/>
                <a:gd name="connsiteY167" fmla="*/ 6299 h 377946"/>
                <a:gd name="connsiteX168" fmla="*/ 21417 w 365348"/>
                <a:gd name="connsiteY168" fmla="*/ 7559 h 377946"/>
                <a:gd name="connsiteX169" fmla="*/ 20157 w 365348"/>
                <a:gd name="connsiteY169" fmla="*/ 8819 h 377946"/>
                <a:gd name="connsiteX170" fmla="*/ 17638 w 365348"/>
                <a:gd name="connsiteY170" fmla="*/ 10078 h 377946"/>
                <a:gd name="connsiteX171" fmla="*/ 13858 w 365348"/>
                <a:gd name="connsiteY171" fmla="*/ 13858 h 377946"/>
                <a:gd name="connsiteX172" fmla="*/ 7559 w 365348"/>
                <a:gd name="connsiteY172" fmla="*/ 25196 h 377946"/>
                <a:gd name="connsiteX173" fmla="*/ 3780 w 365348"/>
                <a:gd name="connsiteY173" fmla="*/ 35275 h 377946"/>
                <a:gd name="connsiteX174" fmla="*/ 3780 w 365348"/>
                <a:gd name="connsiteY174" fmla="*/ 35275 h 377946"/>
                <a:gd name="connsiteX175" fmla="*/ 1260 w 365348"/>
                <a:gd name="connsiteY175" fmla="*/ 42834 h 377946"/>
                <a:gd name="connsiteX176" fmla="*/ 0 w 365348"/>
                <a:gd name="connsiteY176" fmla="*/ 61731 h 377946"/>
                <a:gd name="connsiteX177" fmla="*/ 1260 w 365348"/>
                <a:gd name="connsiteY177" fmla="*/ 80629 h 377946"/>
                <a:gd name="connsiteX178" fmla="*/ 1260 w 365348"/>
                <a:gd name="connsiteY178" fmla="*/ 80629 h 377946"/>
                <a:gd name="connsiteX179" fmla="*/ 1260 w 365348"/>
                <a:gd name="connsiteY179" fmla="*/ 80629 h 377946"/>
                <a:gd name="connsiteX180" fmla="*/ 1260 w 365348"/>
                <a:gd name="connsiteY180" fmla="*/ 80629 h 377946"/>
                <a:gd name="connsiteX181" fmla="*/ 1260 w 365348"/>
                <a:gd name="connsiteY181" fmla="*/ 80629 h 377946"/>
                <a:gd name="connsiteX182" fmla="*/ 1260 w 365348"/>
                <a:gd name="connsiteY182" fmla="*/ 80629 h 377946"/>
                <a:gd name="connsiteX183" fmla="*/ 2520 w 365348"/>
                <a:gd name="connsiteY183" fmla="*/ 86928 h 377946"/>
                <a:gd name="connsiteX184" fmla="*/ 7559 w 365348"/>
                <a:gd name="connsiteY184" fmla="*/ 102046 h 377946"/>
                <a:gd name="connsiteX185" fmla="*/ 10079 w 365348"/>
                <a:gd name="connsiteY185" fmla="*/ 105825 h 377946"/>
                <a:gd name="connsiteX186" fmla="*/ 21417 w 365348"/>
                <a:gd name="connsiteY186" fmla="*/ 119683 h 377946"/>
                <a:gd name="connsiteX187" fmla="*/ 34015 w 365348"/>
                <a:gd name="connsiteY187" fmla="*/ 132281 h 377946"/>
                <a:gd name="connsiteX188" fmla="*/ 34015 w 365348"/>
                <a:gd name="connsiteY188" fmla="*/ 132281 h 377946"/>
                <a:gd name="connsiteX189" fmla="*/ 46614 w 365348"/>
                <a:gd name="connsiteY189" fmla="*/ 143620 h 377946"/>
                <a:gd name="connsiteX190" fmla="*/ 60472 w 365348"/>
                <a:gd name="connsiteY190" fmla="*/ 156218 h 377946"/>
                <a:gd name="connsiteX191" fmla="*/ 71810 w 365348"/>
                <a:gd name="connsiteY191" fmla="*/ 167556 h 377946"/>
                <a:gd name="connsiteX192" fmla="*/ 73070 w 365348"/>
                <a:gd name="connsiteY192" fmla="*/ 168816 h 377946"/>
                <a:gd name="connsiteX193" fmla="*/ 75589 w 365348"/>
                <a:gd name="connsiteY193" fmla="*/ 171336 h 377946"/>
                <a:gd name="connsiteX194" fmla="*/ 99526 w 365348"/>
                <a:gd name="connsiteY194" fmla="*/ 192753 h 377946"/>
                <a:gd name="connsiteX195" fmla="*/ 113384 w 365348"/>
                <a:gd name="connsiteY195" fmla="*/ 204091 h 377946"/>
                <a:gd name="connsiteX196" fmla="*/ 125982 w 365348"/>
                <a:gd name="connsiteY196" fmla="*/ 214170 h 377946"/>
                <a:gd name="connsiteX197" fmla="*/ 128502 w 365348"/>
                <a:gd name="connsiteY197" fmla="*/ 215430 h 377946"/>
                <a:gd name="connsiteX198" fmla="*/ 133541 w 365348"/>
                <a:gd name="connsiteY198" fmla="*/ 220469 h 377946"/>
                <a:gd name="connsiteX199" fmla="*/ 141100 w 365348"/>
                <a:gd name="connsiteY199" fmla="*/ 226768 h 377946"/>
                <a:gd name="connsiteX200" fmla="*/ 157478 w 365348"/>
                <a:gd name="connsiteY200" fmla="*/ 239366 h 377946"/>
                <a:gd name="connsiteX201" fmla="*/ 171336 w 365348"/>
                <a:gd name="connsiteY201" fmla="*/ 248185 h 377946"/>
                <a:gd name="connsiteX202" fmla="*/ 186454 w 365348"/>
                <a:gd name="connsiteY202" fmla="*/ 258264 h 377946"/>
                <a:gd name="connsiteX203" fmla="*/ 196532 w 365348"/>
                <a:gd name="connsiteY203" fmla="*/ 265823 h 377946"/>
                <a:gd name="connsiteX204" fmla="*/ 199052 w 365348"/>
                <a:gd name="connsiteY204" fmla="*/ 268342 h 377946"/>
                <a:gd name="connsiteX205" fmla="*/ 205351 w 365348"/>
                <a:gd name="connsiteY205" fmla="*/ 273382 h 377946"/>
                <a:gd name="connsiteX206" fmla="*/ 212910 w 365348"/>
                <a:gd name="connsiteY206" fmla="*/ 279681 h 377946"/>
                <a:gd name="connsiteX207" fmla="*/ 214170 w 365348"/>
                <a:gd name="connsiteY207" fmla="*/ 279681 h 377946"/>
                <a:gd name="connsiteX208" fmla="*/ 228028 w 365348"/>
                <a:gd name="connsiteY208" fmla="*/ 291019 h 377946"/>
                <a:gd name="connsiteX209" fmla="*/ 241886 w 365348"/>
                <a:gd name="connsiteY209" fmla="*/ 303617 h 377946"/>
                <a:gd name="connsiteX210" fmla="*/ 246925 w 365348"/>
                <a:gd name="connsiteY210" fmla="*/ 309916 h 377946"/>
                <a:gd name="connsiteX211" fmla="*/ 250705 w 365348"/>
                <a:gd name="connsiteY211" fmla="*/ 316216 h 377946"/>
                <a:gd name="connsiteX212" fmla="*/ 253224 w 365348"/>
                <a:gd name="connsiteY212" fmla="*/ 322515 h 377946"/>
                <a:gd name="connsiteX213" fmla="*/ 253224 w 365348"/>
                <a:gd name="connsiteY213" fmla="*/ 323775 h 377946"/>
                <a:gd name="connsiteX214" fmla="*/ 260783 w 365348"/>
                <a:gd name="connsiteY214" fmla="*/ 338892 h 377946"/>
                <a:gd name="connsiteX215" fmla="*/ 260783 w 365348"/>
                <a:gd name="connsiteY215" fmla="*/ 338892 h 377946"/>
                <a:gd name="connsiteX216" fmla="*/ 264563 w 365348"/>
                <a:gd name="connsiteY216" fmla="*/ 346451 h 377946"/>
                <a:gd name="connsiteX217" fmla="*/ 267083 w 365348"/>
                <a:gd name="connsiteY217" fmla="*/ 351491 h 377946"/>
                <a:gd name="connsiteX218" fmla="*/ 268342 w 365348"/>
                <a:gd name="connsiteY218" fmla="*/ 354010 h 377946"/>
                <a:gd name="connsiteX219" fmla="*/ 270862 w 365348"/>
                <a:gd name="connsiteY219" fmla="*/ 357790 h 377946"/>
                <a:gd name="connsiteX220" fmla="*/ 272122 w 365348"/>
                <a:gd name="connsiteY220" fmla="*/ 360309 h 377946"/>
                <a:gd name="connsiteX221" fmla="*/ 278421 w 365348"/>
                <a:gd name="connsiteY221" fmla="*/ 367868 h 377946"/>
                <a:gd name="connsiteX222" fmla="*/ 279681 w 365348"/>
                <a:gd name="connsiteY222" fmla="*/ 370388 h 377946"/>
                <a:gd name="connsiteX223" fmla="*/ 287240 w 365348"/>
                <a:gd name="connsiteY223" fmla="*/ 371648 h 37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365348" h="377946">
                  <a:moveTo>
                    <a:pt x="287240" y="371648"/>
                  </a:moveTo>
                  <a:cubicBezTo>
                    <a:pt x="288500" y="372908"/>
                    <a:pt x="289759" y="372908"/>
                    <a:pt x="289759" y="374167"/>
                  </a:cubicBezTo>
                  <a:lnTo>
                    <a:pt x="289759" y="374167"/>
                  </a:lnTo>
                  <a:cubicBezTo>
                    <a:pt x="291019" y="375427"/>
                    <a:pt x="292279" y="376687"/>
                    <a:pt x="294799" y="376687"/>
                  </a:cubicBezTo>
                  <a:cubicBezTo>
                    <a:pt x="296059" y="377947"/>
                    <a:pt x="298578" y="377947"/>
                    <a:pt x="299838" y="379207"/>
                  </a:cubicBezTo>
                  <a:cubicBezTo>
                    <a:pt x="301098" y="380467"/>
                    <a:pt x="303617" y="380467"/>
                    <a:pt x="304877" y="380467"/>
                  </a:cubicBezTo>
                  <a:cubicBezTo>
                    <a:pt x="304877" y="380467"/>
                    <a:pt x="306137" y="380467"/>
                    <a:pt x="306137" y="380467"/>
                  </a:cubicBezTo>
                  <a:cubicBezTo>
                    <a:pt x="308657" y="380467"/>
                    <a:pt x="309917" y="381726"/>
                    <a:pt x="311176" y="381726"/>
                  </a:cubicBezTo>
                  <a:cubicBezTo>
                    <a:pt x="311176" y="381726"/>
                    <a:pt x="312436" y="381726"/>
                    <a:pt x="312436" y="381726"/>
                  </a:cubicBezTo>
                  <a:cubicBezTo>
                    <a:pt x="313696" y="381726"/>
                    <a:pt x="313696" y="381726"/>
                    <a:pt x="314956" y="381726"/>
                  </a:cubicBezTo>
                  <a:cubicBezTo>
                    <a:pt x="314956" y="381726"/>
                    <a:pt x="314956" y="381726"/>
                    <a:pt x="314956" y="381726"/>
                  </a:cubicBezTo>
                  <a:lnTo>
                    <a:pt x="314956" y="381726"/>
                  </a:lnTo>
                  <a:cubicBezTo>
                    <a:pt x="314956" y="381726"/>
                    <a:pt x="314956" y="381726"/>
                    <a:pt x="314956" y="381726"/>
                  </a:cubicBezTo>
                  <a:lnTo>
                    <a:pt x="314956" y="381726"/>
                  </a:lnTo>
                  <a:cubicBezTo>
                    <a:pt x="314956" y="381726"/>
                    <a:pt x="314956" y="381726"/>
                    <a:pt x="314956" y="381726"/>
                  </a:cubicBezTo>
                  <a:lnTo>
                    <a:pt x="314956" y="381726"/>
                  </a:lnTo>
                  <a:lnTo>
                    <a:pt x="314956" y="381726"/>
                  </a:lnTo>
                  <a:cubicBezTo>
                    <a:pt x="314956" y="381726"/>
                    <a:pt x="314956" y="381726"/>
                    <a:pt x="314956" y="381726"/>
                  </a:cubicBezTo>
                  <a:cubicBezTo>
                    <a:pt x="314956" y="381726"/>
                    <a:pt x="314956" y="381726"/>
                    <a:pt x="314956" y="381726"/>
                  </a:cubicBezTo>
                  <a:cubicBezTo>
                    <a:pt x="317476" y="381726"/>
                    <a:pt x="319995" y="380467"/>
                    <a:pt x="322515" y="379207"/>
                  </a:cubicBezTo>
                  <a:cubicBezTo>
                    <a:pt x="323775" y="379207"/>
                    <a:pt x="325034" y="377947"/>
                    <a:pt x="325034" y="377947"/>
                  </a:cubicBezTo>
                  <a:lnTo>
                    <a:pt x="325034" y="377947"/>
                  </a:lnTo>
                  <a:lnTo>
                    <a:pt x="325034" y="377947"/>
                  </a:lnTo>
                  <a:cubicBezTo>
                    <a:pt x="325034" y="377947"/>
                    <a:pt x="325034" y="377947"/>
                    <a:pt x="326294" y="377947"/>
                  </a:cubicBezTo>
                  <a:cubicBezTo>
                    <a:pt x="328814" y="376687"/>
                    <a:pt x="331333" y="375427"/>
                    <a:pt x="333853" y="375427"/>
                  </a:cubicBezTo>
                  <a:cubicBezTo>
                    <a:pt x="333853" y="375427"/>
                    <a:pt x="333853" y="375427"/>
                    <a:pt x="335113" y="375427"/>
                  </a:cubicBezTo>
                  <a:cubicBezTo>
                    <a:pt x="336373" y="375427"/>
                    <a:pt x="336373" y="374167"/>
                    <a:pt x="337633" y="374167"/>
                  </a:cubicBezTo>
                  <a:lnTo>
                    <a:pt x="337633" y="374167"/>
                  </a:lnTo>
                  <a:lnTo>
                    <a:pt x="338892" y="374167"/>
                  </a:lnTo>
                  <a:cubicBezTo>
                    <a:pt x="340152" y="372908"/>
                    <a:pt x="341412" y="372908"/>
                    <a:pt x="343932" y="371648"/>
                  </a:cubicBezTo>
                  <a:cubicBezTo>
                    <a:pt x="345192" y="371648"/>
                    <a:pt x="345192" y="370388"/>
                    <a:pt x="346452" y="370388"/>
                  </a:cubicBezTo>
                  <a:cubicBezTo>
                    <a:pt x="346452" y="370388"/>
                    <a:pt x="346452" y="370388"/>
                    <a:pt x="347711" y="369128"/>
                  </a:cubicBezTo>
                  <a:lnTo>
                    <a:pt x="347711" y="369128"/>
                  </a:lnTo>
                  <a:lnTo>
                    <a:pt x="347711" y="369128"/>
                  </a:lnTo>
                  <a:cubicBezTo>
                    <a:pt x="347711" y="369128"/>
                    <a:pt x="348971" y="367868"/>
                    <a:pt x="348971" y="367868"/>
                  </a:cubicBezTo>
                  <a:cubicBezTo>
                    <a:pt x="350231" y="366608"/>
                    <a:pt x="352751" y="364089"/>
                    <a:pt x="354010" y="362829"/>
                  </a:cubicBezTo>
                  <a:cubicBezTo>
                    <a:pt x="354010" y="362829"/>
                    <a:pt x="354010" y="362829"/>
                    <a:pt x="354010" y="362829"/>
                  </a:cubicBezTo>
                  <a:lnTo>
                    <a:pt x="354010" y="362829"/>
                  </a:lnTo>
                  <a:lnTo>
                    <a:pt x="354010" y="362829"/>
                  </a:lnTo>
                  <a:cubicBezTo>
                    <a:pt x="354010" y="362829"/>
                    <a:pt x="354010" y="362829"/>
                    <a:pt x="354010" y="362829"/>
                  </a:cubicBezTo>
                  <a:cubicBezTo>
                    <a:pt x="354010" y="362829"/>
                    <a:pt x="355270" y="361569"/>
                    <a:pt x="355270" y="361569"/>
                  </a:cubicBezTo>
                  <a:cubicBezTo>
                    <a:pt x="355270" y="361569"/>
                    <a:pt x="355270" y="361569"/>
                    <a:pt x="355270" y="361569"/>
                  </a:cubicBezTo>
                  <a:cubicBezTo>
                    <a:pt x="355270" y="361569"/>
                    <a:pt x="355270" y="361569"/>
                    <a:pt x="355270" y="361569"/>
                  </a:cubicBezTo>
                  <a:cubicBezTo>
                    <a:pt x="355270" y="361569"/>
                    <a:pt x="355270" y="361569"/>
                    <a:pt x="355270" y="361569"/>
                  </a:cubicBezTo>
                  <a:cubicBezTo>
                    <a:pt x="355270" y="360309"/>
                    <a:pt x="356530" y="360309"/>
                    <a:pt x="356530" y="359050"/>
                  </a:cubicBezTo>
                  <a:cubicBezTo>
                    <a:pt x="356530" y="357790"/>
                    <a:pt x="357790" y="357790"/>
                    <a:pt x="357790" y="356530"/>
                  </a:cubicBezTo>
                  <a:cubicBezTo>
                    <a:pt x="359050" y="355270"/>
                    <a:pt x="359050" y="354010"/>
                    <a:pt x="360309" y="351491"/>
                  </a:cubicBezTo>
                  <a:cubicBezTo>
                    <a:pt x="360309" y="350231"/>
                    <a:pt x="361569" y="350231"/>
                    <a:pt x="361569" y="348971"/>
                  </a:cubicBezTo>
                  <a:cubicBezTo>
                    <a:pt x="362829" y="346451"/>
                    <a:pt x="362829" y="345192"/>
                    <a:pt x="364089" y="342672"/>
                  </a:cubicBezTo>
                  <a:cubicBezTo>
                    <a:pt x="364089" y="341412"/>
                    <a:pt x="365349" y="340152"/>
                    <a:pt x="365349" y="338892"/>
                  </a:cubicBezTo>
                  <a:cubicBezTo>
                    <a:pt x="365349" y="338892"/>
                    <a:pt x="365349" y="338892"/>
                    <a:pt x="365349" y="338892"/>
                  </a:cubicBezTo>
                  <a:lnTo>
                    <a:pt x="365349" y="337633"/>
                  </a:lnTo>
                  <a:cubicBezTo>
                    <a:pt x="365349" y="337633"/>
                    <a:pt x="365349" y="337633"/>
                    <a:pt x="365349" y="337633"/>
                  </a:cubicBezTo>
                  <a:cubicBezTo>
                    <a:pt x="366609" y="332593"/>
                    <a:pt x="367868" y="328814"/>
                    <a:pt x="369128" y="322515"/>
                  </a:cubicBezTo>
                  <a:cubicBezTo>
                    <a:pt x="369128" y="321255"/>
                    <a:pt x="369128" y="321255"/>
                    <a:pt x="369128" y="319995"/>
                  </a:cubicBezTo>
                  <a:cubicBezTo>
                    <a:pt x="369128" y="318735"/>
                    <a:pt x="369128" y="318735"/>
                    <a:pt x="369128" y="317475"/>
                  </a:cubicBezTo>
                  <a:cubicBezTo>
                    <a:pt x="369128" y="316216"/>
                    <a:pt x="369128" y="313696"/>
                    <a:pt x="369128" y="311176"/>
                  </a:cubicBezTo>
                  <a:lnTo>
                    <a:pt x="369128" y="309916"/>
                  </a:lnTo>
                  <a:lnTo>
                    <a:pt x="369128" y="309916"/>
                  </a:lnTo>
                  <a:cubicBezTo>
                    <a:pt x="369128" y="309916"/>
                    <a:pt x="369128" y="309916"/>
                    <a:pt x="369128" y="309916"/>
                  </a:cubicBezTo>
                  <a:cubicBezTo>
                    <a:pt x="369128" y="307397"/>
                    <a:pt x="369128" y="306137"/>
                    <a:pt x="369128" y="303617"/>
                  </a:cubicBezTo>
                  <a:lnTo>
                    <a:pt x="369128" y="302358"/>
                  </a:lnTo>
                  <a:lnTo>
                    <a:pt x="369128" y="302358"/>
                  </a:lnTo>
                  <a:lnTo>
                    <a:pt x="369128" y="301098"/>
                  </a:lnTo>
                  <a:lnTo>
                    <a:pt x="369128" y="301098"/>
                  </a:lnTo>
                  <a:lnTo>
                    <a:pt x="369128" y="301098"/>
                  </a:lnTo>
                  <a:lnTo>
                    <a:pt x="369128" y="301098"/>
                  </a:lnTo>
                  <a:cubicBezTo>
                    <a:pt x="369128" y="301098"/>
                    <a:pt x="369128" y="301098"/>
                    <a:pt x="369128" y="301098"/>
                  </a:cubicBezTo>
                  <a:cubicBezTo>
                    <a:pt x="369128" y="299838"/>
                    <a:pt x="369128" y="297318"/>
                    <a:pt x="369128" y="296058"/>
                  </a:cubicBezTo>
                  <a:lnTo>
                    <a:pt x="369128" y="293539"/>
                  </a:lnTo>
                  <a:lnTo>
                    <a:pt x="369128" y="291019"/>
                  </a:lnTo>
                  <a:cubicBezTo>
                    <a:pt x="369128" y="289759"/>
                    <a:pt x="369128" y="289759"/>
                    <a:pt x="369128" y="288499"/>
                  </a:cubicBezTo>
                  <a:cubicBezTo>
                    <a:pt x="369128" y="288499"/>
                    <a:pt x="369128" y="288499"/>
                    <a:pt x="369128" y="288499"/>
                  </a:cubicBezTo>
                  <a:cubicBezTo>
                    <a:pt x="369128" y="288499"/>
                    <a:pt x="369128" y="287240"/>
                    <a:pt x="369128" y="287240"/>
                  </a:cubicBezTo>
                  <a:cubicBezTo>
                    <a:pt x="369128" y="284720"/>
                    <a:pt x="367868" y="282200"/>
                    <a:pt x="367868" y="280940"/>
                  </a:cubicBezTo>
                  <a:cubicBezTo>
                    <a:pt x="367868" y="280940"/>
                    <a:pt x="367868" y="280940"/>
                    <a:pt x="367868" y="280940"/>
                  </a:cubicBezTo>
                  <a:lnTo>
                    <a:pt x="367868" y="279681"/>
                  </a:lnTo>
                  <a:cubicBezTo>
                    <a:pt x="367868" y="278421"/>
                    <a:pt x="366609" y="275901"/>
                    <a:pt x="365349" y="274641"/>
                  </a:cubicBezTo>
                  <a:cubicBezTo>
                    <a:pt x="365349" y="273382"/>
                    <a:pt x="364089" y="272122"/>
                    <a:pt x="364089" y="270862"/>
                  </a:cubicBezTo>
                  <a:lnTo>
                    <a:pt x="364089" y="270862"/>
                  </a:lnTo>
                  <a:lnTo>
                    <a:pt x="364089" y="270862"/>
                  </a:lnTo>
                  <a:cubicBezTo>
                    <a:pt x="364089" y="270862"/>
                    <a:pt x="364089" y="269602"/>
                    <a:pt x="364089" y="269602"/>
                  </a:cubicBezTo>
                  <a:cubicBezTo>
                    <a:pt x="362829" y="265823"/>
                    <a:pt x="360309" y="260783"/>
                    <a:pt x="357790" y="255744"/>
                  </a:cubicBezTo>
                  <a:cubicBezTo>
                    <a:pt x="357790" y="254484"/>
                    <a:pt x="356530" y="254484"/>
                    <a:pt x="356530" y="253224"/>
                  </a:cubicBezTo>
                  <a:lnTo>
                    <a:pt x="356530" y="253224"/>
                  </a:lnTo>
                  <a:lnTo>
                    <a:pt x="356530" y="253224"/>
                  </a:lnTo>
                  <a:lnTo>
                    <a:pt x="356530" y="253224"/>
                  </a:lnTo>
                  <a:lnTo>
                    <a:pt x="356530" y="253224"/>
                  </a:lnTo>
                  <a:cubicBezTo>
                    <a:pt x="356530" y="251965"/>
                    <a:pt x="355270" y="250705"/>
                    <a:pt x="355270" y="249445"/>
                  </a:cubicBezTo>
                  <a:cubicBezTo>
                    <a:pt x="355270" y="249445"/>
                    <a:pt x="355270" y="249445"/>
                    <a:pt x="355270" y="248185"/>
                  </a:cubicBezTo>
                  <a:cubicBezTo>
                    <a:pt x="355270" y="248185"/>
                    <a:pt x="355270" y="246925"/>
                    <a:pt x="354010" y="246925"/>
                  </a:cubicBezTo>
                  <a:cubicBezTo>
                    <a:pt x="354010" y="246925"/>
                    <a:pt x="354010" y="246925"/>
                    <a:pt x="354010" y="246925"/>
                  </a:cubicBezTo>
                  <a:cubicBezTo>
                    <a:pt x="352751" y="244406"/>
                    <a:pt x="350231" y="240626"/>
                    <a:pt x="348971" y="238107"/>
                  </a:cubicBezTo>
                  <a:cubicBezTo>
                    <a:pt x="348971" y="238107"/>
                    <a:pt x="347711" y="236847"/>
                    <a:pt x="347711" y="236847"/>
                  </a:cubicBezTo>
                  <a:cubicBezTo>
                    <a:pt x="346452" y="235587"/>
                    <a:pt x="346452" y="234327"/>
                    <a:pt x="345192" y="233067"/>
                  </a:cubicBezTo>
                  <a:cubicBezTo>
                    <a:pt x="345192" y="233067"/>
                    <a:pt x="345192" y="233067"/>
                    <a:pt x="345192" y="233067"/>
                  </a:cubicBezTo>
                  <a:cubicBezTo>
                    <a:pt x="345192" y="233067"/>
                    <a:pt x="345192" y="231807"/>
                    <a:pt x="343932" y="231807"/>
                  </a:cubicBezTo>
                  <a:cubicBezTo>
                    <a:pt x="342672" y="229288"/>
                    <a:pt x="341412" y="228028"/>
                    <a:pt x="340152" y="225508"/>
                  </a:cubicBezTo>
                  <a:cubicBezTo>
                    <a:pt x="340152" y="225508"/>
                    <a:pt x="340152" y="225508"/>
                    <a:pt x="340152" y="225508"/>
                  </a:cubicBezTo>
                  <a:cubicBezTo>
                    <a:pt x="338892" y="224248"/>
                    <a:pt x="338892" y="222989"/>
                    <a:pt x="337633" y="221729"/>
                  </a:cubicBezTo>
                  <a:cubicBezTo>
                    <a:pt x="335113" y="217949"/>
                    <a:pt x="332593" y="214170"/>
                    <a:pt x="330074" y="210390"/>
                  </a:cubicBezTo>
                  <a:cubicBezTo>
                    <a:pt x="330074" y="210390"/>
                    <a:pt x="330074" y="210390"/>
                    <a:pt x="330074" y="210390"/>
                  </a:cubicBezTo>
                  <a:cubicBezTo>
                    <a:pt x="328814" y="209131"/>
                    <a:pt x="327554" y="206611"/>
                    <a:pt x="326294" y="205351"/>
                  </a:cubicBezTo>
                  <a:cubicBezTo>
                    <a:pt x="325034" y="204091"/>
                    <a:pt x="323775" y="202831"/>
                    <a:pt x="323775" y="201572"/>
                  </a:cubicBezTo>
                  <a:cubicBezTo>
                    <a:pt x="322515" y="199052"/>
                    <a:pt x="319995" y="197792"/>
                    <a:pt x="318735" y="195273"/>
                  </a:cubicBezTo>
                  <a:cubicBezTo>
                    <a:pt x="313696" y="188974"/>
                    <a:pt x="308657" y="183934"/>
                    <a:pt x="303617" y="177635"/>
                  </a:cubicBezTo>
                  <a:cubicBezTo>
                    <a:pt x="302358" y="176375"/>
                    <a:pt x="302358" y="175115"/>
                    <a:pt x="301098" y="175115"/>
                  </a:cubicBezTo>
                  <a:cubicBezTo>
                    <a:pt x="301098" y="175115"/>
                    <a:pt x="301098" y="175115"/>
                    <a:pt x="301098" y="175115"/>
                  </a:cubicBezTo>
                  <a:cubicBezTo>
                    <a:pt x="301098" y="175115"/>
                    <a:pt x="301098" y="175115"/>
                    <a:pt x="301098" y="175115"/>
                  </a:cubicBezTo>
                  <a:cubicBezTo>
                    <a:pt x="301098" y="173855"/>
                    <a:pt x="299838" y="173855"/>
                    <a:pt x="299838" y="172596"/>
                  </a:cubicBezTo>
                  <a:cubicBezTo>
                    <a:pt x="299838" y="172596"/>
                    <a:pt x="299838" y="171336"/>
                    <a:pt x="298578" y="171336"/>
                  </a:cubicBezTo>
                  <a:lnTo>
                    <a:pt x="296059" y="168816"/>
                  </a:lnTo>
                  <a:cubicBezTo>
                    <a:pt x="291019" y="162517"/>
                    <a:pt x="284720" y="157478"/>
                    <a:pt x="277161" y="149919"/>
                  </a:cubicBezTo>
                  <a:cubicBezTo>
                    <a:pt x="274641" y="147399"/>
                    <a:pt x="272122" y="144880"/>
                    <a:pt x="269602" y="143620"/>
                  </a:cubicBezTo>
                  <a:cubicBezTo>
                    <a:pt x="267083" y="141100"/>
                    <a:pt x="263303" y="138581"/>
                    <a:pt x="260783" y="136061"/>
                  </a:cubicBezTo>
                  <a:lnTo>
                    <a:pt x="260783" y="136061"/>
                  </a:lnTo>
                  <a:lnTo>
                    <a:pt x="260783" y="136061"/>
                  </a:lnTo>
                  <a:lnTo>
                    <a:pt x="260783" y="136061"/>
                  </a:lnTo>
                  <a:lnTo>
                    <a:pt x="260783" y="136061"/>
                  </a:lnTo>
                  <a:cubicBezTo>
                    <a:pt x="254484" y="131022"/>
                    <a:pt x="249445" y="125982"/>
                    <a:pt x="243146" y="119683"/>
                  </a:cubicBezTo>
                  <a:cubicBezTo>
                    <a:pt x="234327" y="110864"/>
                    <a:pt x="225508" y="103305"/>
                    <a:pt x="216690" y="95746"/>
                  </a:cubicBezTo>
                  <a:cubicBezTo>
                    <a:pt x="211650" y="91967"/>
                    <a:pt x="207871" y="88188"/>
                    <a:pt x="201572" y="83148"/>
                  </a:cubicBezTo>
                  <a:cubicBezTo>
                    <a:pt x="199052" y="80629"/>
                    <a:pt x="196532" y="78109"/>
                    <a:pt x="192753" y="76849"/>
                  </a:cubicBezTo>
                  <a:cubicBezTo>
                    <a:pt x="190233" y="75589"/>
                    <a:pt x="188973" y="74330"/>
                    <a:pt x="186454" y="71810"/>
                  </a:cubicBezTo>
                  <a:lnTo>
                    <a:pt x="182674" y="69290"/>
                  </a:lnTo>
                  <a:cubicBezTo>
                    <a:pt x="178895" y="65511"/>
                    <a:pt x="173856" y="62991"/>
                    <a:pt x="170076" y="59212"/>
                  </a:cubicBezTo>
                  <a:cubicBezTo>
                    <a:pt x="170076" y="59212"/>
                    <a:pt x="168816" y="57952"/>
                    <a:pt x="168816" y="57952"/>
                  </a:cubicBezTo>
                  <a:lnTo>
                    <a:pt x="166297" y="55432"/>
                  </a:lnTo>
                  <a:cubicBezTo>
                    <a:pt x="165037" y="54172"/>
                    <a:pt x="163777" y="52913"/>
                    <a:pt x="162517" y="51653"/>
                  </a:cubicBezTo>
                  <a:cubicBezTo>
                    <a:pt x="159998" y="49133"/>
                    <a:pt x="158738" y="47873"/>
                    <a:pt x="156218" y="45354"/>
                  </a:cubicBezTo>
                  <a:lnTo>
                    <a:pt x="156218" y="45354"/>
                  </a:lnTo>
                  <a:lnTo>
                    <a:pt x="156218" y="45354"/>
                  </a:lnTo>
                  <a:lnTo>
                    <a:pt x="156218" y="45354"/>
                  </a:lnTo>
                  <a:lnTo>
                    <a:pt x="156218" y="45354"/>
                  </a:lnTo>
                  <a:lnTo>
                    <a:pt x="156218" y="45354"/>
                  </a:lnTo>
                  <a:lnTo>
                    <a:pt x="156218" y="45354"/>
                  </a:lnTo>
                  <a:lnTo>
                    <a:pt x="156218" y="45354"/>
                  </a:lnTo>
                  <a:lnTo>
                    <a:pt x="156218" y="45354"/>
                  </a:lnTo>
                  <a:cubicBezTo>
                    <a:pt x="154958" y="44094"/>
                    <a:pt x="153699" y="44094"/>
                    <a:pt x="152439" y="42834"/>
                  </a:cubicBezTo>
                  <a:lnTo>
                    <a:pt x="151179" y="42834"/>
                  </a:lnTo>
                  <a:lnTo>
                    <a:pt x="151179" y="42834"/>
                  </a:lnTo>
                  <a:lnTo>
                    <a:pt x="151179" y="42834"/>
                  </a:lnTo>
                  <a:lnTo>
                    <a:pt x="151179" y="42834"/>
                  </a:lnTo>
                  <a:lnTo>
                    <a:pt x="151179" y="42834"/>
                  </a:lnTo>
                  <a:lnTo>
                    <a:pt x="151179" y="42834"/>
                  </a:lnTo>
                  <a:lnTo>
                    <a:pt x="151179" y="42834"/>
                  </a:lnTo>
                  <a:lnTo>
                    <a:pt x="151179" y="42834"/>
                  </a:lnTo>
                  <a:lnTo>
                    <a:pt x="151179" y="42834"/>
                  </a:lnTo>
                  <a:lnTo>
                    <a:pt x="151179" y="42834"/>
                  </a:lnTo>
                  <a:lnTo>
                    <a:pt x="151179" y="42834"/>
                  </a:lnTo>
                  <a:cubicBezTo>
                    <a:pt x="147399" y="40314"/>
                    <a:pt x="143620" y="37795"/>
                    <a:pt x="138581" y="34015"/>
                  </a:cubicBezTo>
                  <a:cubicBezTo>
                    <a:pt x="137321" y="32755"/>
                    <a:pt x="134801" y="31496"/>
                    <a:pt x="133541" y="30236"/>
                  </a:cubicBezTo>
                  <a:cubicBezTo>
                    <a:pt x="132281" y="28976"/>
                    <a:pt x="129762" y="27716"/>
                    <a:pt x="128502" y="26456"/>
                  </a:cubicBezTo>
                  <a:cubicBezTo>
                    <a:pt x="125982" y="25196"/>
                    <a:pt x="122203" y="22677"/>
                    <a:pt x="119683" y="21417"/>
                  </a:cubicBezTo>
                  <a:cubicBezTo>
                    <a:pt x="119683" y="21417"/>
                    <a:pt x="119683" y="21417"/>
                    <a:pt x="119683" y="21417"/>
                  </a:cubicBezTo>
                  <a:cubicBezTo>
                    <a:pt x="119683" y="21417"/>
                    <a:pt x="119683" y="21417"/>
                    <a:pt x="119683" y="21417"/>
                  </a:cubicBezTo>
                  <a:cubicBezTo>
                    <a:pt x="118423" y="21417"/>
                    <a:pt x="117164" y="20157"/>
                    <a:pt x="115904" y="20157"/>
                  </a:cubicBezTo>
                  <a:cubicBezTo>
                    <a:pt x="113384" y="18897"/>
                    <a:pt x="112124" y="17637"/>
                    <a:pt x="109605" y="16378"/>
                  </a:cubicBezTo>
                  <a:cubicBezTo>
                    <a:pt x="109605" y="16378"/>
                    <a:pt x="109605" y="16378"/>
                    <a:pt x="109605" y="16378"/>
                  </a:cubicBezTo>
                  <a:cubicBezTo>
                    <a:pt x="108345" y="15118"/>
                    <a:pt x="107085" y="15118"/>
                    <a:pt x="105825" y="13858"/>
                  </a:cubicBezTo>
                  <a:cubicBezTo>
                    <a:pt x="102046" y="11338"/>
                    <a:pt x="97006" y="8819"/>
                    <a:pt x="91967" y="7559"/>
                  </a:cubicBezTo>
                  <a:cubicBezTo>
                    <a:pt x="84408" y="5039"/>
                    <a:pt x="76849" y="2520"/>
                    <a:pt x="69290" y="1260"/>
                  </a:cubicBezTo>
                  <a:cubicBezTo>
                    <a:pt x="64251" y="1260"/>
                    <a:pt x="59212" y="0"/>
                    <a:pt x="55432" y="0"/>
                  </a:cubicBezTo>
                  <a:cubicBezTo>
                    <a:pt x="51653" y="0"/>
                    <a:pt x="46614" y="0"/>
                    <a:pt x="42834" y="0"/>
                  </a:cubicBezTo>
                  <a:cubicBezTo>
                    <a:pt x="42834" y="0"/>
                    <a:pt x="42834" y="0"/>
                    <a:pt x="41574" y="0"/>
                  </a:cubicBezTo>
                  <a:cubicBezTo>
                    <a:pt x="39055" y="0"/>
                    <a:pt x="37795" y="1260"/>
                    <a:pt x="35275" y="1260"/>
                  </a:cubicBezTo>
                  <a:cubicBezTo>
                    <a:pt x="32755" y="2520"/>
                    <a:pt x="28976" y="3779"/>
                    <a:pt x="26456" y="5039"/>
                  </a:cubicBezTo>
                  <a:lnTo>
                    <a:pt x="25196" y="6299"/>
                  </a:lnTo>
                  <a:cubicBezTo>
                    <a:pt x="23937" y="6299"/>
                    <a:pt x="22677" y="7559"/>
                    <a:pt x="21417" y="7559"/>
                  </a:cubicBezTo>
                  <a:cubicBezTo>
                    <a:pt x="21417" y="7559"/>
                    <a:pt x="20157" y="7559"/>
                    <a:pt x="20157" y="8819"/>
                  </a:cubicBezTo>
                  <a:cubicBezTo>
                    <a:pt x="18897" y="8819"/>
                    <a:pt x="17638" y="10078"/>
                    <a:pt x="17638" y="10078"/>
                  </a:cubicBezTo>
                  <a:cubicBezTo>
                    <a:pt x="16378" y="11338"/>
                    <a:pt x="15118" y="12598"/>
                    <a:pt x="13858" y="13858"/>
                  </a:cubicBezTo>
                  <a:cubicBezTo>
                    <a:pt x="11338" y="17637"/>
                    <a:pt x="8819" y="21417"/>
                    <a:pt x="7559" y="25196"/>
                  </a:cubicBezTo>
                  <a:cubicBezTo>
                    <a:pt x="6299" y="28976"/>
                    <a:pt x="5039" y="31496"/>
                    <a:pt x="3780" y="35275"/>
                  </a:cubicBezTo>
                  <a:lnTo>
                    <a:pt x="3780" y="35275"/>
                  </a:lnTo>
                  <a:cubicBezTo>
                    <a:pt x="2520" y="37795"/>
                    <a:pt x="2520" y="40314"/>
                    <a:pt x="1260" y="42834"/>
                  </a:cubicBezTo>
                  <a:cubicBezTo>
                    <a:pt x="0" y="49133"/>
                    <a:pt x="0" y="56692"/>
                    <a:pt x="0" y="61731"/>
                  </a:cubicBezTo>
                  <a:cubicBezTo>
                    <a:pt x="0" y="68030"/>
                    <a:pt x="0" y="74330"/>
                    <a:pt x="1260" y="80629"/>
                  </a:cubicBezTo>
                  <a:cubicBezTo>
                    <a:pt x="1260" y="80629"/>
                    <a:pt x="1260" y="80629"/>
                    <a:pt x="1260" y="80629"/>
                  </a:cubicBezTo>
                  <a:lnTo>
                    <a:pt x="1260" y="80629"/>
                  </a:lnTo>
                  <a:lnTo>
                    <a:pt x="1260" y="80629"/>
                  </a:lnTo>
                  <a:lnTo>
                    <a:pt x="1260" y="80629"/>
                  </a:lnTo>
                  <a:cubicBezTo>
                    <a:pt x="1260" y="80629"/>
                    <a:pt x="1260" y="80629"/>
                    <a:pt x="1260" y="80629"/>
                  </a:cubicBezTo>
                  <a:cubicBezTo>
                    <a:pt x="1260" y="83148"/>
                    <a:pt x="2520" y="84408"/>
                    <a:pt x="2520" y="86928"/>
                  </a:cubicBezTo>
                  <a:cubicBezTo>
                    <a:pt x="3780" y="91967"/>
                    <a:pt x="6299" y="97006"/>
                    <a:pt x="7559" y="102046"/>
                  </a:cubicBezTo>
                  <a:cubicBezTo>
                    <a:pt x="8819" y="103305"/>
                    <a:pt x="8819" y="104565"/>
                    <a:pt x="10079" y="105825"/>
                  </a:cubicBezTo>
                  <a:cubicBezTo>
                    <a:pt x="13858" y="110864"/>
                    <a:pt x="17638" y="115904"/>
                    <a:pt x="21417" y="119683"/>
                  </a:cubicBezTo>
                  <a:cubicBezTo>
                    <a:pt x="25196" y="123463"/>
                    <a:pt x="30236" y="128502"/>
                    <a:pt x="34015" y="132281"/>
                  </a:cubicBezTo>
                  <a:lnTo>
                    <a:pt x="34015" y="132281"/>
                  </a:lnTo>
                  <a:cubicBezTo>
                    <a:pt x="37795" y="136061"/>
                    <a:pt x="42834" y="139840"/>
                    <a:pt x="46614" y="143620"/>
                  </a:cubicBezTo>
                  <a:cubicBezTo>
                    <a:pt x="51653" y="147399"/>
                    <a:pt x="55432" y="152439"/>
                    <a:pt x="60472" y="156218"/>
                  </a:cubicBezTo>
                  <a:cubicBezTo>
                    <a:pt x="64251" y="159998"/>
                    <a:pt x="68030" y="163777"/>
                    <a:pt x="71810" y="167556"/>
                  </a:cubicBezTo>
                  <a:lnTo>
                    <a:pt x="73070" y="168816"/>
                  </a:lnTo>
                  <a:lnTo>
                    <a:pt x="75589" y="171336"/>
                  </a:lnTo>
                  <a:cubicBezTo>
                    <a:pt x="83148" y="178895"/>
                    <a:pt x="91967" y="186454"/>
                    <a:pt x="99526" y="192753"/>
                  </a:cubicBezTo>
                  <a:cubicBezTo>
                    <a:pt x="103306" y="196532"/>
                    <a:pt x="108345" y="200312"/>
                    <a:pt x="113384" y="204091"/>
                  </a:cubicBezTo>
                  <a:cubicBezTo>
                    <a:pt x="117164" y="207871"/>
                    <a:pt x="122203" y="210390"/>
                    <a:pt x="125982" y="214170"/>
                  </a:cubicBezTo>
                  <a:lnTo>
                    <a:pt x="128502" y="215430"/>
                  </a:lnTo>
                  <a:cubicBezTo>
                    <a:pt x="129762" y="216690"/>
                    <a:pt x="132281" y="217949"/>
                    <a:pt x="133541" y="220469"/>
                  </a:cubicBezTo>
                  <a:cubicBezTo>
                    <a:pt x="136061" y="222989"/>
                    <a:pt x="138581" y="224248"/>
                    <a:pt x="141100" y="226768"/>
                  </a:cubicBezTo>
                  <a:cubicBezTo>
                    <a:pt x="146139" y="230548"/>
                    <a:pt x="151179" y="234327"/>
                    <a:pt x="157478" y="239366"/>
                  </a:cubicBezTo>
                  <a:cubicBezTo>
                    <a:pt x="162517" y="243146"/>
                    <a:pt x="166297" y="245666"/>
                    <a:pt x="171336" y="248185"/>
                  </a:cubicBezTo>
                  <a:cubicBezTo>
                    <a:pt x="176375" y="251965"/>
                    <a:pt x="181415" y="255744"/>
                    <a:pt x="186454" y="258264"/>
                  </a:cubicBezTo>
                  <a:cubicBezTo>
                    <a:pt x="190233" y="260783"/>
                    <a:pt x="192753" y="263303"/>
                    <a:pt x="196532" y="265823"/>
                  </a:cubicBezTo>
                  <a:lnTo>
                    <a:pt x="199052" y="268342"/>
                  </a:lnTo>
                  <a:cubicBezTo>
                    <a:pt x="201572" y="269602"/>
                    <a:pt x="202832" y="272122"/>
                    <a:pt x="205351" y="273382"/>
                  </a:cubicBezTo>
                  <a:cubicBezTo>
                    <a:pt x="207871" y="275901"/>
                    <a:pt x="210391" y="277161"/>
                    <a:pt x="212910" y="279681"/>
                  </a:cubicBezTo>
                  <a:lnTo>
                    <a:pt x="214170" y="279681"/>
                  </a:lnTo>
                  <a:cubicBezTo>
                    <a:pt x="219209" y="283460"/>
                    <a:pt x="222989" y="287240"/>
                    <a:pt x="228028" y="291019"/>
                  </a:cubicBezTo>
                  <a:cubicBezTo>
                    <a:pt x="231808" y="294799"/>
                    <a:pt x="236847" y="298578"/>
                    <a:pt x="241886" y="303617"/>
                  </a:cubicBezTo>
                  <a:cubicBezTo>
                    <a:pt x="244406" y="304877"/>
                    <a:pt x="245666" y="307397"/>
                    <a:pt x="246925" y="309916"/>
                  </a:cubicBezTo>
                  <a:cubicBezTo>
                    <a:pt x="248185" y="311176"/>
                    <a:pt x="249445" y="313696"/>
                    <a:pt x="250705" y="316216"/>
                  </a:cubicBezTo>
                  <a:cubicBezTo>
                    <a:pt x="251965" y="318735"/>
                    <a:pt x="253224" y="319995"/>
                    <a:pt x="253224" y="322515"/>
                  </a:cubicBezTo>
                  <a:lnTo>
                    <a:pt x="253224" y="323775"/>
                  </a:lnTo>
                  <a:cubicBezTo>
                    <a:pt x="255744" y="328814"/>
                    <a:pt x="258264" y="333853"/>
                    <a:pt x="260783" y="338892"/>
                  </a:cubicBezTo>
                  <a:lnTo>
                    <a:pt x="260783" y="338892"/>
                  </a:lnTo>
                  <a:cubicBezTo>
                    <a:pt x="262043" y="341412"/>
                    <a:pt x="263303" y="343932"/>
                    <a:pt x="264563" y="346451"/>
                  </a:cubicBezTo>
                  <a:cubicBezTo>
                    <a:pt x="265823" y="347711"/>
                    <a:pt x="267083" y="350231"/>
                    <a:pt x="267083" y="351491"/>
                  </a:cubicBezTo>
                  <a:cubicBezTo>
                    <a:pt x="267083" y="352751"/>
                    <a:pt x="268342" y="352751"/>
                    <a:pt x="268342" y="354010"/>
                  </a:cubicBezTo>
                  <a:cubicBezTo>
                    <a:pt x="269602" y="355270"/>
                    <a:pt x="269602" y="356530"/>
                    <a:pt x="270862" y="357790"/>
                  </a:cubicBezTo>
                  <a:lnTo>
                    <a:pt x="272122" y="360309"/>
                  </a:lnTo>
                  <a:cubicBezTo>
                    <a:pt x="273382" y="362829"/>
                    <a:pt x="275901" y="365349"/>
                    <a:pt x="278421" y="367868"/>
                  </a:cubicBezTo>
                  <a:cubicBezTo>
                    <a:pt x="278421" y="369128"/>
                    <a:pt x="279681" y="369128"/>
                    <a:pt x="279681" y="370388"/>
                  </a:cubicBezTo>
                  <a:cubicBezTo>
                    <a:pt x="283460" y="367868"/>
                    <a:pt x="285980" y="370388"/>
                    <a:pt x="287240" y="371648"/>
                  </a:cubicBezTo>
                  <a:close/>
                </a:path>
              </a:pathLst>
            </a:custGeom>
            <a:solidFill>
              <a:srgbClr val="F2A988"/>
            </a:solidFill>
            <a:ln w="12584" cap="flat">
              <a:noFill/>
              <a:prstDash val="solid"/>
              <a:miter/>
            </a:ln>
          </p:spPr>
          <p:txBody>
            <a:bodyPr rtlCol="0" anchor="ctr"/>
            <a:lstStyle/>
            <a:p>
              <a:endParaRPr lang="zh-CN" altLang="en-US"/>
            </a:p>
          </p:txBody>
        </p:sp>
        <p:sp>
          <p:nvSpPr>
            <p:cNvPr id="124" name="任意多边形: 形状 123"/>
            <p:cNvSpPr/>
            <p:nvPr/>
          </p:nvSpPr>
          <p:spPr>
            <a:xfrm>
              <a:off x="8395870" y="3587659"/>
              <a:ext cx="197348" cy="291732"/>
            </a:xfrm>
            <a:custGeom>
              <a:avLst/>
              <a:gdLst>
                <a:gd name="connsiteX0" fmla="*/ 277161 w 289759"/>
                <a:gd name="connsiteY0" fmla="*/ 47873 h 428339"/>
                <a:gd name="connsiteX1" fmla="*/ 277161 w 289759"/>
                <a:gd name="connsiteY1" fmla="*/ 47873 h 428339"/>
                <a:gd name="connsiteX2" fmla="*/ 277161 w 289759"/>
                <a:gd name="connsiteY2" fmla="*/ 47873 h 428339"/>
                <a:gd name="connsiteX3" fmla="*/ 277161 w 289759"/>
                <a:gd name="connsiteY3" fmla="*/ 47873 h 428339"/>
                <a:gd name="connsiteX4" fmla="*/ 260784 w 289759"/>
                <a:gd name="connsiteY4" fmla="*/ 50393 h 428339"/>
                <a:gd name="connsiteX5" fmla="*/ 259524 w 289759"/>
                <a:gd name="connsiteY5" fmla="*/ 50393 h 428339"/>
                <a:gd name="connsiteX6" fmla="*/ 246925 w 289759"/>
                <a:gd name="connsiteY6" fmla="*/ 50393 h 428339"/>
                <a:gd name="connsiteX7" fmla="*/ 245666 w 289759"/>
                <a:gd name="connsiteY7" fmla="*/ 50393 h 428339"/>
                <a:gd name="connsiteX8" fmla="*/ 243146 w 289759"/>
                <a:gd name="connsiteY8" fmla="*/ 50393 h 428339"/>
                <a:gd name="connsiteX9" fmla="*/ 243146 w 289759"/>
                <a:gd name="connsiteY9" fmla="*/ 50393 h 428339"/>
                <a:gd name="connsiteX10" fmla="*/ 241886 w 289759"/>
                <a:gd name="connsiteY10" fmla="*/ 50393 h 428339"/>
                <a:gd name="connsiteX11" fmla="*/ 233067 w 289759"/>
                <a:gd name="connsiteY11" fmla="*/ 50393 h 428339"/>
                <a:gd name="connsiteX12" fmla="*/ 220469 w 289759"/>
                <a:gd name="connsiteY12" fmla="*/ 49133 h 428339"/>
                <a:gd name="connsiteX13" fmla="*/ 219209 w 289759"/>
                <a:gd name="connsiteY13" fmla="*/ 49133 h 428339"/>
                <a:gd name="connsiteX14" fmla="*/ 215430 w 289759"/>
                <a:gd name="connsiteY14" fmla="*/ 49133 h 428339"/>
                <a:gd name="connsiteX15" fmla="*/ 215430 w 289759"/>
                <a:gd name="connsiteY15" fmla="*/ 49133 h 428339"/>
                <a:gd name="connsiteX16" fmla="*/ 212910 w 289759"/>
                <a:gd name="connsiteY16" fmla="*/ 49133 h 428339"/>
                <a:gd name="connsiteX17" fmla="*/ 209131 w 289759"/>
                <a:gd name="connsiteY17" fmla="*/ 49133 h 428339"/>
                <a:gd name="connsiteX18" fmla="*/ 209131 w 289759"/>
                <a:gd name="connsiteY18" fmla="*/ 49133 h 428339"/>
                <a:gd name="connsiteX19" fmla="*/ 207871 w 289759"/>
                <a:gd name="connsiteY19" fmla="*/ 49133 h 428339"/>
                <a:gd name="connsiteX20" fmla="*/ 199052 w 289759"/>
                <a:gd name="connsiteY20" fmla="*/ 47873 h 428339"/>
                <a:gd name="connsiteX21" fmla="*/ 197792 w 289759"/>
                <a:gd name="connsiteY21" fmla="*/ 47873 h 428339"/>
                <a:gd name="connsiteX22" fmla="*/ 195273 w 289759"/>
                <a:gd name="connsiteY22" fmla="*/ 47873 h 428339"/>
                <a:gd name="connsiteX23" fmla="*/ 173856 w 289759"/>
                <a:gd name="connsiteY23" fmla="*/ 41574 h 428339"/>
                <a:gd name="connsiteX24" fmla="*/ 149919 w 289759"/>
                <a:gd name="connsiteY24" fmla="*/ 32755 h 428339"/>
                <a:gd name="connsiteX25" fmla="*/ 138581 w 289759"/>
                <a:gd name="connsiteY25" fmla="*/ 27716 h 428339"/>
                <a:gd name="connsiteX26" fmla="*/ 138581 w 289759"/>
                <a:gd name="connsiteY26" fmla="*/ 27716 h 428339"/>
                <a:gd name="connsiteX27" fmla="*/ 138581 w 289759"/>
                <a:gd name="connsiteY27" fmla="*/ 27716 h 428339"/>
                <a:gd name="connsiteX28" fmla="*/ 138581 w 289759"/>
                <a:gd name="connsiteY28" fmla="*/ 27716 h 428339"/>
                <a:gd name="connsiteX29" fmla="*/ 131022 w 289759"/>
                <a:gd name="connsiteY29" fmla="*/ 22677 h 428339"/>
                <a:gd name="connsiteX30" fmla="*/ 128502 w 289759"/>
                <a:gd name="connsiteY30" fmla="*/ 21417 h 428339"/>
                <a:gd name="connsiteX31" fmla="*/ 127242 w 289759"/>
                <a:gd name="connsiteY31" fmla="*/ 20157 h 428339"/>
                <a:gd name="connsiteX32" fmla="*/ 123463 w 289759"/>
                <a:gd name="connsiteY32" fmla="*/ 16378 h 428339"/>
                <a:gd name="connsiteX33" fmla="*/ 120943 w 289759"/>
                <a:gd name="connsiteY33" fmla="*/ 13858 h 428339"/>
                <a:gd name="connsiteX34" fmla="*/ 115904 w 289759"/>
                <a:gd name="connsiteY34" fmla="*/ 8819 h 428339"/>
                <a:gd name="connsiteX35" fmla="*/ 115904 w 289759"/>
                <a:gd name="connsiteY35" fmla="*/ 8819 h 428339"/>
                <a:gd name="connsiteX36" fmla="*/ 115904 w 289759"/>
                <a:gd name="connsiteY36" fmla="*/ 8819 h 428339"/>
                <a:gd name="connsiteX37" fmla="*/ 115904 w 289759"/>
                <a:gd name="connsiteY37" fmla="*/ 8819 h 428339"/>
                <a:gd name="connsiteX38" fmla="*/ 115904 w 289759"/>
                <a:gd name="connsiteY38" fmla="*/ 8819 h 428339"/>
                <a:gd name="connsiteX39" fmla="*/ 114644 w 289759"/>
                <a:gd name="connsiteY39" fmla="*/ 7559 h 428339"/>
                <a:gd name="connsiteX40" fmla="*/ 112124 w 289759"/>
                <a:gd name="connsiteY40" fmla="*/ 5039 h 428339"/>
                <a:gd name="connsiteX41" fmla="*/ 107085 w 289759"/>
                <a:gd name="connsiteY41" fmla="*/ 0 h 428339"/>
                <a:gd name="connsiteX42" fmla="*/ 107085 w 289759"/>
                <a:gd name="connsiteY42" fmla="*/ 0 h 428339"/>
                <a:gd name="connsiteX43" fmla="*/ 104565 w 289759"/>
                <a:gd name="connsiteY43" fmla="*/ 5039 h 428339"/>
                <a:gd name="connsiteX44" fmla="*/ 103306 w 289759"/>
                <a:gd name="connsiteY44" fmla="*/ 6299 h 428339"/>
                <a:gd name="connsiteX45" fmla="*/ 102046 w 289759"/>
                <a:gd name="connsiteY45" fmla="*/ 8819 h 428339"/>
                <a:gd name="connsiteX46" fmla="*/ 97007 w 289759"/>
                <a:gd name="connsiteY46" fmla="*/ 20157 h 428339"/>
                <a:gd name="connsiteX47" fmla="*/ 94487 w 289759"/>
                <a:gd name="connsiteY47" fmla="*/ 25196 h 428339"/>
                <a:gd name="connsiteX48" fmla="*/ 91967 w 289759"/>
                <a:gd name="connsiteY48" fmla="*/ 28976 h 428339"/>
                <a:gd name="connsiteX49" fmla="*/ 79369 w 289759"/>
                <a:gd name="connsiteY49" fmla="*/ 39054 h 428339"/>
                <a:gd name="connsiteX50" fmla="*/ 60472 w 289759"/>
                <a:gd name="connsiteY50" fmla="*/ 51653 h 428339"/>
                <a:gd name="connsiteX51" fmla="*/ 35275 w 289759"/>
                <a:gd name="connsiteY51" fmla="*/ 60471 h 428339"/>
                <a:gd name="connsiteX52" fmla="*/ 18897 w 289759"/>
                <a:gd name="connsiteY52" fmla="*/ 66770 h 428339"/>
                <a:gd name="connsiteX53" fmla="*/ 11339 w 289759"/>
                <a:gd name="connsiteY53" fmla="*/ 69290 h 428339"/>
                <a:gd name="connsiteX54" fmla="*/ 3780 w 289759"/>
                <a:gd name="connsiteY54" fmla="*/ 71810 h 428339"/>
                <a:gd name="connsiteX55" fmla="*/ 0 w 289759"/>
                <a:gd name="connsiteY55" fmla="*/ 73070 h 428339"/>
                <a:gd name="connsiteX56" fmla="*/ 0 w 289759"/>
                <a:gd name="connsiteY56" fmla="*/ 76849 h 428339"/>
                <a:gd name="connsiteX57" fmla="*/ 0 w 289759"/>
                <a:gd name="connsiteY57" fmla="*/ 84408 h 428339"/>
                <a:gd name="connsiteX58" fmla="*/ 1260 w 289759"/>
                <a:gd name="connsiteY58" fmla="*/ 94487 h 428339"/>
                <a:gd name="connsiteX59" fmla="*/ 1260 w 289759"/>
                <a:gd name="connsiteY59" fmla="*/ 94487 h 428339"/>
                <a:gd name="connsiteX60" fmla="*/ 1260 w 289759"/>
                <a:gd name="connsiteY60" fmla="*/ 94487 h 428339"/>
                <a:gd name="connsiteX61" fmla="*/ 1260 w 289759"/>
                <a:gd name="connsiteY61" fmla="*/ 95746 h 428339"/>
                <a:gd name="connsiteX62" fmla="*/ 1260 w 289759"/>
                <a:gd name="connsiteY62" fmla="*/ 99526 h 428339"/>
                <a:gd name="connsiteX63" fmla="*/ 1260 w 289759"/>
                <a:gd name="connsiteY63" fmla="*/ 115904 h 428339"/>
                <a:gd name="connsiteX64" fmla="*/ 2520 w 289759"/>
                <a:gd name="connsiteY64" fmla="*/ 133541 h 428339"/>
                <a:gd name="connsiteX65" fmla="*/ 6299 w 289759"/>
                <a:gd name="connsiteY65" fmla="*/ 170076 h 428339"/>
                <a:gd name="connsiteX66" fmla="*/ 8819 w 289759"/>
                <a:gd name="connsiteY66" fmla="*/ 187714 h 428339"/>
                <a:gd name="connsiteX67" fmla="*/ 12598 w 289759"/>
                <a:gd name="connsiteY67" fmla="*/ 207871 h 428339"/>
                <a:gd name="connsiteX68" fmla="*/ 13858 w 289759"/>
                <a:gd name="connsiteY68" fmla="*/ 211650 h 428339"/>
                <a:gd name="connsiteX69" fmla="*/ 15118 w 289759"/>
                <a:gd name="connsiteY69" fmla="*/ 216690 h 428339"/>
                <a:gd name="connsiteX70" fmla="*/ 17638 w 289759"/>
                <a:gd name="connsiteY70" fmla="*/ 225508 h 428339"/>
                <a:gd name="connsiteX71" fmla="*/ 23937 w 289759"/>
                <a:gd name="connsiteY71" fmla="*/ 243146 h 428339"/>
                <a:gd name="connsiteX72" fmla="*/ 25196 w 289759"/>
                <a:gd name="connsiteY72" fmla="*/ 245666 h 428339"/>
                <a:gd name="connsiteX73" fmla="*/ 25196 w 289759"/>
                <a:gd name="connsiteY73" fmla="*/ 246925 h 428339"/>
                <a:gd name="connsiteX74" fmla="*/ 27716 w 289759"/>
                <a:gd name="connsiteY74" fmla="*/ 254484 h 428339"/>
                <a:gd name="connsiteX75" fmla="*/ 31496 w 289759"/>
                <a:gd name="connsiteY75" fmla="*/ 262043 h 428339"/>
                <a:gd name="connsiteX76" fmla="*/ 36535 w 289759"/>
                <a:gd name="connsiteY76" fmla="*/ 269602 h 428339"/>
                <a:gd name="connsiteX77" fmla="*/ 41574 w 289759"/>
                <a:gd name="connsiteY77" fmla="*/ 277161 h 428339"/>
                <a:gd name="connsiteX78" fmla="*/ 47873 w 289759"/>
                <a:gd name="connsiteY78" fmla="*/ 284720 h 428339"/>
                <a:gd name="connsiteX79" fmla="*/ 52913 w 289759"/>
                <a:gd name="connsiteY79" fmla="*/ 289759 h 428339"/>
                <a:gd name="connsiteX80" fmla="*/ 52913 w 289759"/>
                <a:gd name="connsiteY80" fmla="*/ 289759 h 428339"/>
                <a:gd name="connsiteX81" fmla="*/ 51653 w 289759"/>
                <a:gd name="connsiteY81" fmla="*/ 294799 h 428339"/>
                <a:gd name="connsiteX82" fmla="*/ 51653 w 289759"/>
                <a:gd name="connsiteY82" fmla="*/ 294799 h 428339"/>
                <a:gd name="connsiteX83" fmla="*/ 51653 w 289759"/>
                <a:gd name="connsiteY83" fmla="*/ 294799 h 428339"/>
                <a:gd name="connsiteX84" fmla="*/ 49133 w 289759"/>
                <a:gd name="connsiteY84" fmla="*/ 301098 h 428339"/>
                <a:gd name="connsiteX85" fmla="*/ 46614 w 289759"/>
                <a:gd name="connsiteY85" fmla="*/ 307397 h 428339"/>
                <a:gd name="connsiteX86" fmla="*/ 42834 w 289759"/>
                <a:gd name="connsiteY86" fmla="*/ 319995 h 428339"/>
                <a:gd name="connsiteX87" fmla="*/ 39055 w 289759"/>
                <a:gd name="connsiteY87" fmla="*/ 332593 h 428339"/>
                <a:gd name="connsiteX88" fmla="*/ 34015 w 289759"/>
                <a:gd name="connsiteY88" fmla="*/ 345192 h 428339"/>
                <a:gd name="connsiteX89" fmla="*/ 31496 w 289759"/>
                <a:gd name="connsiteY89" fmla="*/ 351491 h 428339"/>
                <a:gd name="connsiteX90" fmla="*/ 28976 w 289759"/>
                <a:gd name="connsiteY90" fmla="*/ 359050 h 428339"/>
                <a:gd name="connsiteX91" fmla="*/ 28976 w 289759"/>
                <a:gd name="connsiteY91" fmla="*/ 360309 h 428339"/>
                <a:gd name="connsiteX92" fmla="*/ 28976 w 289759"/>
                <a:gd name="connsiteY92" fmla="*/ 360309 h 428339"/>
                <a:gd name="connsiteX93" fmla="*/ 26456 w 289759"/>
                <a:gd name="connsiteY93" fmla="*/ 365349 h 428339"/>
                <a:gd name="connsiteX94" fmla="*/ 25196 w 289759"/>
                <a:gd name="connsiteY94" fmla="*/ 370388 h 428339"/>
                <a:gd name="connsiteX95" fmla="*/ 25196 w 289759"/>
                <a:gd name="connsiteY95" fmla="*/ 371648 h 428339"/>
                <a:gd name="connsiteX96" fmla="*/ 25196 w 289759"/>
                <a:gd name="connsiteY96" fmla="*/ 371648 h 428339"/>
                <a:gd name="connsiteX97" fmla="*/ 25196 w 289759"/>
                <a:gd name="connsiteY97" fmla="*/ 371648 h 428339"/>
                <a:gd name="connsiteX98" fmla="*/ 25196 w 289759"/>
                <a:gd name="connsiteY98" fmla="*/ 375427 h 428339"/>
                <a:gd name="connsiteX99" fmla="*/ 25196 w 289759"/>
                <a:gd name="connsiteY99" fmla="*/ 379207 h 428339"/>
                <a:gd name="connsiteX100" fmla="*/ 25196 w 289759"/>
                <a:gd name="connsiteY100" fmla="*/ 380467 h 428339"/>
                <a:gd name="connsiteX101" fmla="*/ 26456 w 289759"/>
                <a:gd name="connsiteY101" fmla="*/ 384246 h 428339"/>
                <a:gd name="connsiteX102" fmla="*/ 30236 w 289759"/>
                <a:gd name="connsiteY102" fmla="*/ 393065 h 428339"/>
                <a:gd name="connsiteX103" fmla="*/ 35275 w 289759"/>
                <a:gd name="connsiteY103" fmla="*/ 399364 h 428339"/>
                <a:gd name="connsiteX104" fmla="*/ 49133 w 289759"/>
                <a:gd name="connsiteY104" fmla="*/ 411962 h 428339"/>
                <a:gd name="connsiteX105" fmla="*/ 57952 w 289759"/>
                <a:gd name="connsiteY105" fmla="*/ 417001 h 428339"/>
                <a:gd name="connsiteX106" fmla="*/ 59212 w 289759"/>
                <a:gd name="connsiteY106" fmla="*/ 418261 h 428339"/>
                <a:gd name="connsiteX107" fmla="*/ 65511 w 289759"/>
                <a:gd name="connsiteY107" fmla="*/ 422041 h 428339"/>
                <a:gd name="connsiteX108" fmla="*/ 84408 w 289759"/>
                <a:gd name="connsiteY108" fmla="*/ 427080 h 428339"/>
                <a:gd name="connsiteX109" fmla="*/ 94487 w 289759"/>
                <a:gd name="connsiteY109" fmla="*/ 428340 h 428339"/>
                <a:gd name="connsiteX110" fmla="*/ 104565 w 289759"/>
                <a:gd name="connsiteY110" fmla="*/ 428340 h 428339"/>
                <a:gd name="connsiteX111" fmla="*/ 105825 w 289759"/>
                <a:gd name="connsiteY111" fmla="*/ 428340 h 428339"/>
                <a:gd name="connsiteX112" fmla="*/ 114644 w 289759"/>
                <a:gd name="connsiteY112" fmla="*/ 427080 h 428339"/>
                <a:gd name="connsiteX113" fmla="*/ 123463 w 289759"/>
                <a:gd name="connsiteY113" fmla="*/ 424560 h 428339"/>
                <a:gd name="connsiteX114" fmla="*/ 137321 w 289759"/>
                <a:gd name="connsiteY114" fmla="*/ 418261 h 428339"/>
                <a:gd name="connsiteX115" fmla="*/ 144880 w 289759"/>
                <a:gd name="connsiteY115" fmla="*/ 413222 h 428339"/>
                <a:gd name="connsiteX116" fmla="*/ 149919 w 289759"/>
                <a:gd name="connsiteY116" fmla="*/ 406923 h 428339"/>
                <a:gd name="connsiteX117" fmla="*/ 153699 w 289759"/>
                <a:gd name="connsiteY117" fmla="*/ 400624 h 428339"/>
                <a:gd name="connsiteX118" fmla="*/ 154958 w 289759"/>
                <a:gd name="connsiteY118" fmla="*/ 395584 h 428339"/>
                <a:gd name="connsiteX119" fmla="*/ 154958 w 289759"/>
                <a:gd name="connsiteY119" fmla="*/ 393065 h 428339"/>
                <a:gd name="connsiteX120" fmla="*/ 154958 w 289759"/>
                <a:gd name="connsiteY120" fmla="*/ 391805 h 428339"/>
                <a:gd name="connsiteX121" fmla="*/ 156218 w 289759"/>
                <a:gd name="connsiteY121" fmla="*/ 385506 h 428339"/>
                <a:gd name="connsiteX122" fmla="*/ 156218 w 289759"/>
                <a:gd name="connsiteY122" fmla="*/ 385506 h 428339"/>
                <a:gd name="connsiteX123" fmla="*/ 156218 w 289759"/>
                <a:gd name="connsiteY123" fmla="*/ 385506 h 428339"/>
                <a:gd name="connsiteX124" fmla="*/ 156218 w 289759"/>
                <a:gd name="connsiteY124" fmla="*/ 382986 h 428339"/>
                <a:gd name="connsiteX125" fmla="*/ 156218 w 289759"/>
                <a:gd name="connsiteY125" fmla="*/ 382986 h 428339"/>
                <a:gd name="connsiteX126" fmla="*/ 156218 w 289759"/>
                <a:gd name="connsiteY126" fmla="*/ 381726 h 428339"/>
                <a:gd name="connsiteX127" fmla="*/ 153699 w 289759"/>
                <a:gd name="connsiteY127" fmla="*/ 376687 h 428339"/>
                <a:gd name="connsiteX128" fmla="*/ 153699 w 289759"/>
                <a:gd name="connsiteY128" fmla="*/ 376687 h 428339"/>
                <a:gd name="connsiteX129" fmla="*/ 151179 w 289759"/>
                <a:gd name="connsiteY129" fmla="*/ 370388 h 428339"/>
                <a:gd name="connsiteX130" fmla="*/ 151179 w 289759"/>
                <a:gd name="connsiteY130" fmla="*/ 369128 h 428339"/>
                <a:gd name="connsiteX131" fmla="*/ 148659 w 289759"/>
                <a:gd name="connsiteY131" fmla="*/ 362829 h 428339"/>
                <a:gd name="connsiteX132" fmla="*/ 144880 w 289759"/>
                <a:gd name="connsiteY132" fmla="*/ 346451 h 428339"/>
                <a:gd name="connsiteX133" fmla="*/ 144880 w 289759"/>
                <a:gd name="connsiteY133" fmla="*/ 346451 h 428339"/>
                <a:gd name="connsiteX134" fmla="*/ 144880 w 289759"/>
                <a:gd name="connsiteY134" fmla="*/ 346451 h 428339"/>
                <a:gd name="connsiteX135" fmla="*/ 144880 w 289759"/>
                <a:gd name="connsiteY135" fmla="*/ 346451 h 428339"/>
                <a:gd name="connsiteX136" fmla="*/ 143620 w 289759"/>
                <a:gd name="connsiteY136" fmla="*/ 327554 h 428339"/>
                <a:gd name="connsiteX137" fmla="*/ 143620 w 289759"/>
                <a:gd name="connsiteY137" fmla="*/ 322515 h 428339"/>
                <a:gd name="connsiteX138" fmla="*/ 143620 w 289759"/>
                <a:gd name="connsiteY138" fmla="*/ 322515 h 428339"/>
                <a:gd name="connsiteX139" fmla="*/ 147399 w 289759"/>
                <a:gd name="connsiteY139" fmla="*/ 322515 h 428339"/>
                <a:gd name="connsiteX140" fmla="*/ 152439 w 289759"/>
                <a:gd name="connsiteY140" fmla="*/ 322515 h 428339"/>
                <a:gd name="connsiteX141" fmla="*/ 168816 w 289759"/>
                <a:gd name="connsiteY141" fmla="*/ 319995 h 428339"/>
                <a:gd name="connsiteX142" fmla="*/ 173856 w 289759"/>
                <a:gd name="connsiteY142" fmla="*/ 318735 h 428339"/>
                <a:gd name="connsiteX143" fmla="*/ 173856 w 289759"/>
                <a:gd name="connsiteY143" fmla="*/ 318735 h 428339"/>
                <a:gd name="connsiteX144" fmla="*/ 188973 w 289759"/>
                <a:gd name="connsiteY144" fmla="*/ 316216 h 428339"/>
                <a:gd name="connsiteX145" fmla="*/ 209131 w 289759"/>
                <a:gd name="connsiteY145" fmla="*/ 309916 h 428339"/>
                <a:gd name="connsiteX146" fmla="*/ 228028 w 289759"/>
                <a:gd name="connsiteY146" fmla="*/ 301098 h 428339"/>
                <a:gd name="connsiteX147" fmla="*/ 235587 w 289759"/>
                <a:gd name="connsiteY147" fmla="*/ 296058 h 428339"/>
                <a:gd name="connsiteX148" fmla="*/ 244406 w 289759"/>
                <a:gd name="connsiteY148" fmla="*/ 289759 h 428339"/>
                <a:gd name="connsiteX149" fmla="*/ 257004 w 289759"/>
                <a:gd name="connsiteY149" fmla="*/ 274641 h 428339"/>
                <a:gd name="connsiteX150" fmla="*/ 267083 w 289759"/>
                <a:gd name="connsiteY150" fmla="*/ 258264 h 428339"/>
                <a:gd name="connsiteX151" fmla="*/ 274642 w 289759"/>
                <a:gd name="connsiteY151" fmla="*/ 239366 h 428339"/>
                <a:gd name="connsiteX152" fmla="*/ 278421 w 289759"/>
                <a:gd name="connsiteY152" fmla="*/ 228028 h 428339"/>
                <a:gd name="connsiteX153" fmla="*/ 278421 w 289759"/>
                <a:gd name="connsiteY153" fmla="*/ 228028 h 428339"/>
                <a:gd name="connsiteX154" fmla="*/ 278421 w 289759"/>
                <a:gd name="connsiteY154" fmla="*/ 228028 h 428339"/>
                <a:gd name="connsiteX155" fmla="*/ 279681 w 289759"/>
                <a:gd name="connsiteY155" fmla="*/ 221729 h 428339"/>
                <a:gd name="connsiteX156" fmla="*/ 283460 w 289759"/>
                <a:gd name="connsiteY156" fmla="*/ 204091 h 428339"/>
                <a:gd name="connsiteX157" fmla="*/ 283460 w 289759"/>
                <a:gd name="connsiteY157" fmla="*/ 202831 h 428339"/>
                <a:gd name="connsiteX158" fmla="*/ 287240 w 289759"/>
                <a:gd name="connsiteY158" fmla="*/ 183934 h 428339"/>
                <a:gd name="connsiteX159" fmla="*/ 291019 w 289759"/>
                <a:gd name="connsiteY159" fmla="*/ 144880 h 428339"/>
                <a:gd name="connsiteX160" fmla="*/ 291019 w 289759"/>
                <a:gd name="connsiteY160" fmla="*/ 109605 h 428339"/>
                <a:gd name="connsiteX161" fmla="*/ 291019 w 289759"/>
                <a:gd name="connsiteY161" fmla="*/ 105825 h 428339"/>
                <a:gd name="connsiteX162" fmla="*/ 289759 w 289759"/>
                <a:gd name="connsiteY162" fmla="*/ 88188 h 428339"/>
                <a:gd name="connsiteX163" fmla="*/ 288500 w 289759"/>
                <a:gd name="connsiteY163" fmla="*/ 69290 h 428339"/>
                <a:gd name="connsiteX164" fmla="*/ 288500 w 289759"/>
                <a:gd name="connsiteY164" fmla="*/ 65511 h 428339"/>
                <a:gd name="connsiteX165" fmla="*/ 287240 w 289759"/>
                <a:gd name="connsiteY165" fmla="*/ 51653 h 428339"/>
                <a:gd name="connsiteX166" fmla="*/ 287240 w 289759"/>
                <a:gd name="connsiteY166" fmla="*/ 51653 h 428339"/>
                <a:gd name="connsiteX167" fmla="*/ 287240 w 289759"/>
                <a:gd name="connsiteY167" fmla="*/ 51653 h 428339"/>
                <a:gd name="connsiteX168" fmla="*/ 277161 w 289759"/>
                <a:gd name="connsiteY168" fmla="*/ 47873 h 428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289759" h="428339">
                  <a:moveTo>
                    <a:pt x="277161" y="47873"/>
                  </a:moveTo>
                  <a:lnTo>
                    <a:pt x="277161" y="47873"/>
                  </a:lnTo>
                  <a:lnTo>
                    <a:pt x="277161" y="47873"/>
                  </a:lnTo>
                  <a:cubicBezTo>
                    <a:pt x="277161" y="47873"/>
                    <a:pt x="277161" y="47873"/>
                    <a:pt x="277161" y="47873"/>
                  </a:cubicBezTo>
                  <a:cubicBezTo>
                    <a:pt x="270862" y="49133"/>
                    <a:pt x="265823" y="50393"/>
                    <a:pt x="260784" y="50393"/>
                  </a:cubicBezTo>
                  <a:lnTo>
                    <a:pt x="259524" y="50393"/>
                  </a:lnTo>
                  <a:cubicBezTo>
                    <a:pt x="255744" y="50393"/>
                    <a:pt x="250705" y="50393"/>
                    <a:pt x="246925" y="50393"/>
                  </a:cubicBezTo>
                  <a:cubicBezTo>
                    <a:pt x="246925" y="50393"/>
                    <a:pt x="245666" y="50393"/>
                    <a:pt x="245666" y="50393"/>
                  </a:cubicBezTo>
                  <a:cubicBezTo>
                    <a:pt x="244406" y="50393"/>
                    <a:pt x="244406" y="50393"/>
                    <a:pt x="243146" y="50393"/>
                  </a:cubicBezTo>
                  <a:cubicBezTo>
                    <a:pt x="243146" y="50393"/>
                    <a:pt x="243146" y="50393"/>
                    <a:pt x="243146" y="50393"/>
                  </a:cubicBezTo>
                  <a:lnTo>
                    <a:pt x="241886" y="50393"/>
                  </a:lnTo>
                  <a:cubicBezTo>
                    <a:pt x="239366" y="50393"/>
                    <a:pt x="235587" y="50393"/>
                    <a:pt x="233067" y="50393"/>
                  </a:cubicBezTo>
                  <a:cubicBezTo>
                    <a:pt x="228028" y="50393"/>
                    <a:pt x="224249" y="49133"/>
                    <a:pt x="220469" y="49133"/>
                  </a:cubicBezTo>
                  <a:cubicBezTo>
                    <a:pt x="220469" y="49133"/>
                    <a:pt x="219209" y="49133"/>
                    <a:pt x="219209" y="49133"/>
                  </a:cubicBezTo>
                  <a:lnTo>
                    <a:pt x="215430" y="49133"/>
                  </a:lnTo>
                  <a:lnTo>
                    <a:pt x="215430" y="49133"/>
                  </a:lnTo>
                  <a:lnTo>
                    <a:pt x="212910" y="49133"/>
                  </a:lnTo>
                  <a:cubicBezTo>
                    <a:pt x="211650" y="49133"/>
                    <a:pt x="210391" y="49133"/>
                    <a:pt x="209131" y="49133"/>
                  </a:cubicBezTo>
                  <a:lnTo>
                    <a:pt x="209131" y="49133"/>
                  </a:lnTo>
                  <a:cubicBezTo>
                    <a:pt x="209131" y="49133"/>
                    <a:pt x="207871" y="49133"/>
                    <a:pt x="207871" y="49133"/>
                  </a:cubicBezTo>
                  <a:cubicBezTo>
                    <a:pt x="205351" y="49133"/>
                    <a:pt x="201572" y="47873"/>
                    <a:pt x="199052" y="47873"/>
                  </a:cubicBezTo>
                  <a:lnTo>
                    <a:pt x="197792" y="47873"/>
                  </a:lnTo>
                  <a:lnTo>
                    <a:pt x="195273" y="47873"/>
                  </a:lnTo>
                  <a:cubicBezTo>
                    <a:pt x="187714" y="46613"/>
                    <a:pt x="181415" y="44094"/>
                    <a:pt x="173856" y="41574"/>
                  </a:cubicBezTo>
                  <a:cubicBezTo>
                    <a:pt x="165037" y="39054"/>
                    <a:pt x="157478" y="35275"/>
                    <a:pt x="149919" y="32755"/>
                  </a:cubicBezTo>
                  <a:cubicBezTo>
                    <a:pt x="146140" y="31496"/>
                    <a:pt x="142360" y="28976"/>
                    <a:pt x="138581" y="27716"/>
                  </a:cubicBezTo>
                  <a:cubicBezTo>
                    <a:pt x="138581" y="27716"/>
                    <a:pt x="138581" y="27716"/>
                    <a:pt x="138581" y="27716"/>
                  </a:cubicBezTo>
                  <a:lnTo>
                    <a:pt x="138581" y="27716"/>
                  </a:lnTo>
                  <a:cubicBezTo>
                    <a:pt x="138581" y="27716"/>
                    <a:pt x="138581" y="27716"/>
                    <a:pt x="138581" y="27716"/>
                  </a:cubicBezTo>
                  <a:cubicBezTo>
                    <a:pt x="136061" y="26456"/>
                    <a:pt x="133541" y="25196"/>
                    <a:pt x="131022" y="22677"/>
                  </a:cubicBezTo>
                  <a:cubicBezTo>
                    <a:pt x="129762" y="22677"/>
                    <a:pt x="129762" y="21417"/>
                    <a:pt x="128502" y="21417"/>
                  </a:cubicBezTo>
                  <a:cubicBezTo>
                    <a:pt x="128502" y="21417"/>
                    <a:pt x="127242" y="20157"/>
                    <a:pt x="127242" y="20157"/>
                  </a:cubicBezTo>
                  <a:cubicBezTo>
                    <a:pt x="125982" y="18897"/>
                    <a:pt x="124723" y="17637"/>
                    <a:pt x="123463" y="16378"/>
                  </a:cubicBezTo>
                  <a:cubicBezTo>
                    <a:pt x="122203" y="15118"/>
                    <a:pt x="120943" y="15118"/>
                    <a:pt x="120943" y="13858"/>
                  </a:cubicBezTo>
                  <a:cubicBezTo>
                    <a:pt x="119683" y="12598"/>
                    <a:pt x="117164" y="10078"/>
                    <a:pt x="115904" y="8819"/>
                  </a:cubicBezTo>
                  <a:lnTo>
                    <a:pt x="115904" y="8819"/>
                  </a:lnTo>
                  <a:lnTo>
                    <a:pt x="115904" y="8819"/>
                  </a:lnTo>
                  <a:lnTo>
                    <a:pt x="115904" y="8819"/>
                  </a:lnTo>
                  <a:cubicBezTo>
                    <a:pt x="115904" y="8819"/>
                    <a:pt x="115904" y="8819"/>
                    <a:pt x="115904" y="8819"/>
                  </a:cubicBezTo>
                  <a:cubicBezTo>
                    <a:pt x="115904" y="8819"/>
                    <a:pt x="114644" y="7559"/>
                    <a:pt x="114644" y="7559"/>
                  </a:cubicBezTo>
                  <a:cubicBezTo>
                    <a:pt x="113384" y="6299"/>
                    <a:pt x="112124" y="5039"/>
                    <a:pt x="112124" y="5039"/>
                  </a:cubicBezTo>
                  <a:cubicBezTo>
                    <a:pt x="110864" y="3779"/>
                    <a:pt x="108345" y="1260"/>
                    <a:pt x="107085" y="0"/>
                  </a:cubicBezTo>
                  <a:cubicBezTo>
                    <a:pt x="107085" y="0"/>
                    <a:pt x="107085" y="0"/>
                    <a:pt x="107085" y="0"/>
                  </a:cubicBezTo>
                  <a:cubicBezTo>
                    <a:pt x="105825" y="1260"/>
                    <a:pt x="104565" y="3779"/>
                    <a:pt x="104565" y="5039"/>
                  </a:cubicBezTo>
                  <a:cubicBezTo>
                    <a:pt x="104565" y="5039"/>
                    <a:pt x="103306" y="6299"/>
                    <a:pt x="103306" y="6299"/>
                  </a:cubicBezTo>
                  <a:cubicBezTo>
                    <a:pt x="103306" y="7559"/>
                    <a:pt x="103306" y="7559"/>
                    <a:pt x="102046" y="8819"/>
                  </a:cubicBezTo>
                  <a:cubicBezTo>
                    <a:pt x="100786" y="12598"/>
                    <a:pt x="98266" y="16378"/>
                    <a:pt x="97007" y="20157"/>
                  </a:cubicBezTo>
                  <a:cubicBezTo>
                    <a:pt x="95747" y="21417"/>
                    <a:pt x="95747" y="23937"/>
                    <a:pt x="94487" y="25196"/>
                  </a:cubicBezTo>
                  <a:cubicBezTo>
                    <a:pt x="93227" y="26456"/>
                    <a:pt x="91967" y="27716"/>
                    <a:pt x="91967" y="28976"/>
                  </a:cubicBezTo>
                  <a:cubicBezTo>
                    <a:pt x="88188" y="32755"/>
                    <a:pt x="84408" y="36535"/>
                    <a:pt x="79369" y="39054"/>
                  </a:cubicBezTo>
                  <a:cubicBezTo>
                    <a:pt x="73070" y="42834"/>
                    <a:pt x="66771" y="47873"/>
                    <a:pt x="60472" y="51653"/>
                  </a:cubicBezTo>
                  <a:cubicBezTo>
                    <a:pt x="52913" y="55432"/>
                    <a:pt x="44094" y="57952"/>
                    <a:pt x="35275" y="60471"/>
                  </a:cubicBezTo>
                  <a:cubicBezTo>
                    <a:pt x="30236" y="62991"/>
                    <a:pt x="25196" y="65511"/>
                    <a:pt x="18897" y="66770"/>
                  </a:cubicBezTo>
                  <a:cubicBezTo>
                    <a:pt x="16378" y="68030"/>
                    <a:pt x="13858" y="68030"/>
                    <a:pt x="11339" y="69290"/>
                  </a:cubicBezTo>
                  <a:cubicBezTo>
                    <a:pt x="8819" y="70550"/>
                    <a:pt x="6299" y="70550"/>
                    <a:pt x="3780" y="71810"/>
                  </a:cubicBezTo>
                  <a:cubicBezTo>
                    <a:pt x="2520" y="71810"/>
                    <a:pt x="1260" y="71810"/>
                    <a:pt x="0" y="73070"/>
                  </a:cubicBezTo>
                  <a:cubicBezTo>
                    <a:pt x="0" y="74330"/>
                    <a:pt x="0" y="75589"/>
                    <a:pt x="0" y="76849"/>
                  </a:cubicBezTo>
                  <a:cubicBezTo>
                    <a:pt x="0" y="79369"/>
                    <a:pt x="0" y="81889"/>
                    <a:pt x="0" y="84408"/>
                  </a:cubicBezTo>
                  <a:cubicBezTo>
                    <a:pt x="0" y="88188"/>
                    <a:pt x="0" y="90707"/>
                    <a:pt x="1260" y="94487"/>
                  </a:cubicBezTo>
                  <a:cubicBezTo>
                    <a:pt x="1260" y="94487"/>
                    <a:pt x="1260" y="94487"/>
                    <a:pt x="1260" y="94487"/>
                  </a:cubicBezTo>
                  <a:cubicBezTo>
                    <a:pt x="1260" y="94487"/>
                    <a:pt x="1260" y="94487"/>
                    <a:pt x="1260" y="94487"/>
                  </a:cubicBezTo>
                  <a:cubicBezTo>
                    <a:pt x="1260" y="94487"/>
                    <a:pt x="1260" y="95746"/>
                    <a:pt x="1260" y="95746"/>
                  </a:cubicBezTo>
                  <a:cubicBezTo>
                    <a:pt x="1260" y="97006"/>
                    <a:pt x="1260" y="98266"/>
                    <a:pt x="1260" y="99526"/>
                  </a:cubicBezTo>
                  <a:cubicBezTo>
                    <a:pt x="1260" y="104565"/>
                    <a:pt x="1260" y="110864"/>
                    <a:pt x="1260" y="115904"/>
                  </a:cubicBezTo>
                  <a:cubicBezTo>
                    <a:pt x="1260" y="122203"/>
                    <a:pt x="2520" y="127242"/>
                    <a:pt x="2520" y="133541"/>
                  </a:cubicBezTo>
                  <a:cubicBezTo>
                    <a:pt x="3780" y="146139"/>
                    <a:pt x="5039" y="157478"/>
                    <a:pt x="6299" y="170076"/>
                  </a:cubicBezTo>
                  <a:cubicBezTo>
                    <a:pt x="6299" y="176375"/>
                    <a:pt x="7559" y="181414"/>
                    <a:pt x="8819" y="187714"/>
                  </a:cubicBezTo>
                  <a:cubicBezTo>
                    <a:pt x="10079" y="194013"/>
                    <a:pt x="10079" y="201572"/>
                    <a:pt x="12598" y="207871"/>
                  </a:cubicBezTo>
                  <a:cubicBezTo>
                    <a:pt x="12598" y="209131"/>
                    <a:pt x="12598" y="210390"/>
                    <a:pt x="13858" y="211650"/>
                  </a:cubicBezTo>
                  <a:cubicBezTo>
                    <a:pt x="13858" y="212910"/>
                    <a:pt x="15118" y="215430"/>
                    <a:pt x="15118" y="216690"/>
                  </a:cubicBezTo>
                  <a:cubicBezTo>
                    <a:pt x="16378" y="219209"/>
                    <a:pt x="16378" y="222989"/>
                    <a:pt x="17638" y="225508"/>
                  </a:cubicBezTo>
                  <a:cubicBezTo>
                    <a:pt x="18897" y="231807"/>
                    <a:pt x="21417" y="236847"/>
                    <a:pt x="23937" y="243146"/>
                  </a:cubicBezTo>
                  <a:cubicBezTo>
                    <a:pt x="23937" y="244406"/>
                    <a:pt x="25196" y="244406"/>
                    <a:pt x="25196" y="245666"/>
                  </a:cubicBezTo>
                  <a:cubicBezTo>
                    <a:pt x="25196" y="245666"/>
                    <a:pt x="25196" y="246925"/>
                    <a:pt x="25196" y="246925"/>
                  </a:cubicBezTo>
                  <a:cubicBezTo>
                    <a:pt x="26456" y="249445"/>
                    <a:pt x="26456" y="251965"/>
                    <a:pt x="27716" y="254484"/>
                  </a:cubicBezTo>
                  <a:cubicBezTo>
                    <a:pt x="28976" y="257004"/>
                    <a:pt x="30236" y="259523"/>
                    <a:pt x="31496" y="262043"/>
                  </a:cubicBezTo>
                  <a:cubicBezTo>
                    <a:pt x="32755" y="264563"/>
                    <a:pt x="34015" y="267083"/>
                    <a:pt x="36535" y="269602"/>
                  </a:cubicBezTo>
                  <a:cubicBezTo>
                    <a:pt x="37795" y="272122"/>
                    <a:pt x="39055" y="274641"/>
                    <a:pt x="41574" y="277161"/>
                  </a:cubicBezTo>
                  <a:cubicBezTo>
                    <a:pt x="42834" y="279681"/>
                    <a:pt x="45354" y="282200"/>
                    <a:pt x="47873" y="284720"/>
                  </a:cubicBezTo>
                  <a:cubicBezTo>
                    <a:pt x="49133" y="285980"/>
                    <a:pt x="50393" y="288499"/>
                    <a:pt x="52913" y="289759"/>
                  </a:cubicBezTo>
                  <a:cubicBezTo>
                    <a:pt x="52913" y="289759"/>
                    <a:pt x="52913" y="289759"/>
                    <a:pt x="52913" y="289759"/>
                  </a:cubicBezTo>
                  <a:cubicBezTo>
                    <a:pt x="52913" y="291019"/>
                    <a:pt x="51653" y="293539"/>
                    <a:pt x="51653" y="294799"/>
                  </a:cubicBezTo>
                  <a:cubicBezTo>
                    <a:pt x="51653" y="294799"/>
                    <a:pt x="51653" y="294799"/>
                    <a:pt x="51653" y="294799"/>
                  </a:cubicBezTo>
                  <a:cubicBezTo>
                    <a:pt x="51653" y="294799"/>
                    <a:pt x="51653" y="294799"/>
                    <a:pt x="51653" y="294799"/>
                  </a:cubicBezTo>
                  <a:cubicBezTo>
                    <a:pt x="50393" y="297318"/>
                    <a:pt x="49133" y="298578"/>
                    <a:pt x="49133" y="301098"/>
                  </a:cubicBezTo>
                  <a:cubicBezTo>
                    <a:pt x="47873" y="303617"/>
                    <a:pt x="47873" y="304877"/>
                    <a:pt x="46614" y="307397"/>
                  </a:cubicBezTo>
                  <a:cubicBezTo>
                    <a:pt x="45354" y="311176"/>
                    <a:pt x="44094" y="316216"/>
                    <a:pt x="42834" y="319995"/>
                  </a:cubicBezTo>
                  <a:cubicBezTo>
                    <a:pt x="41574" y="323775"/>
                    <a:pt x="40314" y="328814"/>
                    <a:pt x="39055" y="332593"/>
                  </a:cubicBezTo>
                  <a:cubicBezTo>
                    <a:pt x="37795" y="336373"/>
                    <a:pt x="36535" y="341412"/>
                    <a:pt x="34015" y="345192"/>
                  </a:cubicBezTo>
                  <a:cubicBezTo>
                    <a:pt x="32755" y="347711"/>
                    <a:pt x="31496" y="350231"/>
                    <a:pt x="31496" y="351491"/>
                  </a:cubicBezTo>
                  <a:cubicBezTo>
                    <a:pt x="30236" y="354010"/>
                    <a:pt x="30236" y="356530"/>
                    <a:pt x="28976" y="359050"/>
                  </a:cubicBezTo>
                  <a:cubicBezTo>
                    <a:pt x="28976" y="359050"/>
                    <a:pt x="28976" y="360309"/>
                    <a:pt x="28976" y="360309"/>
                  </a:cubicBezTo>
                  <a:lnTo>
                    <a:pt x="28976" y="360309"/>
                  </a:lnTo>
                  <a:cubicBezTo>
                    <a:pt x="27716" y="361569"/>
                    <a:pt x="27716" y="364089"/>
                    <a:pt x="26456" y="365349"/>
                  </a:cubicBezTo>
                  <a:cubicBezTo>
                    <a:pt x="25196" y="366608"/>
                    <a:pt x="25196" y="367868"/>
                    <a:pt x="25196" y="370388"/>
                  </a:cubicBezTo>
                  <a:cubicBezTo>
                    <a:pt x="25196" y="370388"/>
                    <a:pt x="25196" y="370388"/>
                    <a:pt x="25196" y="371648"/>
                  </a:cubicBezTo>
                  <a:lnTo>
                    <a:pt x="25196" y="371648"/>
                  </a:lnTo>
                  <a:lnTo>
                    <a:pt x="25196" y="371648"/>
                  </a:lnTo>
                  <a:cubicBezTo>
                    <a:pt x="25196" y="372908"/>
                    <a:pt x="25196" y="374167"/>
                    <a:pt x="25196" y="375427"/>
                  </a:cubicBezTo>
                  <a:cubicBezTo>
                    <a:pt x="25196" y="376687"/>
                    <a:pt x="25196" y="377947"/>
                    <a:pt x="25196" y="379207"/>
                  </a:cubicBezTo>
                  <a:lnTo>
                    <a:pt x="25196" y="380467"/>
                  </a:lnTo>
                  <a:cubicBezTo>
                    <a:pt x="25196" y="381726"/>
                    <a:pt x="25196" y="382986"/>
                    <a:pt x="26456" y="384246"/>
                  </a:cubicBezTo>
                  <a:cubicBezTo>
                    <a:pt x="27716" y="386766"/>
                    <a:pt x="28976" y="390545"/>
                    <a:pt x="30236" y="393065"/>
                  </a:cubicBezTo>
                  <a:cubicBezTo>
                    <a:pt x="31496" y="395584"/>
                    <a:pt x="32755" y="396844"/>
                    <a:pt x="35275" y="399364"/>
                  </a:cubicBezTo>
                  <a:cubicBezTo>
                    <a:pt x="39055" y="403143"/>
                    <a:pt x="42834" y="408183"/>
                    <a:pt x="49133" y="411962"/>
                  </a:cubicBezTo>
                  <a:cubicBezTo>
                    <a:pt x="51653" y="413222"/>
                    <a:pt x="54172" y="415742"/>
                    <a:pt x="57952" y="417001"/>
                  </a:cubicBezTo>
                  <a:lnTo>
                    <a:pt x="59212" y="418261"/>
                  </a:lnTo>
                  <a:cubicBezTo>
                    <a:pt x="61731" y="419521"/>
                    <a:pt x="64251" y="420781"/>
                    <a:pt x="65511" y="422041"/>
                  </a:cubicBezTo>
                  <a:cubicBezTo>
                    <a:pt x="70550" y="424560"/>
                    <a:pt x="76849" y="425820"/>
                    <a:pt x="84408" y="427080"/>
                  </a:cubicBezTo>
                  <a:cubicBezTo>
                    <a:pt x="88188" y="427080"/>
                    <a:pt x="91967" y="427080"/>
                    <a:pt x="94487" y="428340"/>
                  </a:cubicBezTo>
                  <a:cubicBezTo>
                    <a:pt x="97007" y="428340"/>
                    <a:pt x="100786" y="428340"/>
                    <a:pt x="104565" y="428340"/>
                  </a:cubicBezTo>
                  <a:cubicBezTo>
                    <a:pt x="104565" y="428340"/>
                    <a:pt x="105825" y="428340"/>
                    <a:pt x="105825" y="428340"/>
                  </a:cubicBezTo>
                  <a:cubicBezTo>
                    <a:pt x="108345" y="428340"/>
                    <a:pt x="110864" y="428340"/>
                    <a:pt x="114644" y="427080"/>
                  </a:cubicBezTo>
                  <a:cubicBezTo>
                    <a:pt x="117164" y="427080"/>
                    <a:pt x="119683" y="425820"/>
                    <a:pt x="123463" y="424560"/>
                  </a:cubicBezTo>
                  <a:cubicBezTo>
                    <a:pt x="127242" y="423301"/>
                    <a:pt x="132281" y="420781"/>
                    <a:pt x="137321" y="418261"/>
                  </a:cubicBezTo>
                  <a:cubicBezTo>
                    <a:pt x="139840" y="417001"/>
                    <a:pt x="142360" y="415742"/>
                    <a:pt x="144880" y="413222"/>
                  </a:cubicBezTo>
                  <a:cubicBezTo>
                    <a:pt x="147399" y="411962"/>
                    <a:pt x="148659" y="409443"/>
                    <a:pt x="149919" y="406923"/>
                  </a:cubicBezTo>
                  <a:cubicBezTo>
                    <a:pt x="151179" y="404403"/>
                    <a:pt x="152439" y="401884"/>
                    <a:pt x="153699" y="400624"/>
                  </a:cubicBezTo>
                  <a:cubicBezTo>
                    <a:pt x="154958" y="399364"/>
                    <a:pt x="154958" y="396844"/>
                    <a:pt x="154958" y="395584"/>
                  </a:cubicBezTo>
                  <a:cubicBezTo>
                    <a:pt x="154958" y="394325"/>
                    <a:pt x="154958" y="394325"/>
                    <a:pt x="154958" y="393065"/>
                  </a:cubicBezTo>
                  <a:cubicBezTo>
                    <a:pt x="154958" y="393065"/>
                    <a:pt x="154958" y="391805"/>
                    <a:pt x="154958" y="391805"/>
                  </a:cubicBezTo>
                  <a:cubicBezTo>
                    <a:pt x="154958" y="389285"/>
                    <a:pt x="156218" y="388025"/>
                    <a:pt x="156218" y="385506"/>
                  </a:cubicBezTo>
                  <a:lnTo>
                    <a:pt x="156218" y="385506"/>
                  </a:lnTo>
                  <a:cubicBezTo>
                    <a:pt x="156218" y="385506"/>
                    <a:pt x="156218" y="385506"/>
                    <a:pt x="156218" y="385506"/>
                  </a:cubicBezTo>
                  <a:cubicBezTo>
                    <a:pt x="156218" y="384246"/>
                    <a:pt x="156218" y="384246"/>
                    <a:pt x="156218" y="382986"/>
                  </a:cubicBezTo>
                  <a:cubicBezTo>
                    <a:pt x="156218" y="382986"/>
                    <a:pt x="156218" y="382986"/>
                    <a:pt x="156218" y="382986"/>
                  </a:cubicBezTo>
                  <a:cubicBezTo>
                    <a:pt x="156218" y="382986"/>
                    <a:pt x="156218" y="381726"/>
                    <a:pt x="156218" y="381726"/>
                  </a:cubicBezTo>
                  <a:cubicBezTo>
                    <a:pt x="156218" y="380467"/>
                    <a:pt x="154958" y="379207"/>
                    <a:pt x="153699" y="376687"/>
                  </a:cubicBezTo>
                  <a:lnTo>
                    <a:pt x="153699" y="376687"/>
                  </a:lnTo>
                  <a:cubicBezTo>
                    <a:pt x="152439" y="374167"/>
                    <a:pt x="152439" y="372908"/>
                    <a:pt x="151179" y="370388"/>
                  </a:cubicBezTo>
                  <a:lnTo>
                    <a:pt x="151179" y="369128"/>
                  </a:lnTo>
                  <a:cubicBezTo>
                    <a:pt x="149919" y="366608"/>
                    <a:pt x="148659" y="364089"/>
                    <a:pt x="148659" y="362829"/>
                  </a:cubicBezTo>
                  <a:cubicBezTo>
                    <a:pt x="147399" y="357790"/>
                    <a:pt x="146140" y="352751"/>
                    <a:pt x="144880" y="346451"/>
                  </a:cubicBezTo>
                  <a:cubicBezTo>
                    <a:pt x="144880" y="346451"/>
                    <a:pt x="144880" y="346451"/>
                    <a:pt x="144880" y="346451"/>
                  </a:cubicBezTo>
                  <a:cubicBezTo>
                    <a:pt x="144880" y="346451"/>
                    <a:pt x="144880" y="346451"/>
                    <a:pt x="144880" y="346451"/>
                  </a:cubicBezTo>
                  <a:lnTo>
                    <a:pt x="144880" y="346451"/>
                  </a:lnTo>
                  <a:cubicBezTo>
                    <a:pt x="143620" y="341412"/>
                    <a:pt x="143620" y="335113"/>
                    <a:pt x="143620" y="327554"/>
                  </a:cubicBezTo>
                  <a:cubicBezTo>
                    <a:pt x="143620" y="326294"/>
                    <a:pt x="143620" y="325034"/>
                    <a:pt x="143620" y="322515"/>
                  </a:cubicBezTo>
                  <a:lnTo>
                    <a:pt x="143620" y="322515"/>
                  </a:lnTo>
                  <a:cubicBezTo>
                    <a:pt x="144880" y="322515"/>
                    <a:pt x="146140" y="322515"/>
                    <a:pt x="147399" y="322515"/>
                  </a:cubicBezTo>
                  <a:cubicBezTo>
                    <a:pt x="148659" y="322515"/>
                    <a:pt x="151179" y="322515"/>
                    <a:pt x="152439" y="322515"/>
                  </a:cubicBezTo>
                  <a:cubicBezTo>
                    <a:pt x="158738" y="322515"/>
                    <a:pt x="165037" y="321255"/>
                    <a:pt x="168816" y="319995"/>
                  </a:cubicBezTo>
                  <a:cubicBezTo>
                    <a:pt x="170076" y="319995"/>
                    <a:pt x="172596" y="319995"/>
                    <a:pt x="173856" y="318735"/>
                  </a:cubicBezTo>
                  <a:lnTo>
                    <a:pt x="173856" y="318735"/>
                  </a:lnTo>
                  <a:cubicBezTo>
                    <a:pt x="178895" y="317475"/>
                    <a:pt x="183934" y="317475"/>
                    <a:pt x="188973" y="316216"/>
                  </a:cubicBezTo>
                  <a:cubicBezTo>
                    <a:pt x="196533" y="314956"/>
                    <a:pt x="202832" y="312436"/>
                    <a:pt x="209131" y="309916"/>
                  </a:cubicBezTo>
                  <a:cubicBezTo>
                    <a:pt x="216690" y="307397"/>
                    <a:pt x="222989" y="303617"/>
                    <a:pt x="228028" y="301098"/>
                  </a:cubicBezTo>
                  <a:cubicBezTo>
                    <a:pt x="230548" y="299838"/>
                    <a:pt x="233067" y="297318"/>
                    <a:pt x="235587" y="296058"/>
                  </a:cubicBezTo>
                  <a:cubicBezTo>
                    <a:pt x="238107" y="293539"/>
                    <a:pt x="241886" y="292279"/>
                    <a:pt x="244406" y="289759"/>
                  </a:cubicBezTo>
                  <a:cubicBezTo>
                    <a:pt x="249445" y="285980"/>
                    <a:pt x="253225" y="280940"/>
                    <a:pt x="257004" y="274641"/>
                  </a:cubicBezTo>
                  <a:cubicBezTo>
                    <a:pt x="260784" y="269602"/>
                    <a:pt x="264563" y="263303"/>
                    <a:pt x="267083" y="258264"/>
                  </a:cubicBezTo>
                  <a:cubicBezTo>
                    <a:pt x="270862" y="251965"/>
                    <a:pt x="273382" y="244406"/>
                    <a:pt x="274642" y="239366"/>
                  </a:cubicBezTo>
                  <a:cubicBezTo>
                    <a:pt x="275901" y="235587"/>
                    <a:pt x="277161" y="233067"/>
                    <a:pt x="278421" y="228028"/>
                  </a:cubicBezTo>
                  <a:cubicBezTo>
                    <a:pt x="278421" y="228028"/>
                    <a:pt x="278421" y="228028"/>
                    <a:pt x="278421" y="228028"/>
                  </a:cubicBezTo>
                  <a:lnTo>
                    <a:pt x="278421" y="228028"/>
                  </a:lnTo>
                  <a:cubicBezTo>
                    <a:pt x="279681" y="225508"/>
                    <a:pt x="279681" y="224248"/>
                    <a:pt x="279681" y="221729"/>
                  </a:cubicBezTo>
                  <a:cubicBezTo>
                    <a:pt x="280941" y="215430"/>
                    <a:pt x="282201" y="210390"/>
                    <a:pt x="283460" y="204091"/>
                  </a:cubicBezTo>
                  <a:lnTo>
                    <a:pt x="283460" y="202831"/>
                  </a:lnTo>
                  <a:cubicBezTo>
                    <a:pt x="284720" y="196532"/>
                    <a:pt x="285980" y="190233"/>
                    <a:pt x="287240" y="183934"/>
                  </a:cubicBezTo>
                  <a:cubicBezTo>
                    <a:pt x="288500" y="172596"/>
                    <a:pt x="289759" y="158738"/>
                    <a:pt x="291019" y="144880"/>
                  </a:cubicBezTo>
                  <a:cubicBezTo>
                    <a:pt x="292279" y="133541"/>
                    <a:pt x="291019" y="120943"/>
                    <a:pt x="291019" y="109605"/>
                  </a:cubicBezTo>
                  <a:lnTo>
                    <a:pt x="291019" y="105825"/>
                  </a:lnTo>
                  <a:cubicBezTo>
                    <a:pt x="291019" y="99526"/>
                    <a:pt x="291019" y="94487"/>
                    <a:pt x="289759" y="88188"/>
                  </a:cubicBezTo>
                  <a:cubicBezTo>
                    <a:pt x="289759" y="81889"/>
                    <a:pt x="288500" y="75589"/>
                    <a:pt x="288500" y="69290"/>
                  </a:cubicBezTo>
                  <a:lnTo>
                    <a:pt x="288500" y="65511"/>
                  </a:lnTo>
                  <a:cubicBezTo>
                    <a:pt x="288500" y="61731"/>
                    <a:pt x="287240" y="56692"/>
                    <a:pt x="287240" y="51653"/>
                  </a:cubicBezTo>
                  <a:cubicBezTo>
                    <a:pt x="287240" y="51653"/>
                    <a:pt x="287240" y="51653"/>
                    <a:pt x="287240" y="51653"/>
                  </a:cubicBezTo>
                  <a:cubicBezTo>
                    <a:pt x="287240" y="51653"/>
                    <a:pt x="287240" y="51653"/>
                    <a:pt x="287240" y="51653"/>
                  </a:cubicBezTo>
                  <a:cubicBezTo>
                    <a:pt x="279681" y="47873"/>
                    <a:pt x="278421" y="47873"/>
                    <a:pt x="277161" y="47873"/>
                  </a:cubicBezTo>
                  <a:close/>
                </a:path>
              </a:pathLst>
            </a:custGeom>
            <a:solidFill>
              <a:srgbClr val="F2A988"/>
            </a:solidFill>
            <a:ln w="12584" cap="flat">
              <a:noFill/>
              <a:prstDash val="solid"/>
              <a:miter/>
            </a:ln>
          </p:spPr>
          <p:txBody>
            <a:bodyPr rtlCol="0" anchor="ctr"/>
            <a:lstStyle/>
            <a:p>
              <a:endParaRPr lang="zh-CN" altLang="en-US"/>
            </a:p>
          </p:txBody>
        </p:sp>
        <p:sp>
          <p:nvSpPr>
            <p:cNvPr id="125" name="任意多边形: 形状 124"/>
            <p:cNvSpPr/>
            <p:nvPr/>
          </p:nvSpPr>
          <p:spPr>
            <a:xfrm>
              <a:off x="8653281" y="4063010"/>
              <a:ext cx="8580" cy="858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54F3F5"/>
            </a:solidFill>
            <a:ln w="12584" cap="flat">
              <a:noFill/>
              <a:prstDash val="solid"/>
              <a:miter/>
            </a:ln>
          </p:spPr>
          <p:txBody>
            <a:bodyPr rtlCol="0" anchor="ctr"/>
            <a:lstStyle/>
            <a:p>
              <a:endParaRPr lang="zh-CN" altLang="en-US"/>
            </a:p>
          </p:txBody>
        </p:sp>
        <p:sp>
          <p:nvSpPr>
            <p:cNvPr id="126" name="任意多边形: 形状 125"/>
            <p:cNvSpPr/>
            <p:nvPr/>
          </p:nvSpPr>
          <p:spPr>
            <a:xfrm>
              <a:off x="8132453" y="3836489"/>
              <a:ext cx="523401" cy="489080"/>
            </a:xfrm>
            <a:custGeom>
              <a:avLst/>
              <a:gdLst>
                <a:gd name="connsiteX0" fmla="*/ 537945 w 768492"/>
                <a:gd name="connsiteY0" fmla="*/ 16378 h 718099"/>
                <a:gd name="connsiteX1" fmla="*/ 537945 w 768492"/>
                <a:gd name="connsiteY1" fmla="*/ 16378 h 718099"/>
                <a:gd name="connsiteX2" fmla="*/ 537945 w 768492"/>
                <a:gd name="connsiteY2" fmla="*/ 16378 h 718099"/>
                <a:gd name="connsiteX3" fmla="*/ 536685 w 768492"/>
                <a:gd name="connsiteY3" fmla="*/ 22677 h 718099"/>
                <a:gd name="connsiteX4" fmla="*/ 537945 w 768492"/>
                <a:gd name="connsiteY4" fmla="*/ 16378 h 718099"/>
                <a:gd name="connsiteX5" fmla="*/ 537945 w 768492"/>
                <a:gd name="connsiteY5" fmla="*/ 16378 h 718099"/>
                <a:gd name="connsiteX6" fmla="*/ 537945 w 768492"/>
                <a:gd name="connsiteY6" fmla="*/ 16378 h 718099"/>
                <a:gd name="connsiteX7" fmla="*/ 536685 w 768492"/>
                <a:gd name="connsiteY7" fmla="*/ 23937 h 718099"/>
                <a:gd name="connsiteX8" fmla="*/ 536685 w 768492"/>
                <a:gd name="connsiteY8" fmla="*/ 26456 h 718099"/>
                <a:gd name="connsiteX9" fmla="*/ 535425 w 768492"/>
                <a:gd name="connsiteY9" fmla="*/ 31496 h 718099"/>
                <a:gd name="connsiteX10" fmla="*/ 531645 w 768492"/>
                <a:gd name="connsiteY10" fmla="*/ 37795 h 718099"/>
                <a:gd name="connsiteX11" fmla="*/ 526606 w 768492"/>
                <a:gd name="connsiteY11" fmla="*/ 44094 h 718099"/>
                <a:gd name="connsiteX12" fmla="*/ 519047 w 768492"/>
                <a:gd name="connsiteY12" fmla="*/ 49133 h 718099"/>
                <a:gd name="connsiteX13" fmla="*/ 505189 w 768492"/>
                <a:gd name="connsiteY13" fmla="*/ 55432 h 718099"/>
                <a:gd name="connsiteX14" fmla="*/ 496370 w 768492"/>
                <a:gd name="connsiteY14" fmla="*/ 57952 h 718099"/>
                <a:gd name="connsiteX15" fmla="*/ 487552 w 768492"/>
                <a:gd name="connsiteY15" fmla="*/ 59212 h 718099"/>
                <a:gd name="connsiteX16" fmla="*/ 486292 w 768492"/>
                <a:gd name="connsiteY16" fmla="*/ 59212 h 718099"/>
                <a:gd name="connsiteX17" fmla="*/ 476213 w 768492"/>
                <a:gd name="connsiteY17" fmla="*/ 59212 h 718099"/>
                <a:gd name="connsiteX18" fmla="*/ 466135 w 768492"/>
                <a:gd name="connsiteY18" fmla="*/ 57952 h 718099"/>
                <a:gd name="connsiteX19" fmla="*/ 447237 w 768492"/>
                <a:gd name="connsiteY19" fmla="*/ 52913 h 718099"/>
                <a:gd name="connsiteX20" fmla="*/ 440938 w 768492"/>
                <a:gd name="connsiteY20" fmla="*/ 49133 h 718099"/>
                <a:gd name="connsiteX21" fmla="*/ 439678 w 768492"/>
                <a:gd name="connsiteY21" fmla="*/ 47873 h 718099"/>
                <a:gd name="connsiteX22" fmla="*/ 430860 w 768492"/>
                <a:gd name="connsiteY22" fmla="*/ 42834 h 718099"/>
                <a:gd name="connsiteX23" fmla="*/ 417002 w 768492"/>
                <a:gd name="connsiteY23" fmla="*/ 30236 h 718099"/>
                <a:gd name="connsiteX24" fmla="*/ 411962 w 768492"/>
                <a:gd name="connsiteY24" fmla="*/ 23937 h 718099"/>
                <a:gd name="connsiteX25" fmla="*/ 408183 w 768492"/>
                <a:gd name="connsiteY25" fmla="*/ 15118 h 718099"/>
                <a:gd name="connsiteX26" fmla="*/ 406923 w 768492"/>
                <a:gd name="connsiteY26" fmla="*/ 11338 h 718099"/>
                <a:gd name="connsiteX27" fmla="*/ 406923 w 768492"/>
                <a:gd name="connsiteY27" fmla="*/ 10078 h 718099"/>
                <a:gd name="connsiteX28" fmla="*/ 406923 w 768492"/>
                <a:gd name="connsiteY28" fmla="*/ 6299 h 718099"/>
                <a:gd name="connsiteX29" fmla="*/ 406923 w 768492"/>
                <a:gd name="connsiteY29" fmla="*/ 2520 h 718099"/>
                <a:gd name="connsiteX30" fmla="*/ 406923 w 768492"/>
                <a:gd name="connsiteY30" fmla="*/ 2520 h 718099"/>
                <a:gd name="connsiteX31" fmla="*/ 406923 w 768492"/>
                <a:gd name="connsiteY31" fmla="*/ 2520 h 718099"/>
                <a:gd name="connsiteX32" fmla="*/ 406923 w 768492"/>
                <a:gd name="connsiteY32" fmla="*/ 2520 h 718099"/>
                <a:gd name="connsiteX33" fmla="*/ 406923 w 768492"/>
                <a:gd name="connsiteY33" fmla="*/ 2520 h 718099"/>
                <a:gd name="connsiteX34" fmla="*/ 406923 w 768492"/>
                <a:gd name="connsiteY34" fmla="*/ 2520 h 718099"/>
                <a:gd name="connsiteX35" fmla="*/ 406923 w 768492"/>
                <a:gd name="connsiteY35" fmla="*/ 2520 h 718099"/>
                <a:gd name="connsiteX36" fmla="*/ 406923 w 768492"/>
                <a:gd name="connsiteY36" fmla="*/ 2520 h 718099"/>
                <a:gd name="connsiteX37" fmla="*/ 403143 w 768492"/>
                <a:gd name="connsiteY37" fmla="*/ 3779 h 718099"/>
                <a:gd name="connsiteX38" fmla="*/ 403143 w 768492"/>
                <a:gd name="connsiteY38" fmla="*/ 3779 h 718099"/>
                <a:gd name="connsiteX39" fmla="*/ 401884 w 768492"/>
                <a:gd name="connsiteY39" fmla="*/ 3779 h 718099"/>
                <a:gd name="connsiteX40" fmla="*/ 399364 w 768492"/>
                <a:gd name="connsiteY40" fmla="*/ 3779 h 718099"/>
                <a:gd name="connsiteX41" fmla="*/ 388026 w 768492"/>
                <a:gd name="connsiteY41" fmla="*/ 6299 h 718099"/>
                <a:gd name="connsiteX42" fmla="*/ 382986 w 768492"/>
                <a:gd name="connsiteY42" fmla="*/ 7559 h 718099"/>
                <a:gd name="connsiteX43" fmla="*/ 381726 w 768492"/>
                <a:gd name="connsiteY43" fmla="*/ 7559 h 718099"/>
                <a:gd name="connsiteX44" fmla="*/ 380467 w 768492"/>
                <a:gd name="connsiteY44" fmla="*/ 7559 h 718099"/>
                <a:gd name="connsiteX45" fmla="*/ 379207 w 768492"/>
                <a:gd name="connsiteY45" fmla="*/ 7559 h 718099"/>
                <a:gd name="connsiteX46" fmla="*/ 371648 w 768492"/>
                <a:gd name="connsiteY46" fmla="*/ 8819 h 718099"/>
                <a:gd name="connsiteX47" fmla="*/ 367868 w 768492"/>
                <a:gd name="connsiteY47" fmla="*/ 8819 h 718099"/>
                <a:gd name="connsiteX48" fmla="*/ 354010 w 768492"/>
                <a:gd name="connsiteY48" fmla="*/ 11338 h 718099"/>
                <a:gd name="connsiteX49" fmla="*/ 340152 w 768492"/>
                <a:gd name="connsiteY49" fmla="*/ 15118 h 718099"/>
                <a:gd name="connsiteX50" fmla="*/ 337633 w 768492"/>
                <a:gd name="connsiteY50" fmla="*/ 15118 h 718099"/>
                <a:gd name="connsiteX51" fmla="*/ 326294 w 768492"/>
                <a:gd name="connsiteY51" fmla="*/ 17637 h 718099"/>
                <a:gd name="connsiteX52" fmla="*/ 302358 w 768492"/>
                <a:gd name="connsiteY52" fmla="*/ 26456 h 718099"/>
                <a:gd name="connsiteX53" fmla="*/ 289759 w 768492"/>
                <a:gd name="connsiteY53" fmla="*/ 32755 h 718099"/>
                <a:gd name="connsiteX54" fmla="*/ 289759 w 768492"/>
                <a:gd name="connsiteY54" fmla="*/ 32755 h 718099"/>
                <a:gd name="connsiteX55" fmla="*/ 282201 w 768492"/>
                <a:gd name="connsiteY55" fmla="*/ 36535 h 718099"/>
                <a:gd name="connsiteX56" fmla="*/ 262043 w 768492"/>
                <a:gd name="connsiteY56" fmla="*/ 46613 h 718099"/>
                <a:gd name="connsiteX57" fmla="*/ 250705 w 768492"/>
                <a:gd name="connsiteY57" fmla="*/ 54172 h 718099"/>
                <a:gd name="connsiteX58" fmla="*/ 241886 w 768492"/>
                <a:gd name="connsiteY58" fmla="*/ 61731 h 718099"/>
                <a:gd name="connsiteX59" fmla="*/ 225508 w 768492"/>
                <a:gd name="connsiteY59" fmla="*/ 76849 h 718099"/>
                <a:gd name="connsiteX60" fmla="*/ 220469 w 768492"/>
                <a:gd name="connsiteY60" fmla="*/ 83148 h 718099"/>
                <a:gd name="connsiteX61" fmla="*/ 212910 w 768492"/>
                <a:gd name="connsiteY61" fmla="*/ 88188 h 718099"/>
                <a:gd name="connsiteX62" fmla="*/ 204091 w 768492"/>
                <a:gd name="connsiteY62" fmla="*/ 95746 h 718099"/>
                <a:gd name="connsiteX63" fmla="*/ 197792 w 768492"/>
                <a:gd name="connsiteY63" fmla="*/ 103305 h 718099"/>
                <a:gd name="connsiteX64" fmla="*/ 183934 w 768492"/>
                <a:gd name="connsiteY64" fmla="*/ 117163 h 718099"/>
                <a:gd name="connsiteX65" fmla="*/ 178895 w 768492"/>
                <a:gd name="connsiteY65" fmla="*/ 122203 h 718099"/>
                <a:gd name="connsiteX66" fmla="*/ 177635 w 768492"/>
                <a:gd name="connsiteY66" fmla="*/ 123463 h 718099"/>
                <a:gd name="connsiteX67" fmla="*/ 176375 w 768492"/>
                <a:gd name="connsiteY67" fmla="*/ 124722 h 718099"/>
                <a:gd name="connsiteX68" fmla="*/ 167557 w 768492"/>
                <a:gd name="connsiteY68" fmla="*/ 133541 h 718099"/>
                <a:gd name="connsiteX69" fmla="*/ 154958 w 768492"/>
                <a:gd name="connsiteY69" fmla="*/ 146139 h 718099"/>
                <a:gd name="connsiteX70" fmla="*/ 151179 w 768492"/>
                <a:gd name="connsiteY70" fmla="*/ 149919 h 718099"/>
                <a:gd name="connsiteX71" fmla="*/ 141100 w 768492"/>
                <a:gd name="connsiteY71" fmla="*/ 159998 h 718099"/>
                <a:gd name="connsiteX72" fmla="*/ 136061 w 768492"/>
                <a:gd name="connsiteY72" fmla="*/ 165037 h 718099"/>
                <a:gd name="connsiteX73" fmla="*/ 124723 w 768492"/>
                <a:gd name="connsiteY73" fmla="*/ 177635 h 718099"/>
                <a:gd name="connsiteX74" fmla="*/ 120943 w 768492"/>
                <a:gd name="connsiteY74" fmla="*/ 181414 h 718099"/>
                <a:gd name="connsiteX75" fmla="*/ 115904 w 768492"/>
                <a:gd name="connsiteY75" fmla="*/ 186454 h 718099"/>
                <a:gd name="connsiteX76" fmla="*/ 115904 w 768492"/>
                <a:gd name="connsiteY76" fmla="*/ 186454 h 718099"/>
                <a:gd name="connsiteX77" fmla="*/ 105825 w 768492"/>
                <a:gd name="connsiteY77" fmla="*/ 197792 h 718099"/>
                <a:gd name="connsiteX78" fmla="*/ 94487 w 768492"/>
                <a:gd name="connsiteY78" fmla="*/ 212910 h 718099"/>
                <a:gd name="connsiteX79" fmla="*/ 93227 w 768492"/>
                <a:gd name="connsiteY79" fmla="*/ 214170 h 718099"/>
                <a:gd name="connsiteX80" fmla="*/ 90707 w 768492"/>
                <a:gd name="connsiteY80" fmla="*/ 216690 h 718099"/>
                <a:gd name="connsiteX81" fmla="*/ 78109 w 768492"/>
                <a:gd name="connsiteY81" fmla="*/ 234327 h 718099"/>
                <a:gd name="connsiteX82" fmla="*/ 76849 w 768492"/>
                <a:gd name="connsiteY82" fmla="*/ 235587 h 718099"/>
                <a:gd name="connsiteX83" fmla="*/ 70550 w 768492"/>
                <a:gd name="connsiteY83" fmla="*/ 244406 h 718099"/>
                <a:gd name="connsiteX84" fmla="*/ 66771 w 768492"/>
                <a:gd name="connsiteY84" fmla="*/ 249445 h 718099"/>
                <a:gd name="connsiteX85" fmla="*/ 66771 w 768492"/>
                <a:gd name="connsiteY85" fmla="*/ 249445 h 718099"/>
                <a:gd name="connsiteX86" fmla="*/ 64251 w 768492"/>
                <a:gd name="connsiteY86" fmla="*/ 253224 h 718099"/>
                <a:gd name="connsiteX87" fmla="*/ 51653 w 768492"/>
                <a:gd name="connsiteY87" fmla="*/ 270862 h 718099"/>
                <a:gd name="connsiteX88" fmla="*/ 31496 w 768492"/>
                <a:gd name="connsiteY88" fmla="*/ 301098 h 718099"/>
                <a:gd name="connsiteX89" fmla="*/ 27716 w 768492"/>
                <a:gd name="connsiteY89" fmla="*/ 307397 h 718099"/>
                <a:gd name="connsiteX90" fmla="*/ 25196 w 768492"/>
                <a:gd name="connsiteY90" fmla="*/ 311176 h 718099"/>
                <a:gd name="connsiteX91" fmla="*/ 17638 w 768492"/>
                <a:gd name="connsiteY91" fmla="*/ 325034 h 718099"/>
                <a:gd name="connsiteX92" fmla="*/ 16378 w 768492"/>
                <a:gd name="connsiteY92" fmla="*/ 327554 h 718099"/>
                <a:gd name="connsiteX93" fmla="*/ 16378 w 768492"/>
                <a:gd name="connsiteY93" fmla="*/ 327554 h 718099"/>
                <a:gd name="connsiteX94" fmla="*/ 13858 w 768492"/>
                <a:gd name="connsiteY94" fmla="*/ 332593 h 718099"/>
                <a:gd name="connsiteX95" fmla="*/ 10079 w 768492"/>
                <a:gd name="connsiteY95" fmla="*/ 342672 h 718099"/>
                <a:gd name="connsiteX96" fmla="*/ 10079 w 768492"/>
                <a:gd name="connsiteY96" fmla="*/ 342672 h 718099"/>
                <a:gd name="connsiteX97" fmla="*/ 6299 w 768492"/>
                <a:gd name="connsiteY97" fmla="*/ 351491 h 718099"/>
                <a:gd name="connsiteX98" fmla="*/ 3780 w 768492"/>
                <a:gd name="connsiteY98" fmla="*/ 360309 h 718099"/>
                <a:gd name="connsiteX99" fmla="*/ 0 w 768492"/>
                <a:gd name="connsiteY99" fmla="*/ 381726 h 718099"/>
                <a:gd name="connsiteX100" fmla="*/ 1260 w 768492"/>
                <a:gd name="connsiteY100" fmla="*/ 401884 h 718099"/>
                <a:gd name="connsiteX101" fmla="*/ 3780 w 768492"/>
                <a:gd name="connsiteY101" fmla="*/ 413222 h 718099"/>
                <a:gd name="connsiteX102" fmla="*/ 8819 w 768492"/>
                <a:gd name="connsiteY102" fmla="*/ 423301 h 718099"/>
                <a:gd name="connsiteX103" fmla="*/ 11338 w 768492"/>
                <a:gd name="connsiteY103" fmla="*/ 425820 h 718099"/>
                <a:gd name="connsiteX104" fmla="*/ 11338 w 768492"/>
                <a:gd name="connsiteY104" fmla="*/ 425820 h 718099"/>
                <a:gd name="connsiteX105" fmla="*/ 11338 w 768492"/>
                <a:gd name="connsiteY105" fmla="*/ 425820 h 718099"/>
                <a:gd name="connsiteX106" fmla="*/ 11338 w 768492"/>
                <a:gd name="connsiteY106" fmla="*/ 425820 h 718099"/>
                <a:gd name="connsiteX107" fmla="*/ 11338 w 768492"/>
                <a:gd name="connsiteY107" fmla="*/ 425820 h 718099"/>
                <a:gd name="connsiteX108" fmla="*/ 11338 w 768492"/>
                <a:gd name="connsiteY108" fmla="*/ 425820 h 718099"/>
                <a:gd name="connsiteX109" fmla="*/ 11338 w 768492"/>
                <a:gd name="connsiteY109" fmla="*/ 425820 h 718099"/>
                <a:gd name="connsiteX110" fmla="*/ 10079 w 768492"/>
                <a:gd name="connsiteY110" fmla="*/ 406923 h 718099"/>
                <a:gd name="connsiteX111" fmla="*/ 11338 w 768492"/>
                <a:gd name="connsiteY111" fmla="*/ 388025 h 718099"/>
                <a:gd name="connsiteX112" fmla="*/ 13858 w 768492"/>
                <a:gd name="connsiteY112" fmla="*/ 380467 h 718099"/>
                <a:gd name="connsiteX113" fmla="*/ 13858 w 768492"/>
                <a:gd name="connsiteY113" fmla="*/ 380467 h 718099"/>
                <a:gd name="connsiteX114" fmla="*/ 17638 w 768492"/>
                <a:gd name="connsiteY114" fmla="*/ 370388 h 718099"/>
                <a:gd name="connsiteX115" fmla="*/ 23937 w 768492"/>
                <a:gd name="connsiteY115" fmla="*/ 359050 h 718099"/>
                <a:gd name="connsiteX116" fmla="*/ 27716 w 768492"/>
                <a:gd name="connsiteY116" fmla="*/ 355270 h 718099"/>
                <a:gd name="connsiteX117" fmla="*/ 30236 w 768492"/>
                <a:gd name="connsiteY117" fmla="*/ 354010 h 718099"/>
                <a:gd name="connsiteX118" fmla="*/ 31496 w 768492"/>
                <a:gd name="connsiteY118" fmla="*/ 352751 h 718099"/>
                <a:gd name="connsiteX119" fmla="*/ 35275 w 768492"/>
                <a:gd name="connsiteY119" fmla="*/ 351491 h 718099"/>
                <a:gd name="connsiteX120" fmla="*/ 36535 w 768492"/>
                <a:gd name="connsiteY120" fmla="*/ 350231 h 718099"/>
                <a:gd name="connsiteX121" fmla="*/ 45354 w 768492"/>
                <a:gd name="connsiteY121" fmla="*/ 346451 h 718099"/>
                <a:gd name="connsiteX122" fmla="*/ 51653 w 768492"/>
                <a:gd name="connsiteY122" fmla="*/ 345192 h 718099"/>
                <a:gd name="connsiteX123" fmla="*/ 52913 w 768492"/>
                <a:gd name="connsiteY123" fmla="*/ 345192 h 718099"/>
                <a:gd name="connsiteX124" fmla="*/ 65511 w 768492"/>
                <a:gd name="connsiteY124" fmla="*/ 345192 h 718099"/>
                <a:gd name="connsiteX125" fmla="*/ 79369 w 768492"/>
                <a:gd name="connsiteY125" fmla="*/ 346451 h 718099"/>
                <a:gd name="connsiteX126" fmla="*/ 102046 w 768492"/>
                <a:gd name="connsiteY126" fmla="*/ 352751 h 718099"/>
                <a:gd name="connsiteX127" fmla="*/ 115904 w 768492"/>
                <a:gd name="connsiteY127" fmla="*/ 359050 h 718099"/>
                <a:gd name="connsiteX128" fmla="*/ 119683 w 768492"/>
                <a:gd name="connsiteY128" fmla="*/ 361569 h 718099"/>
                <a:gd name="connsiteX129" fmla="*/ 119683 w 768492"/>
                <a:gd name="connsiteY129" fmla="*/ 361569 h 718099"/>
                <a:gd name="connsiteX130" fmla="*/ 125982 w 768492"/>
                <a:gd name="connsiteY130" fmla="*/ 365349 h 718099"/>
                <a:gd name="connsiteX131" fmla="*/ 129762 w 768492"/>
                <a:gd name="connsiteY131" fmla="*/ 366608 h 718099"/>
                <a:gd name="connsiteX132" fmla="*/ 129762 w 768492"/>
                <a:gd name="connsiteY132" fmla="*/ 366608 h 718099"/>
                <a:gd name="connsiteX133" fmla="*/ 129762 w 768492"/>
                <a:gd name="connsiteY133" fmla="*/ 366608 h 718099"/>
                <a:gd name="connsiteX134" fmla="*/ 138581 w 768492"/>
                <a:gd name="connsiteY134" fmla="*/ 371648 h 718099"/>
                <a:gd name="connsiteX135" fmla="*/ 143620 w 768492"/>
                <a:gd name="connsiteY135" fmla="*/ 375427 h 718099"/>
                <a:gd name="connsiteX136" fmla="*/ 148659 w 768492"/>
                <a:gd name="connsiteY136" fmla="*/ 379207 h 718099"/>
                <a:gd name="connsiteX137" fmla="*/ 161257 w 768492"/>
                <a:gd name="connsiteY137" fmla="*/ 388025 h 718099"/>
                <a:gd name="connsiteX138" fmla="*/ 161257 w 768492"/>
                <a:gd name="connsiteY138" fmla="*/ 388025 h 718099"/>
                <a:gd name="connsiteX139" fmla="*/ 161257 w 768492"/>
                <a:gd name="connsiteY139" fmla="*/ 388025 h 718099"/>
                <a:gd name="connsiteX140" fmla="*/ 161257 w 768492"/>
                <a:gd name="connsiteY140" fmla="*/ 388025 h 718099"/>
                <a:gd name="connsiteX141" fmla="*/ 161257 w 768492"/>
                <a:gd name="connsiteY141" fmla="*/ 388025 h 718099"/>
                <a:gd name="connsiteX142" fmla="*/ 161257 w 768492"/>
                <a:gd name="connsiteY142" fmla="*/ 388025 h 718099"/>
                <a:gd name="connsiteX143" fmla="*/ 161257 w 768492"/>
                <a:gd name="connsiteY143" fmla="*/ 388025 h 718099"/>
                <a:gd name="connsiteX144" fmla="*/ 161257 w 768492"/>
                <a:gd name="connsiteY144" fmla="*/ 388025 h 718099"/>
                <a:gd name="connsiteX145" fmla="*/ 161257 w 768492"/>
                <a:gd name="connsiteY145" fmla="*/ 388025 h 718099"/>
                <a:gd name="connsiteX146" fmla="*/ 161257 w 768492"/>
                <a:gd name="connsiteY146" fmla="*/ 388025 h 718099"/>
                <a:gd name="connsiteX147" fmla="*/ 161257 w 768492"/>
                <a:gd name="connsiteY147" fmla="*/ 388025 h 718099"/>
                <a:gd name="connsiteX148" fmla="*/ 162517 w 768492"/>
                <a:gd name="connsiteY148" fmla="*/ 388025 h 718099"/>
                <a:gd name="connsiteX149" fmla="*/ 166297 w 768492"/>
                <a:gd name="connsiteY149" fmla="*/ 390545 h 718099"/>
                <a:gd name="connsiteX150" fmla="*/ 162517 w 768492"/>
                <a:gd name="connsiteY150" fmla="*/ 388025 h 718099"/>
                <a:gd name="connsiteX151" fmla="*/ 166297 w 768492"/>
                <a:gd name="connsiteY151" fmla="*/ 390545 h 718099"/>
                <a:gd name="connsiteX152" fmla="*/ 166297 w 768492"/>
                <a:gd name="connsiteY152" fmla="*/ 390545 h 718099"/>
                <a:gd name="connsiteX153" fmla="*/ 166297 w 768492"/>
                <a:gd name="connsiteY153" fmla="*/ 390545 h 718099"/>
                <a:gd name="connsiteX154" fmla="*/ 166297 w 768492"/>
                <a:gd name="connsiteY154" fmla="*/ 390545 h 718099"/>
                <a:gd name="connsiteX155" fmla="*/ 166297 w 768492"/>
                <a:gd name="connsiteY155" fmla="*/ 390545 h 718099"/>
                <a:gd name="connsiteX156" fmla="*/ 166297 w 768492"/>
                <a:gd name="connsiteY156" fmla="*/ 390545 h 718099"/>
                <a:gd name="connsiteX157" fmla="*/ 166297 w 768492"/>
                <a:gd name="connsiteY157" fmla="*/ 390545 h 718099"/>
                <a:gd name="connsiteX158" fmla="*/ 166297 w 768492"/>
                <a:gd name="connsiteY158" fmla="*/ 390545 h 718099"/>
                <a:gd name="connsiteX159" fmla="*/ 166297 w 768492"/>
                <a:gd name="connsiteY159" fmla="*/ 390545 h 718099"/>
                <a:gd name="connsiteX160" fmla="*/ 166297 w 768492"/>
                <a:gd name="connsiteY160" fmla="*/ 390545 h 718099"/>
                <a:gd name="connsiteX161" fmla="*/ 167557 w 768492"/>
                <a:gd name="connsiteY161" fmla="*/ 388025 h 718099"/>
                <a:gd name="connsiteX162" fmla="*/ 168816 w 768492"/>
                <a:gd name="connsiteY162" fmla="*/ 386766 h 718099"/>
                <a:gd name="connsiteX163" fmla="*/ 173856 w 768492"/>
                <a:gd name="connsiteY163" fmla="*/ 380467 h 718099"/>
                <a:gd name="connsiteX164" fmla="*/ 186454 w 768492"/>
                <a:gd name="connsiteY164" fmla="*/ 362829 h 718099"/>
                <a:gd name="connsiteX165" fmla="*/ 196533 w 768492"/>
                <a:gd name="connsiteY165" fmla="*/ 347711 h 718099"/>
                <a:gd name="connsiteX166" fmla="*/ 196533 w 768492"/>
                <a:gd name="connsiteY166" fmla="*/ 346451 h 718099"/>
                <a:gd name="connsiteX167" fmla="*/ 210391 w 768492"/>
                <a:gd name="connsiteY167" fmla="*/ 326294 h 718099"/>
                <a:gd name="connsiteX168" fmla="*/ 219209 w 768492"/>
                <a:gd name="connsiteY168" fmla="*/ 313696 h 718099"/>
                <a:gd name="connsiteX169" fmla="*/ 219209 w 768492"/>
                <a:gd name="connsiteY169" fmla="*/ 313696 h 718099"/>
                <a:gd name="connsiteX170" fmla="*/ 220469 w 768492"/>
                <a:gd name="connsiteY170" fmla="*/ 312436 h 718099"/>
                <a:gd name="connsiteX171" fmla="*/ 222989 w 768492"/>
                <a:gd name="connsiteY171" fmla="*/ 308657 h 718099"/>
                <a:gd name="connsiteX172" fmla="*/ 222989 w 768492"/>
                <a:gd name="connsiteY172" fmla="*/ 307397 h 718099"/>
                <a:gd name="connsiteX173" fmla="*/ 228028 w 768492"/>
                <a:gd name="connsiteY173" fmla="*/ 299838 h 718099"/>
                <a:gd name="connsiteX174" fmla="*/ 235587 w 768492"/>
                <a:gd name="connsiteY174" fmla="*/ 291019 h 718099"/>
                <a:gd name="connsiteX175" fmla="*/ 240626 w 768492"/>
                <a:gd name="connsiteY175" fmla="*/ 284720 h 718099"/>
                <a:gd name="connsiteX176" fmla="*/ 248185 w 768492"/>
                <a:gd name="connsiteY176" fmla="*/ 275901 h 718099"/>
                <a:gd name="connsiteX177" fmla="*/ 255744 w 768492"/>
                <a:gd name="connsiteY177" fmla="*/ 265823 h 718099"/>
                <a:gd name="connsiteX178" fmla="*/ 257004 w 768492"/>
                <a:gd name="connsiteY178" fmla="*/ 264563 h 718099"/>
                <a:gd name="connsiteX179" fmla="*/ 257004 w 768492"/>
                <a:gd name="connsiteY179" fmla="*/ 264563 h 718099"/>
                <a:gd name="connsiteX180" fmla="*/ 257004 w 768492"/>
                <a:gd name="connsiteY180" fmla="*/ 264563 h 718099"/>
                <a:gd name="connsiteX181" fmla="*/ 257004 w 768492"/>
                <a:gd name="connsiteY181" fmla="*/ 264563 h 718099"/>
                <a:gd name="connsiteX182" fmla="*/ 257004 w 768492"/>
                <a:gd name="connsiteY182" fmla="*/ 264563 h 718099"/>
                <a:gd name="connsiteX183" fmla="*/ 258264 w 768492"/>
                <a:gd name="connsiteY183" fmla="*/ 262043 h 718099"/>
                <a:gd name="connsiteX184" fmla="*/ 260783 w 768492"/>
                <a:gd name="connsiteY184" fmla="*/ 259523 h 718099"/>
                <a:gd name="connsiteX185" fmla="*/ 260783 w 768492"/>
                <a:gd name="connsiteY185" fmla="*/ 259523 h 718099"/>
                <a:gd name="connsiteX186" fmla="*/ 262043 w 768492"/>
                <a:gd name="connsiteY186" fmla="*/ 258264 h 718099"/>
                <a:gd name="connsiteX187" fmla="*/ 262043 w 768492"/>
                <a:gd name="connsiteY187" fmla="*/ 258264 h 718099"/>
                <a:gd name="connsiteX188" fmla="*/ 264563 w 768492"/>
                <a:gd name="connsiteY188" fmla="*/ 255744 h 718099"/>
                <a:gd name="connsiteX189" fmla="*/ 264563 w 768492"/>
                <a:gd name="connsiteY189" fmla="*/ 255744 h 718099"/>
                <a:gd name="connsiteX190" fmla="*/ 264563 w 768492"/>
                <a:gd name="connsiteY190" fmla="*/ 255744 h 718099"/>
                <a:gd name="connsiteX191" fmla="*/ 264563 w 768492"/>
                <a:gd name="connsiteY191" fmla="*/ 254484 h 718099"/>
                <a:gd name="connsiteX192" fmla="*/ 265823 w 768492"/>
                <a:gd name="connsiteY192" fmla="*/ 253224 h 718099"/>
                <a:gd name="connsiteX193" fmla="*/ 267083 w 768492"/>
                <a:gd name="connsiteY193" fmla="*/ 251965 h 718099"/>
                <a:gd name="connsiteX194" fmla="*/ 268342 w 768492"/>
                <a:gd name="connsiteY194" fmla="*/ 250705 h 718099"/>
                <a:gd name="connsiteX195" fmla="*/ 269602 w 768492"/>
                <a:gd name="connsiteY195" fmla="*/ 249445 h 718099"/>
                <a:gd name="connsiteX196" fmla="*/ 270862 w 768492"/>
                <a:gd name="connsiteY196" fmla="*/ 246925 h 718099"/>
                <a:gd name="connsiteX197" fmla="*/ 270862 w 768492"/>
                <a:gd name="connsiteY197" fmla="*/ 245666 h 718099"/>
                <a:gd name="connsiteX198" fmla="*/ 272122 w 768492"/>
                <a:gd name="connsiteY198" fmla="*/ 244406 h 718099"/>
                <a:gd name="connsiteX199" fmla="*/ 273382 w 768492"/>
                <a:gd name="connsiteY199" fmla="*/ 243146 h 718099"/>
                <a:gd name="connsiteX200" fmla="*/ 275901 w 768492"/>
                <a:gd name="connsiteY200" fmla="*/ 239366 h 718099"/>
                <a:gd name="connsiteX201" fmla="*/ 277161 w 768492"/>
                <a:gd name="connsiteY201" fmla="*/ 238107 h 718099"/>
                <a:gd name="connsiteX202" fmla="*/ 278421 w 768492"/>
                <a:gd name="connsiteY202" fmla="*/ 236847 h 718099"/>
                <a:gd name="connsiteX203" fmla="*/ 278421 w 768492"/>
                <a:gd name="connsiteY203" fmla="*/ 236847 h 718099"/>
                <a:gd name="connsiteX204" fmla="*/ 279681 w 768492"/>
                <a:gd name="connsiteY204" fmla="*/ 235587 h 718099"/>
                <a:gd name="connsiteX205" fmla="*/ 282201 w 768492"/>
                <a:gd name="connsiteY205" fmla="*/ 234327 h 718099"/>
                <a:gd name="connsiteX206" fmla="*/ 284720 w 768492"/>
                <a:gd name="connsiteY206" fmla="*/ 231807 h 718099"/>
                <a:gd name="connsiteX207" fmla="*/ 284720 w 768492"/>
                <a:gd name="connsiteY207" fmla="*/ 231807 h 718099"/>
                <a:gd name="connsiteX208" fmla="*/ 285980 w 768492"/>
                <a:gd name="connsiteY208" fmla="*/ 230548 h 718099"/>
                <a:gd name="connsiteX209" fmla="*/ 288500 w 768492"/>
                <a:gd name="connsiteY209" fmla="*/ 228028 h 718099"/>
                <a:gd name="connsiteX210" fmla="*/ 291019 w 768492"/>
                <a:gd name="connsiteY210" fmla="*/ 225508 h 718099"/>
                <a:gd name="connsiteX211" fmla="*/ 291019 w 768492"/>
                <a:gd name="connsiteY211" fmla="*/ 225508 h 718099"/>
                <a:gd name="connsiteX212" fmla="*/ 291019 w 768492"/>
                <a:gd name="connsiteY212" fmla="*/ 225508 h 718099"/>
                <a:gd name="connsiteX213" fmla="*/ 291019 w 768492"/>
                <a:gd name="connsiteY213" fmla="*/ 225508 h 718099"/>
                <a:gd name="connsiteX214" fmla="*/ 291019 w 768492"/>
                <a:gd name="connsiteY214" fmla="*/ 225508 h 718099"/>
                <a:gd name="connsiteX215" fmla="*/ 291019 w 768492"/>
                <a:gd name="connsiteY215" fmla="*/ 225508 h 718099"/>
                <a:gd name="connsiteX216" fmla="*/ 292279 w 768492"/>
                <a:gd name="connsiteY216" fmla="*/ 224248 h 718099"/>
                <a:gd name="connsiteX217" fmla="*/ 293539 w 768492"/>
                <a:gd name="connsiteY217" fmla="*/ 222989 h 718099"/>
                <a:gd name="connsiteX218" fmla="*/ 293539 w 768492"/>
                <a:gd name="connsiteY218" fmla="*/ 222989 h 718099"/>
                <a:gd name="connsiteX219" fmla="*/ 296058 w 768492"/>
                <a:gd name="connsiteY219" fmla="*/ 220469 h 718099"/>
                <a:gd name="connsiteX220" fmla="*/ 296058 w 768492"/>
                <a:gd name="connsiteY220" fmla="*/ 220469 h 718099"/>
                <a:gd name="connsiteX221" fmla="*/ 298578 w 768492"/>
                <a:gd name="connsiteY221" fmla="*/ 219209 h 718099"/>
                <a:gd name="connsiteX222" fmla="*/ 298578 w 768492"/>
                <a:gd name="connsiteY222" fmla="*/ 219209 h 718099"/>
                <a:gd name="connsiteX223" fmla="*/ 298578 w 768492"/>
                <a:gd name="connsiteY223" fmla="*/ 219209 h 718099"/>
                <a:gd name="connsiteX224" fmla="*/ 299838 w 768492"/>
                <a:gd name="connsiteY224" fmla="*/ 217949 h 718099"/>
                <a:gd name="connsiteX225" fmla="*/ 299838 w 768492"/>
                <a:gd name="connsiteY225" fmla="*/ 217949 h 718099"/>
                <a:gd name="connsiteX226" fmla="*/ 299838 w 768492"/>
                <a:gd name="connsiteY226" fmla="*/ 217949 h 718099"/>
                <a:gd name="connsiteX227" fmla="*/ 299838 w 768492"/>
                <a:gd name="connsiteY227" fmla="*/ 217949 h 718099"/>
                <a:gd name="connsiteX228" fmla="*/ 299838 w 768492"/>
                <a:gd name="connsiteY228" fmla="*/ 217949 h 718099"/>
                <a:gd name="connsiteX229" fmla="*/ 301098 w 768492"/>
                <a:gd name="connsiteY229" fmla="*/ 217949 h 718099"/>
                <a:gd name="connsiteX230" fmla="*/ 301098 w 768492"/>
                <a:gd name="connsiteY230" fmla="*/ 217949 h 718099"/>
                <a:gd name="connsiteX231" fmla="*/ 301098 w 768492"/>
                <a:gd name="connsiteY231" fmla="*/ 217949 h 718099"/>
                <a:gd name="connsiteX232" fmla="*/ 301098 w 768492"/>
                <a:gd name="connsiteY232" fmla="*/ 217949 h 718099"/>
                <a:gd name="connsiteX233" fmla="*/ 301098 w 768492"/>
                <a:gd name="connsiteY233" fmla="*/ 217949 h 718099"/>
                <a:gd name="connsiteX234" fmla="*/ 301098 w 768492"/>
                <a:gd name="connsiteY234" fmla="*/ 219209 h 718099"/>
                <a:gd name="connsiteX235" fmla="*/ 301098 w 768492"/>
                <a:gd name="connsiteY235" fmla="*/ 219209 h 718099"/>
                <a:gd name="connsiteX236" fmla="*/ 301098 w 768492"/>
                <a:gd name="connsiteY236" fmla="*/ 219209 h 718099"/>
                <a:gd name="connsiteX237" fmla="*/ 301098 w 768492"/>
                <a:gd name="connsiteY237" fmla="*/ 220469 h 718099"/>
                <a:gd name="connsiteX238" fmla="*/ 301098 w 768492"/>
                <a:gd name="connsiteY238" fmla="*/ 220469 h 718099"/>
                <a:gd name="connsiteX239" fmla="*/ 301098 w 768492"/>
                <a:gd name="connsiteY239" fmla="*/ 222989 h 718099"/>
                <a:gd name="connsiteX240" fmla="*/ 301098 w 768492"/>
                <a:gd name="connsiteY240" fmla="*/ 225508 h 718099"/>
                <a:gd name="connsiteX241" fmla="*/ 301098 w 768492"/>
                <a:gd name="connsiteY241" fmla="*/ 226768 h 718099"/>
                <a:gd name="connsiteX242" fmla="*/ 301098 w 768492"/>
                <a:gd name="connsiteY242" fmla="*/ 228028 h 718099"/>
                <a:gd name="connsiteX243" fmla="*/ 301098 w 768492"/>
                <a:gd name="connsiteY243" fmla="*/ 231807 h 718099"/>
                <a:gd name="connsiteX244" fmla="*/ 301098 w 768492"/>
                <a:gd name="connsiteY244" fmla="*/ 234327 h 718099"/>
                <a:gd name="connsiteX245" fmla="*/ 301098 w 768492"/>
                <a:gd name="connsiteY245" fmla="*/ 235587 h 718099"/>
                <a:gd name="connsiteX246" fmla="*/ 299838 w 768492"/>
                <a:gd name="connsiteY246" fmla="*/ 239366 h 718099"/>
                <a:gd name="connsiteX247" fmla="*/ 299838 w 768492"/>
                <a:gd name="connsiteY247" fmla="*/ 240626 h 718099"/>
                <a:gd name="connsiteX248" fmla="*/ 299838 w 768492"/>
                <a:gd name="connsiteY248" fmla="*/ 243146 h 718099"/>
                <a:gd name="connsiteX249" fmla="*/ 299838 w 768492"/>
                <a:gd name="connsiteY249" fmla="*/ 243146 h 718099"/>
                <a:gd name="connsiteX250" fmla="*/ 299838 w 768492"/>
                <a:gd name="connsiteY250" fmla="*/ 243146 h 718099"/>
                <a:gd name="connsiteX251" fmla="*/ 299838 w 768492"/>
                <a:gd name="connsiteY251" fmla="*/ 244406 h 718099"/>
                <a:gd name="connsiteX252" fmla="*/ 299838 w 768492"/>
                <a:gd name="connsiteY252" fmla="*/ 244406 h 718099"/>
                <a:gd name="connsiteX253" fmla="*/ 299838 w 768492"/>
                <a:gd name="connsiteY253" fmla="*/ 245666 h 718099"/>
                <a:gd name="connsiteX254" fmla="*/ 299838 w 768492"/>
                <a:gd name="connsiteY254" fmla="*/ 246925 h 718099"/>
                <a:gd name="connsiteX255" fmla="*/ 299838 w 768492"/>
                <a:gd name="connsiteY255" fmla="*/ 248185 h 718099"/>
                <a:gd name="connsiteX256" fmla="*/ 298578 w 768492"/>
                <a:gd name="connsiteY256" fmla="*/ 250705 h 718099"/>
                <a:gd name="connsiteX257" fmla="*/ 298578 w 768492"/>
                <a:gd name="connsiteY257" fmla="*/ 251965 h 718099"/>
                <a:gd name="connsiteX258" fmla="*/ 298578 w 768492"/>
                <a:gd name="connsiteY258" fmla="*/ 251965 h 718099"/>
                <a:gd name="connsiteX259" fmla="*/ 297318 w 768492"/>
                <a:gd name="connsiteY259" fmla="*/ 254484 h 718099"/>
                <a:gd name="connsiteX260" fmla="*/ 297318 w 768492"/>
                <a:gd name="connsiteY260" fmla="*/ 257004 h 718099"/>
                <a:gd name="connsiteX261" fmla="*/ 294799 w 768492"/>
                <a:gd name="connsiteY261" fmla="*/ 268342 h 718099"/>
                <a:gd name="connsiteX262" fmla="*/ 293539 w 768492"/>
                <a:gd name="connsiteY262" fmla="*/ 272122 h 718099"/>
                <a:gd name="connsiteX263" fmla="*/ 293539 w 768492"/>
                <a:gd name="connsiteY263" fmla="*/ 273382 h 718099"/>
                <a:gd name="connsiteX264" fmla="*/ 292279 w 768492"/>
                <a:gd name="connsiteY264" fmla="*/ 277161 h 718099"/>
                <a:gd name="connsiteX265" fmla="*/ 292279 w 768492"/>
                <a:gd name="connsiteY265" fmla="*/ 279681 h 718099"/>
                <a:gd name="connsiteX266" fmla="*/ 292279 w 768492"/>
                <a:gd name="connsiteY266" fmla="*/ 282200 h 718099"/>
                <a:gd name="connsiteX267" fmla="*/ 291019 w 768492"/>
                <a:gd name="connsiteY267" fmla="*/ 284720 h 718099"/>
                <a:gd name="connsiteX268" fmla="*/ 291019 w 768492"/>
                <a:gd name="connsiteY268" fmla="*/ 285980 h 718099"/>
                <a:gd name="connsiteX269" fmla="*/ 291019 w 768492"/>
                <a:gd name="connsiteY269" fmla="*/ 287240 h 718099"/>
                <a:gd name="connsiteX270" fmla="*/ 289759 w 768492"/>
                <a:gd name="connsiteY270" fmla="*/ 291019 h 718099"/>
                <a:gd name="connsiteX271" fmla="*/ 289759 w 768492"/>
                <a:gd name="connsiteY271" fmla="*/ 291019 h 718099"/>
                <a:gd name="connsiteX272" fmla="*/ 289759 w 768492"/>
                <a:gd name="connsiteY272" fmla="*/ 292279 h 718099"/>
                <a:gd name="connsiteX273" fmla="*/ 289759 w 768492"/>
                <a:gd name="connsiteY273" fmla="*/ 293539 h 718099"/>
                <a:gd name="connsiteX274" fmla="*/ 289759 w 768492"/>
                <a:gd name="connsiteY274" fmla="*/ 297318 h 718099"/>
                <a:gd name="connsiteX275" fmla="*/ 288500 w 768492"/>
                <a:gd name="connsiteY275" fmla="*/ 303617 h 718099"/>
                <a:gd name="connsiteX276" fmla="*/ 288500 w 768492"/>
                <a:gd name="connsiteY276" fmla="*/ 304877 h 718099"/>
                <a:gd name="connsiteX277" fmla="*/ 285980 w 768492"/>
                <a:gd name="connsiteY277" fmla="*/ 319995 h 718099"/>
                <a:gd name="connsiteX278" fmla="*/ 284720 w 768492"/>
                <a:gd name="connsiteY278" fmla="*/ 330074 h 718099"/>
                <a:gd name="connsiteX279" fmla="*/ 283460 w 768492"/>
                <a:gd name="connsiteY279" fmla="*/ 335113 h 718099"/>
                <a:gd name="connsiteX280" fmla="*/ 283460 w 768492"/>
                <a:gd name="connsiteY280" fmla="*/ 335113 h 718099"/>
                <a:gd name="connsiteX281" fmla="*/ 283460 w 768492"/>
                <a:gd name="connsiteY281" fmla="*/ 335113 h 718099"/>
                <a:gd name="connsiteX282" fmla="*/ 283460 w 768492"/>
                <a:gd name="connsiteY282" fmla="*/ 336373 h 718099"/>
                <a:gd name="connsiteX283" fmla="*/ 283460 w 768492"/>
                <a:gd name="connsiteY283" fmla="*/ 337633 h 718099"/>
                <a:gd name="connsiteX284" fmla="*/ 283460 w 768492"/>
                <a:gd name="connsiteY284" fmla="*/ 337633 h 718099"/>
                <a:gd name="connsiteX285" fmla="*/ 283460 w 768492"/>
                <a:gd name="connsiteY285" fmla="*/ 337633 h 718099"/>
                <a:gd name="connsiteX286" fmla="*/ 283460 w 768492"/>
                <a:gd name="connsiteY286" fmla="*/ 340152 h 718099"/>
                <a:gd name="connsiteX287" fmla="*/ 282201 w 768492"/>
                <a:gd name="connsiteY287" fmla="*/ 345192 h 718099"/>
                <a:gd name="connsiteX288" fmla="*/ 282201 w 768492"/>
                <a:gd name="connsiteY288" fmla="*/ 346451 h 718099"/>
                <a:gd name="connsiteX289" fmla="*/ 280941 w 768492"/>
                <a:gd name="connsiteY289" fmla="*/ 351491 h 718099"/>
                <a:gd name="connsiteX290" fmla="*/ 279681 w 768492"/>
                <a:gd name="connsiteY290" fmla="*/ 361569 h 718099"/>
                <a:gd name="connsiteX291" fmla="*/ 278421 w 768492"/>
                <a:gd name="connsiteY291" fmla="*/ 372908 h 718099"/>
                <a:gd name="connsiteX292" fmla="*/ 277161 w 768492"/>
                <a:gd name="connsiteY292" fmla="*/ 376687 h 718099"/>
                <a:gd name="connsiteX293" fmla="*/ 277161 w 768492"/>
                <a:gd name="connsiteY293" fmla="*/ 376687 h 718099"/>
                <a:gd name="connsiteX294" fmla="*/ 277161 w 768492"/>
                <a:gd name="connsiteY294" fmla="*/ 376687 h 718099"/>
                <a:gd name="connsiteX295" fmla="*/ 277161 w 768492"/>
                <a:gd name="connsiteY295" fmla="*/ 376687 h 718099"/>
                <a:gd name="connsiteX296" fmla="*/ 277161 w 768492"/>
                <a:gd name="connsiteY296" fmla="*/ 379207 h 718099"/>
                <a:gd name="connsiteX297" fmla="*/ 277161 w 768492"/>
                <a:gd name="connsiteY297" fmla="*/ 381726 h 718099"/>
                <a:gd name="connsiteX298" fmla="*/ 277161 w 768492"/>
                <a:gd name="connsiteY298" fmla="*/ 382986 h 718099"/>
                <a:gd name="connsiteX299" fmla="*/ 275901 w 768492"/>
                <a:gd name="connsiteY299" fmla="*/ 391805 h 718099"/>
                <a:gd name="connsiteX300" fmla="*/ 275901 w 768492"/>
                <a:gd name="connsiteY300" fmla="*/ 391805 h 718099"/>
                <a:gd name="connsiteX301" fmla="*/ 275901 w 768492"/>
                <a:gd name="connsiteY301" fmla="*/ 391805 h 718099"/>
                <a:gd name="connsiteX302" fmla="*/ 274642 w 768492"/>
                <a:gd name="connsiteY302" fmla="*/ 395584 h 718099"/>
                <a:gd name="connsiteX303" fmla="*/ 274642 w 768492"/>
                <a:gd name="connsiteY303" fmla="*/ 396844 h 718099"/>
                <a:gd name="connsiteX304" fmla="*/ 274642 w 768492"/>
                <a:gd name="connsiteY304" fmla="*/ 396844 h 718099"/>
                <a:gd name="connsiteX305" fmla="*/ 273382 w 768492"/>
                <a:gd name="connsiteY305" fmla="*/ 401884 h 718099"/>
                <a:gd name="connsiteX306" fmla="*/ 273382 w 768492"/>
                <a:gd name="connsiteY306" fmla="*/ 401884 h 718099"/>
                <a:gd name="connsiteX307" fmla="*/ 272122 w 768492"/>
                <a:gd name="connsiteY307" fmla="*/ 403143 h 718099"/>
                <a:gd name="connsiteX308" fmla="*/ 270862 w 768492"/>
                <a:gd name="connsiteY308" fmla="*/ 403143 h 718099"/>
                <a:gd name="connsiteX309" fmla="*/ 269602 w 768492"/>
                <a:gd name="connsiteY309" fmla="*/ 403143 h 718099"/>
                <a:gd name="connsiteX310" fmla="*/ 268342 w 768492"/>
                <a:gd name="connsiteY310" fmla="*/ 403143 h 718099"/>
                <a:gd name="connsiteX311" fmla="*/ 268342 w 768492"/>
                <a:gd name="connsiteY311" fmla="*/ 403143 h 718099"/>
                <a:gd name="connsiteX312" fmla="*/ 267083 w 768492"/>
                <a:gd name="connsiteY312" fmla="*/ 401884 h 718099"/>
                <a:gd name="connsiteX313" fmla="*/ 267083 w 768492"/>
                <a:gd name="connsiteY313" fmla="*/ 401884 h 718099"/>
                <a:gd name="connsiteX314" fmla="*/ 267083 w 768492"/>
                <a:gd name="connsiteY314" fmla="*/ 410702 h 718099"/>
                <a:gd name="connsiteX315" fmla="*/ 267083 w 768492"/>
                <a:gd name="connsiteY315" fmla="*/ 415742 h 718099"/>
                <a:gd name="connsiteX316" fmla="*/ 267083 w 768492"/>
                <a:gd name="connsiteY316" fmla="*/ 417001 h 718099"/>
                <a:gd name="connsiteX317" fmla="*/ 267083 w 768492"/>
                <a:gd name="connsiteY317" fmla="*/ 418261 h 718099"/>
                <a:gd name="connsiteX318" fmla="*/ 267083 w 768492"/>
                <a:gd name="connsiteY318" fmla="*/ 419521 h 718099"/>
                <a:gd name="connsiteX319" fmla="*/ 267083 w 768492"/>
                <a:gd name="connsiteY319" fmla="*/ 420781 h 718099"/>
                <a:gd name="connsiteX320" fmla="*/ 267083 w 768492"/>
                <a:gd name="connsiteY320" fmla="*/ 427080 h 718099"/>
                <a:gd name="connsiteX321" fmla="*/ 267083 w 768492"/>
                <a:gd name="connsiteY321" fmla="*/ 429600 h 718099"/>
                <a:gd name="connsiteX322" fmla="*/ 267083 w 768492"/>
                <a:gd name="connsiteY322" fmla="*/ 432119 h 718099"/>
                <a:gd name="connsiteX323" fmla="*/ 267083 w 768492"/>
                <a:gd name="connsiteY323" fmla="*/ 434639 h 718099"/>
                <a:gd name="connsiteX324" fmla="*/ 268342 w 768492"/>
                <a:gd name="connsiteY324" fmla="*/ 452277 h 718099"/>
                <a:gd name="connsiteX325" fmla="*/ 269602 w 768492"/>
                <a:gd name="connsiteY325" fmla="*/ 476213 h 718099"/>
                <a:gd name="connsiteX326" fmla="*/ 269602 w 768492"/>
                <a:gd name="connsiteY326" fmla="*/ 476213 h 718099"/>
                <a:gd name="connsiteX327" fmla="*/ 269602 w 768492"/>
                <a:gd name="connsiteY327" fmla="*/ 476213 h 718099"/>
                <a:gd name="connsiteX328" fmla="*/ 269602 w 768492"/>
                <a:gd name="connsiteY328" fmla="*/ 476213 h 718099"/>
                <a:gd name="connsiteX329" fmla="*/ 278421 w 768492"/>
                <a:gd name="connsiteY329" fmla="*/ 483772 h 718099"/>
                <a:gd name="connsiteX330" fmla="*/ 285980 w 768492"/>
                <a:gd name="connsiteY330" fmla="*/ 490071 h 718099"/>
                <a:gd name="connsiteX331" fmla="*/ 304877 w 768492"/>
                <a:gd name="connsiteY331" fmla="*/ 508969 h 718099"/>
                <a:gd name="connsiteX332" fmla="*/ 307397 w 768492"/>
                <a:gd name="connsiteY332" fmla="*/ 511488 h 718099"/>
                <a:gd name="connsiteX333" fmla="*/ 308657 w 768492"/>
                <a:gd name="connsiteY333" fmla="*/ 512748 h 718099"/>
                <a:gd name="connsiteX334" fmla="*/ 309917 w 768492"/>
                <a:gd name="connsiteY334" fmla="*/ 515268 h 718099"/>
                <a:gd name="connsiteX335" fmla="*/ 309917 w 768492"/>
                <a:gd name="connsiteY335" fmla="*/ 515268 h 718099"/>
                <a:gd name="connsiteX336" fmla="*/ 309917 w 768492"/>
                <a:gd name="connsiteY336" fmla="*/ 515268 h 718099"/>
                <a:gd name="connsiteX337" fmla="*/ 318735 w 768492"/>
                <a:gd name="connsiteY337" fmla="*/ 524086 h 718099"/>
                <a:gd name="connsiteX338" fmla="*/ 319995 w 768492"/>
                <a:gd name="connsiteY338" fmla="*/ 525346 h 718099"/>
                <a:gd name="connsiteX339" fmla="*/ 322515 w 768492"/>
                <a:gd name="connsiteY339" fmla="*/ 527866 h 718099"/>
                <a:gd name="connsiteX340" fmla="*/ 319995 w 768492"/>
                <a:gd name="connsiteY340" fmla="*/ 525346 h 718099"/>
                <a:gd name="connsiteX341" fmla="*/ 318735 w 768492"/>
                <a:gd name="connsiteY341" fmla="*/ 524086 h 718099"/>
                <a:gd name="connsiteX342" fmla="*/ 313696 w 768492"/>
                <a:gd name="connsiteY342" fmla="*/ 517787 h 718099"/>
                <a:gd name="connsiteX343" fmla="*/ 328814 w 768492"/>
                <a:gd name="connsiteY343" fmla="*/ 535425 h 718099"/>
                <a:gd name="connsiteX344" fmla="*/ 333853 w 768492"/>
                <a:gd name="connsiteY344" fmla="*/ 541724 h 718099"/>
                <a:gd name="connsiteX345" fmla="*/ 332593 w 768492"/>
                <a:gd name="connsiteY345" fmla="*/ 539204 h 718099"/>
                <a:gd name="connsiteX346" fmla="*/ 330074 w 768492"/>
                <a:gd name="connsiteY346" fmla="*/ 536685 h 718099"/>
                <a:gd name="connsiteX347" fmla="*/ 340152 w 768492"/>
                <a:gd name="connsiteY347" fmla="*/ 550543 h 718099"/>
                <a:gd name="connsiteX348" fmla="*/ 340152 w 768492"/>
                <a:gd name="connsiteY348" fmla="*/ 550543 h 718099"/>
                <a:gd name="connsiteX349" fmla="*/ 347711 w 768492"/>
                <a:gd name="connsiteY349" fmla="*/ 561881 h 718099"/>
                <a:gd name="connsiteX350" fmla="*/ 350231 w 768492"/>
                <a:gd name="connsiteY350" fmla="*/ 565661 h 718099"/>
                <a:gd name="connsiteX351" fmla="*/ 350231 w 768492"/>
                <a:gd name="connsiteY351" fmla="*/ 565661 h 718099"/>
                <a:gd name="connsiteX352" fmla="*/ 354010 w 768492"/>
                <a:gd name="connsiteY352" fmla="*/ 571960 h 718099"/>
                <a:gd name="connsiteX353" fmla="*/ 351491 w 768492"/>
                <a:gd name="connsiteY353" fmla="*/ 568180 h 718099"/>
                <a:gd name="connsiteX354" fmla="*/ 356530 w 768492"/>
                <a:gd name="connsiteY354" fmla="*/ 575739 h 718099"/>
                <a:gd name="connsiteX355" fmla="*/ 356530 w 768492"/>
                <a:gd name="connsiteY355" fmla="*/ 575739 h 718099"/>
                <a:gd name="connsiteX356" fmla="*/ 355270 w 768492"/>
                <a:gd name="connsiteY356" fmla="*/ 573220 h 718099"/>
                <a:gd name="connsiteX357" fmla="*/ 357790 w 768492"/>
                <a:gd name="connsiteY357" fmla="*/ 576999 h 718099"/>
                <a:gd name="connsiteX358" fmla="*/ 359050 w 768492"/>
                <a:gd name="connsiteY358" fmla="*/ 578259 h 718099"/>
                <a:gd name="connsiteX359" fmla="*/ 364089 w 768492"/>
                <a:gd name="connsiteY359" fmla="*/ 587078 h 718099"/>
                <a:gd name="connsiteX360" fmla="*/ 364089 w 768492"/>
                <a:gd name="connsiteY360" fmla="*/ 587078 h 718099"/>
                <a:gd name="connsiteX361" fmla="*/ 366609 w 768492"/>
                <a:gd name="connsiteY361" fmla="*/ 592117 h 718099"/>
                <a:gd name="connsiteX362" fmla="*/ 366609 w 768492"/>
                <a:gd name="connsiteY362" fmla="*/ 592117 h 718099"/>
                <a:gd name="connsiteX363" fmla="*/ 366609 w 768492"/>
                <a:gd name="connsiteY363" fmla="*/ 592117 h 718099"/>
                <a:gd name="connsiteX364" fmla="*/ 367868 w 768492"/>
                <a:gd name="connsiteY364" fmla="*/ 594637 h 718099"/>
                <a:gd name="connsiteX365" fmla="*/ 374167 w 768492"/>
                <a:gd name="connsiteY365" fmla="*/ 608495 h 718099"/>
                <a:gd name="connsiteX366" fmla="*/ 374167 w 768492"/>
                <a:gd name="connsiteY366" fmla="*/ 609754 h 718099"/>
                <a:gd name="connsiteX367" fmla="*/ 374167 w 768492"/>
                <a:gd name="connsiteY367" fmla="*/ 609754 h 718099"/>
                <a:gd name="connsiteX368" fmla="*/ 374167 w 768492"/>
                <a:gd name="connsiteY368" fmla="*/ 609754 h 718099"/>
                <a:gd name="connsiteX369" fmla="*/ 376687 w 768492"/>
                <a:gd name="connsiteY369" fmla="*/ 618573 h 718099"/>
                <a:gd name="connsiteX370" fmla="*/ 376687 w 768492"/>
                <a:gd name="connsiteY370" fmla="*/ 619833 h 718099"/>
                <a:gd name="connsiteX371" fmla="*/ 379207 w 768492"/>
                <a:gd name="connsiteY371" fmla="*/ 627392 h 718099"/>
                <a:gd name="connsiteX372" fmla="*/ 379207 w 768492"/>
                <a:gd name="connsiteY372" fmla="*/ 632431 h 718099"/>
                <a:gd name="connsiteX373" fmla="*/ 379207 w 768492"/>
                <a:gd name="connsiteY373" fmla="*/ 634951 h 718099"/>
                <a:gd name="connsiteX374" fmla="*/ 379207 w 768492"/>
                <a:gd name="connsiteY374" fmla="*/ 637471 h 718099"/>
                <a:gd name="connsiteX375" fmla="*/ 379207 w 768492"/>
                <a:gd name="connsiteY375" fmla="*/ 642510 h 718099"/>
                <a:gd name="connsiteX376" fmla="*/ 379207 w 768492"/>
                <a:gd name="connsiteY376" fmla="*/ 642510 h 718099"/>
                <a:gd name="connsiteX377" fmla="*/ 379207 w 768492"/>
                <a:gd name="connsiteY377" fmla="*/ 642510 h 718099"/>
                <a:gd name="connsiteX378" fmla="*/ 379207 w 768492"/>
                <a:gd name="connsiteY378" fmla="*/ 642510 h 718099"/>
                <a:gd name="connsiteX379" fmla="*/ 379207 w 768492"/>
                <a:gd name="connsiteY379" fmla="*/ 645030 h 718099"/>
                <a:gd name="connsiteX380" fmla="*/ 379207 w 768492"/>
                <a:gd name="connsiteY380" fmla="*/ 651329 h 718099"/>
                <a:gd name="connsiteX381" fmla="*/ 379207 w 768492"/>
                <a:gd name="connsiteY381" fmla="*/ 652588 h 718099"/>
                <a:gd name="connsiteX382" fmla="*/ 377947 w 768492"/>
                <a:gd name="connsiteY382" fmla="*/ 660147 h 718099"/>
                <a:gd name="connsiteX383" fmla="*/ 374167 w 768492"/>
                <a:gd name="connsiteY383" fmla="*/ 677785 h 718099"/>
                <a:gd name="connsiteX384" fmla="*/ 374167 w 768492"/>
                <a:gd name="connsiteY384" fmla="*/ 677785 h 718099"/>
                <a:gd name="connsiteX385" fmla="*/ 374167 w 768492"/>
                <a:gd name="connsiteY385" fmla="*/ 679045 h 718099"/>
                <a:gd name="connsiteX386" fmla="*/ 374167 w 768492"/>
                <a:gd name="connsiteY386" fmla="*/ 679045 h 718099"/>
                <a:gd name="connsiteX387" fmla="*/ 371648 w 768492"/>
                <a:gd name="connsiteY387" fmla="*/ 687863 h 718099"/>
                <a:gd name="connsiteX388" fmla="*/ 372908 w 768492"/>
                <a:gd name="connsiteY388" fmla="*/ 682824 h 718099"/>
                <a:gd name="connsiteX389" fmla="*/ 370388 w 768492"/>
                <a:gd name="connsiteY389" fmla="*/ 689123 h 718099"/>
                <a:gd name="connsiteX390" fmla="*/ 369128 w 768492"/>
                <a:gd name="connsiteY390" fmla="*/ 691643 h 718099"/>
                <a:gd name="connsiteX391" fmla="*/ 366609 w 768492"/>
                <a:gd name="connsiteY391" fmla="*/ 696682 h 718099"/>
                <a:gd name="connsiteX392" fmla="*/ 365349 w 768492"/>
                <a:gd name="connsiteY392" fmla="*/ 699202 h 718099"/>
                <a:gd name="connsiteX393" fmla="*/ 364089 w 768492"/>
                <a:gd name="connsiteY393" fmla="*/ 701722 h 718099"/>
                <a:gd name="connsiteX394" fmla="*/ 365349 w 768492"/>
                <a:gd name="connsiteY394" fmla="*/ 699202 h 718099"/>
                <a:gd name="connsiteX395" fmla="*/ 364089 w 768492"/>
                <a:gd name="connsiteY395" fmla="*/ 701722 h 718099"/>
                <a:gd name="connsiteX396" fmla="*/ 364089 w 768492"/>
                <a:gd name="connsiteY396" fmla="*/ 701722 h 718099"/>
                <a:gd name="connsiteX397" fmla="*/ 364089 w 768492"/>
                <a:gd name="connsiteY397" fmla="*/ 701722 h 718099"/>
                <a:gd name="connsiteX398" fmla="*/ 362829 w 768492"/>
                <a:gd name="connsiteY398" fmla="*/ 702981 h 718099"/>
                <a:gd name="connsiteX399" fmla="*/ 362829 w 768492"/>
                <a:gd name="connsiteY399" fmla="*/ 704241 h 718099"/>
                <a:gd name="connsiteX400" fmla="*/ 356530 w 768492"/>
                <a:gd name="connsiteY400" fmla="*/ 710540 h 718099"/>
                <a:gd name="connsiteX401" fmla="*/ 356530 w 768492"/>
                <a:gd name="connsiteY401" fmla="*/ 710540 h 718099"/>
                <a:gd name="connsiteX402" fmla="*/ 355270 w 768492"/>
                <a:gd name="connsiteY402" fmla="*/ 711800 h 718099"/>
                <a:gd name="connsiteX403" fmla="*/ 355270 w 768492"/>
                <a:gd name="connsiteY403" fmla="*/ 711800 h 718099"/>
                <a:gd name="connsiteX404" fmla="*/ 355270 w 768492"/>
                <a:gd name="connsiteY404" fmla="*/ 711800 h 718099"/>
                <a:gd name="connsiteX405" fmla="*/ 352751 w 768492"/>
                <a:gd name="connsiteY405" fmla="*/ 713060 h 718099"/>
                <a:gd name="connsiteX406" fmla="*/ 347711 w 768492"/>
                <a:gd name="connsiteY406" fmla="*/ 715580 h 718099"/>
                <a:gd name="connsiteX407" fmla="*/ 346451 w 768492"/>
                <a:gd name="connsiteY407" fmla="*/ 715580 h 718099"/>
                <a:gd name="connsiteX408" fmla="*/ 346451 w 768492"/>
                <a:gd name="connsiteY408" fmla="*/ 715580 h 718099"/>
                <a:gd name="connsiteX409" fmla="*/ 346451 w 768492"/>
                <a:gd name="connsiteY409" fmla="*/ 715580 h 718099"/>
                <a:gd name="connsiteX410" fmla="*/ 346451 w 768492"/>
                <a:gd name="connsiteY410" fmla="*/ 715580 h 718099"/>
                <a:gd name="connsiteX411" fmla="*/ 342672 w 768492"/>
                <a:gd name="connsiteY411" fmla="*/ 716839 h 718099"/>
                <a:gd name="connsiteX412" fmla="*/ 335113 w 768492"/>
                <a:gd name="connsiteY412" fmla="*/ 720619 h 718099"/>
                <a:gd name="connsiteX413" fmla="*/ 335113 w 768492"/>
                <a:gd name="connsiteY413" fmla="*/ 720619 h 718099"/>
                <a:gd name="connsiteX414" fmla="*/ 325034 w 768492"/>
                <a:gd name="connsiteY414" fmla="*/ 723139 h 718099"/>
                <a:gd name="connsiteX415" fmla="*/ 325034 w 768492"/>
                <a:gd name="connsiteY415" fmla="*/ 723139 h 718099"/>
                <a:gd name="connsiteX416" fmla="*/ 325034 w 768492"/>
                <a:gd name="connsiteY416" fmla="*/ 723139 h 718099"/>
                <a:gd name="connsiteX417" fmla="*/ 325034 w 768492"/>
                <a:gd name="connsiteY417" fmla="*/ 723139 h 718099"/>
                <a:gd name="connsiteX418" fmla="*/ 325034 w 768492"/>
                <a:gd name="connsiteY418" fmla="*/ 723139 h 718099"/>
                <a:gd name="connsiteX419" fmla="*/ 325034 w 768492"/>
                <a:gd name="connsiteY419" fmla="*/ 723139 h 718099"/>
                <a:gd name="connsiteX420" fmla="*/ 325034 w 768492"/>
                <a:gd name="connsiteY420" fmla="*/ 723139 h 718099"/>
                <a:gd name="connsiteX421" fmla="*/ 325034 w 768492"/>
                <a:gd name="connsiteY421" fmla="*/ 723139 h 718099"/>
                <a:gd name="connsiteX422" fmla="*/ 327554 w 768492"/>
                <a:gd name="connsiteY422" fmla="*/ 723139 h 718099"/>
                <a:gd name="connsiteX423" fmla="*/ 328814 w 768492"/>
                <a:gd name="connsiteY423" fmla="*/ 723139 h 718099"/>
                <a:gd name="connsiteX424" fmla="*/ 332593 w 768492"/>
                <a:gd name="connsiteY424" fmla="*/ 723139 h 718099"/>
                <a:gd name="connsiteX425" fmla="*/ 337633 w 768492"/>
                <a:gd name="connsiteY425" fmla="*/ 723139 h 718099"/>
                <a:gd name="connsiteX426" fmla="*/ 359050 w 768492"/>
                <a:gd name="connsiteY426" fmla="*/ 724398 h 718099"/>
                <a:gd name="connsiteX427" fmla="*/ 389286 w 768492"/>
                <a:gd name="connsiteY427" fmla="*/ 724398 h 718099"/>
                <a:gd name="connsiteX428" fmla="*/ 398104 w 768492"/>
                <a:gd name="connsiteY428" fmla="*/ 724398 h 718099"/>
                <a:gd name="connsiteX429" fmla="*/ 400624 w 768492"/>
                <a:gd name="connsiteY429" fmla="*/ 724398 h 718099"/>
                <a:gd name="connsiteX430" fmla="*/ 400624 w 768492"/>
                <a:gd name="connsiteY430" fmla="*/ 724398 h 718099"/>
                <a:gd name="connsiteX431" fmla="*/ 406923 w 768492"/>
                <a:gd name="connsiteY431" fmla="*/ 724398 h 718099"/>
                <a:gd name="connsiteX432" fmla="*/ 409443 w 768492"/>
                <a:gd name="connsiteY432" fmla="*/ 724398 h 718099"/>
                <a:gd name="connsiteX433" fmla="*/ 417002 w 768492"/>
                <a:gd name="connsiteY433" fmla="*/ 724398 h 718099"/>
                <a:gd name="connsiteX434" fmla="*/ 420781 w 768492"/>
                <a:gd name="connsiteY434" fmla="*/ 724398 h 718099"/>
                <a:gd name="connsiteX435" fmla="*/ 422041 w 768492"/>
                <a:gd name="connsiteY435" fmla="*/ 724398 h 718099"/>
                <a:gd name="connsiteX436" fmla="*/ 422041 w 768492"/>
                <a:gd name="connsiteY436" fmla="*/ 724398 h 718099"/>
                <a:gd name="connsiteX437" fmla="*/ 435899 w 768492"/>
                <a:gd name="connsiteY437" fmla="*/ 724398 h 718099"/>
                <a:gd name="connsiteX438" fmla="*/ 443458 w 768492"/>
                <a:gd name="connsiteY438" fmla="*/ 724398 h 718099"/>
                <a:gd name="connsiteX439" fmla="*/ 454796 w 768492"/>
                <a:gd name="connsiteY439" fmla="*/ 724398 h 718099"/>
                <a:gd name="connsiteX440" fmla="*/ 459835 w 768492"/>
                <a:gd name="connsiteY440" fmla="*/ 724398 h 718099"/>
                <a:gd name="connsiteX441" fmla="*/ 461095 w 768492"/>
                <a:gd name="connsiteY441" fmla="*/ 724398 h 718099"/>
                <a:gd name="connsiteX442" fmla="*/ 474953 w 768492"/>
                <a:gd name="connsiteY442" fmla="*/ 724398 h 718099"/>
                <a:gd name="connsiteX443" fmla="*/ 482512 w 768492"/>
                <a:gd name="connsiteY443" fmla="*/ 724398 h 718099"/>
                <a:gd name="connsiteX444" fmla="*/ 483772 w 768492"/>
                <a:gd name="connsiteY444" fmla="*/ 724398 h 718099"/>
                <a:gd name="connsiteX445" fmla="*/ 495111 w 768492"/>
                <a:gd name="connsiteY445" fmla="*/ 724398 h 718099"/>
                <a:gd name="connsiteX446" fmla="*/ 515268 w 768492"/>
                <a:gd name="connsiteY446" fmla="*/ 723139 h 718099"/>
                <a:gd name="connsiteX447" fmla="*/ 517787 w 768492"/>
                <a:gd name="connsiteY447" fmla="*/ 723139 h 718099"/>
                <a:gd name="connsiteX448" fmla="*/ 517787 w 768492"/>
                <a:gd name="connsiteY448" fmla="*/ 723139 h 718099"/>
                <a:gd name="connsiteX449" fmla="*/ 527866 w 768492"/>
                <a:gd name="connsiteY449" fmla="*/ 721879 h 718099"/>
                <a:gd name="connsiteX450" fmla="*/ 527866 w 768492"/>
                <a:gd name="connsiteY450" fmla="*/ 721879 h 718099"/>
                <a:gd name="connsiteX451" fmla="*/ 535425 w 768492"/>
                <a:gd name="connsiteY451" fmla="*/ 720619 h 718099"/>
                <a:gd name="connsiteX452" fmla="*/ 537945 w 768492"/>
                <a:gd name="connsiteY452" fmla="*/ 720619 h 718099"/>
                <a:gd name="connsiteX453" fmla="*/ 537945 w 768492"/>
                <a:gd name="connsiteY453" fmla="*/ 720619 h 718099"/>
                <a:gd name="connsiteX454" fmla="*/ 546763 w 768492"/>
                <a:gd name="connsiteY454" fmla="*/ 720619 h 718099"/>
                <a:gd name="connsiteX455" fmla="*/ 554322 w 768492"/>
                <a:gd name="connsiteY455" fmla="*/ 720619 h 718099"/>
                <a:gd name="connsiteX456" fmla="*/ 556842 w 768492"/>
                <a:gd name="connsiteY456" fmla="*/ 720619 h 718099"/>
                <a:gd name="connsiteX457" fmla="*/ 560621 w 768492"/>
                <a:gd name="connsiteY457" fmla="*/ 720619 h 718099"/>
                <a:gd name="connsiteX458" fmla="*/ 560621 w 768492"/>
                <a:gd name="connsiteY458" fmla="*/ 720619 h 718099"/>
                <a:gd name="connsiteX459" fmla="*/ 560621 w 768492"/>
                <a:gd name="connsiteY459" fmla="*/ 720619 h 718099"/>
                <a:gd name="connsiteX460" fmla="*/ 561881 w 768492"/>
                <a:gd name="connsiteY460" fmla="*/ 720619 h 718099"/>
                <a:gd name="connsiteX461" fmla="*/ 565661 w 768492"/>
                <a:gd name="connsiteY461" fmla="*/ 720619 h 718099"/>
                <a:gd name="connsiteX462" fmla="*/ 571960 w 768492"/>
                <a:gd name="connsiteY462" fmla="*/ 720619 h 718099"/>
                <a:gd name="connsiteX463" fmla="*/ 574480 w 768492"/>
                <a:gd name="connsiteY463" fmla="*/ 720619 h 718099"/>
                <a:gd name="connsiteX464" fmla="*/ 574480 w 768492"/>
                <a:gd name="connsiteY464" fmla="*/ 720619 h 718099"/>
                <a:gd name="connsiteX465" fmla="*/ 575739 w 768492"/>
                <a:gd name="connsiteY465" fmla="*/ 720619 h 718099"/>
                <a:gd name="connsiteX466" fmla="*/ 587078 w 768492"/>
                <a:gd name="connsiteY466" fmla="*/ 720619 h 718099"/>
                <a:gd name="connsiteX467" fmla="*/ 592117 w 768492"/>
                <a:gd name="connsiteY467" fmla="*/ 720619 h 718099"/>
                <a:gd name="connsiteX468" fmla="*/ 597156 w 768492"/>
                <a:gd name="connsiteY468" fmla="*/ 720619 h 718099"/>
                <a:gd name="connsiteX469" fmla="*/ 598416 w 768492"/>
                <a:gd name="connsiteY469" fmla="*/ 720619 h 718099"/>
                <a:gd name="connsiteX470" fmla="*/ 599676 w 768492"/>
                <a:gd name="connsiteY470" fmla="*/ 720619 h 718099"/>
                <a:gd name="connsiteX471" fmla="*/ 605975 w 768492"/>
                <a:gd name="connsiteY471" fmla="*/ 720619 h 718099"/>
                <a:gd name="connsiteX472" fmla="*/ 605975 w 768492"/>
                <a:gd name="connsiteY472" fmla="*/ 720619 h 718099"/>
                <a:gd name="connsiteX473" fmla="*/ 605975 w 768492"/>
                <a:gd name="connsiteY473" fmla="*/ 720619 h 718099"/>
                <a:gd name="connsiteX474" fmla="*/ 637471 w 768492"/>
                <a:gd name="connsiteY474" fmla="*/ 723139 h 718099"/>
                <a:gd name="connsiteX475" fmla="*/ 656368 w 768492"/>
                <a:gd name="connsiteY475" fmla="*/ 723139 h 718099"/>
                <a:gd name="connsiteX476" fmla="*/ 657628 w 768492"/>
                <a:gd name="connsiteY476" fmla="*/ 723139 h 718099"/>
                <a:gd name="connsiteX477" fmla="*/ 660148 w 768492"/>
                <a:gd name="connsiteY477" fmla="*/ 723139 h 718099"/>
                <a:gd name="connsiteX478" fmla="*/ 661407 w 768492"/>
                <a:gd name="connsiteY478" fmla="*/ 723139 h 718099"/>
                <a:gd name="connsiteX479" fmla="*/ 666447 w 768492"/>
                <a:gd name="connsiteY479" fmla="*/ 723139 h 718099"/>
                <a:gd name="connsiteX480" fmla="*/ 670226 w 768492"/>
                <a:gd name="connsiteY480" fmla="*/ 723139 h 718099"/>
                <a:gd name="connsiteX481" fmla="*/ 670226 w 768492"/>
                <a:gd name="connsiteY481" fmla="*/ 723139 h 718099"/>
                <a:gd name="connsiteX482" fmla="*/ 674005 w 768492"/>
                <a:gd name="connsiteY482" fmla="*/ 723139 h 718099"/>
                <a:gd name="connsiteX483" fmla="*/ 674005 w 768492"/>
                <a:gd name="connsiteY483" fmla="*/ 723139 h 718099"/>
                <a:gd name="connsiteX484" fmla="*/ 677785 w 768492"/>
                <a:gd name="connsiteY484" fmla="*/ 721879 h 718099"/>
                <a:gd name="connsiteX485" fmla="*/ 680305 w 768492"/>
                <a:gd name="connsiteY485" fmla="*/ 720619 h 718099"/>
                <a:gd name="connsiteX486" fmla="*/ 680305 w 768492"/>
                <a:gd name="connsiteY486" fmla="*/ 720619 h 718099"/>
                <a:gd name="connsiteX487" fmla="*/ 681564 w 768492"/>
                <a:gd name="connsiteY487" fmla="*/ 719359 h 718099"/>
                <a:gd name="connsiteX488" fmla="*/ 681564 w 768492"/>
                <a:gd name="connsiteY488" fmla="*/ 719359 h 718099"/>
                <a:gd name="connsiteX489" fmla="*/ 682824 w 768492"/>
                <a:gd name="connsiteY489" fmla="*/ 718099 h 718099"/>
                <a:gd name="connsiteX490" fmla="*/ 684084 w 768492"/>
                <a:gd name="connsiteY490" fmla="*/ 713060 h 718099"/>
                <a:gd name="connsiteX491" fmla="*/ 684084 w 768492"/>
                <a:gd name="connsiteY491" fmla="*/ 708021 h 718099"/>
                <a:gd name="connsiteX492" fmla="*/ 685344 w 768492"/>
                <a:gd name="connsiteY492" fmla="*/ 702981 h 718099"/>
                <a:gd name="connsiteX493" fmla="*/ 685344 w 768492"/>
                <a:gd name="connsiteY493" fmla="*/ 702981 h 718099"/>
                <a:gd name="connsiteX494" fmla="*/ 685344 w 768492"/>
                <a:gd name="connsiteY494" fmla="*/ 697942 h 718099"/>
                <a:gd name="connsiteX495" fmla="*/ 685344 w 768492"/>
                <a:gd name="connsiteY495" fmla="*/ 697942 h 718099"/>
                <a:gd name="connsiteX496" fmla="*/ 685344 w 768492"/>
                <a:gd name="connsiteY496" fmla="*/ 697942 h 718099"/>
                <a:gd name="connsiteX497" fmla="*/ 685344 w 768492"/>
                <a:gd name="connsiteY497" fmla="*/ 694163 h 718099"/>
                <a:gd name="connsiteX498" fmla="*/ 685344 w 768492"/>
                <a:gd name="connsiteY498" fmla="*/ 689123 h 718099"/>
                <a:gd name="connsiteX499" fmla="*/ 685344 w 768492"/>
                <a:gd name="connsiteY499" fmla="*/ 689123 h 718099"/>
                <a:gd name="connsiteX500" fmla="*/ 685344 w 768492"/>
                <a:gd name="connsiteY500" fmla="*/ 682824 h 718099"/>
                <a:gd name="connsiteX501" fmla="*/ 685344 w 768492"/>
                <a:gd name="connsiteY501" fmla="*/ 681564 h 718099"/>
                <a:gd name="connsiteX502" fmla="*/ 685344 w 768492"/>
                <a:gd name="connsiteY502" fmla="*/ 680305 h 718099"/>
                <a:gd name="connsiteX503" fmla="*/ 685344 w 768492"/>
                <a:gd name="connsiteY503" fmla="*/ 671486 h 718099"/>
                <a:gd name="connsiteX504" fmla="*/ 685344 w 768492"/>
                <a:gd name="connsiteY504" fmla="*/ 660147 h 718099"/>
                <a:gd name="connsiteX505" fmla="*/ 685344 w 768492"/>
                <a:gd name="connsiteY505" fmla="*/ 658887 h 718099"/>
                <a:gd name="connsiteX506" fmla="*/ 685344 w 768492"/>
                <a:gd name="connsiteY506" fmla="*/ 651329 h 718099"/>
                <a:gd name="connsiteX507" fmla="*/ 685344 w 768492"/>
                <a:gd name="connsiteY507" fmla="*/ 648809 h 718099"/>
                <a:gd name="connsiteX508" fmla="*/ 685344 w 768492"/>
                <a:gd name="connsiteY508" fmla="*/ 647549 h 718099"/>
                <a:gd name="connsiteX509" fmla="*/ 685344 w 768492"/>
                <a:gd name="connsiteY509" fmla="*/ 642510 h 718099"/>
                <a:gd name="connsiteX510" fmla="*/ 685344 w 768492"/>
                <a:gd name="connsiteY510" fmla="*/ 641250 h 718099"/>
                <a:gd name="connsiteX511" fmla="*/ 685344 w 768492"/>
                <a:gd name="connsiteY511" fmla="*/ 632431 h 718099"/>
                <a:gd name="connsiteX512" fmla="*/ 685344 w 768492"/>
                <a:gd name="connsiteY512" fmla="*/ 612274 h 718099"/>
                <a:gd name="connsiteX513" fmla="*/ 685344 w 768492"/>
                <a:gd name="connsiteY513" fmla="*/ 597156 h 718099"/>
                <a:gd name="connsiteX514" fmla="*/ 684084 w 768492"/>
                <a:gd name="connsiteY514" fmla="*/ 595896 h 718099"/>
                <a:gd name="connsiteX515" fmla="*/ 684084 w 768492"/>
                <a:gd name="connsiteY515" fmla="*/ 595896 h 718099"/>
                <a:gd name="connsiteX516" fmla="*/ 681564 w 768492"/>
                <a:gd name="connsiteY516" fmla="*/ 593377 h 718099"/>
                <a:gd name="connsiteX517" fmla="*/ 680305 w 768492"/>
                <a:gd name="connsiteY517" fmla="*/ 592117 h 718099"/>
                <a:gd name="connsiteX518" fmla="*/ 676525 w 768492"/>
                <a:gd name="connsiteY518" fmla="*/ 588337 h 718099"/>
                <a:gd name="connsiteX519" fmla="*/ 665187 w 768492"/>
                <a:gd name="connsiteY519" fmla="*/ 575739 h 718099"/>
                <a:gd name="connsiteX520" fmla="*/ 665187 w 768492"/>
                <a:gd name="connsiteY520" fmla="*/ 575739 h 718099"/>
                <a:gd name="connsiteX521" fmla="*/ 662667 w 768492"/>
                <a:gd name="connsiteY521" fmla="*/ 571960 h 718099"/>
                <a:gd name="connsiteX522" fmla="*/ 661407 w 768492"/>
                <a:gd name="connsiteY522" fmla="*/ 570700 h 718099"/>
                <a:gd name="connsiteX523" fmla="*/ 656368 w 768492"/>
                <a:gd name="connsiteY523" fmla="*/ 564401 h 718099"/>
                <a:gd name="connsiteX524" fmla="*/ 651329 w 768492"/>
                <a:gd name="connsiteY524" fmla="*/ 556842 h 718099"/>
                <a:gd name="connsiteX525" fmla="*/ 642510 w 768492"/>
                <a:gd name="connsiteY525" fmla="*/ 544244 h 718099"/>
                <a:gd name="connsiteX526" fmla="*/ 639990 w 768492"/>
                <a:gd name="connsiteY526" fmla="*/ 540464 h 718099"/>
                <a:gd name="connsiteX527" fmla="*/ 627392 w 768492"/>
                <a:gd name="connsiteY527" fmla="*/ 524086 h 718099"/>
                <a:gd name="connsiteX528" fmla="*/ 621093 w 768492"/>
                <a:gd name="connsiteY528" fmla="*/ 515268 h 718099"/>
                <a:gd name="connsiteX529" fmla="*/ 616054 w 768492"/>
                <a:gd name="connsiteY529" fmla="*/ 507709 h 718099"/>
                <a:gd name="connsiteX530" fmla="*/ 609755 w 768492"/>
                <a:gd name="connsiteY530" fmla="*/ 497630 h 718099"/>
                <a:gd name="connsiteX531" fmla="*/ 609755 w 768492"/>
                <a:gd name="connsiteY531" fmla="*/ 497630 h 718099"/>
                <a:gd name="connsiteX532" fmla="*/ 609755 w 768492"/>
                <a:gd name="connsiteY532" fmla="*/ 497630 h 718099"/>
                <a:gd name="connsiteX533" fmla="*/ 604715 w 768492"/>
                <a:gd name="connsiteY533" fmla="*/ 490071 h 718099"/>
                <a:gd name="connsiteX534" fmla="*/ 593377 w 768492"/>
                <a:gd name="connsiteY534" fmla="*/ 472434 h 718099"/>
                <a:gd name="connsiteX535" fmla="*/ 593377 w 768492"/>
                <a:gd name="connsiteY535" fmla="*/ 471174 h 718099"/>
                <a:gd name="connsiteX536" fmla="*/ 592117 w 768492"/>
                <a:gd name="connsiteY536" fmla="*/ 469914 h 718099"/>
                <a:gd name="connsiteX537" fmla="*/ 592117 w 768492"/>
                <a:gd name="connsiteY537" fmla="*/ 469914 h 718099"/>
                <a:gd name="connsiteX538" fmla="*/ 587078 w 768492"/>
                <a:gd name="connsiteY538" fmla="*/ 462355 h 718099"/>
                <a:gd name="connsiteX539" fmla="*/ 582038 w 768492"/>
                <a:gd name="connsiteY539" fmla="*/ 452277 h 718099"/>
                <a:gd name="connsiteX540" fmla="*/ 573220 w 768492"/>
                <a:gd name="connsiteY540" fmla="*/ 433379 h 718099"/>
                <a:gd name="connsiteX541" fmla="*/ 571960 w 768492"/>
                <a:gd name="connsiteY541" fmla="*/ 430860 h 718099"/>
                <a:gd name="connsiteX542" fmla="*/ 568180 w 768492"/>
                <a:gd name="connsiteY542" fmla="*/ 423301 h 718099"/>
                <a:gd name="connsiteX543" fmla="*/ 564401 w 768492"/>
                <a:gd name="connsiteY543" fmla="*/ 415742 h 718099"/>
                <a:gd name="connsiteX544" fmla="*/ 563141 w 768492"/>
                <a:gd name="connsiteY544" fmla="*/ 413222 h 718099"/>
                <a:gd name="connsiteX545" fmla="*/ 558102 w 768492"/>
                <a:gd name="connsiteY545" fmla="*/ 403143 h 718099"/>
                <a:gd name="connsiteX546" fmla="*/ 555582 w 768492"/>
                <a:gd name="connsiteY546" fmla="*/ 396844 h 718099"/>
                <a:gd name="connsiteX547" fmla="*/ 555582 w 768492"/>
                <a:gd name="connsiteY547" fmla="*/ 396844 h 718099"/>
                <a:gd name="connsiteX548" fmla="*/ 554322 w 768492"/>
                <a:gd name="connsiteY548" fmla="*/ 394325 h 718099"/>
                <a:gd name="connsiteX549" fmla="*/ 546763 w 768492"/>
                <a:gd name="connsiteY549" fmla="*/ 374167 h 718099"/>
                <a:gd name="connsiteX550" fmla="*/ 540464 w 768492"/>
                <a:gd name="connsiteY550" fmla="*/ 354010 h 718099"/>
                <a:gd name="connsiteX551" fmla="*/ 537945 w 768492"/>
                <a:gd name="connsiteY551" fmla="*/ 345192 h 718099"/>
                <a:gd name="connsiteX552" fmla="*/ 537945 w 768492"/>
                <a:gd name="connsiteY552" fmla="*/ 343932 h 718099"/>
                <a:gd name="connsiteX553" fmla="*/ 536685 w 768492"/>
                <a:gd name="connsiteY553" fmla="*/ 337633 h 718099"/>
                <a:gd name="connsiteX554" fmla="*/ 536685 w 768492"/>
                <a:gd name="connsiteY554" fmla="*/ 337633 h 718099"/>
                <a:gd name="connsiteX555" fmla="*/ 535425 w 768492"/>
                <a:gd name="connsiteY555" fmla="*/ 335113 h 718099"/>
                <a:gd name="connsiteX556" fmla="*/ 531645 w 768492"/>
                <a:gd name="connsiteY556" fmla="*/ 314956 h 718099"/>
                <a:gd name="connsiteX557" fmla="*/ 531645 w 768492"/>
                <a:gd name="connsiteY557" fmla="*/ 313696 h 718099"/>
                <a:gd name="connsiteX558" fmla="*/ 530386 w 768492"/>
                <a:gd name="connsiteY558" fmla="*/ 308657 h 718099"/>
                <a:gd name="connsiteX559" fmla="*/ 529126 w 768492"/>
                <a:gd name="connsiteY559" fmla="*/ 303617 h 718099"/>
                <a:gd name="connsiteX560" fmla="*/ 527866 w 768492"/>
                <a:gd name="connsiteY560" fmla="*/ 294799 h 718099"/>
                <a:gd name="connsiteX561" fmla="*/ 527866 w 768492"/>
                <a:gd name="connsiteY561" fmla="*/ 293539 h 718099"/>
                <a:gd name="connsiteX562" fmla="*/ 527866 w 768492"/>
                <a:gd name="connsiteY562" fmla="*/ 289759 h 718099"/>
                <a:gd name="connsiteX563" fmla="*/ 527866 w 768492"/>
                <a:gd name="connsiteY563" fmla="*/ 288499 h 718099"/>
                <a:gd name="connsiteX564" fmla="*/ 527866 w 768492"/>
                <a:gd name="connsiteY564" fmla="*/ 287240 h 718099"/>
                <a:gd name="connsiteX565" fmla="*/ 527866 w 768492"/>
                <a:gd name="connsiteY565" fmla="*/ 282200 h 718099"/>
                <a:gd name="connsiteX566" fmla="*/ 527866 w 768492"/>
                <a:gd name="connsiteY566" fmla="*/ 275901 h 718099"/>
                <a:gd name="connsiteX567" fmla="*/ 527866 w 768492"/>
                <a:gd name="connsiteY567" fmla="*/ 272122 h 718099"/>
                <a:gd name="connsiteX568" fmla="*/ 527866 w 768492"/>
                <a:gd name="connsiteY568" fmla="*/ 260783 h 718099"/>
                <a:gd name="connsiteX569" fmla="*/ 527866 w 768492"/>
                <a:gd name="connsiteY569" fmla="*/ 257004 h 718099"/>
                <a:gd name="connsiteX570" fmla="*/ 527866 w 768492"/>
                <a:gd name="connsiteY570" fmla="*/ 255744 h 718099"/>
                <a:gd name="connsiteX571" fmla="*/ 527866 w 768492"/>
                <a:gd name="connsiteY571" fmla="*/ 251965 h 718099"/>
                <a:gd name="connsiteX572" fmla="*/ 527866 w 768492"/>
                <a:gd name="connsiteY572" fmla="*/ 251965 h 718099"/>
                <a:gd name="connsiteX573" fmla="*/ 527866 w 768492"/>
                <a:gd name="connsiteY573" fmla="*/ 249445 h 718099"/>
                <a:gd name="connsiteX574" fmla="*/ 527866 w 768492"/>
                <a:gd name="connsiteY574" fmla="*/ 249445 h 718099"/>
                <a:gd name="connsiteX575" fmla="*/ 527866 w 768492"/>
                <a:gd name="connsiteY575" fmla="*/ 249445 h 718099"/>
                <a:gd name="connsiteX576" fmla="*/ 527866 w 768492"/>
                <a:gd name="connsiteY576" fmla="*/ 249445 h 718099"/>
                <a:gd name="connsiteX577" fmla="*/ 527866 w 768492"/>
                <a:gd name="connsiteY577" fmla="*/ 249445 h 718099"/>
                <a:gd name="connsiteX578" fmla="*/ 527866 w 768492"/>
                <a:gd name="connsiteY578" fmla="*/ 249445 h 718099"/>
                <a:gd name="connsiteX579" fmla="*/ 527866 w 768492"/>
                <a:gd name="connsiteY579" fmla="*/ 249445 h 718099"/>
                <a:gd name="connsiteX580" fmla="*/ 527866 w 768492"/>
                <a:gd name="connsiteY580" fmla="*/ 249445 h 718099"/>
                <a:gd name="connsiteX581" fmla="*/ 527866 w 768492"/>
                <a:gd name="connsiteY581" fmla="*/ 246925 h 718099"/>
                <a:gd name="connsiteX582" fmla="*/ 527866 w 768492"/>
                <a:gd name="connsiteY582" fmla="*/ 245666 h 718099"/>
                <a:gd name="connsiteX583" fmla="*/ 529126 w 768492"/>
                <a:gd name="connsiteY583" fmla="*/ 239366 h 718099"/>
                <a:gd name="connsiteX584" fmla="*/ 531645 w 768492"/>
                <a:gd name="connsiteY584" fmla="*/ 230548 h 718099"/>
                <a:gd name="connsiteX585" fmla="*/ 535425 w 768492"/>
                <a:gd name="connsiteY585" fmla="*/ 221729 h 718099"/>
                <a:gd name="connsiteX586" fmla="*/ 540464 w 768492"/>
                <a:gd name="connsiteY586" fmla="*/ 214170 h 718099"/>
                <a:gd name="connsiteX587" fmla="*/ 540464 w 768492"/>
                <a:gd name="connsiteY587" fmla="*/ 214170 h 718099"/>
                <a:gd name="connsiteX588" fmla="*/ 541724 w 768492"/>
                <a:gd name="connsiteY588" fmla="*/ 211650 h 718099"/>
                <a:gd name="connsiteX589" fmla="*/ 542984 w 768492"/>
                <a:gd name="connsiteY589" fmla="*/ 210390 h 718099"/>
                <a:gd name="connsiteX590" fmla="*/ 542984 w 768492"/>
                <a:gd name="connsiteY590" fmla="*/ 210390 h 718099"/>
                <a:gd name="connsiteX591" fmla="*/ 544244 w 768492"/>
                <a:gd name="connsiteY591" fmla="*/ 209131 h 718099"/>
                <a:gd name="connsiteX592" fmla="*/ 549283 w 768492"/>
                <a:gd name="connsiteY592" fmla="*/ 204091 h 718099"/>
                <a:gd name="connsiteX593" fmla="*/ 555582 w 768492"/>
                <a:gd name="connsiteY593" fmla="*/ 199052 h 718099"/>
                <a:gd name="connsiteX594" fmla="*/ 559362 w 768492"/>
                <a:gd name="connsiteY594" fmla="*/ 197792 h 718099"/>
                <a:gd name="connsiteX595" fmla="*/ 563141 w 768492"/>
                <a:gd name="connsiteY595" fmla="*/ 196532 h 718099"/>
                <a:gd name="connsiteX596" fmla="*/ 575739 w 768492"/>
                <a:gd name="connsiteY596" fmla="*/ 194013 h 718099"/>
                <a:gd name="connsiteX597" fmla="*/ 578259 w 768492"/>
                <a:gd name="connsiteY597" fmla="*/ 194013 h 718099"/>
                <a:gd name="connsiteX598" fmla="*/ 594637 w 768492"/>
                <a:gd name="connsiteY598" fmla="*/ 195273 h 718099"/>
                <a:gd name="connsiteX599" fmla="*/ 595896 w 768492"/>
                <a:gd name="connsiteY599" fmla="*/ 195273 h 718099"/>
                <a:gd name="connsiteX600" fmla="*/ 605975 w 768492"/>
                <a:gd name="connsiteY600" fmla="*/ 197792 h 718099"/>
                <a:gd name="connsiteX601" fmla="*/ 616054 w 768492"/>
                <a:gd name="connsiteY601" fmla="*/ 202831 h 718099"/>
                <a:gd name="connsiteX602" fmla="*/ 616054 w 768492"/>
                <a:gd name="connsiteY602" fmla="*/ 202831 h 718099"/>
                <a:gd name="connsiteX603" fmla="*/ 621093 w 768492"/>
                <a:gd name="connsiteY603" fmla="*/ 206611 h 718099"/>
                <a:gd name="connsiteX604" fmla="*/ 622353 w 768492"/>
                <a:gd name="connsiteY604" fmla="*/ 206611 h 718099"/>
                <a:gd name="connsiteX605" fmla="*/ 624872 w 768492"/>
                <a:gd name="connsiteY605" fmla="*/ 209131 h 718099"/>
                <a:gd name="connsiteX606" fmla="*/ 626132 w 768492"/>
                <a:gd name="connsiteY606" fmla="*/ 210390 h 718099"/>
                <a:gd name="connsiteX607" fmla="*/ 629912 w 768492"/>
                <a:gd name="connsiteY607" fmla="*/ 214170 h 718099"/>
                <a:gd name="connsiteX608" fmla="*/ 632431 w 768492"/>
                <a:gd name="connsiteY608" fmla="*/ 217949 h 718099"/>
                <a:gd name="connsiteX609" fmla="*/ 637471 w 768492"/>
                <a:gd name="connsiteY609" fmla="*/ 228028 h 718099"/>
                <a:gd name="connsiteX610" fmla="*/ 639990 w 768492"/>
                <a:gd name="connsiteY610" fmla="*/ 235587 h 718099"/>
                <a:gd name="connsiteX611" fmla="*/ 639990 w 768492"/>
                <a:gd name="connsiteY611" fmla="*/ 236847 h 718099"/>
                <a:gd name="connsiteX612" fmla="*/ 642510 w 768492"/>
                <a:gd name="connsiteY612" fmla="*/ 246925 h 718099"/>
                <a:gd name="connsiteX613" fmla="*/ 643770 w 768492"/>
                <a:gd name="connsiteY613" fmla="*/ 253224 h 718099"/>
                <a:gd name="connsiteX614" fmla="*/ 643770 w 768492"/>
                <a:gd name="connsiteY614" fmla="*/ 253224 h 718099"/>
                <a:gd name="connsiteX615" fmla="*/ 643770 w 768492"/>
                <a:gd name="connsiteY615" fmla="*/ 257004 h 718099"/>
                <a:gd name="connsiteX616" fmla="*/ 647549 w 768492"/>
                <a:gd name="connsiteY616" fmla="*/ 270862 h 718099"/>
                <a:gd name="connsiteX617" fmla="*/ 648809 w 768492"/>
                <a:gd name="connsiteY617" fmla="*/ 275901 h 718099"/>
                <a:gd name="connsiteX618" fmla="*/ 648809 w 768492"/>
                <a:gd name="connsiteY618" fmla="*/ 275901 h 718099"/>
                <a:gd name="connsiteX619" fmla="*/ 651329 w 768492"/>
                <a:gd name="connsiteY619" fmla="*/ 284720 h 718099"/>
                <a:gd name="connsiteX620" fmla="*/ 655108 w 768492"/>
                <a:gd name="connsiteY620" fmla="*/ 297318 h 718099"/>
                <a:gd name="connsiteX621" fmla="*/ 660148 w 768492"/>
                <a:gd name="connsiteY621" fmla="*/ 311176 h 718099"/>
                <a:gd name="connsiteX622" fmla="*/ 661407 w 768492"/>
                <a:gd name="connsiteY622" fmla="*/ 314956 h 718099"/>
                <a:gd name="connsiteX623" fmla="*/ 665187 w 768492"/>
                <a:gd name="connsiteY623" fmla="*/ 321255 h 718099"/>
                <a:gd name="connsiteX624" fmla="*/ 666447 w 768492"/>
                <a:gd name="connsiteY624" fmla="*/ 325034 h 718099"/>
                <a:gd name="connsiteX625" fmla="*/ 670226 w 768492"/>
                <a:gd name="connsiteY625" fmla="*/ 331333 h 718099"/>
                <a:gd name="connsiteX626" fmla="*/ 681564 w 768492"/>
                <a:gd name="connsiteY626" fmla="*/ 351491 h 718099"/>
                <a:gd name="connsiteX627" fmla="*/ 682824 w 768492"/>
                <a:gd name="connsiteY627" fmla="*/ 354010 h 718099"/>
                <a:gd name="connsiteX628" fmla="*/ 694163 w 768492"/>
                <a:gd name="connsiteY628" fmla="*/ 369128 h 718099"/>
                <a:gd name="connsiteX629" fmla="*/ 695422 w 768492"/>
                <a:gd name="connsiteY629" fmla="*/ 370388 h 718099"/>
                <a:gd name="connsiteX630" fmla="*/ 696682 w 768492"/>
                <a:gd name="connsiteY630" fmla="*/ 372908 h 718099"/>
                <a:gd name="connsiteX631" fmla="*/ 696682 w 768492"/>
                <a:gd name="connsiteY631" fmla="*/ 365349 h 718099"/>
                <a:gd name="connsiteX632" fmla="*/ 696682 w 768492"/>
                <a:gd name="connsiteY632" fmla="*/ 361569 h 718099"/>
                <a:gd name="connsiteX633" fmla="*/ 696682 w 768492"/>
                <a:gd name="connsiteY633" fmla="*/ 357790 h 718099"/>
                <a:gd name="connsiteX634" fmla="*/ 696682 w 768492"/>
                <a:gd name="connsiteY634" fmla="*/ 356530 h 718099"/>
                <a:gd name="connsiteX635" fmla="*/ 696682 w 768492"/>
                <a:gd name="connsiteY635" fmla="*/ 351491 h 718099"/>
                <a:gd name="connsiteX636" fmla="*/ 696682 w 768492"/>
                <a:gd name="connsiteY636" fmla="*/ 351491 h 718099"/>
                <a:gd name="connsiteX637" fmla="*/ 696682 w 768492"/>
                <a:gd name="connsiteY637" fmla="*/ 342672 h 718099"/>
                <a:gd name="connsiteX638" fmla="*/ 696682 w 768492"/>
                <a:gd name="connsiteY638" fmla="*/ 341412 h 718099"/>
                <a:gd name="connsiteX639" fmla="*/ 696682 w 768492"/>
                <a:gd name="connsiteY639" fmla="*/ 341412 h 718099"/>
                <a:gd name="connsiteX640" fmla="*/ 696682 w 768492"/>
                <a:gd name="connsiteY640" fmla="*/ 335113 h 718099"/>
                <a:gd name="connsiteX641" fmla="*/ 696682 w 768492"/>
                <a:gd name="connsiteY641" fmla="*/ 333853 h 718099"/>
                <a:gd name="connsiteX642" fmla="*/ 696682 w 768492"/>
                <a:gd name="connsiteY642" fmla="*/ 331333 h 718099"/>
                <a:gd name="connsiteX643" fmla="*/ 696682 w 768492"/>
                <a:gd name="connsiteY643" fmla="*/ 327554 h 718099"/>
                <a:gd name="connsiteX644" fmla="*/ 696682 w 768492"/>
                <a:gd name="connsiteY644" fmla="*/ 326294 h 718099"/>
                <a:gd name="connsiteX645" fmla="*/ 696682 w 768492"/>
                <a:gd name="connsiteY645" fmla="*/ 321255 h 718099"/>
                <a:gd name="connsiteX646" fmla="*/ 696682 w 768492"/>
                <a:gd name="connsiteY646" fmla="*/ 316216 h 718099"/>
                <a:gd name="connsiteX647" fmla="*/ 696682 w 768492"/>
                <a:gd name="connsiteY647" fmla="*/ 314956 h 718099"/>
                <a:gd name="connsiteX648" fmla="*/ 696682 w 768492"/>
                <a:gd name="connsiteY648" fmla="*/ 313696 h 718099"/>
                <a:gd name="connsiteX649" fmla="*/ 696682 w 768492"/>
                <a:gd name="connsiteY649" fmla="*/ 309916 h 718099"/>
                <a:gd name="connsiteX650" fmla="*/ 696682 w 768492"/>
                <a:gd name="connsiteY650" fmla="*/ 299838 h 718099"/>
                <a:gd name="connsiteX651" fmla="*/ 696682 w 768492"/>
                <a:gd name="connsiteY651" fmla="*/ 296058 h 718099"/>
                <a:gd name="connsiteX652" fmla="*/ 696682 w 768492"/>
                <a:gd name="connsiteY652" fmla="*/ 292279 h 718099"/>
                <a:gd name="connsiteX653" fmla="*/ 696682 w 768492"/>
                <a:gd name="connsiteY653" fmla="*/ 283460 h 718099"/>
                <a:gd name="connsiteX654" fmla="*/ 696682 w 768492"/>
                <a:gd name="connsiteY654" fmla="*/ 274641 h 718099"/>
                <a:gd name="connsiteX655" fmla="*/ 696682 w 768492"/>
                <a:gd name="connsiteY655" fmla="*/ 273382 h 718099"/>
                <a:gd name="connsiteX656" fmla="*/ 696682 w 768492"/>
                <a:gd name="connsiteY656" fmla="*/ 272122 h 718099"/>
                <a:gd name="connsiteX657" fmla="*/ 696682 w 768492"/>
                <a:gd name="connsiteY657" fmla="*/ 269602 h 718099"/>
                <a:gd name="connsiteX658" fmla="*/ 696682 w 768492"/>
                <a:gd name="connsiteY658" fmla="*/ 263303 h 718099"/>
                <a:gd name="connsiteX659" fmla="*/ 696682 w 768492"/>
                <a:gd name="connsiteY659" fmla="*/ 263303 h 718099"/>
                <a:gd name="connsiteX660" fmla="*/ 696682 w 768492"/>
                <a:gd name="connsiteY660" fmla="*/ 259523 h 718099"/>
                <a:gd name="connsiteX661" fmla="*/ 696682 w 768492"/>
                <a:gd name="connsiteY661" fmla="*/ 249445 h 718099"/>
                <a:gd name="connsiteX662" fmla="*/ 696682 w 768492"/>
                <a:gd name="connsiteY662" fmla="*/ 244406 h 718099"/>
                <a:gd name="connsiteX663" fmla="*/ 696682 w 768492"/>
                <a:gd name="connsiteY663" fmla="*/ 240626 h 718099"/>
                <a:gd name="connsiteX664" fmla="*/ 696682 w 768492"/>
                <a:gd name="connsiteY664" fmla="*/ 240626 h 718099"/>
                <a:gd name="connsiteX665" fmla="*/ 696682 w 768492"/>
                <a:gd name="connsiteY665" fmla="*/ 240626 h 718099"/>
                <a:gd name="connsiteX666" fmla="*/ 696682 w 768492"/>
                <a:gd name="connsiteY666" fmla="*/ 235587 h 718099"/>
                <a:gd name="connsiteX667" fmla="*/ 696682 w 768492"/>
                <a:gd name="connsiteY667" fmla="*/ 234327 h 718099"/>
                <a:gd name="connsiteX668" fmla="*/ 696682 w 768492"/>
                <a:gd name="connsiteY668" fmla="*/ 233067 h 718099"/>
                <a:gd name="connsiteX669" fmla="*/ 696682 w 768492"/>
                <a:gd name="connsiteY669" fmla="*/ 233067 h 718099"/>
                <a:gd name="connsiteX670" fmla="*/ 697942 w 768492"/>
                <a:gd name="connsiteY670" fmla="*/ 230548 h 718099"/>
                <a:gd name="connsiteX671" fmla="*/ 697942 w 768492"/>
                <a:gd name="connsiteY671" fmla="*/ 229288 h 718099"/>
                <a:gd name="connsiteX672" fmla="*/ 699202 w 768492"/>
                <a:gd name="connsiteY672" fmla="*/ 225508 h 718099"/>
                <a:gd name="connsiteX673" fmla="*/ 699202 w 768492"/>
                <a:gd name="connsiteY673" fmla="*/ 224248 h 718099"/>
                <a:gd name="connsiteX674" fmla="*/ 700462 w 768492"/>
                <a:gd name="connsiteY674" fmla="*/ 221729 h 718099"/>
                <a:gd name="connsiteX675" fmla="*/ 701722 w 768492"/>
                <a:gd name="connsiteY675" fmla="*/ 221729 h 718099"/>
                <a:gd name="connsiteX676" fmla="*/ 702981 w 768492"/>
                <a:gd name="connsiteY676" fmla="*/ 221729 h 718099"/>
                <a:gd name="connsiteX677" fmla="*/ 702981 w 768492"/>
                <a:gd name="connsiteY677" fmla="*/ 221729 h 718099"/>
                <a:gd name="connsiteX678" fmla="*/ 702981 w 768492"/>
                <a:gd name="connsiteY678" fmla="*/ 221729 h 718099"/>
                <a:gd name="connsiteX679" fmla="*/ 702981 w 768492"/>
                <a:gd name="connsiteY679" fmla="*/ 221729 h 718099"/>
                <a:gd name="connsiteX680" fmla="*/ 702981 w 768492"/>
                <a:gd name="connsiteY680" fmla="*/ 221729 h 718099"/>
                <a:gd name="connsiteX681" fmla="*/ 702981 w 768492"/>
                <a:gd name="connsiteY681" fmla="*/ 221729 h 718099"/>
                <a:gd name="connsiteX682" fmla="*/ 702981 w 768492"/>
                <a:gd name="connsiteY682" fmla="*/ 221729 h 718099"/>
                <a:gd name="connsiteX683" fmla="*/ 702981 w 768492"/>
                <a:gd name="connsiteY683" fmla="*/ 221729 h 718099"/>
                <a:gd name="connsiteX684" fmla="*/ 702981 w 768492"/>
                <a:gd name="connsiteY684" fmla="*/ 221729 h 718099"/>
                <a:gd name="connsiteX685" fmla="*/ 702981 w 768492"/>
                <a:gd name="connsiteY685" fmla="*/ 222989 h 718099"/>
                <a:gd name="connsiteX686" fmla="*/ 702981 w 768492"/>
                <a:gd name="connsiteY686" fmla="*/ 222989 h 718099"/>
                <a:gd name="connsiteX687" fmla="*/ 702981 w 768492"/>
                <a:gd name="connsiteY687" fmla="*/ 222989 h 718099"/>
                <a:gd name="connsiteX688" fmla="*/ 704241 w 768492"/>
                <a:gd name="connsiteY688" fmla="*/ 222989 h 718099"/>
                <a:gd name="connsiteX689" fmla="*/ 704241 w 768492"/>
                <a:gd name="connsiteY689" fmla="*/ 222989 h 718099"/>
                <a:gd name="connsiteX690" fmla="*/ 704241 w 768492"/>
                <a:gd name="connsiteY690" fmla="*/ 222989 h 718099"/>
                <a:gd name="connsiteX691" fmla="*/ 706761 w 768492"/>
                <a:gd name="connsiteY691" fmla="*/ 225508 h 718099"/>
                <a:gd name="connsiteX692" fmla="*/ 715580 w 768492"/>
                <a:gd name="connsiteY692" fmla="*/ 244406 h 718099"/>
                <a:gd name="connsiteX693" fmla="*/ 718099 w 768492"/>
                <a:gd name="connsiteY693" fmla="*/ 248185 h 718099"/>
                <a:gd name="connsiteX694" fmla="*/ 719359 w 768492"/>
                <a:gd name="connsiteY694" fmla="*/ 250705 h 718099"/>
                <a:gd name="connsiteX695" fmla="*/ 719359 w 768492"/>
                <a:gd name="connsiteY695" fmla="*/ 250705 h 718099"/>
                <a:gd name="connsiteX696" fmla="*/ 723139 w 768492"/>
                <a:gd name="connsiteY696" fmla="*/ 258264 h 718099"/>
                <a:gd name="connsiteX697" fmla="*/ 724398 w 768492"/>
                <a:gd name="connsiteY697" fmla="*/ 260783 h 718099"/>
                <a:gd name="connsiteX698" fmla="*/ 728178 w 768492"/>
                <a:gd name="connsiteY698" fmla="*/ 267083 h 718099"/>
                <a:gd name="connsiteX699" fmla="*/ 729438 w 768492"/>
                <a:gd name="connsiteY699" fmla="*/ 268342 h 718099"/>
                <a:gd name="connsiteX700" fmla="*/ 733217 w 768492"/>
                <a:gd name="connsiteY700" fmla="*/ 274641 h 718099"/>
                <a:gd name="connsiteX701" fmla="*/ 735737 w 768492"/>
                <a:gd name="connsiteY701" fmla="*/ 278421 h 718099"/>
                <a:gd name="connsiteX702" fmla="*/ 745815 w 768492"/>
                <a:gd name="connsiteY702" fmla="*/ 297318 h 718099"/>
                <a:gd name="connsiteX703" fmla="*/ 748335 w 768492"/>
                <a:gd name="connsiteY703" fmla="*/ 303617 h 718099"/>
                <a:gd name="connsiteX704" fmla="*/ 750855 w 768492"/>
                <a:gd name="connsiteY704" fmla="*/ 308657 h 718099"/>
                <a:gd name="connsiteX705" fmla="*/ 753374 w 768492"/>
                <a:gd name="connsiteY705" fmla="*/ 313696 h 718099"/>
                <a:gd name="connsiteX706" fmla="*/ 755894 w 768492"/>
                <a:gd name="connsiteY706" fmla="*/ 318735 h 718099"/>
                <a:gd name="connsiteX707" fmla="*/ 755894 w 768492"/>
                <a:gd name="connsiteY707" fmla="*/ 318735 h 718099"/>
                <a:gd name="connsiteX708" fmla="*/ 755894 w 768492"/>
                <a:gd name="connsiteY708" fmla="*/ 318735 h 718099"/>
                <a:gd name="connsiteX709" fmla="*/ 758414 w 768492"/>
                <a:gd name="connsiteY709" fmla="*/ 325034 h 718099"/>
                <a:gd name="connsiteX710" fmla="*/ 758414 w 768492"/>
                <a:gd name="connsiteY710" fmla="*/ 325034 h 718099"/>
                <a:gd name="connsiteX711" fmla="*/ 758414 w 768492"/>
                <a:gd name="connsiteY711" fmla="*/ 325034 h 718099"/>
                <a:gd name="connsiteX712" fmla="*/ 758414 w 768492"/>
                <a:gd name="connsiteY712" fmla="*/ 325034 h 718099"/>
                <a:gd name="connsiteX713" fmla="*/ 762193 w 768492"/>
                <a:gd name="connsiteY713" fmla="*/ 332593 h 718099"/>
                <a:gd name="connsiteX714" fmla="*/ 767232 w 768492"/>
                <a:gd name="connsiteY714" fmla="*/ 343932 h 718099"/>
                <a:gd name="connsiteX715" fmla="*/ 771012 w 768492"/>
                <a:gd name="connsiteY715" fmla="*/ 354010 h 718099"/>
                <a:gd name="connsiteX716" fmla="*/ 771012 w 768492"/>
                <a:gd name="connsiteY716" fmla="*/ 355270 h 718099"/>
                <a:gd name="connsiteX717" fmla="*/ 774791 w 768492"/>
                <a:gd name="connsiteY717" fmla="*/ 365349 h 718099"/>
                <a:gd name="connsiteX718" fmla="*/ 776051 w 768492"/>
                <a:gd name="connsiteY718" fmla="*/ 367868 h 718099"/>
                <a:gd name="connsiteX719" fmla="*/ 778571 w 768492"/>
                <a:gd name="connsiteY719" fmla="*/ 372908 h 718099"/>
                <a:gd name="connsiteX720" fmla="*/ 778571 w 768492"/>
                <a:gd name="connsiteY720" fmla="*/ 369128 h 718099"/>
                <a:gd name="connsiteX721" fmla="*/ 778571 w 768492"/>
                <a:gd name="connsiteY721" fmla="*/ 372908 h 718099"/>
                <a:gd name="connsiteX722" fmla="*/ 777311 w 768492"/>
                <a:gd name="connsiteY722" fmla="*/ 367868 h 718099"/>
                <a:gd name="connsiteX723" fmla="*/ 777311 w 768492"/>
                <a:gd name="connsiteY723" fmla="*/ 367868 h 718099"/>
                <a:gd name="connsiteX724" fmla="*/ 777311 w 768492"/>
                <a:gd name="connsiteY724" fmla="*/ 366608 h 718099"/>
                <a:gd name="connsiteX725" fmla="*/ 777311 w 768492"/>
                <a:gd name="connsiteY725" fmla="*/ 366608 h 718099"/>
                <a:gd name="connsiteX726" fmla="*/ 777311 w 768492"/>
                <a:gd name="connsiteY726" fmla="*/ 366608 h 718099"/>
                <a:gd name="connsiteX727" fmla="*/ 777311 w 768492"/>
                <a:gd name="connsiteY727" fmla="*/ 366608 h 718099"/>
                <a:gd name="connsiteX728" fmla="*/ 777311 w 768492"/>
                <a:gd name="connsiteY728" fmla="*/ 366608 h 718099"/>
                <a:gd name="connsiteX729" fmla="*/ 777311 w 768492"/>
                <a:gd name="connsiteY729" fmla="*/ 365349 h 718099"/>
                <a:gd name="connsiteX730" fmla="*/ 777311 w 768492"/>
                <a:gd name="connsiteY730" fmla="*/ 365349 h 718099"/>
                <a:gd name="connsiteX731" fmla="*/ 777311 w 768492"/>
                <a:gd name="connsiteY731" fmla="*/ 365349 h 718099"/>
                <a:gd name="connsiteX732" fmla="*/ 777311 w 768492"/>
                <a:gd name="connsiteY732" fmla="*/ 365349 h 718099"/>
                <a:gd name="connsiteX733" fmla="*/ 777311 w 768492"/>
                <a:gd name="connsiteY733" fmla="*/ 365349 h 718099"/>
                <a:gd name="connsiteX734" fmla="*/ 777311 w 768492"/>
                <a:gd name="connsiteY734" fmla="*/ 362829 h 718099"/>
                <a:gd name="connsiteX735" fmla="*/ 777311 w 768492"/>
                <a:gd name="connsiteY735" fmla="*/ 364089 h 718099"/>
                <a:gd name="connsiteX736" fmla="*/ 776051 w 768492"/>
                <a:gd name="connsiteY736" fmla="*/ 359050 h 718099"/>
                <a:gd name="connsiteX737" fmla="*/ 773532 w 768492"/>
                <a:gd name="connsiteY737" fmla="*/ 346451 h 718099"/>
                <a:gd name="connsiteX738" fmla="*/ 769752 w 768492"/>
                <a:gd name="connsiteY738" fmla="*/ 323775 h 718099"/>
                <a:gd name="connsiteX739" fmla="*/ 769752 w 768492"/>
                <a:gd name="connsiteY739" fmla="*/ 323775 h 718099"/>
                <a:gd name="connsiteX740" fmla="*/ 765973 w 768492"/>
                <a:gd name="connsiteY740" fmla="*/ 299838 h 718099"/>
                <a:gd name="connsiteX741" fmla="*/ 762193 w 768492"/>
                <a:gd name="connsiteY741" fmla="*/ 265823 h 718099"/>
                <a:gd name="connsiteX742" fmla="*/ 762193 w 768492"/>
                <a:gd name="connsiteY742" fmla="*/ 265823 h 718099"/>
                <a:gd name="connsiteX743" fmla="*/ 760933 w 768492"/>
                <a:gd name="connsiteY743" fmla="*/ 262043 h 718099"/>
                <a:gd name="connsiteX744" fmla="*/ 758414 w 768492"/>
                <a:gd name="connsiteY744" fmla="*/ 250705 h 718099"/>
                <a:gd name="connsiteX745" fmla="*/ 754634 w 768492"/>
                <a:gd name="connsiteY745" fmla="*/ 236847 h 718099"/>
                <a:gd name="connsiteX746" fmla="*/ 750855 w 768492"/>
                <a:gd name="connsiteY746" fmla="*/ 225508 h 718099"/>
                <a:gd name="connsiteX747" fmla="*/ 750855 w 768492"/>
                <a:gd name="connsiteY747" fmla="*/ 221729 h 718099"/>
                <a:gd name="connsiteX748" fmla="*/ 750855 w 768492"/>
                <a:gd name="connsiteY748" fmla="*/ 217949 h 718099"/>
                <a:gd name="connsiteX749" fmla="*/ 749595 w 768492"/>
                <a:gd name="connsiteY749" fmla="*/ 202831 h 718099"/>
                <a:gd name="connsiteX750" fmla="*/ 749595 w 768492"/>
                <a:gd name="connsiteY750" fmla="*/ 201572 h 718099"/>
                <a:gd name="connsiteX751" fmla="*/ 748335 w 768492"/>
                <a:gd name="connsiteY751" fmla="*/ 197792 h 718099"/>
                <a:gd name="connsiteX752" fmla="*/ 748335 w 768492"/>
                <a:gd name="connsiteY752" fmla="*/ 197792 h 718099"/>
                <a:gd name="connsiteX753" fmla="*/ 748335 w 768492"/>
                <a:gd name="connsiteY753" fmla="*/ 197792 h 718099"/>
                <a:gd name="connsiteX754" fmla="*/ 743296 w 768492"/>
                <a:gd name="connsiteY754" fmla="*/ 178895 h 718099"/>
                <a:gd name="connsiteX755" fmla="*/ 736997 w 768492"/>
                <a:gd name="connsiteY755" fmla="*/ 158738 h 718099"/>
                <a:gd name="connsiteX756" fmla="*/ 734477 w 768492"/>
                <a:gd name="connsiteY756" fmla="*/ 152439 h 718099"/>
                <a:gd name="connsiteX757" fmla="*/ 729438 w 768492"/>
                <a:gd name="connsiteY757" fmla="*/ 137321 h 718099"/>
                <a:gd name="connsiteX758" fmla="*/ 721879 w 768492"/>
                <a:gd name="connsiteY758" fmla="*/ 118423 h 718099"/>
                <a:gd name="connsiteX759" fmla="*/ 720619 w 768492"/>
                <a:gd name="connsiteY759" fmla="*/ 117163 h 718099"/>
                <a:gd name="connsiteX760" fmla="*/ 718099 w 768492"/>
                <a:gd name="connsiteY760" fmla="*/ 110864 h 718099"/>
                <a:gd name="connsiteX761" fmla="*/ 713060 w 768492"/>
                <a:gd name="connsiteY761" fmla="*/ 99526 h 718099"/>
                <a:gd name="connsiteX762" fmla="*/ 713060 w 768492"/>
                <a:gd name="connsiteY762" fmla="*/ 98266 h 718099"/>
                <a:gd name="connsiteX763" fmla="*/ 702981 w 768492"/>
                <a:gd name="connsiteY763" fmla="*/ 79369 h 718099"/>
                <a:gd name="connsiteX764" fmla="*/ 695422 w 768492"/>
                <a:gd name="connsiteY764" fmla="*/ 70550 h 718099"/>
                <a:gd name="connsiteX765" fmla="*/ 687864 w 768492"/>
                <a:gd name="connsiteY765" fmla="*/ 62991 h 718099"/>
                <a:gd name="connsiteX766" fmla="*/ 686604 w 768492"/>
                <a:gd name="connsiteY766" fmla="*/ 61731 h 718099"/>
                <a:gd name="connsiteX767" fmla="*/ 679045 w 768492"/>
                <a:gd name="connsiteY767" fmla="*/ 54172 h 718099"/>
                <a:gd name="connsiteX768" fmla="*/ 670226 w 768492"/>
                <a:gd name="connsiteY768" fmla="*/ 47873 h 718099"/>
                <a:gd name="connsiteX769" fmla="*/ 660148 w 768492"/>
                <a:gd name="connsiteY769" fmla="*/ 41574 h 718099"/>
                <a:gd name="connsiteX770" fmla="*/ 650069 w 768492"/>
                <a:gd name="connsiteY770" fmla="*/ 36535 h 718099"/>
                <a:gd name="connsiteX771" fmla="*/ 650069 w 768492"/>
                <a:gd name="connsiteY771" fmla="*/ 36535 h 718099"/>
                <a:gd name="connsiteX772" fmla="*/ 641250 w 768492"/>
                <a:gd name="connsiteY772" fmla="*/ 32755 h 718099"/>
                <a:gd name="connsiteX773" fmla="*/ 637471 w 768492"/>
                <a:gd name="connsiteY773" fmla="*/ 31496 h 718099"/>
                <a:gd name="connsiteX774" fmla="*/ 631172 w 768492"/>
                <a:gd name="connsiteY774" fmla="*/ 28976 h 718099"/>
                <a:gd name="connsiteX775" fmla="*/ 628652 w 768492"/>
                <a:gd name="connsiteY775" fmla="*/ 27716 h 718099"/>
                <a:gd name="connsiteX776" fmla="*/ 627392 w 768492"/>
                <a:gd name="connsiteY776" fmla="*/ 27716 h 718099"/>
                <a:gd name="connsiteX777" fmla="*/ 622353 w 768492"/>
                <a:gd name="connsiteY777" fmla="*/ 25196 h 718099"/>
                <a:gd name="connsiteX778" fmla="*/ 609755 w 768492"/>
                <a:gd name="connsiteY778" fmla="*/ 22677 h 718099"/>
                <a:gd name="connsiteX779" fmla="*/ 595896 w 768492"/>
                <a:gd name="connsiteY779" fmla="*/ 18897 h 718099"/>
                <a:gd name="connsiteX780" fmla="*/ 595896 w 768492"/>
                <a:gd name="connsiteY780" fmla="*/ 18897 h 718099"/>
                <a:gd name="connsiteX781" fmla="*/ 590857 w 768492"/>
                <a:gd name="connsiteY781" fmla="*/ 17637 h 718099"/>
                <a:gd name="connsiteX782" fmla="*/ 574480 w 768492"/>
                <a:gd name="connsiteY782" fmla="*/ 12598 h 718099"/>
                <a:gd name="connsiteX783" fmla="*/ 561881 w 768492"/>
                <a:gd name="connsiteY783" fmla="*/ 8819 h 718099"/>
                <a:gd name="connsiteX784" fmla="*/ 551803 w 768492"/>
                <a:gd name="connsiteY784" fmla="*/ 6299 h 718099"/>
                <a:gd name="connsiteX785" fmla="*/ 550543 w 768492"/>
                <a:gd name="connsiteY785" fmla="*/ 6299 h 718099"/>
                <a:gd name="connsiteX786" fmla="*/ 540464 w 768492"/>
                <a:gd name="connsiteY786" fmla="*/ 3779 h 718099"/>
                <a:gd name="connsiteX787" fmla="*/ 534165 w 768492"/>
                <a:gd name="connsiteY787" fmla="*/ 2520 h 718099"/>
                <a:gd name="connsiteX788" fmla="*/ 530386 w 768492"/>
                <a:gd name="connsiteY788" fmla="*/ 1260 h 718099"/>
                <a:gd name="connsiteX789" fmla="*/ 526606 w 768492"/>
                <a:gd name="connsiteY789" fmla="*/ 0 h 718099"/>
                <a:gd name="connsiteX790" fmla="*/ 526606 w 768492"/>
                <a:gd name="connsiteY790" fmla="*/ 0 h 718099"/>
                <a:gd name="connsiteX791" fmla="*/ 526606 w 768492"/>
                <a:gd name="connsiteY791" fmla="*/ 0 h 718099"/>
                <a:gd name="connsiteX792" fmla="*/ 526606 w 768492"/>
                <a:gd name="connsiteY792" fmla="*/ 0 h 718099"/>
                <a:gd name="connsiteX793" fmla="*/ 537945 w 768492"/>
                <a:gd name="connsiteY793" fmla="*/ 16378 h 718099"/>
                <a:gd name="connsiteX794" fmla="*/ 162517 w 768492"/>
                <a:gd name="connsiteY794" fmla="*/ 388025 h 718099"/>
                <a:gd name="connsiteX795" fmla="*/ 162517 w 768492"/>
                <a:gd name="connsiteY795" fmla="*/ 388025 h 718099"/>
                <a:gd name="connsiteX796" fmla="*/ 162517 w 768492"/>
                <a:gd name="connsiteY796" fmla="*/ 388025 h 718099"/>
                <a:gd name="connsiteX797" fmla="*/ 162517 w 768492"/>
                <a:gd name="connsiteY797" fmla="*/ 388025 h 718099"/>
                <a:gd name="connsiteX798" fmla="*/ 354010 w 768492"/>
                <a:gd name="connsiteY798" fmla="*/ 725658 h 718099"/>
                <a:gd name="connsiteX799" fmla="*/ 351491 w 768492"/>
                <a:gd name="connsiteY799" fmla="*/ 726918 h 718099"/>
                <a:gd name="connsiteX800" fmla="*/ 354010 w 768492"/>
                <a:gd name="connsiteY800" fmla="*/ 725658 h 718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Lst>
              <a:rect l="l" t="t" r="r" b="b"/>
              <a:pathLst>
                <a:path w="768492" h="718099">
                  <a:moveTo>
                    <a:pt x="537945" y="16378"/>
                  </a:moveTo>
                  <a:cubicBezTo>
                    <a:pt x="537945" y="16378"/>
                    <a:pt x="537945" y="16378"/>
                    <a:pt x="537945" y="16378"/>
                  </a:cubicBezTo>
                  <a:lnTo>
                    <a:pt x="537945" y="16378"/>
                  </a:lnTo>
                  <a:cubicBezTo>
                    <a:pt x="537945" y="18897"/>
                    <a:pt x="537945" y="21417"/>
                    <a:pt x="536685" y="22677"/>
                  </a:cubicBezTo>
                  <a:cubicBezTo>
                    <a:pt x="536685" y="20157"/>
                    <a:pt x="536685" y="18897"/>
                    <a:pt x="537945" y="16378"/>
                  </a:cubicBezTo>
                  <a:lnTo>
                    <a:pt x="537945" y="16378"/>
                  </a:lnTo>
                  <a:lnTo>
                    <a:pt x="537945" y="16378"/>
                  </a:lnTo>
                  <a:cubicBezTo>
                    <a:pt x="537945" y="18897"/>
                    <a:pt x="537945" y="21417"/>
                    <a:pt x="536685" y="23937"/>
                  </a:cubicBezTo>
                  <a:cubicBezTo>
                    <a:pt x="536685" y="25196"/>
                    <a:pt x="536685" y="25196"/>
                    <a:pt x="536685" y="26456"/>
                  </a:cubicBezTo>
                  <a:cubicBezTo>
                    <a:pt x="536685" y="27716"/>
                    <a:pt x="535425" y="30236"/>
                    <a:pt x="535425" y="31496"/>
                  </a:cubicBezTo>
                  <a:cubicBezTo>
                    <a:pt x="534165" y="32755"/>
                    <a:pt x="534165" y="35275"/>
                    <a:pt x="531645" y="37795"/>
                  </a:cubicBezTo>
                  <a:cubicBezTo>
                    <a:pt x="530386" y="39054"/>
                    <a:pt x="529126" y="41574"/>
                    <a:pt x="526606" y="44094"/>
                  </a:cubicBezTo>
                  <a:cubicBezTo>
                    <a:pt x="524087" y="45354"/>
                    <a:pt x="522827" y="46613"/>
                    <a:pt x="519047" y="49133"/>
                  </a:cubicBezTo>
                  <a:cubicBezTo>
                    <a:pt x="514008" y="51653"/>
                    <a:pt x="510228" y="54172"/>
                    <a:pt x="505189" y="55432"/>
                  </a:cubicBezTo>
                  <a:cubicBezTo>
                    <a:pt x="502670" y="56692"/>
                    <a:pt x="500150" y="57952"/>
                    <a:pt x="496370" y="57952"/>
                  </a:cubicBezTo>
                  <a:cubicBezTo>
                    <a:pt x="492591" y="59212"/>
                    <a:pt x="490071" y="59212"/>
                    <a:pt x="487552" y="59212"/>
                  </a:cubicBezTo>
                  <a:cubicBezTo>
                    <a:pt x="487552" y="59212"/>
                    <a:pt x="486292" y="59212"/>
                    <a:pt x="486292" y="59212"/>
                  </a:cubicBezTo>
                  <a:cubicBezTo>
                    <a:pt x="482512" y="59212"/>
                    <a:pt x="479993" y="59212"/>
                    <a:pt x="476213" y="59212"/>
                  </a:cubicBezTo>
                  <a:cubicBezTo>
                    <a:pt x="472434" y="59212"/>
                    <a:pt x="469914" y="59212"/>
                    <a:pt x="466135" y="57952"/>
                  </a:cubicBezTo>
                  <a:cubicBezTo>
                    <a:pt x="458576" y="56692"/>
                    <a:pt x="452277" y="55432"/>
                    <a:pt x="447237" y="52913"/>
                  </a:cubicBezTo>
                  <a:cubicBezTo>
                    <a:pt x="444718" y="51653"/>
                    <a:pt x="442198" y="50393"/>
                    <a:pt x="440938" y="49133"/>
                  </a:cubicBezTo>
                  <a:lnTo>
                    <a:pt x="439678" y="47873"/>
                  </a:lnTo>
                  <a:cubicBezTo>
                    <a:pt x="435899" y="46613"/>
                    <a:pt x="433379" y="44094"/>
                    <a:pt x="430860" y="42834"/>
                  </a:cubicBezTo>
                  <a:cubicBezTo>
                    <a:pt x="425820" y="39054"/>
                    <a:pt x="420781" y="35275"/>
                    <a:pt x="417002" y="30236"/>
                  </a:cubicBezTo>
                  <a:cubicBezTo>
                    <a:pt x="414482" y="27716"/>
                    <a:pt x="413222" y="26456"/>
                    <a:pt x="411962" y="23937"/>
                  </a:cubicBezTo>
                  <a:cubicBezTo>
                    <a:pt x="410702" y="21417"/>
                    <a:pt x="409443" y="17637"/>
                    <a:pt x="408183" y="15118"/>
                  </a:cubicBezTo>
                  <a:cubicBezTo>
                    <a:pt x="408183" y="13858"/>
                    <a:pt x="406923" y="12598"/>
                    <a:pt x="406923" y="11338"/>
                  </a:cubicBezTo>
                  <a:lnTo>
                    <a:pt x="406923" y="10078"/>
                  </a:lnTo>
                  <a:cubicBezTo>
                    <a:pt x="406923" y="8819"/>
                    <a:pt x="405663" y="7559"/>
                    <a:pt x="406923" y="6299"/>
                  </a:cubicBezTo>
                  <a:cubicBezTo>
                    <a:pt x="406923" y="5039"/>
                    <a:pt x="406923" y="3779"/>
                    <a:pt x="406923" y="2520"/>
                  </a:cubicBezTo>
                  <a:lnTo>
                    <a:pt x="406923" y="2520"/>
                  </a:lnTo>
                  <a:lnTo>
                    <a:pt x="406923" y="2520"/>
                  </a:lnTo>
                  <a:cubicBezTo>
                    <a:pt x="406923" y="2520"/>
                    <a:pt x="406923" y="2520"/>
                    <a:pt x="406923" y="2520"/>
                  </a:cubicBezTo>
                  <a:lnTo>
                    <a:pt x="406923" y="2520"/>
                  </a:lnTo>
                  <a:lnTo>
                    <a:pt x="406923" y="2520"/>
                  </a:lnTo>
                  <a:lnTo>
                    <a:pt x="406923" y="2520"/>
                  </a:lnTo>
                  <a:lnTo>
                    <a:pt x="406923" y="2520"/>
                  </a:lnTo>
                  <a:cubicBezTo>
                    <a:pt x="405663" y="2520"/>
                    <a:pt x="404403" y="3779"/>
                    <a:pt x="403143" y="3779"/>
                  </a:cubicBezTo>
                  <a:lnTo>
                    <a:pt x="403143" y="3779"/>
                  </a:lnTo>
                  <a:lnTo>
                    <a:pt x="401884" y="3779"/>
                  </a:lnTo>
                  <a:cubicBezTo>
                    <a:pt x="400624" y="3779"/>
                    <a:pt x="400624" y="3779"/>
                    <a:pt x="399364" y="3779"/>
                  </a:cubicBezTo>
                  <a:cubicBezTo>
                    <a:pt x="395585" y="5039"/>
                    <a:pt x="391805" y="5039"/>
                    <a:pt x="388026" y="6299"/>
                  </a:cubicBezTo>
                  <a:cubicBezTo>
                    <a:pt x="386766" y="6299"/>
                    <a:pt x="385506" y="7559"/>
                    <a:pt x="382986" y="7559"/>
                  </a:cubicBezTo>
                  <a:lnTo>
                    <a:pt x="381726" y="7559"/>
                  </a:lnTo>
                  <a:lnTo>
                    <a:pt x="380467" y="7559"/>
                  </a:lnTo>
                  <a:lnTo>
                    <a:pt x="379207" y="7559"/>
                  </a:lnTo>
                  <a:cubicBezTo>
                    <a:pt x="376687" y="7559"/>
                    <a:pt x="374167" y="7559"/>
                    <a:pt x="371648" y="8819"/>
                  </a:cubicBezTo>
                  <a:cubicBezTo>
                    <a:pt x="370388" y="8819"/>
                    <a:pt x="369128" y="8819"/>
                    <a:pt x="367868" y="8819"/>
                  </a:cubicBezTo>
                  <a:cubicBezTo>
                    <a:pt x="362829" y="8819"/>
                    <a:pt x="359050" y="10078"/>
                    <a:pt x="354010" y="11338"/>
                  </a:cubicBezTo>
                  <a:cubicBezTo>
                    <a:pt x="350231" y="12598"/>
                    <a:pt x="345192" y="13858"/>
                    <a:pt x="340152" y="15118"/>
                  </a:cubicBezTo>
                  <a:cubicBezTo>
                    <a:pt x="338893" y="15118"/>
                    <a:pt x="338893" y="15118"/>
                    <a:pt x="337633" y="15118"/>
                  </a:cubicBezTo>
                  <a:cubicBezTo>
                    <a:pt x="333853" y="15118"/>
                    <a:pt x="330074" y="16378"/>
                    <a:pt x="326294" y="17637"/>
                  </a:cubicBezTo>
                  <a:cubicBezTo>
                    <a:pt x="318735" y="20157"/>
                    <a:pt x="311176" y="22677"/>
                    <a:pt x="302358" y="26456"/>
                  </a:cubicBezTo>
                  <a:cubicBezTo>
                    <a:pt x="298578" y="27716"/>
                    <a:pt x="293539" y="30236"/>
                    <a:pt x="289759" y="32755"/>
                  </a:cubicBezTo>
                  <a:lnTo>
                    <a:pt x="289759" y="32755"/>
                  </a:lnTo>
                  <a:cubicBezTo>
                    <a:pt x="287240" y="34015"/>
                    <a:pt x="284720" y="35275"/>
                    <a:pt x="282201" y="36535"/>
                  </a:cubicBezTo>
                  <a:cubicBezTo>
                    <a:pt x="274642" y="40314"/>
                    <a:pt x="267083" y="44094"/>
                    <a:pt x="262043" y="46613"/>
                  </a:cubicBezTo>
                  <a:cubicBezTo>
                    <a:pt x="257004" y="49133"/>
                    <a:pt x="254484" y="51653"/>
                    <a:pt x="250705" y="54172"/>
                  </a:cubicBezTo>
                  <a:cubicBezTo>
                    <a:pt x="248185" y="56692"/>
                    <a:pt x="244406" y="59212"/>
                    <a:pt x="241886" y="61731"/>
                  </a:cubicBezTo>
                  <a:cubicBezTo>
                    <a:pt x="236847" y="66770"/>
                    <a:pt x="231808" y="71810"/>
                    <a:pt x="225508" y="76849"/>
                  </a:cubicBezTo>
                  <a:cubicBezTo>
                    <a:pt x="224249" y="79369"/>
                    <a:pt x="221729" y="80629"/>
                    <a:pt x="220469" y="83148"/>
                  </a:cubicBezTo>
                  <a:cubicBezTo>
                    <a:pt x="217949" y="85668"/>
                    <a:pt x="215430" y="86928"/>
                    <a:pt x="212910" y="88188"/>
                  </a:cubicBezTo>
                  <a:cubicBezTo>
                    <a:pt x="210391" y="90707"/>
                    <a:pt x="207871" y="93227"/>
                    <a:pt x="204091" y="95746"/>
                  </a:cubicBezTo>
                  <a:cubicBezTo>
                    <a:pt x="201572" y="98266"/>
                    <a:pt x="200312" y="99526"/>
                    <a:pt x="197792" y="103305"/>
                  </a:cubicBezTo>
                  <a:cubicBezTo>
                    <a:pt x="192753" y="108345"/>
                    <a:pt x="187714" y="113384"/>
                    <a:pt x="183934" y="117163"/>
                  </a:cubicBezTo>
                  <a:cubicBezTo>
                    <a:pt x="182674" y="118423"/>
                    <a:pt x="181415" y="120943"/>
                    <a:pt x="178895" y="122203"/>
                  </a:cubicBezTo>
                  <a:lnTo>
                    <a:pt x="177635" y="123463"/>
                  </a:lnTo>
                  <a:lnTo>
                    <a:pt x="176375" y="124722"/>
                  </a:lnTo>
                  <a:cubicBezTo>
                    <a:pt x="173856" y="127242"/>
                    <a:pt x="171336" y="131022"/>
                    <a:pt x="167557" y="133541"/>
                  </a:cubicBezTo>
                  <a:cubicBezTo>
                    <a:pt x="163777" y="137321"/>
                    <a:pt x="158738" y="141100"/>
                    <a:pt x="154958" y="146139"/>
                  </a:cubicBezTo>
                  <a:cubicBezTo>
                    <a:pt x="153699" y="147399"/>
                    <a:pt x="152439" y="148659"/>
                    <a:pt x="151179" y="149919"/>
                  </a:cubicBezTo>
                  <a:cubicBezTo>
                    <a:pt x="147399" y="153698"/>
                    <a:pt x="144880" y="156218"/>
                    <a:pt x="141100" y="159998"/>
                  </a:cubicBezTo>
                  <a:cubicBezTo>
                    <a:pt x="139840" y="162517"/>
                    <a:pt x="137321" y="163777"/>
                    <a:pt x="136061" y="165037"/>
                  </a:cubicBezTo>
                  <a:cubicBezTo>
                    <a:pt x="132281" y="168816"/>
                    <a:pt x="128502" y="173855"/>
                    <a:pt x="124723" y="177635"/>
                  </a:cubicBezTo>
                  <a:lnTo>
                    <a:pt x="120943" y="181414"/>
                  </a:lnTo>
                  <a:cubicBezTo>
                    <a:pt x="119683" y="182674"/>
                    <a:pt x="117164" y="185194"/>
                    <a:pt x="115904" y="186454"/>
                  </a:cubicBezTo>
                  <a:lnTo>
                    <a:pt x="115904" y="186454"/>
                  </a:lnTo>
                  <a:cubicBezTo>
                    <a:pt x="112124" y="190233"/>
                    <a:pt x="108345" y="194013"/>
                    <a:pt x="105825" y="197792"/>
                  </a:cubicBezTo>
                  <a:cubicBezTo>
                    <a:pt x="102046" y="202831"/>
                    <a:pt x="98266" y="207871"/>
                    <a:pt x="94487" y="212910"/>
                  </a:cubicBezTo>
                  <a:lnTo>
                    <a:pt x="93227" y="214170"/>
                  </a:lnTo>
                  <a:cubicBezTo>
                    <a:pt x="91967" y="215430"/>
                    <a:pt x="91967" y="215430"/>
                    <a:pt x="90707" y="216690"/>
                  </a:cubicBezTo>
                  <a:cubicBezTo>
                    <a:pt x="86928" y="221729"/>
                    <a:pt x="81889" y="228028"/>
                    <a:pt x="78109" y="234327"/>
                  </a:cubicBezTo>
                  <a:lnTo>
                    <a:pt x="76849" y="235587"/>
                  </a:lnTo>
                  <a:cubicBezTo>
                    <a:pt x="74330" y="238107"/>
                    <a:pt x="73070" y="240626"/>
                    <a:pt x="70550" y="244406"/>
                  </a:cubicBezTo>
                  <a:cubicBezTo>
                    <a:pt x="69290" y="245666"/>
                    <a:pt x="68030" y="248185"/>
                    <a:pt x="66771" y="249445"/>
                  </a:cubicBezTo>
                  <a:lnTo>
                    <a:pt x="66771" y="249445"/>
                  </a:lnTo>
                  <a:cubicBezTo>
                    <a:pt x="65511" y="250705"/>
                    <a:pt x="64251" y="251965"/>
                    <a:pt x="64251" y="253224"/>
                  </a:cubicBezTo>
                  <a:cubicBezTo>
                    <a:pt x="60472" y="258264"/>
                    <a:pt x="56692" y="264563"/>
                    <a:pt x="51653" y="270862"/>
                  </a:cubicBezTo>
                  <a:cubicBezTo>
                    <a:pt x="45354" y="280940"/>
                    <a:pt x="37795" y="291019"/>
                    <a:pt x="31496" y="301098"/>
                  </a:cubicBezTo>
                  <a:lnTo>
                    <a:pt x="27716" y="307397"/>
                  </a:lnTo>
                  <a:cubicBezTo>
                    <a:pt x="26456" y="308657"/>
                    <a:pt x="26456" y="309916"/>
                    <a:pt x="25196" y="311176"/>
                  </a:cubicBezTo>
                  <a:cubicBezTo>
                    <a:pt x="22677" y="314956"/>
                    <a:pt x="20157" y="319995"/>
                    <a:pt x="17638" y="325034"/>
                  </a:cubicBezTo>
                  <a:lnTo>
                    <a:pt x="16378" y="327554"/>
                  </a:lnTo>
                  <a:lnTo>
                    <a:pt x="16378" y="327554"/>
                  </a:lnTo>
                  <a:cubicBezTo>
                    <a:pt x="15118" y="328814"/>
                    <a:pt x="13858" y="331333"/>
                    <a:pt x="13858" y="332593"/>
                  </a:cubicBezTo>
                  <a:cubicBezTo>
                    <a:pt x="12598" y="335113"/>
                    <a:pt x="11338" y="338892"/>
                    <a:pt x="10079" y="342672"/>
                  </a:cubicBezTo>
                  <a:lnTo>
                    <a:pt x="10079" y="342672"/>
                  </a:lnTo>
                  <a:cubicBezTo>
                    <a:pt x="8819" y="346451"/>
                    <a:pt x="7559" y="348971"/>
                    <a:pt x="6299" y="351491"/>
                  </a:cubicBezTo>
                  <a:cubicBezTo>
                    <a:pt x="5039" y="355270"/>
                    <a:pt x="3780" y="357790"/>
                    <a:pt x="3780" y="360309"/>
                  </a:cubicBezTo>
                  <a:cubicBezTo>
                    <a:pt x="2520" y="367868"/>
                    <a:pt x="1260" y="374167"/>
                    <a:pt x="0" y="381726"/>
                  </a:cubicBezTo>
                  <a:cubicBezTo>
                    <a:pt x="0" y="389285"/>
                    <a:pt x="1260" y="395584"/>
                    <a:pt x="1260" y="401884"/>
                  </a:cubicBezTo>
                  <a:cubicBezTo>
                    <a:pt x="1260" y="405663"/>
                    <a:pt x="2520" y="409443"/>
                    <a:pt x="3780" y="413222"/>
                  </a:cubicBezTo>
                  <a:cubicBezTo>
                    <a:pt x="5039" y="417001"/>
                    <a:pt x="6299" y="419521"/>
                    <a:pt x="8819" y="423301"/>
                  </a:cubicBezTo>
                  <a:cubicBezTo>
                    <a:pt x="8819" y="424560"/>
                    <a:pt x="10079" y="424560"/>
                    <a:pt x="11338" y="425820"/>
                  </a:cubicBezTo>
                  <a:lnTo>
                    <a:pt x="11338" y="425820"/>
                  </a:lnTo>
                  <a:cubicBezTo>
                    <a:pt x="11338" y="425820"/>
                    <a:pt x="11338" y="425820"/>
                    <a:pt x="11338" y="425820"/>
                  </a:cubicBezTo>
                  <a:cubicBezTo>
                    <a:pt x="11338" y="425820"/>
                    <a:pt x="11338" y="425820"/>
                    <a:pt x="11338" y="425820"/>
                  </a:cubicBezTo>
                  <a:lnTo>
                    <a:pt x="11338" y="425820"/>
                  </a:lnTo>
                  <a:lnTo>
                    <a:pt x="11338" y="425820"/>
                  </a:lnTo>
                  <a:cubicBezTo>
                    <a:pt x="11338" y="425820"/>
                    <a:pt x="11338" y="425820"/>
                    <a:pt x="11338" y="425820"/>
                  </a:cubicBezTo>
                  <a:cubicBezTo>
                    <a:pt x="10079" y="418261"/>
                    <a:pt x="10079" y="411962"/>
                    <a:pt x="10079" y="406923"/>
                  </a:cubicBezTo>
                  <a:cubicBezTo>
                    <a:pt x="10079" y="401884"/>
                    <a:pt x="10079" y="394325"/>
                    <a:pt x="11338" y="388025"/>
                  </a:cubicBezTo>
                  <a:cubicBezTo>
                    <a:pt x="11338" y="385506"/>
                    <a:pt x="12598" y="382986"/>
                    <a:pt x="13858" y="380467"/>
                  </a:cubicBezTo>
                  <a:lnTo>
                    <a:pt x="13858" y="380467"/>
                  </a:lnTo>
                  <a:cubicBezTo>
                    <a:pt x="15118" y="376687"/>
                    <a:pt x="16378" y="374167"/>
                    <a:pt x="17638" y="370388"/>
                  </a:cubicBezTo>
                  <a:cubicBezTo>
                    <a:pt x="18897" y="366608"/>
                    <a:pt x="21417" y="362829"/>
                    <a:pt x="23937" y="359050"/>
                  </a:cubicBezTo>
                  <a:cubicBezTo>
                    <a:pt x="25196" y="357790"/>
                    <a:pt x="26456" y="356530"/>
                    <a:pt x="27716" y="355270"/>
                  </a:cubicBezTo>
                  <a:cubicBezTo>
                    <a:pt x="28976" y="355270"/>
                    <a:pt x="28976" y="354010"/>
                    <a:pt x="30236" y="354010"/>
                  </a:cubicBezTo>
                  <a:cubicBezTo>
                    <a:pt x="30236" y="354010"/>
                    <a:pt x="31496" y="354010"/>
                    <a:pt x="31496" y="352751"/>
                  </a:cubicBezTo>
                  <a:cubicBezTo>
                    <a:pt x="32755" y="352751"/>
                    <a:pt x="34015" y="351491"/>
                    <a:pt x="35275" y="351491"/>
                  </a:cubicBezTo>
                  <a:lnTo>
                    <a:pt x="36535" y="350231"/>
                  </a:lnTo>
                  <a:cubicBezTo>
                    <a:pt x="39055" y="348971"/>
                    <a:pt x="42834" y="347711"/>
                    <a:pt x="45354" y="346451"/>
                  </a:cubicBezTo>
                  <a:cubicBezTo>
                    <a:pt x="47873" y="345192"/>
                    <a:pt x="49133" y="345192"/>
                    <a:pt x="51653" y="345192"/>
                  </a:cubicBezTo>
                  <a:cubicBezTo>
                    <a:pt x="51653" y="345192"/>
                    <a:pt x="51653" y="345192"/>
                    <a:pt x="52913" y="345192"/>
                  </a:cubicBezTo>
                  <a:cubicBezTo>
                    <a:pt x="56692" y="345192"/>
                    <a:pt x="61731" y="345192"/>
                    <a:pt x="65511" y="345192"/>
                  </a:cubicBezTo>
                  <a:cubicBezTo>
                    <a:pt x="70550" y="345192"/>
                    <a:pt x="75589" y="346451"/>
                    <a:pt x="79369" y="346451"/>
                  </a:cubicBezTo>
                  <a:cubicBezTo>
                    <a:pt x="86928" y="347711"/>
                    <a:pt x="94487" y="350231"/>
                    <a:pt x="102046" y="352751"/>
                  </a:cubicBezTo>
                  <a:cubicBezTo>
                    <a:pt x="107085" y="355270"/>
                    <a:pt x="112124" y="356530"/>
                    <a:pt x="115904" y="359050"/>
                  </a:cubicBezTo>
                  <a:cubicBezTo>
                    <a:pt x="117164" y="360309"/>
                    <a:pt x="118423" y="360309"/>
                    <a:pt x="119683" y="361569"/>
                  </a:cubicBezTo>
                  <a:cubicBezTo>
                    <a:pt x="119683" y="361569"/>
                    <a:pt x="119683" y="361569"/>
                    <a:pt x="119683" y="361569"/>
                  </a:cubicBezTo>
                  <a:cubicBezTo>
                    <a:pt x="122203" y="362829"/>
                    <a:pt x="123463" y="364089"/>
                    <a:pt x="125982" y="365349"/>
                  </a:cubicBezTo>
                  <a:cubicBezTo>
                    <a:pt x="127242" y="365349"/>
                    <a:pt x="128502" y="366608"/>
                    <a:pt x="129762" y="366608"/>
                  </a:cubicBezTo>
                  <a:cubicBezTo>
                    <a:pt x="129762" y="366608"/>
                    <a:pt x="129762" y="366608"/>
                    <a:pt x="129762" y="366608"/>
                  </a:cubicBezTo>
                  <a:cubicBezTo>
                    <a:pt x="129762" y="366608"/>
                    <a:pt x="129762" y="366608"/>
                    <a:pt x="129762" y="366608"/>
                  </a:cubicBezTo>
                  <a:cubicBezTo>
                    <a:pt x="132281" y="367868"/>
                    <a:pt x="134801" y="369128"/>
                    <a:pt x="138581" y="371648"/>
                  </a:cubicBezTo>
                  <a:cubicBezTo>
                    <a:pt x="139840" y="372908"/>
                    <a:pt x="142360" y="374167"/>
                    <a:pt x="143620" y="375427"/>
                  </a:cubicBezTo>
                  <a:cubicBezTo>
                    <a:pt x="144880" y="376687"/>
                    <a:pt x="147399" y="377947"/>
                    <a:pt x="148659" y="379207"/>
                  </a:cubicBezTo>
                  <a:cubicBezTo>
                    <a:pt x="153699" y="382986"/>
                    <a:pt x="157478" y="385506"/>
                    <a:pt x="161257" y="388025"/>
                  </a:cubicBezTo>
                  <a:lnTo>
                    <a:pt x="161257" y="388025"/>
                  </a:lnTo>
                  <a:lnTo>
                    <a:pt x="161257" y="388025"/>
                  </a:lnTo>
                  <a:lnTo>
                    <a:pt x="161257" y="388025"/>
                  </a:lnTo>
                  <a:lnTo>
                    <a:pt x="161257" y="388025"/>
                  </a:lnTo>
                  <a:lnTo>
                    <a:pt x="161257" y="388025"/>
                  </a:lnTo>
                  <a:lnTo>
                    <a:pt x="161257" y="388025"/>
                  </a:lnTo>
                  <a:lnTo>
                    <a:pt x="161257" y="388025"/>
                  </a:lnTo>
                  <a:lnTo>
                    <a:pt x="161257" y="388025"/>
                  </a:lnTo>
                  <a:lnTo>
                    <a:pt x="161257" y="388025"/>
                  </a:lnTo>
                  <a:lnTo>
                    <a:pt x="161257" y="388025"/>
                  </a:lnTo>
                  <a:lnTo>
                    <a:pt x="162517" y="388025"/>
                  </a:lnTo>
                  <a:cubicBezTo>
                    <a:pt x="163777" y="389285"/>
                    <a:pt x="165037" y="389285"/>
                    <a:pt x="166297" y="390545"/>
                  </a:cubicBezTo>
                  <a:cubicBezTo>
                    <a:pt x="165037" y="389285"/>
                    <a:pt x="163777" y="389285"/>
                    <a:pt x="162517" y="388025"/>
                  </a:cubicBezTo>
                  <a:cubicBezTo>
                    <a:pt x="163777" y="389285"/>
                    <a:pt x="165037" y="389285"/>
                    <a:pt x="166297" y="390545"/>
                  </a:cubicBezTo>
                  <a:lnTo>
                    <a:pt x="166297" y="390545"/>
                  </a:lnTo>
                  <a:lnTo>
                    <a:pt x="166297" y="390545"/>
                  </a:lnTo>
                  <a:lnTo>
                    <a:pt x="166297" y="390545"/>
                  </a:lnTo>
                  <a:lnTo>
                    <a:pt x="166297" y="390545"/>
                  </a:lnTo>
                  <a:lnTo>
                    <a:pt x="166297" y="390545"/>
                  </a:lnTo>
                  <a:lnTo>
                    <a:pt x="166297" y="390545"/>
                  </a:lnTo>
                  <a:lnTo>
                    <a:pt x="166297" y="390545"/>
                  </a:lnTo>
                  <a:lnTo>
                    <a:pt x="166297" y="390545"/>
                  </a:lnTo>
                  <a:lnTo>
                    <a:pt x="166297" y="390545"/>
                  </a:lnTo>
                  <a:lnTo>
                    <a:pt x="167557" y="388025"/>
                  </a:lnTo>
                  <a:lnTo>
                    <a:pt x="168816" y="386766"/>
                  </a:lnTo>
                  <a:cubicBezTo>
                    <a:pt x="170076" y="384246"/>
                    <a:pt x="171336" y="382986"/>
                    <a:pt x="173856" y="380467"/>
                  </a:cubicBezTo>
                  <a:cubicBezTo>
                    <a:pt x="178895" y="374167"/>
                    <a:pt x="182674" y="369128"/>
                    <a:pt x="186454" y="362829"/>
                  </a:cubicBezTo>
                  <a:cubicBezTo>
                    <a:pt x="190233" y="357790"/>
                    <a:pt x="194013" y="352751"/>
                    <a:pt x="196533" y="347711"/>
                  </a:cubicBezTo>
                  <a:lnTo>
                    <a:pt x="196533" y="346451"/>
                  </a:lnTo>
                  <a:cubicBezTo>
                    <a:pt x="201572" y="340152"/>
                    <a:pt x="206611" y="332593"/>
                    <a:pt x="210391" y="326294"/>
                  </a:cubicBezTo>
                  <a:cubicBezTo>
                    <a:pt x="212910" y="322515"/>
                    <a:pt x="216690" y="317475"/>
                    <a:pt x="219209" y="313696"/>
                  </a:cubicBezTo>
                  <a:lnTo>
                    <a:pt x="219209" y="313696"/>
                  </a:lnTo>
                  <a:lnTo>
                    <a:pt x="220469" y="312436"/>
                  </a:lnTo>
                  <a:cubicBezTo>
                    <a:pt x="221729" y="311176"/>
                    <a:pt x="222989" y="309916"/>
                    <a:pt x="222989" y="308657"/>
                  </a:cubicBezTo>
                  <a:lnTo>
                    <a:pt x="222989" y="307397"/>
                  </a:lnTo>
                  <a:cubicBezTo>
                    <a:pt x="224249" y="304877"/>
                    <a:pt x="226768" y="302358"/>
                    <a:pt x="228028" y="299838"/>
                  </a:cubicBezTo>
                  <a:cubicBezTo>
                    <a:pt x="230548" y="297318"/>
                    <a:pt x="233067" y="293539"/>
                    <a:pt x="235587" y="291019"/>
                  </a:cubicBezTo>
                  <a:cubicBezTo>
                    <a:pt x="236847" y="288499"/>
                    <a:pt x="239366" y="287240"/>
                    <a:pt x="240626" y="284720"/>
                  </a:cubicBezTo>
                  <a:cubicBezTo>
                    <a:pt x="243146" y="280940"/>
                    <a:pt x="245666" y="278421"/>
                    <a:pt x="248185" y="275901"/>
                  </a:cubicBezTo>
                  <a:cubicBezTo>
                    <a:pt x="250705" y="273382"/>
                    <a:pt x="253225" y="269602"/>
                    <a:pt x="255744" y="265823"/>
                  </a:cubicBezTo>
                  <a:cubicBezTo>
                    <a:pt x="255744" y="265823"/>
                    <a:pt x="257004" y="264563"/>
                    <a:pt x="257004" y="264563"/>
                  </a:cubicBezTo>
                  <a:cubicBezTo>
                    <a:pt x="257004" y="264563"/>
                    <a:pt x="257004" y="264563"/>
                    <a:pt x="257004" y="264563"/>
                  </a:cubicBezTo>
                  <a:cubicBezTo>
                    <a:pt x="257004" y="264563"/>
                    <a:pt x="257004" y="264563"/>
                    <a:pt x="257004" y="264563"/>
                  </a:cubicBezTo>
                  <a:cubicBezTo>
                    <a:pt x="257004" y="264563"/>
                    <a:pt x="257004" y="264563"/>
                    <a:pt x="257004" y="264563"/>
                  </a:cubicBezTo>
                  <a:cubicBezTo>
                    <a:pt x="257004" y="264563"/>
                    <a:pt x="257004" y="264563"/>
                    <a:pt x="257004" y="264563"/>
                  </a:cubicBezTo>
                  <a:cubicBezTo>
                    <a:pt x="257004" y="263303"/>
                    <a:pt x="258264" y="263303"/>
                    <a:pt x="258264" y="262043"/>
                  </a:cubicBezTo>
                  <a:cubicBezTo>
                    <a:pt x="259524" y="260783"/>
                    <a:pt x="259524" y="259523"/>
                    <a:pt x="260783" y="259523"/>
                  </a:cubicBezTo>
                  <a:cubicBezTo>
                    <a:pt x="260783" y="259523"/>
                    <a:pt x="260783" y="259523"/>
                    <a:pt x="260783" y="259523"/>
                  </a:cubicBezTo>
                  <a:cubicBezTo>
                    <a:pt x="260783" y="259523"/>
                    <a:pt x="262043" y="258264"/>
                    <a:pt x="262043" y="258264"/>
                  </a:cubicBezTo>
                  <a:cubicBezTo>
                    <a:pt x="262043" y="258264"/>
                    <a:pt x="262043" y="258264"/>
                    <a:pt x="262043" y="258264"/>
                  </a:cubicBezTo>
                  <a:cubicBezTo>
                    <a:pt x="263303" y="257004"/>
                    <a:pt x="263303" y="257004"/>
                    <a:pt x="264563" y="255744"/>
                  </a:cubicBezTo>
                  <a:lnTo>
                    <a:pt x="264563" y="255744"/>
                  </a:lnTo>
                  <a:lnTo>
                    <a:pt x="264563" y="255744"/>
                  </a:lnTo>
                  <a:lnTo>
                    <a:pt x="264563" y="254484"/>
                  </a:lnTo>
                  <a:lnTo>
                    <a:pt x="265823" y="253224"/>
                  </a:lnTo>
                  <a:cubicBezTo>
                    <a:pt x="265823" y="253224"/>
                    <a:pt x="267083" y="251965"/>
                    <a:pt x="267083" y="251965"/>
                  </a:cubicBezTo>
                  <a:cubicBezTo>
                    <a:pt x="267083" y="250705"/>
                    <a:pt x="268342" y="250705"/>
                    <a:pt x="268342" y="250705"/>
                  </a:cubicBezTo>
                  <a:cubicBezTo>
                    <a:pt x="268342" y="250705"/>
                    <a:pt x="269602" y="249445"/>
                    <a:pt x="269602" y="249445"/>
                  </a:cubicBezTo>
                  <a:cubicBezTo>
                    <a:pt x="269602" y="248185"/>
                    <a:pt x="270862" y="248185"/>
                    <a:pt x="270862" y="246925"/>
                  </a:cubicBezTo>
                  <a:lnTo>
                    <a:pt x="270862" y="245666"/>
                  </a:lnTo>
                  <a:lnTo>
                    <a:pt x="272122" y="244406"/>
                  </a:lnTo>
                  <a:lnTo>
                    <a:pt x="273382" y="243146"/>
                  </a:lnTo>
                  <a:cubicBezTo>
                    <a:pt x="274642" y="241886"/>
                    <a:pt x="275901" y="240626"/>
                    <a:pt x="275901" y="239366"/>
                  </a:cubicBezTo>
                  <a:cubicBezTo>
                    <a:pt x="275901" y="239366"/>
                    <a:pt x="277161" y="238107"/>
                    <a:pt x="277161" y="238107"/>
                  </a:cubicBezTo>
                  <a:lnTo>
                    <a:pt x="278421" y="236847"/>
                  </a:lnTo>
                  <a:lnTo>
                    <a:pt x="278421" y="236847"/>
                  </a:lnTo>
                  <a:cubicBezTo>
                    <a:pt x="278421" y="236847"/>
                    <a:pt x="278421" y="236847"/>
                    <a:pt x="279681" y="235587"/>
                  </a:cubicBezTo>
                  <a:cubicBezTo>
                    <a:pt x="280941" y="235587"/>
                    <a:pt x="280941" y="234327"/>
                    <a:pt x="282201" y="234327"/>
                  </a:cubicBezTo>
                  <a:cubicBezTo>
                    <a:pt x="283460" y="233067"/>
                    <a:pt x="283460" y="233067"/>
                    <a:pt x="284720" y="231807"/>
                  </a:cubicBezTo>
                  <a:cubicBezTo>
                    <a:pt x="284720" y="231807"/>
                    <a:pt x="284720" y="231807"/>
                    <a:pt x="284720" y="231807"/>
                  </a:cubicBezTo>
                  <a:lnTo>
                    <a:pt x="285980" y="230548"/>
                  </a:lnTo>
                  <a:cubicBezTo>
                    <a:pt x="287240" y="229288"/>
                    <a:pt x="287240" y="229288"/>
                    <a:pt x="288500" y="228028"/>
                  </a:cubicBezTo>
                  <a:cubicBezTo>
                    <a:pt x="289759" y="226768"/>
                    <a:pt x="289759" y="226768"/>
                    <a:pt x="291019" y="225508"/>
                  </a:cubicBezTo>
                  <a:lnTo>
                    <a:pt x="291019" y="225508"/>
                  </a:lnTo>
                  <a:lnTo>
                    <a:pt x="291019" y="225508"/>
                  </a:lnTo>
                  <a:lnTo>
                    <a:pt x="291019" y="225508"/>
                  </a:lnTo>
                  <a:lnTo>
                    <a:pt x="291019" y="225508"/>
                  </a:lnTo>
                  <a:lnTo>
                    <a:pt x="291019" y="225508"/>
                  </a:lnTo>
                  <a:cubicBezTo>
                    <a:pt x="291019" y="225508"/>
                    <a:pt x="292279" y="224248"/>
                    <a:pt x="292279" y="224248"/>
                  </a:cubicBezTo>
                  <a:cubicBezTo>
                    <a:pt x="292279" y="224248"/>
                    <a:pt x="293539" y="222989"/>
                    <a:pt x="293539" y="222989"/>
                  </a:cubicBezTo>
                  <a:cubicBezTo>
                    <a:pt x="293539" y="222989"/>
                    <a:pt x="293539" y="222989"/>
                    <a:pt x="293539" y="222989"/>
                  </a:cubicBezTo>
                  <a:cubicBezTo>
                    <a:pt x="294799" y="221729"/>
                    <a:pt x="296058" y="221729"/>
                    <a:pt x="296058" y="220469"/>
                  </a:cubicBezTo>
                  <a:lnTo>
                    <a:pt x="296058" y="220469"/>
                  </a:lnTo>
                  <a:cubicBezTo>
                    <a:pt x="297318" y="220469"/>
                    <a:pt x="297318" y="219209"/>
                    <a:pt x="298578" y="219209"/>
                  </a:cubicBezTo>
                  <a:lnTo>
                    <a:pt x="298578" y="219209"/>
                  </a:lnTo>
                  <a:cubicBezTo>
                    <a:pt x="298578" y="219209"/>
                    <a:pt x="298578" y="219209"/>
                    <a:pt x="298578" y="219209"/>
                  </a:cubicBezTo>
                  <a:cubicBezTo>
                    <a:pt x="298578" y="219209"/>
                    <a:pt x="298578" y="217949"/>
                    <a:pt x="299838" y="217949"/>
                  </a:cubicBezTo>
                  <a:cubicBezTo>
                    <a:pt x="299838" y="217949"/>
                    <a:pt x="299838" y="217949"/>
                    <a:pt x="299838" y="217949"/>
                  </a:cubicBezTo>
                  <a:cubicBezTo>
                    <a:pt x="299838" y="217949"/>
                    <a:pt x="299838" y="217949"/>
                    <a:pt x="299838" y="217949"/>
                  </a:cubicBezTo>
                  <a:lnTo>
                    <a:pt x="299838" y="217949"/>
                  </a:lnTo>
                  <a:cubicBezTo>
                    <a:pt x="299838" y="217949"/>
                    <a:pt x="299838" y="217949"/>
                    <a:pt x="299838" y="217949"/>
                  </a:cubicBezTo>
                  <a:cubicBezTo>
                    <a:pt x="299838" y="217949"/>
                    <a:pt x="301098" y="217949"/>
                    <a:pt x="301098" y="217949"/>
                  </a:cubicBezTo>
                  <a:lnTo>
                    <a:pt x="301098" y="217949"/>
                  </a:lnTo>
                  <a:lnTo>
                    <a:pt x="301098" y="217949"/>
                  </a:lnTo>
                  <a:lnTo>
                    <a:pt x="301098" y="217949"/>
                  </a:lnTo>
                  <a:cubicBezTo>
                    <a:pt x="301098" y="217949"/>
                    <a:pt x="301098" y="217949"/>
                    <a:pt x="301098" y="217949"/>
                  </a:cubicBezTo>
                  <a:cubicBezTo>
                    <a:pt x="301098" y="217949"/>
                    <a:pt x="301098" y="219209"/>
                    <a:pt x="301098" y="219209"/>
                  </a:cubicBezTo>
                  <a:lnTo>
                    <a:pt x="301098" y="219209"/>
                  </a:lnTo>
                  <a:cubicBezTo>
                    <a:pt x="301098" y="219209"/>
                    <a:pt x="301098" y="219209"/>
                    <a:pt x="301098" y="219209"/>
                  </a:cubicBezTo>
                  <a:cubicBezTo>
                    <a:pt x="301098" y="219209"/>
                    <a:pt x="301098" y="220469"/>
                    <a:pt x="301098" y="220469"/>
                  </a:cubicBezTo>
                  <a:lnTo>
                    <a:pt x="301098" y="220469"/>
                  </a:lnTo>
                  <a:cubicBezTo>
                    <a:pt x="301098" y="221729"/>
                    <a:pt x="301098" y="221729"/>
                    <a:pt x="301098" y="222989"/>
                  </a:cubicBezTo>
                  <a:cubicBezTo>
                    <a:pt x="301098" y="224248"/>
                    <a:pt x="301098" y="225508"/>
                    <a:pt x="301098" y="225508"/>
                  </a:cubicBezTo>
                  <a:lnTo>
                    <a:pt x="301098" y="226768"/>
                  </a:lnTo>
                  <a:lnTo>
                    <a:pt x="301098" y="228028"/>
                  </a:lnTo>
                  <a:cubicBezTo>
                    <a:pt x="301098" y="229288"/>
                    <a:pt x="301098" y="230548"/>
                    <a:pt x="301098" y="231807"/>
                  </a:cubicBezTo>
                  <a:lnTo>
                    <a:pt x="301098" y="234327"/>
                  </a:lnTo>
                  <a:lnTo>
                    <a:pt x="301098" y="235587"/>
                  </a:lnTo>
                  <a:cubicBezTo>
                    <a:pt x="301098" y="236847"/>
                    <a:pt x="301098" y="238107"/>
                    <a:pt x="299838" y="239366"/>
                  </a:cubicBezTo>
                  <a:lnTo>
                    <a:pt x="299838" y="240626"/>
                  </a:lnTo>
                  <a:cubicBezTo>
                    <a:pt x="299838" y="241886"/>
                    <a:pt x="299838" y="241886"/>
                    <a:pt x="299838" y="243146"/>
                  </a:cubicBezTo>
                  <a:cubicBezTo>
                    <a:pt x="299838" y="243146"/>
                    <a:pt x="299838" y="243146"/>
                    <a:pt x="299838" y="243146"/>
                  </a:cubicBezTo>
                  <a:lnTo>
                    <a:pt x="299838" y="243146"/>
                  </a:lnTo>
                  <a:lnTo>
                    <a:pt x="299838" y="244406"/>
                  </a:lnTo>
                  <a:lnTo>
                    <a:pt x="299838" y="244406"/>
                  </a:lnTo>
                  <a:lnTo>
                    <a:pt x="299838" y="245666"/>
                  </a:lnTo>
                  <a:lnTo>
                    <a:pt x="299838" y="246925"/>
                  </a:lnTo>
                  <a:cubicBezTo>
                    <a:pt x="299838" y="246925"/>
                    <a:pt x="299838" y="248185"/>
                    <a:pt x="299838" y="248185"/>
                  </a:cubicBezTo>
                  <a:cubicBezTo>
                    <a:pt x="299838" y="249445"/>
                    <a:pt x="299838" y="250705"/>
                    <a:pt x="298578" y="250705"/>
                  </a:cubicBezTo>
                  <a:lnTo>
                    <a:pt x="298578" y="251965"/>
                  </a:lnTo>
                  <a:cubicBezTo>
                    <a:pt x="298578" y="251965"/>
                    <a:pt x="298578" y="251965"/>
                    <a:pt x="298578" y="251965"/>
                  </a:cubicBezTo>
                  <a:cubicBezTo>
                    <a:pt x="298578" y="253224"/>
                    <a:pt x="298578" y="254484"/>
                    <a:pt x="297318" y="254484"/>
                  </a:cubicBezTo>
                  <a:lnTo>
                    <a:pt x="297318" y="257004"/>
                  </a:lnTo>
                  <a:cubicBezTo>
                    <a:pt x="296058" y="260783"/>
                    <a:pt x="294799" y="264563"/>
                    <a:pt x="294799" y="268342"/>
                  </a:cubicBezTo>
                  <a:cubicBezTo>
                    <a:pt x="294799" y="269602"/>
                    <a:pt x="293539" y="270862"/>
                    <a:pt x="293539" y="272122"/>
                  </a:cubicBezTo>
                  <a:lnTo>
                    <a:pt x="293539" y="273382"/>
                  </a:lnTo>
                  <a:cubicBezTo>
                    <a:pt x="293539" y="274641"/>
                    <a:pt x="292279" y="275901"/>
                    <a:pt x="292279" y="277161"/>
                  </a:cubicBezTo>
                  <a:cubicBezTo>
                    <a:pt x="292279" y="278421"/>
                    <a:pt x="292279" y="278421"/>
                    <a:pt x="292279" y="279681"/>
                  </a:cubicBezTo>
                  <a:cubicBezTo>
                    <a:pt x="292279" y="280940"/>
                    <a:pt x="292279" y="280940"/>
                    <a:pt x="292279" y="282200"/>
                  </a:cubicBezTo>
                  <a:cubicBezTo>
                    <a:pt x="292279" y="283460"/>
                    <a:pt x="292279" y="283460"/>
                    <a:pt x="291019" y="284720"/>
                  </a:cubicBezTo>
                  <a:lnTo>
                    <a:pt x="291019" y="285980"/>
                  </a:lnTo>
                  <a:lnTo>
                    <a:pt x="291019" y="287240"/>
                  </a:lnTo>
                  <a:lnTo>
                    <a:pt x="289759" y="291019"/>
                  </a:lnTo>
                  <a:cubicBezTo>
                    <a:pt x="289759" y="291019"/>
                    <a:pt x="289759" y="291019"/>
                    <a:pt x="289759" y="291019"/>
                  </a:cubicBezTo>
                  <a:cubicBezTo>
                    <a:pt x="289759" y="291019"/>
                    <a:pt x="289759" y="292279"/>
                    <a:pt x="289759" y="292279"/>
                  </a:cubicBezTo>
                  <a:cubicBezTo>
                    <a:pt x="289759" y="292279"/>
                    <a:pt x="289759" y="293539"/>
                    <a:pt x="289759" y="293539"/>
                  </a:cubicBezTo>
                  <a:cubicBezTo>
                    <a:pt x="289759" y="294799"/>
                    <a:pt x="289759" y="296058"/>
                    <a:pt x="289759" y="297318"/>
                  </a:cubicBezTo>
                  <a:cubicBezTo>
                    <a:pt x="289759" y="299838"/>
                    <a:pt x="289759" y="301098"/>
                    <a:pt x="288500" y="303617"/>
                  </a:cubicBezTo>
                  <a:lnTo>
                    <a:pt x="288500" y="304877"/>
                  </a:lnTo>
                  <a:cubicBezTo>
                    <a:pt x="287240" y="309916"/>
                    <a:pt x="285980" y="314956"/>
                    <a:pt x="285980" y="319995"/>
                  </a:cubicBezTo>
                  <a:cubicBezTo>
                    <a:pt x="285980" y="322515"/>
                    <a:pt x="284720" y="326294"/>
                    <a:pt x="284720" y="330074"/>
                  </a:cubicBezTo>
                  <a:cubicBezTo>
                    <a:pt x="284720" y="331333"/>
                    <a:pt x="284720" y="333853"/>
                    <a:pt x="283460" y="335113"/>
                  </a:cubicBezTo>
                  <a:cubicBezTo>
                    <a:pt x="283460" y="335113"/>
                    <a:pt x="283460" y="335113"/>
                    <a:pt x="283460" y="335113"/>
                  </a:cubicBezTo>
                  <a:lnTo>
                    <a:pt x="283460" y="335113"/>
                  </a:lnTo>
                  <a:lnTo>
                    <a:pt x="283460" y="336373"/>
                  </a:lnTo>
                  <a:lnTo>
                    <a:pt x="283460" y="337633"/>
                  </a:lnTo>
                  <a:lnTo>
                    <a:pt x="283460" y="337633"/>
                  </a:lnTo>
                  <a:cubicBezTo>
                    <a:pt x="283460" y="337633"/>
                    <a:pt x="283460" y="337633"/>
                    <a:pt x="283460" y="337633"/>
                  </a:cubicBezTo>
                  <a:cubicBezTo>
                    <a:pt x="283460" y="338892"/>
                    <a:pt x="283460" y="338892"/>
                    <a:pt x="283460" y="340152"/>
                  </a:cubicBezTo>
                  <a:cubicBezTo>
                    <a:pt x="283460" y="341412"/>
                    <a:pt x="283460" y="343932"/>
                    <a:pt x="282201" y="345192"/>
                  </a:cubicBezTo>
                  <a:lnTo>
                    <a:pt x="282201" y="346451"/>
                  </a:lnTo>
                  <a:cubicBezTo>
                    <a:pt x="282201" y="347711"/>
                    <a:pt x="282201" y="350231"/>
                    <a:pt x="280941" y="351491"/>
                  </a:cubicBezTo>
                  <a:cubicBezTo>
                    <a:pt x="280941" y="355270"/>
                    <a:pt x="279681" y="357790"/>
                    <a:pt x="279681" y="361569"/>
                  </a:cubicBezTo>
                  <a:cubicBezTo>
                    <a:pt x="279681" y="364089"/>
                    <a:pt x="278421" y="367868"/>
                    <a:pt x="278421" y="372908"/>
                  </a:cubicBezTo>
                  <a:lnTo>
                    <a:pt x="277161" y="376687"/>
                  </a:lnTo>
                  <a:lnTo>
                    <a:pt x="277161" y="376687"/>
                  </a:lnTo>
                  <a:lnTo>
                    <a:pt x="277161" y="376687"/>
                  </a:lnTo>
                  <a:lnTo>
                    <a:pt x="277161" y="376687"/>
                  </a:lnTo>
                  <a:cubicBezTo>
                    <a:pt x="277161" y="377947"/>
                    <a:pt x="277161" y="377947"/>
                    <a:pt x="277161" y="379207"/>
                  </a:cubicBezTo>
                  <a:cubicBezTo>
                    <a:pt x="277161" y="380467"/>
                    <a:pt x="277161" y="380467"/>
                    <a:pt x="277161" y="381726"/>
                  </a:cubicBezTo>
                  <a:cubicBezTo>
                    <a:pt x="277161" y="381726"/>
                    <a:pt x="277161" y="382986"/>
                    <a:pt x="277161" y="382986"/>
                  </a:cubicBezTo>
                  <a:cubicBezTo>
                    <a:pt x="277161" y="385506"/>
                    <a:pt x="275901" y="389285"/>
                    <a:pt x="275901" y="391805"/>
                  </a:cubicBezTo>
                  <a:lnTo>
                    <a:pt x="275901" y="391805"/>
                  </a:lnTo>
                  <a:lnTo>
                    <a:pt x="275901" y="391805"/>
                  </a:lnTo>
                  <a:cubicBezTo>
                    <a:pt x="275901" y="393065"/>
                    <a:pt x="274642" y="394325"/>
                    <a:pt x="274642" y="395584"/>
                  </a:cubicBezTo>
                  <a:cubicBezTo>
                    <a:pt x="274642" y="395584"/>
                    <a:pt x="274642" y="396844"/>
                    <a:pt x="274642" y="396844"/>
                  </a:cubicBezTo>
                  <a:lnTo>
                    <a:pt x="274642" y="396844"/>
                  </a:lnTo>
                  <a:cubicBezTo>
                    <a:pt x="274642" y="398104"/>
                    <a:pt x="273382" y="399364"/>
                    <a:pt x="273382" y="401884"/>
                  </a:cubicBezTo>
                  <a:cubicBezTo>
                    <a:pt x="273382" y="401884"/>
                    <a:pt x="273382" y="401884"/>
                    <a:pt x="273382" y="401884"/>
                  </a:cubicBezTo>
                  <a:cubicBezTo>
                    <a:pt x="273382" y="401884"/>
                    <a:pt x="272122" y="403143"/>
                    <a:pt x="272122" y="403143"/>
                  </a:cubicBezTo>
                  <a:cubicBezTo>
                    <a:pt x="272122" y="403143"/>
                    <a:pt x="270862" y="403143"/>
                    <a:pt x="270862" y="403143"/>
                  </a:cubicBezTo>
                  <a:cubicBezTo>
                    <a:pt x="270862" y="403143"/>
                    <a:pt x="269602" y="403143"/>
                    <a:pt x="269602" y="403143"/>
                  </a:cubicBezTo>
                  <a:cubicBezTo>
                    <a:pt x="269602" y="403143"/>
                    <a:pt x="269602" y="403143"/>
                    <a:pt x="268342" y="403143"/>
                  </a:cubicBezTo>
                  <a:cubicBezTo>
                    <a:pt x="268342" y="403143"/>
                    <a:pt x="268342" y="403143"/>
                    <a:pt x="268342" y="403143"/>
                  </a:cubicBezTo>
                  <a:cubicBezTo>
                    <a:pt x="268342" y="403143"/>
                    <a:pt x="268342" y="403143"/>
                    <a:pt x="267083" y="401884"/>
                  </a:cubicBezTo>
                  <a:lnTo>
                    <a:pt x="267083" y="401884"/>
                  </a:lnTo>
                  <a:cubicBezTo>
                    <a:pt x="267083" y="404403"/>
                    <a:pt x="267083" y="408183"/>
                    <a:pt x="267083" y="410702"/>
                  </a:cubicBezTo>
                  <a:cubicBezTo>
                    <a:pt x="267083" y="411962"/>
                    <a:pt x="267083" y="414482"/>
                    <a:pt x="267083" y="415742"/>
                  </a:cubicBezTo>
                  <a:lnTo>
                    <a:pt x="267083" y="417001"/>
                  </a:lnTo>
                  <a:lnTo>
                    <a:pt x="267083" y="418261"/>
                  </a:lnTo>
                  <a:lnTo>
                    <a:pt x="267083" y="419521"/>
                  </a:lnTo>
                  <a:lnTo>
                    <a:pt x="267083" y="420781"/>
                  </a:lnTo>
                  <a:cubicBezTo>
                    <a:pt x="267083" y="423301"/>
                    <a:pt x="267083" y="424560"/>
                    <a:pt x="267083" y="427080"/>
                  </a:cubicBezTo>
                  <a:lnTo>
                    <a:pt x="267083" y="429600"/>
                  </a:lnTo>
                  <a:lnTo>
                    <a:pt x="267083" y="432119"/>
                  </a:lnTo>
                  <a:lnTo>
                    <a:pt x="267083" y="434639"/>
                  </a:lnTo>
                  <a:cubicBezTo>
                    <a:pt x="267083" y="439678"/>
                    <a:pt x="268342" y="445977"/>
                    <a:pt x="268342" y="452277"/>
                  </a:cubicBezTo>
                  <a:cubicBezTo>
                    <a:pt x="268342" y="459836"/>
                    <a:pt x="268342" y="467394"/>
                    <a:pt x="269602" y="476213"/>
                  </a:cubicBezTo>
                  <a:lnTo>
                    <a:pt x="269602" y="476213"/>
                  </a:lnTo>
                  <a:lnTo>
                    <a:pt x="269602" y="476213"/>
                  </a:lnTo>
                  <a:lnTo>
                    <a:pt x="269602" y="476213"/>
                  </a:lnTo>
                  <a:cubicBezTo>
                    <a:pt x="272122" y="478733"/>
                    <a:pt x="275901" y="481252"/>
                    <a:pt x="278421" y="483772"/>
                  </a:cubicBezTo>
                  <a:cubicBezTo>
                    <a:pt x="280941" y="486292"/>
                    <a:pt x="283460" y="488811"/>
                    <a:pt x="285980" y="490071"/>
                  </a:cubicBezTo>
                  <a:cubicBezTo>
                    <a:pt x="293539" y="496370"/>
                    <a:pt x="298578" y="502669"/>
                    <a:pt x="304877" y="508969"/>
                  </a:cubicBezTo>
                  <a:lnTo>
                    <a:pt x="307397" y="511488"/>
                  </a:lnTo>
                  <a:cubicBezTo>
                    <a:pt x="307397" y="511488"/>
                    <a:pt x="307397" y="512748"/>
                    <a:pt x="308657" y="512748"/>
                  </a:cubicBezTo>
                  <a:cubicBezTo>
                    <a:pt x="308657" y="514008"/>
                    <a:pt x="309917" y="514008"/>
                    <a:pt x="309917" y="515268"/>
                  </a:cubicBezTo>
                  <a:cubicBezTo>
                    <a:pt x="309917" y="515268"/>
                    <a:pt x="309917" y="515268"/>
                    <a:pt x="309917" y="515268"/>
                  </a:cubicBezTo>
                  <a:cubicBezTo>
                    <a:pt x="309917" y="515268"/>
                    <a:pt x="309917" y="515268"/>
                    <a:pt x="309917" y="515268"/>
                  </a:cubicBezTo>
                  <a:cubicBezTo>
                    <a:pt x="312436" y="517787"/>
                    <a:pt x="314956" y="521567"/>
                    <a:pt x="318735" y="524086"/>
                  </a:cubicBezTo>
                  <a:cubicBezTo>
                    <a:pt x="318735" y="524086"/>
                    <a:pt x="319995" y="525346"/>
                    <a:pt x="319995" y="525346"/>
                  </a:cubicBezTo>
                  <a:cubicBezTo>
                    <a:pt x="321255" y="526606"/>
                    <a:pt x="321255" y="526606"/>
                    <a:pt x="322515" y="527866"/>
                  </a:cubicBezTo>
                  <a:cubicBezTo>
                    <a:pt x="321255" y="526606"/>
                    <a:pt x="321255" y="526606"/>
                    <a:pt x="319995" y="525346"/>
                  </a:cubicBezTo>
                  <a:cubicBezTo>
                    <a:pt x="319995" y="525346"/>
                    <a:pt x="318735" y="524086"/>
                    <a:pt x="318735" y="524086"/>
                  </a:cubicBezTo>
                  <a:cubicBezTo>
                    <a:pt x="317475" y="521567"/>
                    <a:pt x="314956" y="520307"/>
                    <a:pt x="313696" y="517787"/>
                  </a:cubicBezTo>
                  <a:cubicBezTo>
                    <a:pt x="318735" y="522827"/>
                    <a:pt x="323775" y="529126"/>
                    <a:pt x="328814" y="535425"/>
                  </a:cubicBezTo>
                  <a:cubicBezTo>
                    <a:pt x="330074" y="536685"/>
                    <a:pt x="331334" y="539204"/>
                    <a:pt x="333853" y="541724"/>
                  </a:cubicBezTo>
                  <a:cubicBezTo>
                    <a:pt x="333853" y="540464"/>
                    <a:pt x="332593" y="540464"/>
                    <a:pt x="332593" y="539204"/>
                  </a:cubicBezTo>
                  <a:cubicBezTo>
                    <a:pt x="331334" y="537945"/>
                    <a:pt x="331334" y="537945"/>
                    <a:pt x="330074" y="536685"/>
                  </a:cubicBezTo>
                  <a:cubicBezTo>
                    <a:pt x="333853" y="540464"/>
                    <a:pt x="337633" y="545503"/>
                    <a:pt x="340152" y="550543"/>
                  </a:cubicBezTo>
                  <a:cubicBezTo>
                    <a:pt x="340152" y="550543"/>
                    <a:pt x="340152" y="550543"/>
                    <a:pt x="340152" y="550543"/>
                  </a:cubicBezTo>
                  <a:cubicBezTo>
                    <a:pt x="342672" y="554322"/>
                    <a:pt x="345192" y="558102"/>
                    <a:pt x="347711" y="561881"/>
                  </a:cubicBezTo>
                  <a:cubicBezTo>
                    <a:pt x="348971" y="563141"/>
                    <a:pt x="348971" y="564401"/>
                    <a:pt x="350231" y="565661"/>
                  </a:cubicBezTo>
                  <a:cubicBezTo>
                    <a:pt x="350231" y="565661"/>
                    <a:pt x="350231" y="565661"/>
                    <a:pt x="350231" y="565661"/>
                  </a:cubicBezTo>
                  <a:cubicBezTo>
                    <a:pt x="351491" y="568180"/>
                    <a:pt x="352751" y="569440"/>
                    <a:pt x="354010" y="571960"/>
                  </a:cubicBezTo>
                  <a:cubicBezTo>
                    <a:pt x="352751" y="570700"/>
                    <a:pt x="352751" y="569440"/>
                    <a:pt x="351491" y="568180"/>
                  </a:cubicBezTo>
                  <a:cubicBezTo>
                    <a:pt x="352751" y="570700"/>
                    <a:pt x="355270" y="573220"/>
                    <a:pt x="356530" y="575739"/>
                  </a:cubicBezTo>
                  <a:cubicBezTo>
                    <a:pt x="356530" y="575739"/>
                    <a:pt x="356530" y="575739"/>
                    <a:pt x="356530" y="575739"/>
                  </a:cubicBezTo>
                  <a:cubicBezTo>
                    <a:pt x="356530" y="574479"/>
                    <a:pt x="355270" y="573220"/>
                    <a:pt x="355270" y="573220"/>
                  </a:cubicBezTo>
                  <a:cubicBezTo>
                    <a:pt x="356530" y="574479"/>
                    <a:pt x="356530" y="575739"/>
                    <a:pt x="357790" y="576999"/>
                  </a:cubicBezTo>
                  <a:cubicBezTo>
                    <a:pt x="357790" y="576999"/>
                    <a:pt x="359050" y="578259"/>
                    <a:pt x="359050" y="578259"/>
                  </a:cubicBezTo>
                  <a:cubicBezTo>
                    <a:pt x="360310" y="580778"/>
                    <a:pt x="362829" y="583298"/>
                    <a:pt x="364089" y="587078"/>
                  </a:cubicBezTo>
                  <a:cubicBezTo>
                    <a:pt x="364089" y="587078"/>
                    <a:pt x="364089" y="587078"/>
                    <a:pt x="364089" y="587078"/>
                  </a:cubicBezTo>
                  <a:cubicBezTo>
                    <a:pt x="365349" y="588337"/>
                    <a:pt x="366609" y="590857"/>
                    <a:pt x="366609" y="592117"/>
                  </a:cubicBezTo>
                  <a:lnTo>
                    <a:pt x="366609" y="592117"/>
                  </a:lnTo>
                  <a:lnTo>
                    <a:pt x="366609" y="592117"/>
                  </a:lnTo>
                  <a:cubicBezTo>
                    <a:pt x="366609" y="593377"/>
                    <a:pt x="367868" y="593377"/>
                    <a:pt x="367868" y="594637"/>
                  </a:cubicBezTo>
                  <a:cubicBezTo>
                    <a:pt x="370388" y="599676"/>
                    <a:pt x="371648" y="603455"/>
                    <a:pt x="374167" y="608495"/>
                  </a:cubicBezTo>
                  <a:cubicBezTo>
                    <a:pt x="374167" y="608495"/>
                    <a:pt x="374167" y="609754"/>
                    <a:pt x="374167" y="609754"/>
                  </a:cubicBezTo>
                  <a:lnTo>
                    <a:pt x="374167" y="609754"/>
                  </a:lnTo>
                  <a:lnTo>
                    <a:pt x="374167" y="609754"/>
                  </a:lnTo>
                  <a:cubicBezTo>
                    <a:pt x="375427" y="612274"/>
                    <a:pt x="376687" y="616054"/>
                    <a:pt x="376687" y="618573"/>
                  </a:cubicBezTo>
                  <a:lnTo>
                    <a:pt x="376687" y="619833"/>
                  </a:lnTo>
                  <a:cubicBezTo>
                    <a:pt x="377947" y="622353"/>
                    <a:pt x="377947" y="624872"/>
                    <a:pt x="379207" y="627392"/>
                  </a:cubicBezTo>
                  <a:cubicBezTo>
                    <a:pt x="379207" y="628652"/>
                    <a:pt x="379207" y="629912"/>
                    <a:pt x="379207" y="632431"/>
                  </a:cubicBezTo>
                  <a:lnTo>
                    <a:pt x="379207" y="634951"/>
                  </a:lnTo>
                  <a:lnTo>
                    <a:pt x="379207" y="637471"/>
                  </a:lnTo>
                  <a:cubicBezTo>
                    <a:pt x="379207" y="638730"/>
                    <a:pt x="379207" y="641250"/>
                    <a:pt x="379207" y="642510"/>
                  </a:cubicBezTo>
                  <a:cubicBezTo>
                    <a:pt x="379207" y="642510"/>
                    <a:pt x="379207" y="642510"/>
                    <a:pt x="379207" y="642510"/>
                  </a:cubicBezTo>
                  <a:lnTo>
                    <a:pt x="379207" y="642510"/>
                  </a:lnTo>
                  <a:lnTo>
                    <a:pt x="379207" y="642510"/>
                  </a:lnTo>
                  <a:lnTo>
                    <a:pt x="379207" y="645030"/>
                  </a:lnTo>
                  <a:cubicBezTo>
                    <a:pt x="379207" y="647549"/>
                    <a:pt x="379207" y="648809"/>
                    <a:pt x="379207" y="651329"/>
                  </a:cubicBezTo>
                  <a:lnTo>
                    <a:pt x="379207" y="652588"/>
                  </a:lnTo>
                  <a:cubicBezTo>
                    <a:pt x="379207" y="655108"/>
                    <a:pt x="379207" y="657628"/>
                    <a:pt x="377947" y="660147"/>
                  </a:cubicBezTo>
                  <a:cubicBezTo>
                    <a:pt x="376687" y="667706"/>
                    <a:pt x="375427" y="672746"/>
                    <a:pt x="374167" y="677785"/>
                  </a:cubicBezTo>
                  <a:cubicBezTo>
                    <a:pt x="374167" y="677785"/>
                    <a:pt x="374167" y="677785"/>
                    <a:pt x="374167" y="677785"/>
                  </a:cubicBezTo>
                  <a:lnTo>
                    <a:pt x="374167" y="679045"/>
                  </a:lnTo>
                  <a:cubicBezTo>
                    <a:pt x="374167" y="679045"/>
                    <a:pt x="374167" y="679045"/>
                    <a:pt x="374167" y="679045"/>
                  </a:cubicBezTo>
                  <a:cubicBezTo>
                    <a:pt x="372908" y="681564"/>
                    <a:pt x="372908" y="684084"/>
                    <a:pt x="371648" y="687863"/>
                  </a:cubicBezTo>
                  <a:cubicBezTo>
                    <a:pt x="372908" y="686604"/>
                    <a:pt x="372908" y="685344"/>
                    <a:pt x="372908" y="682824"/>
                  </a:cubicBezTo>
                  <a:cubicBezTo>
                    <a:pt x="371648" y="685344"/>
                    <a:pt x="371648" y="686604"/>
                    <a:pt x="370388" y="689123"/>
                  </a:cubicBezTo>
                  <a:cubicBezTo>
                    <a:pt x="370388" y="690383"/>
                    <a:pt x="369128" y="690383"/>
                    <a:pt x="369128" y="691643"/>
                  </a:cubicBezTo>
                  <a:cubicBezTo>
                    <a:pt x="367868" y="692903"/>
                    <a:pt x="367868" y="694163"/>
                    <a:pt x="366609" y="696682"/>
                  </a:cubicBezTo>
                  <a:cubicBezTo>
                    <a:pt x="366609" y="697942"/>
                    <a:pt x="365349" y="697942"/>
                    <a:pt x="365349" y="699202"/>
                  </a:cubicBezTo>
                  <a:cubicBezTo>
                    <a:pt x="365349" y="700462"/>
                    <a:pt x="364089" y="700462"/>
                    <a:pt x="364089" y="701722"/>
                  </a:cubicBezTo>
                  <a:cubicBezTo>
                    <a:pt x="364089" y="700462"/>
                    <a:pt x="365349" y="700462"/>
                    <a:pt x="365349" y="699202"/>
                  </a:cubicBezTo>
                  <a:cubicBezTo>
                    <a:pt x="365349" y="700462"/>
                    <a:pt x="364089" y="700462"/>
                    <a:pt x="364089" y="701722"/>
                  </a:cubicBezTo>
                  <a:cubicBezTo>
                    <a:pt x="364089" y="701722"/>
                    <a:pt x="364089" y="701722"/>
                    <a:pt x="364089" y="701722"/>
                  </a:cubicBezTo>
                  <a:cubicBezTo>
                    <a:pt x="364089" y="701722"/>
                    <a:pt x="364089" y="701722"/>
                    <a:pt x="364089" y="701722"/>
                  </a:cubicBezTo>
                  <a:cubicBezTo>
                    <a:pt x="364089" y="702981"/>
                    <a:pt x="362829" y="702981"/>
                    <a:pt x="362829" y="702981"/>
                  </a:cubicBezTo>
                  <a:lnTo>
                    <a:pt x="362829" y="704241"/>
                  </a:lnTo>
                  <a:cubicBezTo>
                    <a:pt x="360310" y="706761"/>
                    <a:pt x="359050" y="709280"/>
                    <a:pt x="356530" y="710540"/>
                  </a:cubicBezTo>
                  <a:lnTo>
                    <a:pt x="356530" y="710540"/>
                  </a:lnTo>
                  <a:cubicBezTo>
                    <a:pt x="356530" y="710540"/>
                    <a:pt x="355270" y="711800"/>
                    <a:pt x="355270" y="711800"/>
                  </a:cubicBezTo>
                  <a:cubicBezTo>
                    <a:pt x="355270" y="711800"/>
                    <a:pt x="355270" y="711800"/>
                    <a:pt x="355270" y="711800"/>
                  </a:cubicBezTo>
                  <a:cubicBezTo>
                    <a:pt x="355270" y="711800"/>
                    <a:pt x="355270" y="711800"/>
                    <a:pt x="355270" y="711800"/>
                  </a:cubicBezTo>
                  <a:cubicBezTo>
                    <a:pt x="354010" y="711800"/>
                    <a:pt x="354010" y="713060"/>
                    <a:pt x="352751" y="713060"/>
                  </a:cubicBezTo>
                  <a:cubicBezTo>
                    <a:pt x="351491" y="714320"/>
                    <a:pt x="348971" y="715580"/>
                    <a:pt x="347711" y="715580"/>
                  </a:cubicBezTo>
                  <a:lnTo>
                    <a:pt x="346451" y="715580"/>
                  </a:lnTo>
                  <a:lnTo>
                    <a:pt x="346451" y="715580"/>
                  </a:lnTo>
                  <a:lnTo>
                    <a:pt x="346451" y="715580"/>
                  </a:lnTo>
                  <a:lnTo>
                    <a:pt x="346451" y="715580"/>
                  </a:lnTo>
                  <a:cubicBezTo>
                    <a:pt x="345192" y="715580"/>
                    <a:pt x="343932" y="716839"/>
                    <a:pt x="342672" y="716839"/>
                  </a:cubicBezTo>
                  <a:cubicBezTo>
                    <a:pt x="340152" y="718099"/>
                    <a:pt x="337633" y="719359"/>
                    <a:pt x="335113" y="720619"/>
                  </a:cubicBezTo>
                  <a:lnTo>
                    <a:pt x="335113" y="720619"/>
                  </a:lnTo>
                  <a:cubicBezTo>
                    <a:pt x="331334" y="721879"/>
                    <a:pt x="328814" y="723139"/>
                    <a:pt x="325034" y="723139"/>
                  </a:cubicBezTo>
                  <a:cubicBezTo>
                    <a:pt x="325034" y="723139"/>
                    <a:pt x="325034" y="723139"/>
                    <a:pt x="325034" y="723139"/>
                  </a:cubicBezTo>
                  <a:cubicBezTo>
                    <a:pt x="325034" y="723139"/>
                    <a:pt x="325034" y="723139"/>
                    <a:pt x="325034" y="723139"/>
                  </a:cubicBezTo>
                  <a:cubicBezTo>
                    <a:pt x="325034" y="723139"/>
                    <a:pt x="325034" y="723139"/>
                    <a:pt x="325034" y="723139"/>
                  </a:cubicBezTo>
                  <a:cubicBezTo>
                    <a:pt x="325034" y="723139"/>
                    <a:pt x="325034" y="723139"/>
                    <a:pt x="325034" y="723139"/>
                  </a:cubicBezTo>
                  <a:lnTo>
                    <a:pt x="325034" y="723139"/>
                  </a:lnTo>
                  <a:lnTo>
                    <a:pt x="325034" y="723139"/>
                  </a:lnTo>
                  <a:cubicBezTo>
                    <a:pt x="325034" y="723139"/>
                    <a:pt x="325034" y="723139"/>
                    <a:pt x="325034" y="723139"/>
                  </a:cubicBezTo>
                  <a:cubicBezTo>
                    <a:pt x="326294" y="723139"/>
                    <a:pt x="326294" y="723139"/>
                    <a:pt x="327554" y="723139"/>
                  </a:cubicBezTo>
                  <a:lnTo>
                    <a:pt x="328814" y="723139"/>
                  </a:lnTo>
                  <a:cubicBezTo>
                    <a:pt x="330074" y="723139"/>
                    <a:pt x="331334" y="723139"/>
                    <a:pt x="332593" y="723139"/>
                  </a:cubicBezTo>
                  <a:cubicBezTo>
                    <a:pt x="333853" y="723139"/>
                    <a:pt x="336373" y="723139"/>
                    <a:pt x="337633" y="723139"/>
                  </a:cubicBezTo>
                  <a:cubicBezTo>
                    <a:pt x="343932" y="723139"/>
                    <a:pt x="351491" y="724398"/>
                    <a:pt x="359050" y="724398"/>
                  </a:cubicBezTo>
                  <a:cubicBezTo>
                    <a:pt x="369128" y="724398"/>
                    <a:pt x="379207" y="724398"/>
                    <a:pt x="389286" y="724398"/>
                  </a:cubicBezTo>
                  <a:cubicBezTo>
                    <a:pt x="391805" y="724398"/>
                    <a:pt x="394325" y="724398"/>
                    <a:pt x="398104" y="724398"/>
                  </a:cubicBezTo>
                  <a:lnTo>
                    <a:pt x="400624" y="724398"/>
                  </a:lnTo>
                  <a:lnTo>
                    <a:pt x="400624" y="724398"/>
                  </a:lnTo>
                  <a:cubicBezTo>
                    <a:pt x="403143" y="724398"/>
                    <a:pt x="404403" y="724398"/>
                    <a:pt x="406923" y="724398"/>
                  </a:cubicBezTo>
                  <a:cubicBezTo>
                    <a:pt x="408183" y="724398"/>
                    <a:pt x="408183" y="724398"/>
                    <a:pt x="409443" y="724398"/>
                  </a:cubicBezTo>
                  <a:cubicBezTo>
                    <a:pt x="411962" y="724398"/>
                    <a:pt x="414482" y="724398"/>
                    <a:pt x="417002" y="724398"/>
                  </a:cubicBezTo>
                  <a:cubicBezTo>
                    <a:pt x="418261" y="724398"/>
                    <a:pt x="419521" y="724398"/>
                    <a:pt x="420781" y="724398"/>
                  </a:cubicBezTo>
                  <a:cubicBezTo>
                    <a:pt x="420781" y="724398"/>
                    <a:pt x="422041" y="724398"/>
                    <a:pt x="422041" y="724398"/>
                  </a:cubicBezTo>
                  <a:lnTo>
                    <a:pt x="422041" y="724398"/>
                  </a:lnTo>
                  <a:cubicBezTo>
                    <a:pt x="427080" y="724398"/>
                    <a:pt x="432119" y="724398"/>
                    <a:pt x="435899" y="724398"/>
                  </a:cubicBezTo>
                  <a:cubicBezTo>
                    <a:pt x="438419" y="724398"/>
                    <a:pt x="440938" y="724398"/>
                    <a:pt x="443458" y="724398"/>
                  </a:cubicBezTo>
                  <a:cubicBezTo>
                    <a:pt x="447237" y="724398"/>
                    <a:pt x="451017" y="724398"/>
                    <a:pt x="454796" y="724398"/>
                  </a:cubicBezTo>
                  <a:lnTo>
                    <a:pt x="459835" y="724398"/>
                  </a:lnTo>
                  <a:lnTo>
                    <a:pt x="461095" y="724398"/>
                  </a:lnTo>
                  <a:cubicBezTo>
                    <a:pt x="466135" y="724398"/>
                    <a:pt x="469914" y="724398"/>
                    <a:pt x="474953" y="724398"/>
                  </a:cubicBezTo>
                  <a:cubicBezTo>
                    <a:pt x="477473" y="724398"/>
                    <a:pt x="479993" y="724398"/>
                    <a:pt x="482512" y="724398"/>
                  </a:cubicBezTo>
                  <a:cubicBezTo>
                    <a:pt x="482512" y="724398"/>
                    <a:pt x="483772" y="724398"/>
                    <a:pt x="483772" y="724398"/>
                  </a:cubicBezTo>
                  <a:cubicBezTo>
                    <a:pt x="487552" y="724398"/>
                    <a:pt x="491331" y="724398"/>
                    <a:pt x="495111" y="724398"/>
                  </a:cubicBezTo>
                  <a:cubicBezTo>
                    <a:pt x="501410" y="724398"/>
                    <a:pt x="507709" y="724398"/>
                    <a:pt x="515268" y="723139"/>
                  </a:cubicBezTo>
                  <a:cubicBezTo>
                    <a:pt x="516528" y="723139"/>
                    <a:pt x="516528" y="723139"/>
                    <a:pt x="517787" y="723139"/>
                  </a:cubicBezTo>
                  <a:lnTo>
                    <a:pt x="517787" y="723139"/>
                  </a:lnTo>
                  <a:cubicBezTo>
                    <a:pt x="521567" y="723139"/>
                    <a:pt x="524087" y="723139"/>
                    <a:pt x="527866" y="721879"/>
                  </a:cubicBezTo>
                  <a:lnTo>
                    <a:pt x="527866" y="721879"/>
                  </a:lnTo>
                  <a:cubicBezTo>
                    <a:pt x="530386" y="721879"/>
                    <a:pt x="532905" y="721879"/>
                    <a:pt x="535425" y="720619"/>
                  </a:cubicBezTo>
                  <a:cubicBezTo>
                    <a:pt x="536685" y="720619"/>
                    <a:pt x="536685" y="720619"/>
                    <a:pt x="537945" y="720619"/>
                  </a:cubicBezTo>
                  <a:lnTo>
                    <a:pt x="537945" y="720619"/>
                  </a:lnTo>
                  <a:cubicBezTo>
                    <a:pt x="540464" y="720619"/>
                    <a:pt x="544244" y="720619"/>
                    <a:pt x="546763" y="720619"/>
                  </a:cubicBezTo>
                  <a:cubicBezTo>
                    <a:pt x="549283" y="720619"/>
                    <a:pt x="551803" y="720619"/>
                    <a:pt x="554322" y="720619"/>
                  </a:cubicBezTo>
                  <a:cubicBezTo>
                    <a:pt x="555582" y="720619"/>
                    <a:pt x="556842" y="720619"/>
                    <a:pt x="556842" y="720619"/>
                  </a:cubicBezTo>
                  <a:cubicBezTo>
                    <a:pt x="558102" y="720619"/>
                    <a:pt x="559362" y="720619"/>
                    <a:pt x="560621" y="720619"/>
                  </a:cubicBezTo>
                  <a:lnTo>
                    <a:pt x="560621" y="720619"/>
                  </a:lnTo>
                  <a:lnTo>
                    <a:pt x="560621" y="720619"/>
                  </a:lnTo>
                  <a:cubicBezTo>
                    <a:pt x="560621" y="720619"/>
                    <a:pt x="561881" y="720619"/>
                    <a:pt x="561881" y="720619"/>
                  </a:cubicBezTo>
                  <a:cubicBezTo>
                    <a:pt x="563141" y="720619"/>
                    <a:pt x="564401" y="720619"/>
                    <a:pt x="565661" y="720619"/>
                  </a:cubicBezTo>
                  <a:cubicBezTo>
                    <a:pt x="568180" y="720619"/>
                    <a:pt x="569440" y="720619"/>
                    <a:pt x="571960" y="720619"/>
                  </a:cubicBezTo>
                  <a:cubicBezTo>
                    <a:pt x="573220" y="720619"/>
                    <a:pt x="574480" y="720619"/>
                    <a:pt x="574480" y="720619"/>
                  </a:cubicBezTo>
                  <a:lnTo>
                    <a:pt x="574480" y="720619"/>
                  </a:lnTo>
                  <a:cubicBezTo>
                    <a:pt x="574480" y="720619"/>
                    <a:pt x="575739" y="720619"/>
                    <a:pt x="575739" y="720619"/>
                  </a:cubicBezTo>
                  <a:cubicBezTo>
                    <a:pt x="579519" y="720619"/>
                    <a:pt x="583298" y="720619"/>
                    <a:pt x="587078" y="720619"/>
                  </a:cubicBezTo>
                  <a:cubicBezTo>
                    <a:pt x="588337" y="720619"/>
                    <a:pt x="590857" y="720619"/>
                    <a:pt x="592117" y="720619"/>
                  </a:cubicBezTo>
                  <a:cubicBezTo>
                    <a:pt x="593377" y="720619"/>
                    <a:pt x="595896" y="720619"/>
                    <a:pt x="597156" y="720619"/>
                  </a:cubicBezTo>
                  <a:lnTo>
                    <a:pt x="598416" y="720619"/>
                  </a:lnTo>
                  <a:cubicBezTo>
                    <a:pt x="598416" y="720619"/>
                    <a:pt x="599676" y="720619"/>
                    <a:pt x="599676" y="720619"/>
                  </a:cubicBezTo>
                  <a:cubicBezTo>
                    <a:pt x="602196" y="720619"/>
                    <a:pt x="603455" y="720619"/>
                    <a:pt x="605975" y="720619"/>
                  </a:cubicBezTo>
                  <a:lnTo>
                    <a:pt x="605975" y="720619"/>
                  </a:lnTo>
                  <a:lnTo>
                    <a:pt x="605975" y="720619"/>
                  </a:lnTo>
                  <a:cubicBezTo>
                    <a:pt x="616054" y="721879"/>
                    <a:pt x="627392" y="721879"/>
                    <a:pt x="637471" y="723139"/>
                  </a:cubicBezTo>
                  <a:cubicBezTo>
                    <a:pt x="645029" y="723139"/>
                    <a:pt x="650069" y="723139"/>
                    <a:pt x="656368" y="723139"/>
                  </a:cubicBezTo>
                  <a:cubicBezTo>
                    <a:pt x="656368" y="723139"/>
                    <a:pt x="656368" y="723139"/>
                    <a:pt x="657628" y="723139"/>
                  </a:cubicBezTo>
                  <a:cubicBezTo>
                    <a:pt x="658888" y="723139"/>
                    <a:pt x="658888" y="723139"/>
                    <a:pt x="660148" y="723139"/>
                  </a:cubicBezTo>
                  <a:lnTo>
                    <a:pt x="661407" y="723139"/>
                  </a:lnTo>
                  <a:cubicBezTo>
                    <a:pt x="662667" y="723139"/>
                    <a:pt x="665187" y="723139"/>
                    <a:pt x="666447" y="723139"/>
                  </a:cubicBezTo>
                  <a:cubicBezTo>
                    <a:pt x="667706" y="723139"/>
                    <a:pt x="668966" y="723139"/>
                    <a:pt x="670226" y="723139"/>
                  </a:cubicBezTo>
                  <a:lnTo>
                    <a:pt x="670226" y="723139"/>
                  </a:lnTo>
                  <a:cubicBezTo>
                    <a:pt x="671486" y="723139"/>
                    <a:pt x="672746" y="723139"/>
                    <a:pt x="674005" y="723139"/>
                  </a:cubicBezTo>
                  <a:lnTo>
                    <a:pt x="674005" y="723139"/>
                  </a:lnTo>
                  <a:cubicBezTo>
                    <a:pt x="675265" y="723139"/>
                    <a:pt x="676525" y="723139"/>
                    <a:pt x="677785" y="721879"/>
                  </a:cubicBezTo>
                  <a:cubicBezTo>
                    <a:pt x="679045" y="721879"/>
                    <a:pt x="679045" y="720619"/>
                    <a:pt x="680305" y="720619"/>
                  </a:cubicBezTo>
                  <a:cubicBezTo>
                    <a:pt x="680305" y="720619"/>
                    <a:pt x="680305" y="720619"/>
                    <a:pt x="680305" y="720619"/>
                  </a:cubicBezTo>
                  <a:cubicBezTo>
                    <a:pt x="680305" y="720619"/>
                    <a:pt x="681564" y="719359"/>
                    <a:pt x="681564" y="719359"/>
                  </a:cubicBezTo>
                  <a:cubicBezTo>
                    <a:pt x="681564" y="719359"/>
                    <a:pt x="681564" y="719359"/>
                    <a:pt x="681564" y="719359"/>
                  </a:cubicBezTo>
                  <a:cubicBezTo>
                    <a:pt x="681564" y="719359"/>
                    <a:pt x="681564" y="719359"/>
                    <a:pt x="682824" y="718099"/>
                  </a:cubicBezTo>
                  <a:cubicBezTo>
                    <a:pt x="684084" y="716839"/>
                    <a:pt x="684084" y="715580"/>
                    <a:pt x="684084" y="713060"/>
                  </a:cubicBezTo>
                  <a:cubicBezTo>
                    <a:pt x="684084" y="711800"/>
                    <a:pt x="684084" y="709280"/>
                    <a:pt x="684084" y="708021"/>
                  </a:cubicBezTo>
                  <a:cubicBezTo>
                    <a:pt x="684084" y="706761"/>
                    <a:pt x="685344" y="704241"/>
                    <a:pt x="685344" y="702981"/>
                  </a:cubicBezTo>
                  <a:lnTo>
                    <a:pt x="685344" y="702981"/>
                  </a:lnTo>
                  <a:cubicBezTo>
                    <a:pt x="685344" y="701722"/>
                    <a:pt x="685344" y="699202"/>
                    <a:pt x="685344" y="697942"/>
                  </a:cubicBezTo>
                  <a:lnTo>
                    <a:pt x="685344" y="697942"/>
                  </a:lnTo>
                  <a:lnTo>
                    <a:pt x="685344" y="697942"/>
                  </a:lnTo>
                  <a:cubicBezTo>
                    <a:pt x="685344" y="696682"/>
                    <a:pt x="685344" y="695422"/>
                    <a:pt x="685344" y="694163"/>
                  </a:cubicBezTo>
                  <a:cubicBezTo>
                    <a:pt x="685344" y="692903"/>
                    <a:pt x="685344" y="691643"/>
                    <a:pt x="685344" y="689123"/>
                  </a:cubicBezTo>
                  <a:cubicBezTo>
                    <a:pt x="685344" y="689123"/>
                    <a:pt x="685344" y="689123"/>
                    <a:pt x="685344" y="689123"/>
                  </a:cubicBezTo>
                  <a:cubicBezTo>
                    <a:pt x="685344" y="686604"/>
                    <a:pt x="685344" y="684084"/>
                    <a:pt x="685344" y="682824"/>
                  </a:cubicBezTo>
                  <a:lnTo>
                    <a:pt x="685344" y="681564"/>
                  </a:lnTo>
                  <a:lnTo>
                    <a:pt x="685344" y="680305"/>
                  </a:lnTo>
                  <a:cubicBezTo>
                    <a:pt x="685344" y="676525"/>
                    <a:pt x="685344" y="674005"/>
                    <a:pt x="685344" y="671486"/>
                  </a:cubicBezTo>
                  <a:cubicBezTo>
                    <a:pt x="685344" y="667706"/>
                    <a:pt x="685344" y="663927"/>
                    <a:pt x="685344" y="660147"/>
                  </a:cubicBezTo>
                  <a:lnTo>
                    <a:pt x="685344" y="658887"/>
                  </a:lnTo>
                  <a:cubicBezTo>
                    <a:pt x="685344" y="656368"/>
                    <a:pt x="685344" y="653848"/>
                    <a:pt x="685344" y="651329"/>
                  </a:cubicBezTo>
                  <a:cubicBezTo>
                    <a:pt x="685344" y="650069"/>
                    <a:pt x="685344" y="648809"/>
                    <a:pt x="685344" y="648809"/>
                  </a:cubicBezTo>
                  <a:lnTo>
                    <a:pt x="685344" y="647549"/>
                  </a:lnTo>
                  <a:cubicBezTo>
                    <a:pt x="685344" y="646289"/>
                    <a:pt x="685344" y="643770"/>
                    <a:pt x="685344" y="642510"/>
                  </a:cubicBezTo>
                  <a:lnTo>
                    <a:pt x="685344" y="641250"/>
                  </a:lnTo>
                  <a:cubicBezTo>
                    <a:pt x="685344" y="638730"/>
                    <a:pt x="685344" y="636211"/>
                    <a:pt x="685344" y="632431"/>
                  </a:cubicBezTo>
                  <a:cubicBezTo>
                    <a:pt x="685344" y="624872"/>
                    <a:pt x="685344" y="618573"/>
                    <a:pt x="685344" y="612274"/>
                  </a:cubicBezTo>
                  <a:cubicBezTo>
                    <a:pt x="685344" y="607235"/>
                    <a:pt x="685344" y="602195"/>
                    <a:pt x="685344" y="597156"/>
                  </a:cubicBezTo>
                  <a:cubicBezTo>
                    <a:pt x="684084" y="597156"/>
                    <a:pt x="684084" y="595896"/>
                    <a:pt x="684084" y="595896"/>
                  </a:cubicBezTo>
                  <a:cubicBezTo>
                    <a:pt x="684084" y="595896"/>
                    <a:pt x="684084" y="595896"/>
                    <a:pt x="684084" y="595896"/>
                  </a:cubicBezTo>
                  <a:cubicBezTo>
                    <a:pt x="682824" y="594637"/>
                    <a:pt x="681564" y="594637"/>
                    <a:pt x="681564" y="593377"/>
                  </a:cubicBezTo>
                  <a:cubicBezTo>
                    <a:pt x="681564" y="593377"/>
                    <a:pt x="680305" y="592117"/>
                    <a:pt x="680305" y="592117"/>
                  </a:cubicBezTo>
                  <a:cubicBezTo>
                    <a:pt x="679045" y="590857"/>
                    <a:pt x="677785" y="589597"/>
                    <a:pt x="676525" y="588337"/>
                  </a:cubicBezTo>
                  <a:cubicBezTo>
                    <a:pt x="672746" y="584558"/>
                    <a:pt x="668966" y="579519"/>
                    <a:pt x="665187" y="575739"/>
                  </a:cubicBezTo>
                  <a:lnTo>
                    <a:pt x="665187" y="575739"/>
                  </a:lnTo>
                  <a:cubicBezTo>
                    <a:pt x="663927" y="574479"/>
                    <a:pt x="662667" y="573220"/>
                    <a:pt x="662667" y="571960"/>
                  </a:cubicBezTo>
                  <a:lnTo>
                    <a:pt x="661407" y="570700"/>
                  </a:lnTo>
                  <a:cubicBezTo>
                    <a:pt x="660148" y="568180"/>
                    <a:pt x="657628" y="566921"/>
                    <a:pt x="656368" y="564401"/>
                  </a:cubicBezTo>
                  <a:cubicBezTo>
                    <a:pt x="653848" y="561881"/>
                    <a:pt x="652589" y="559361"/>
                    <a:pt x="651329" y="556842"/>
                  </a:cubicBezTo>
                  <a:cubicBezTo>
                    <a:pt x="648809" y="553062"/>
                    <a:pt x="645029" y="548023"/>
                    <a:pt x="642510" y="544244"/>
                  </a:cubicBezTo>
                  <a:cubicBezTo>
                    <a:pt x="641250" y="542984"/>
                    <a:pt x="641250" y="541724"/>
                    <a:pt x="639990" y="540464"/>
                  </a:cubicBezTo>
                  <a:cubicBezTo>
                    <a:pt x="634951" y="534165"/>
                    <a:pt x="631172" y="527866"/>
                    <a:pt x="627392" y="524086"/>
                  </a:cubicBezTo>
                  <a:cubicBezTo>
                    <a:pt x="624872" y="521567"/>
                    <a:pt x="623613" y="517787"/>
                    <a:pt x="621093" y="515268"/>
                  </a:cubicBezTo>
                  <a:cubicBezTo>
                    <a:pt x="619833" y="512748"/>
                    <a:pt x="617313" y="510228"/>
                    <a:pt x="616054" y="507709"/>
                  </a:cubicBezTo>
                  <a:cubicBezTo>
                    <a:pt x="613534" y="503929"/>
                    <a:pt x="611014" y="501410"/>
                    <a:pt x="609755" y="497630"/>
                  </a:cubicBezTo>
                  <a:lnTo>
                    <a:pt x="609755" y="497630"/>
                  </a:lnTo>
                  <a:lnTo>
                    <a:pt x="609755" y="497630"/>
                  </a:lnTo>
                  <a:cubicBezTo>
                    <a:pt x="608495" y="495110"/>
                    <a:pt x="605975" y="492591"/>
                    <a:pt x="604715" y="490071"/>
                  </a:cubicBezTo>
                  <a:cubicBezTo>
                    <a:pt x="600936" y="483772"/>
                    <a:pt x="597156" y="477473"/>
                    <a:pt x="593377" y="472434"/>
                  </a:cubicBezTo>
                  <a:lnTo>
                    <a:pt x="593377" y="471174"/>
                  </a:lnTo>
                  <a:lnTo>
                    <a:pt x="592117" y="469914"/>
                  </a:lnTo>
                  <a:lnTo>
                    <a:pt x="592117" y="469914"/>
                  </a:lnTo>
                  <a:cubicBezTo>
                    <a:pt x="590857" y="467394"/>
                    <a:pt x="588337" y="464875"/>
                    <a:pt x="587078" y="462355"/>
                  </a:cubicBezTo>
                  <a:cubicBezTo>
                    <a:pt x="585818" y="458576"/>
                    <a:pt x="583298" y="456056"/>
                    <a:pt x="582038" y="452277"/>
                  </a:cubicBezTo>
                  <a:cubicBezTo>
                    <a:pt x="579519" y="444717"/>
                    <a:pt x="575739" y="439678"/>
                    <a:pt x="573220" y="433379"/>
                  </a:cubicBezTo>
                  <a:lnTo>
                    <a:pt x="571960" y="430860"/>
                  </a:lnTo>
                  <a:cubicBezTo>
                    <a:pt x="570700" y="428340"/>
                    <a:pt x="569440" y="425820"/>
                    <a:pt x="568180" y="423301"/>
                  </a:cubicBezTo>
                  <a:cubicBezTo>
                    <a:pt x="566920" y="420781"/>
                    <a:pt x="565661" y="418261"/>
                    <a:pt x="564401" y="415742"/>
                  </a:cubicBezTo>
                  <a:lnTo>
                    <a:pt x="563141" y="413222"/>
                  </a:lnTo>
                  <a:cubicBezTo>
                    <a:pt x="561881" y="410702"/>
                    <a:pt x="559362" y="406923"/>
                    <a:pt x="558102" y="403143"/>
                  </a:cubicBezTo>
                  <a:cubicBezTo>
                    <a:pt x="556842" y="400624"/>
                    <a:pt x="556842" y="399364"/>
                    <a:pt x="555582" y="396844"/>
                  </a:cubicBezTo>
                  <a:lnTo>
                    <a:pt x="555582" y="396844"/>
                  </a:lnTo>
                  <a:cubicBezTo>
                    <a:pt x="555582" y="395584"/>
                    <a:pt x="554322" y="395584"/>
                    <a:pt x="554322" y="394325"/>
                  </a:cubicBezTo>
                  <a:cubicBezTo>
                    <a:pt x="551803" y="386766"/>
                    <a:pt x="549283" y="380467"/>
                    <a:pt x="546763" y="374167"/>
                  </a:cubicBezTo>
                  <a:cubicBezTo>
                    <a:pt x="544244" y="367868"/>
                    <a:pt x="541724" y="361569"/>
                    <a:pt x="540464" y="354010"/>
                  </a:cubicBezTo>
                  <a:cubicBezTo>
                    <a:pt x="539204" y="351491"/>
                    <a:pt x="539204" y="347711"/>
                    <a:pt x="537945" y="345192"/>
                  </a:cubicBezTo>
                  <a:lnTo>
                    <a:pt x="537945" y="343932"/>
                  </a:lnTo>
                  <a:cubicBezTo>
                    <a:pt x="537945" y="341412"/>
                    <a:pt x="536685" y="340152"/>
                    <a:pt x="536685" y="337633"/>
                  </a:cubicBezTo>
                  <a:lnTo>
                    <a:pt x="536685" y="337633"/>
                  </a:lnTo>
                  <a:cubicBezTo>
                    <a:pt x="536685" y="336373"/>
                    <a:pt x="536685" y="335113"/>
                    <a:pt x="535425" y="335113"/>
                  </a:cubicBezTo>
                  <a:cubicBezTo>
                    <a:pt x="534165" y="328814"/>
                    <a:pt x="532905" y="321255"/>
                    <a:pt x="531645" y="314956"/>
                  </a:cubicBezTo>
                  <a:lnTo>
                    <a:pt x="531645" y="313696"/>
                  </a:lnTo>
                  <a:cubicBezTo>
                    <a:pt x="531645" y="312436"/>
                    <a:pt x="531645" y="309916"/>
                    <a:pt x="530386" y="308657"/>
                  </a:cubicBezTo>
                  <a:cubicBezTo>
                    <a:pt x="530386" y="307397"/>
                    <a:pt x="530386" y="304877"/>
                    <a:pt x="529126" y="303617"/>
                  </a:cubicBezTo>
                  <a:cubicBezTo>
                    <a:pt x="529126" y="299838"/>
                    <a:pt x="527866" y="297318"/>
                    <a:pt x="527866" y="294799"/>
                  </a:cubicBezTo>
                  <a:lnTo>
                    <a:pt x="527866" y="293539"/>
                  </a:lnTo>
                  <a:cubicBezTo>
                    <a:pt x="527866" y="292279"/>
                    <a:pt x="527866" y="291019"/>
                    <a:pt x="527866" y="289759"/>
                  </a:cubicBezTo>
                  <a:lnTo>
                    <a:pt x="527866" y="288499"/>
                  </a:lnTo>
                  <a:lnTo>
                    <a:pt x="527866" y="287240"/>
                  </a:lnTo>
                  <a:cubicBezTo>
                    <a:pt x="527866" y="285980"/>
                    <a:pt x="527866" y="284720"/>
                    <a:pt x="527866" y="282200"/>
                  </a:cubicBezTo>
                  <a:cubicBezTo>
                    <a:pt x="527866" y="279681"/>
                    <a:pt x="527866" y="277161"/>
                    <a:pt x="527866" y="275901"/>
                  </a:cubicBezTo>
                  <a:cubicBezTo>
                    <a:pt x="527866" y="274641"/>
                    <a:pt x="527866" y="273382"/>
                    <a:pt x="527866" y="272122"/>
                  </a:cubicBezTo>
                  <a:cubicBezTo>
                    <a:pt x="527866" y="268342"/>
                    <a:pt x="527866" y="264563"/>
                    <a:pt x="527866" y="260783"/>
                  </a:cubicBezTo>
                  <a:cubicBezTo>
                    <a:pt x="527866" y="259523"/>
                    <a:pt x="527866" y="258264"/>
                    <a:pt x="527866" y="257004"/>
                  </a:cubicBezTo>
                  <a:cubicBezTo>
                    <a:pt x="527866" y="257004"/>
                    <a:pt x="527866" y="257004"/>
                    <a:pt x="527866" y="255744"/>
                  </a:cubicBezTo>
                  <a:cubicBezTo>
                    <a:pt x="527866" y="254484"/>
                    <a:pt x="527866" y="253224"/>
                    <a:pt x="527866" y="251965"/>
                  </a:cubicBezTo>
                  <a:cubicBezTo>
                    <a:pt x="527866" y="251965"/>
                    <a:pt x="527866" y="251965"/>
                    <a:pt x="527866" y="251965"/>
                  </a:cubicBezTo>
                  <a:cubicBezTo>
                    <a:pt x="527866" y="250705"/>
                    <a:pt x="527866" y="250705"/>
                    <a:pt x="527866" y="249445"/>
                  </a:cubicBezTo>
                  <a:lnTo>
                    <a:pt x="527866" y="249445"/>
                  </a:lnTo>
                  <a:lnTo>
                    <a:pt x="527866" y="249445"/>
                  </a:lnTo>
                  <a:lnTo>
                    <a:pt x="527866" y="249445"/>
                  </a:lnTo>
                  <a:cubicBezTo>
                    <a:pt x="527866" y="249445"/>
                    <a:pt x="527866" y="249445"/>
                    <a:pt x="527866" y="249445"/>
                  </a:cubicBezTo>
                  <a:lnTo>
                    <a:pt x="527866" y="249445"/>
                  </a:lnTo>
                  <a:cubicBezTo>
                    <a:pt x="527866" y="249445"/>
                    <a:pt x="527866" y="249445"/>
                    <a:pt x="527866" y="249445"/>
                  </a:cubicBezTo>
                  <a:lnTo>
                    <a:pt x="527866" y="249445"/>
                  </a:lnTo>
                  <a:cubicBezTo>
                    <a:pt x="527866" y="248185"/>
                    <a:pt x="527866" y="248185"/>
                    <a:pt x="527866" y="246925"/>
                  </a:cubicBezTo>
                  <a:lnTo>
                    <a:pt x="527866" y="245666"/>
                  </a:lnTo>
                  <a:cubicBezTo>
                    <a:pt x="527866" y="243146"/>
                    <a:pt x="527866" y="240626"/>
                    <a:pt x="529126" y="239366"/>
                  </a:cubicBezTo>
                  <a:cubicBezTo>
                    <a:pt x="529126" y="236847"/>
                    <a:pt x="530386" y="234327"/>
                    <a:pt x="531645" y="230548"/>
                  </a:cubicBezTo>
                  <a:cubicBezTo>
                    <a:pt x="532905" y="226768"/>
                    <a:pt x="534165" y="224248"/>
                    <a:pt x="535425" y="221729"/>
                  </a:cubicBezTo>
                  <a:cubicBezTo>
                    <a:pt x="536685" y="219209"/>
                    <a:pt x="539204" y="216690"/>
                    <a:pt x="540464" y="214170"/>
                  </a:cubicBezTo>
                  <a:cubicBezTo>
                    <a:pt x="540464" y="214170"/>
                    <a:pt x="540464" y="214170"/>
                    <a:pt x="540464" y="214170"/>
                  </a:cubicBezTo>
                  <a:cubicBezTo>
                    <a:pt x="540464" y="212910"/>
                    <a:pt x="541724" y="212910"/>
                    <a:pt x="541724" y="211650"/>
                  </a:cubicBezTo>
                  <a:cubicBezTo>
                    <a:pt x="541724" y="211650"/>
                    <a:pt x="542984" y="210390"/>
                    <a:pt x="542984" y="210390"/>
                  </a:cubicBezTo>
                  <a:cubicBezTo>
                    <a:pt x="542984" y="210390"/>
                    <a:pt x="542984" y="210390"/>
                    <a:pt x="542984" y="210390"/>
                  </a:cubicBezTo>
                  <a:cubicBezTo>
                    <a:pt x="542984" y="210390"/>
                    <a:pt x="542984" y="209131"/>
                    <a:pt x="544244" y="209131"/>
                  </a:cubicBezTo>
                  <a:cubicBezTo>
                    <a:pt x="545504" y="207871"/>
                    <a:pt x="546763" y="205351"/>
                    <a:pt x="549283" y="204091"/>
                  </a:cubicBezTo>
                  <a:cubicBezTo>
                    <a:pt x="550543" y="202831"/>
                    <a:pt x="553063" y="200312"/>
                    <a:pt x="555582" y="199052"/>
                  </a:cubicBezTo>
                  <a:cubicBezTo>
                    <a:pt x="556842" y="199052"/>
                    <a:pt x="558102" y="197792"/>
                    <a:pt x="559362" y="197792"/>
                  </a:cubicBezTo>
                  <a:cubicBezTo>
                    <a:pt x="560621" y="197792"/>
                    <a:pt x="561881" y="196532"/>
                    <a:pt x="563141" y="196532"/>
                  </a:cubicBezTo>
                  <a:cubicBezTo>
                    <a:pt x="566920" y="195273"/>
                    <a:pt x="571960" y="194013"/>
                    <a:pt x="575739" y="194013"/>
                  </a:cubicBezTo>
                  <a:cubicBezTo>
                    <a:pt x="576999" y="194013"/>
                    <a:pt x="576999" y="194013"/>
                    <a:pt x="578259" y="194013"/>
                  </a:cubicBezTo>
                  <a:cubicBezTo>
                    <a:pt x="583298" y="194013"/>
                    <a:pt x="589597" y="194013"/>
                    <a:pt x="594637" y="195273"/>
                  </a:cubicBezTo>
                  <a:cubicBezTo>
                    <a:pt x="594637" y="195273"/>
                    <a:pt x="595896" y="195273"/>
                    <a:pt x="595896" y="195273"/>
                  </a:cubicBezTo>
                  <a:cubicBezTo>
                    <a:pt x="599676" y="196532"/>
                    <a:pt x="603455" y="196532"/>
                    <a:pt x="605975" y="197792"/>
                  </a:cubicBezTo>
                  <a:cubicBezTo>
                    <a:pt x="609755" y="199052"/>
                    <a:pt x="612274" y="200312"/>
                    <a:pt x="616054" y="202831"/>
                  </a:cubicBezTo>
                  <a:lnTo>
                    <a:pt x="616054" y="202831"/>
                  </a:lnTo>
                  <a:cubicBezTo>
                    <a:pt x="617313" y="204091"/>
                    <a:pt x="619833" y="205351"/>
                    <a:pt x="621093" y="206611"/>
                  </a:cubicBezTo>
                  <a:cubicBezTo>
                    <a:pt x="621093" y="206611"/>
                    <a:pt x="621093" y="206611"/>
                    <a:pt x="622353" y="206611"/>
                  </a:cubicBezTo>
                  <a:cubicBezTo>
                    <a:pt x="623613" y="207871"/>
                    <a:pt x="624872" y="207871"/>
                    <a:pt x="624872" y="209131"/>
                  </a:cubicBezTo>
                  <a:cubicBezTo>
                    <a:pt x="624872" y="209131"/>
                    <a:pt x="624872" y="209131"/>
                    <a:pt x="626132" y="210390"/>
                  </a:cubicBezTo>
                  <a:cubicBezTo>
                    <a:pt x="627392" y="211650"/>
                    <a:pt x="628652" y="212910"/>
                    <a:pt x="629912" y="214170"/>
                  </a:cubicBezTo>
                  <a:cubicBezTo>
                    <a:pt x="631172" y="215430"/>
                    <a:pt x="631172" y="216690"/>
                    <a:pt x="632431" y="217949"/>
                  </a:cubicBezTo>
                  <a:cubicBezTo>
                    <a:pt x="633691" y="220469"/>
                    <a:pt x="636211" y="224248"/>
                    <a:pt x="637471" y="228028"/>
                  </a:cubicBezTo>
                  <a:cubicBezTo>
                    <a:pt x="638730" y="230548"/>
                    <a:pt x="638730" y="233067"/>
                    <a:pt x="639990" y="235587"/>
                  </a:cubicBezTo>
                  <a:lnTo>
                    <a:pt x="639990" y="236847"/>
                  </a:lnTo>
                  <a:cubicBezTo>
                    <a:pt x="641250" y="240626"/>
                    <a:pt x="641250" y="243146"/>
                    <a:pt x="642510" y="246925"/>
                  </a:cubicBezTo>
                  <a:cubicBezTo>
                    <a:pt x="642510" y="249445"/>
                    <a:pt x="643770" y="250705"/>
                    <a:pt x="643770" y="253224"/>
                  </a:cubicBezTo>
                  <a:lnTo>
                    <a:pt x="643770" y="253224"/>
                  </a:lnTo>
                  <a:cubicBezTo>
                    <a:pt x="643770" y="254484"/>
                    <a:pt x="643770" y="255744"/>
                    <a:pt x="643770" y="257004"/>
                  </a:cubicBezTo>
                  <a:cubicBezTo>
                    <a:pt x="645029" y="262043"/>
                    <a:pt x="646289" y="265823"/>
                    <a:pt x="647549" y="270862"/>
                  </a:cubicBezTo>
                  <a:cubicBezTo>
                    <a:pt x="647549" y="272122"/>
                    <a:pt x="648809" y="274641"/>
                    <a:pt x="648809" y="275901"/>
                  </a:cubicBezTo>
                  <a:lnTo>
                    <a:pt x="648809" y="275901"/>
                  </a:lnTo>
                  <a:cubicBezTo>
                    <a:pt x="650069" y="278421"/>
                    <a:pt x="650069" y="282200"/>
                    <a:pt x="651329" y="284720"/>
                  </a:cubicBezTo>
                  <a:cubicBezTo>
                    <a:pt x="652589" y="288499"/>
                    <a:pt x="653848" y="293539"/>
                    <a:pt x="655108" y="297318"/>
                  </a:cubicBezTo>
                  <a:cubicBezTo>
                    <a:pt x="656368" y="302358"/>
                    <a:pt x="658888" y="306137"/>
                    <a:pt x="660148" y="311176"/>
                  </a:cubicBezTo>
                  <a:cubicBezTo>
                    <a:pt x="660148" y="312436"/>
                    <a:pt x="661407" y="313696"/>
                    <a:pt x="661407" y="314956"/>
                  </a:cubicBezTo>
                  <a:cubicBezTo>
                    <a:pt x="662667" y="317475"/>
                    <a:pt x="663927" y="318735"/>
                    <a:pt x="665187" y="321255"/>
                  </a:cubicBezTo>
                  <a:cubicBezTo>
                    <a:pt x="665187" y="322515"/>
                    <a:pt x="666447" y="323775"/>
                    <a:pt x="666447" y="325034"/>
                  </a:cubicBezTo>
                  <a:cubicBezTo>
                    <a:pt x="667706" y="327554"/>
                    <a:pt x="668966" y="330074"/>
                    <a:pt x="670226" y="331333"/>
                  </a:cubicBezTo>
                  <a:cubicBezTo>
                    <a:pt x="674005" y="337633"/>
                    <a:pt x="677785" y="345192"/>
                    <a:pt x="681564" y="351491"/>
                  </a:cubicBezTo>
                  <a:cubicBezTo>
                    <a:pt x="681564" y="352751"/>
                    <a:pt x="682824" y="352751"/>
                    <a:pt x="682824" y="354010"/>
                  </a:cubicBezTo>
                  <a:cubicBezTo>
                    <a:pt x="686604" y="359050"/>
                    <a:pt x="690383" y="364089"/>
                    <a:pt x="694163" y="369128"/>
                  </a:cubicBezTo>
                  <a:cubicBezTo>
                    <a:pt x="694163" y="369128"/>
                    <a:pt x="695422" y="370388"/>
                    <a:pt x="695422" y="370388"/>
                  </a:cubicBezTo>
                  <a:cubicBezTo>
                    <a:pt x="695422" y="371648"/>
                    <a:pt x="696682" y="371648"/>
                    <a:pt x="696682" y="372908"/>
                  </a:cubicBezTo>
                  <a:cubicBezTo>
                    <a:pt x="696682" y="370388"/>
                    <a:pt x="696682" y="367868"/>
                    <a:pt x="696682" y="365349"/>
                  </a:cubicBezTo>
                  <a:cubicBezTo>
                    <a:pt x="696682" y="364089"/>
                    <a:pt x="696682" y="362829"/>
                    <a:pt x="696682" y="361569"/>
                  </a:cubicBezTo>
                  <a:cubicBezTo>
                    <a:pt x="696682" y="360309"/>
                    <a:pt x="696682" y="359050"/>
                    <a:pt x="696682" y="357790"/>
                  </a:cubicBezTo>
                  <a:lnTo>
                    <a:pt x="696682" y="356530"/>
                  </a:lnTo>
                  <a:cubicBezTo>
                    <a:pt x="696682" y="355270"/>
                    <a:pt x="696682" y="352751"/>
                    <a:pt x="696682" y="351491"/>
                  </a:cubicBezTo>
                  <a:lnTo>
                    <a:pt x="696682" y="351491"/>
                  </a:lnTo>
                  <a:cubicBezTo>
                    <a:pt x="696682" y="348971"/>
                    <a:pt x="696682" y="345192"/>
                    <a:pt x="696682" y="342672"/>
                  </a:cubicBezTo>
                  <a:lnTo>
                    <a:pt x="696682" y="341412"/>
                  </a:lnTo>
                  <a:lnTo>
                    <a:pt x="696682" y="341412"/>
                  </a:lnTo>
                  <a:cubicBezTo>
                    <a:pt x="696682" y="338892"/>
                    <a:pt x="696682" y="337633"/>
                    <a:pt x="696682" y="335113"/>
                  </a:cubicBezTo>
                  <a:lnTo>
                    <a:pt x="696682" y="333853"/>
                  </a:lnTo>
                  <a:cubicBezTo>
                    <a:pt x="696682" y="332593"/>
                    <a:pt x="696682" y="332593"/>
                    <a:pt x="696682" y="331333"/>
                  </a:cubicBezTo>
                  <a:cubicBezTo>
                    <a:pt x="696682" y="330074"/>
                    <a:pt x="696682" y="328814"/>
                    <a:pt x="696682" y="327554"/>
                  </a:cubicBezTo>
                  <a:lnTo>
                    <a:pt x="696682" y="326294"/>
                  </a:lnTo>
                  <a:cubicBezTo>
                    <a:pt x="696682" y="325034"/>
                    <a:pt x="696682" y="322515"/>
                    <a:pt x="696682" y="321255"/>
                  </a:cubicBezTo>
                  <a:cubicBezTo>
                    <a:pt x="696682" y="319995"/>
                    <a:pt x="696682" y="317475"/>
                    <a:pt x="696682" y="316216"/>
                  </a:cubicBezTo>
                  <a:lnTo>
                    <a:pt x="696682" y="314956"/>
                  </a:lnTo>
                  <a:lnTo>
                    <a:pt x="696682" y="313696"/>
                  </a:lnTo>
                  <a:cubicBezTo>
                    <a:pt x="696682" y="312436"/>
                    <a:pt x="696682" y="311176"/>
                    <a:pt x="696682" y="309916"/>
                  </a:cubicBezTo>
                  <a:cubicBezTo>
                    <a:pt x="696682" y="306137"/>
                    <a:pt x="696682" y="302358"/>
                    <a:pt x="696682" y="299838"/>
                  </a:cubicBezTo>
                  <a:cubicBezTo>
                    <a:pt x="696682" y="298578"/>
                    <a:pt x="696682" y="297318"/>
                    <a:pt x="696682" y="296058"/>
                  </a:cubicBezTo>
                  <a:cubicBezTo>
                    <a:pt x="696682" y="294799"/>
                    <a:pt x="696682" y="293539"/>
                    <a:pt x="696682" y="292279"/>
                  </a:cubicBezTo>
                  <a:cubicBezTo>
                    <a:pt x="696682" y="289759"/>
                    <a:pt x="696682" y="285980"/>
                    <a:pt x="696682" y="283460"/>
                  </a:cubicBezTo>
                  <a:cubicBezTo>
                    <a:pt x="696682" y="280940"/>
                    <a:pt x="696682" y="278421"/>
                    <a:pt x="696682" y="274641"/>
                  </a:cubicBezTo>
                  <a:cubicBezTo>
                    <a:pt x="696682" y="274641"/>
                    <a:pt x="696682" y="273382"/>
                    <a:pt x="696682" y="273382"/>
                  </a:cubicBezTo>
                  <a:lnTo>
                    <a:pt x="696682" y="272122"/>
                  </a:lnTo>
                  <a:cubicBezTo>
                    <a:pt x="696682" y="270862"/>
                    <a:pt x="696682" y="269602"/>
                    <a:pt x="696682" y="269602"/>
                  </a:cubicBezTo>
                  <a:cubicBezTo>
                    <a:pt x="696682" y="267083"/>
                    <a:pt x="696682" y="265823"/>
                    <a:pt x="696682" y="263303"/>
                  </a:cubicBezTo>
                  <a:lnTo>
                    <a:pt x="696682" y="263303"/>
                  </a:lnTo>
                  <a:cubicBezTo>
                    <a:pt x="696682" y="262043"/>
                    <a:pt x="696682" y="260783"/>
                    <a:pt x="696682" y="259523"/>
                  </a:cubicBezTo>
                  <a:cubicBezTo>
                    <a:pt x="696682" y="257004"/>
                    <a:pt x="696682" y="253224"/>
                    <a:pt x="696682" y="249445"/>
                  </a:cubicBezTo>
                  <a:cubicBezTo>
                    <a:pt x="696682" y="248185"/>
                    <a:pt x="696682" y="245666"/>
                    <a:pt x="696682" y="244406"/>
                  </a:cubicBezTo>
                  <a:cubicBezTo>
                    <a:pt x="696682" y="243146"/>
                    <a:pt x="696682" y="241886"/>
                    <a:pt x="696682" y="240626"/>
                  </a:cubicBezTo>
                  <a:lnTo>
                    <a:pt x="696682" y="240626"/>
                  </a:lnTo>
                  <a:lnTo>
                    <a:pt x="696682" y="240626"/>
                  </a:lnTo>
                  <a:cubicBezTo>
                    <a:pt x="696682" y="239366"/>
                    <a:pt x="696682" y="236847"/>
                    <a:pt x="696682" y="235587"/>
                  </a:cubicBezTo>
                  <a:cubicBezTo>
                    <a:pt x="696682" y="235587"/>
                    <a:pt x="696682" y="234327"/>
                    <a:pt x="696682" y="234327"/>
                  </a:cubicBezTo>
                  <a:lnTo>
                    <a:pt x="696682" y="233067"/>
                  </a:lnTo>
                  <a:cubicBezTo>
                    <a:pt x="696682" y="233067"/>
                    <a:pt x="696682" y="233067"/>
                    <a:pt x="696682" y="233067"/>
                  </a:cubicBezTo>
                  <a:cubicBezTo>
                    <a:pt x="696682" y="231807"/>
                    <a:pt x="696682" y="231807"/>
                    <a:pt x="697942" y="230548"/>
                  </a:cubicBezTo>
                  <a:lnTo>
                    <a:pt x="697942" y="229288"/>
                  </a:lnTo>
                  <a:cubicBezTo>
                    <a:pt x="697942" y="228028"/>
                    <a:pt x="697942" y="226768"/>
                    <a:pt x="699202" y="225508"/>
                  </a:cubicBezTo>
                  <a:cubicBezTo>
                    <a:pt x="699202" y="225508"/>
                    <a:pt x="699202" y="224248"/>
                    <a:pt x="699202" y="224248"/>
                  </a:cubicBezTo>
                  <a:cubicBezTo>
                    <a:pt x="699202" y="222989"/>
                    <a:pt x="699202" y="221729"/>
                    <a:pt x="700462" y="221729"/>
                  </a:cubicBezTo>
                  <a:cubicBezTo>
                    <a:pt x="700462" y="221729"/>
                    <a:pt x="701722" y="221729"/>
                    <a:pt x="701722" y="221729"/>
                  </a:cubicBezTo>
                  <a:cubicBezTo>
                    <a:pt x="701722" y="221729"/>
                    <a:pt x="702981" y="221729"/>
                    <a:pt x="702981" y="221729"/>
                  </a:cubicBezTo>
                  <a:cubicBezTo>
                    <a:pt x="702981" y="221729"/>
                    <a:pt x="702981" y="221729"/>
                    <a:pt x="702981" y="221729"/>
                  </a:cubicBezTo>
                  <a:lnTo>
                    <a:pt x="702981" y="221729"/>
                  </a:lnTo>
                  <a:cubicBezTo>
                    <a:pt x="702981" y="221729"/>
                    <a:pt x="702981" y="221729"/>
                    <a:pt x="702981" y="221729"/>
                  </a:cubicBezTo>
                  <a:cubicBezTo>
                    <a:pt x="702981" y="221729"/>
                    <a:pt x="702981" y="221729"/>
                    <a:pt x="702981" y="221729"/>
                  </a:cubicBezTo>
                  <a:cubicBezTo>
                    <a:pt x="702981" y="221729"/>
                    <a:pt x="702981" y="221729"/>
                    <a:pt x="702981" y="221729"/>
                  </a:cubicBezTo>
                  <a:lnTo>
                    <a:pt x="702981" y="221729"/>
                  </a:lnTo>
                  <a:lnTo>
                    <a:pt x="702981" y="221729"/>
                  </a:lnTo>
                  <a:cubicBezTo>
                    <a:pt x="702981" y="221729"/>
                    <a:pt x="702981" y="221729"/>
                    <a:pt x="702981" y="221729"/>
                  </a:cubicBezTo>
                  <a:cubicBezTo>
                    <a:pt x="702981" y="221729"/>
                    <a:pt x="702981" y="221729"/>
                    <a:pt x="702981" y="222989"/>
                  </a:cubicBezTo>
                  <a:cubicBezTo>
                    <a:pt x="702981" y="222989"/>
                    <a:pt x="702981" y="222989"/>
                    <a:pt x="702981" y="222989"/>
                  </a:cubicBezTo>
                  <a:cubicBezTo>
                    <a:pt x="702981" y="222989"/>
                    <a:pt x="702981" y="222989"/>
                    <a:pt x="702981" y="222989"/>
                  </a:cubicBezTo>
                  <a:cubicBezTo>
                    <a:pt x="702981" y="222989"/>
                    <a:pt x="702981" y="222989"/>
                    <a:pt x="704241" y="222989"/>
                  </a:cubicBezTo>
                  <a:lnTo>
                    <a:pt x="704241" y="222989"/>
                  </a:lnTo>
                  <a:lnTo>
                    <a:pt x="704241" y="222989"/>
                  </a:lnTo>
                  <a:cubicBezTo>
                    <a:pt x="705501" y="222989"/>
                    <a:pt x="706761" y="224248"/>
                    <a:pt x="706761" y="225508"/>
                  </a:cubicBezTo>
                  <a:cubicBezTo>
                    <a:pt x="709281" y="233067"/>
                    <a:pt x="711800" y="239366"/>
                    <a:pt x="715580" y="244406"/>
                  </a:cubicBezTo>
                  <a:cubicBezTo>
                    <a:pt x="716840" y="245666"/>
                    <a:pt x="716840" y="246925"/>
                    <a:pt x="718099" y="248185"/>
                  </a:cubicBezTo>
                  <a:cubicBezTo>
                    <a:pt x="718099" y="249445"/>
                    <a:pt x="719359" y="249445"/>
                    <a:pt x="719359" y="250705"/>
                  </a:cubicBezTo>
                  <a:lnTo>
                    <a:pt x="719359" y="250705"/>
                  </a:lnTo>
                  <a:cubicBezTo>
                    <a:pt x="720619" y="253224"/>
                    <a:pt x="721879" y="255744"/>
                    <a:pt x="723139" y="258264"/>
                  </a:cubicBezTo>
                  <a:lnTo>
                    <a:pt x="724398" y="260783"/>
                  </a:lnTo>
                  <a:cubicBezTo>
                    <a:pt x="725658" y="263303"/>
                    <a:pt x="726918" y="264563"/>
                    <a:pt x="728178" y="267083"/>
                  </a:cubicBezTo>
                  <a:lnTo>
                    <a:pt x="729438" y="268342"/>
                  </a:lnTo>
                  <a:cubicBezTo>
                    <a:pt x="730698" y="270862"/>
                    <a:pt x="731957" y="272122"/>
                    <a:pt x="733217" y="274641"/>
                  </a:cubicBezTo>
                  <a:lnTo>
                    <a:pt x="735737" y="278421"/>
                  </a:lnTo>
                  <a:cubicBezTo>
                    <a:pt x="739516" y="284720"/>
                    <a:pt x="743296" y="291019"/>
                    <a:pt x="745815" y="297318"/>
                  </a:cubicBezTo>
                  <a:cubicBezTo>
                    <a:pt x="747075" y="299838"/>
                    <a:pt x="748335" y="301098"/>
                    <a:pt x="748335" y="303617"/>
                  </a:cubicBezTo>
                  <a:cubicBezTo>
                    <a:pt x="749595" y="304877"/>
                    <a:pt x="749595" y="307397"/>
                    <a:pt x="750855" y="308657"/>
                  </a:cubicBezTo>
                  <a:cubicBezTo>
                    <a:pt x="752114" y="309916"/>
                    <a:pt x="752114" y="311176"/>
                    <a:pt x="753374" y="313696"/>
                  </a:cubicBezTo>
                  <a:cubicBezTo>
                    <a:pt x="754634" y="314956"/>
                    <a:pt x="754634" y="317475"/>
                    <a:pt x="755894" y="318735"/>
                  </a:cubicBezTo>
                  <a:lnTo>
                    <a:pt x="755894" y="318735"/>
                  </a:lnTo>
                  <a:lnTo>
                    <a:pt x="755894" y="318735"/>
                  </a:lnTo>
                  <a:cubicBezTo>
                    <a:pt x="757154" y="321255"/>
                    <a:pt x="758414" y="322515"/>
                    <a:pt x="758414" y="325034"/>
                  </a:cubicBezTo>
                  <a:lnTo>
                    <a:pt x="758414" y="325034"/>
                  </a:lnTo>
                  <a:cubicBezTo>
                    <a:pt x="758414" y="325034"/>
                    <a:pt x="758414" y="325034"/>
                    <a:pt x="758414" y="325034"/>
                  </a:cubicBezTo>
                  <a:lnTo>
                    <a:pt x="758414" y="325034"/>
                  </a:lnTo>
                  <a:cubicBezTo>
                    <a:pt x="759673" y="327554"/>
                    <a:pt x="760933" y="330074"/>
                    <a:pt x="762193" y="332593"/>
                  </a:cubicBezTo>
                  <a:cubicBezTo>
                    <a:pt x="763453" y="336373"/>
                    <a:pt x="765973" y="340152"/>
                    <a:pt x="767232" y="343932"/>
                  </a:cubicBezTo>
                  <a:cubicBezTo>
                    <a:pt x="768492" y="347711"/>
                    <a:pt x="769752" y="350231"/>
                    <a:pt x="771012" y="354010"/>
                  </a:cubicBezTo>
                  <a:lnTo>
                    <a:pt x="771012" y="355270"/>
                  </a:lnTo>
                  <a:cubicBezTo>
                    <a:pt x="772272" y="357790"/>
                    <a:pt x="773532" y="361569"/>
                    <a:pt x="774791" y="365349"/>
                  </a:cubicBezTo>
                  <a:lnTo>
                    <a:pt x="776051" y="367868"/>
                  </a:lnTo>
                  <a:cubicBezTo>
                    <a:pt x="777311" y="369128"/>
                    <a:pt x="777311" y="371648"/>
                    <a:pt x="778571" y="372908"/>
                  </a:cubicBezTo>
                  <a:cubicBezTo>
                    <a:pt x="778571" y="371648"/>
                    <a:pt x="778571" y="370388"/>
                    <a:pt x="778571" y="369128"/>
                  </a:cubicBezTo>
                  <a:cubicBezTo>
                    <a:pt x="778571" y="370388"/>
                    <a:pt x="778571" y="371648"/>
                    <a:pt x="778571" y="372908"/>
                  </a:cubicBezTo>
                  <a:cubicBezTo>
                    <a:pt x="778571" y="371648"/>
                    <a:pt x="778571" y="370388"/>
                    <a:pt x="777311" y="367868"/>
                  </a:cubicBezTo>
                  <a:cubicBezTo>
                    <a:pt x="777311" y="367868"/>
                    <a:pt x="777311" y="367868"/>
                    <a:pt x="777311" y="367868"/>
                  </a:cubicBezTo>
                  <a:cubicBezTo>
                    <a:pt x="777311" y="367868"/>
                    <a:pt x="777311" y="366608"/>
                    <a:pt x="777311" y="366608"/>
                  </a:cubicBezTo>
                  <a:cubicBezTo>
                    <a:pt x="777311" y="366608"/>
                    <a:pt x="777311" y="366608"/>
                    <a:pt x="777311" y="366608"/>
                  </a:cubicBezTo>
                  <a:cubicBezTo>
                    <a:pt x="777311" y="366608"/>
                    <a:pt x="777311" y="366608"/>
                    <a:pt x="777311" y="366608"/>
                  </a:cubicBezTo>
                  <a:cubicBezTo>
                    <a:pt x="777311" y="366608"/>
                    <a:pt x="777311" y="366608"/>
                    <a:pt x="777311" y="366608"/>
                  </a:cubicBezTo>
                  <a:cubicBezTo>
                    <a:pt x="777311" y="366608"/>
                    <a:pt x="777311" y="366608"/>
                    <a:pt x="777311" y="366608"/>
                  </a:cubicBezTo>
                  <a:cubicBezTo>
                    <a:pt x="777311" y="366608"/>
                    <a:pt x="777311" y="365349"/>
                    <a:pt x="777311" y="365349"/>
                  </a:cubicBezTo>
                  <a:cubicBezTo>
                    <a:pt x="777311" y="365349"/>
                    <a:pt x="777311" y="365349"/>
                    <a:pt x="777311" y="365349"/>
                  </a:cubicBezTo>
                  <a:cubicBezTo>
                    <a:pt x="777311" y="365349"/>
                    <a:pt x="777311" y="365349"/>
                    <a:pt x="777311" y="365349"/>
                  </a:cubicBezTo>
                  <a:cubicBezTo>
                    <a:pt x="777311" y="365349"/>
                    <a:pt x="777311" y="365349"/>
                    <a:pt x="777311" y="365349"/>
                  </a:cubicBezTo>
                  <a:cubicBezTo>
                    <a:pt x="777311" y="365349"/>
                    <a:pt x="777311" y="365349"/>
                    <a:pt x="777311" y="365349"/>
                  </a:cubicBezTo>
                  <a:lnTo>
                    <a:pt x="777311" y="362829"/>
                  </a:lnTo>
                  <a:cubicBezTo>
                    <a:pt x="777311" y="362829"/>
                    <a:pt x="777311" y="362829"/>
                    <a:pt x="777311" y="364089"/>
                  </a:cubicBezTo>
                  <a:cubicBezTo>
                    <a:pt x="777311" y="362829"/>
                    <a:pt x="777311" y="360309"/>
                    <a:pt x="776051" y="359050"/>
                  </a:cubicBezTo>
                  <a:cubicBezTo>
                    <a:pt x="774791" y="355270"/>
                    <a:pt x="774791" y="351491"/>
                    <a:pt x="773532" y="346451"/>
                  </a:cubicBezTo>
                  <a:cubicBezTo>
                    <a:pt x="772272" y="338892"/>
                    <a:pt x="771012" y="331333"/>
                    <a:pt x="769752" y="323775"/>
                  </a:cubicBezTo>
                  <a:cubicBezTo>
                    <a:pt x="769752" y="323775"/>
                    <a:pt x="769752" y="323775"/>
                    <a:pt x="769752" y="323775"/>
                  </a:cubicBezTo>
                  <a:cubicBezTo>
                    <a:pt x="768492" y="316216"/>
                    <a:pt x="767232" y="308657"/>
                    <a:pt x="765973" y="299838"/>
                  </a:cubicBezTo>
                  <a:cubicBezTo>
                    <a:pt x="764713" y="288499"/>
                    <a:pt x="763453" y="277161"/>
                    <a:pt x="762193" y="265823"/>
                  </a:cubicBezTo>
                  <a:cubicBezTo>
                    <a:pt x="762193" y="265823"/>
                    <a:pt x="762193" y="265823"/>
                    <a:pt x="762193" y="265823"/>
                  </a:cubicBezTo>
                  <a:lnTo>
                    <a:pt x="760933" y="262043"/>
                  </a:lnTo>
                  <a:cubicBezTo>
                    <a:pt x="759673" y="258264"/>
                    <a:pt x="759673" y="254484"/>
                    <a:pt x="758414" y="250705"/>
                  </a:cubicBezTo>
                  <a:cubicBezTo>
                    <a:pt x="757154" y="245666"/>
                    <a:pt x="755894" y="241886"/>
                    <a:pt x="754634" y="236847"/>
                  </a:cubicBezTo>
                  <a:cubicBezTo>
                    <a:pt x="753374" y="233067"/>
                    <a:pt x="752114" y="229288"/>
                    <a:pt x="750855" y="225508"/>
                  </a:cubicBezTo>
                  <a:lnTo>
                    <a:pt x="750855" y="221729"/>
                  </a:lnTo>
                  <a:lnTo>
                    <a:pt x="750855" y="217949"/>
                  </a:lnTo>
                  <a:cubicBezTo>
                    <a:pt x="750855" y="212910"/>
                    <a:pt x="750855" y="207871"/>
                    <a:pt x="749595" y="202831"/>
                  </a:cubicBezTo>
                  <a:lnTo>
                    <a:pt x="749595" y="201572"/>
                  </a:lnTo>
                  <a:cubicBezTo>
                    <a:pt x="749595" y="200312"/>
                    <a:pt x="749595" y="199052"/>
                    <a:pt x="748335" y="197792"/>
                  </a:cubicBezTo>
                  <a:lnTo>
                    <a:pt x="748335" y="197792"/>
                  </a:lnTo>
                  <a:lnTo>
                    <a:pt x="748335" y="197792"/>
                  </a:lnTo>
                  <a:cubicBezTo>
                    <a:pt x="747075" y="191493"/>
                    <a:pt x="745815" y="185194"/>
                    <a:pt x="743296" y="178895"/>
                  </a:cubicBezTo>
                  <a:cubicBezTo>
                    <a:pt x="742036" y="172596"/>
                    <a:pt x="739516" y="166297"/>
                    <a:pt x="736997" y="158738"/>
                  </a:cubicBezTo>
                  <a:cubicBezTo>
                    <a:pt x="735737" y="156218"/>
                    <a:pt x="735737" y="154958"/>
                    <a:pt x="734477" y="152439"/>
                  </a:cubicBezTo>
                  <a:cubicBezTo>
                    <a:pt x="733217" y="147399"/>
                    <a:pt x="730698" y="142360"/>
                    <a:pt x="729438" y="137321"/>
                  </a:cubicBezTo>
                  <a:cubicBezTo>
                    <a:pt x="726918" y="131022"/>
                    <a:pt x="724398" y="124722"/>
                    <a:pt x="721879" y="118423"/>
                  </a:cubicBezTo>
                  <a:lnTo>
                    <a:pt x="720619" y="117163"/>
                  </a:lnTo>
                  <a:cubicBezTo>
                    <a:pt x="719359" y="114644"/>
                    <a:pt x="718099" y="113384"/>
                    <a:pt x="718099" y="110864"/>
                  </a:cubicBezTo>
                  <a:cubicBezTo>
                    <a:pt x="716840" y="107085"/>
                    <a:pt x="714320" y="103305"/>
                    <a:pt x="713060" y="99526"/>
                  </a:cubicBezTo>
                  <a:lnTo>
                    <a:pt x="713060" y="98266"/>
                  </a:lnTo>
                  <a:cubicBezTo>
                    <a:pt x="710540" y="91967"/>
                    <a:pt x="708021" y="84408"/>
                    <a:pt x="702981" y="79369"/>
                  </a:cubicBezTo>
                  <a:cubicBezTo>
                    <a:pt x="700462" y="75589"/>
                    <a:pt x="697942" y="73070"/>
                    <a:pt x="695422" y="70550"/>
                  </a:cubicBezTo>
                  <a:cubicBezTo>
                    <a:pt x="692903" y="68030"/>
                    <a:pt x="690383" y="65511"/>
                    <a:pt x="687864" y="62991"/>
                  </a:cubicBezTo>
                  <a:lnTo>
                    <a:pt x="686604" y="61731"/>
                  </a:lnTo>
                  <a:cubicBezTo>
                    <a:pt x="684084" y="59212"/>
                    <a:pt x="681564" y="56692"/>
                    <a:pt x="679045" y="54172"/>
                  </a:cubicBezTo>
                  <a:cubicBezTo>
                    <a:pt x="676525" y="51653"/>
                    <a:pt x="672746" y="49133"/>
                    <a:pt x="670226" y="47873"/>
                  </a:cubicBezTo>
                  <a:cubicBezTo>
                    <a:pt x="666447" y="45354"/>
                    <a:pt x="662667" y="42834"/>
                    <a:pt x="660148" y="41574"/>
                  </a:cubicBezTo>
                  <a:cubicBezTo>
                    <a:pt x="656368" y="40314"/>
                    <a:pt x="652589" y="37795"/>
                    <a:pt x="650069" y="36535"/>
                  </a:cubicBezTo>
                  <a:lnTo>
                    <a:pt x="650069" y="36535"/>
                  </a:lnTo>
                  <a:cubicBezTo>
                    <a:pt x="647549" y="35275"/>
                    <a:pt x="643770" y="34015"/>
                    <a:pt x="641250" y="32755"/>
                  </a:cubicBezTo>
                  <a:cubicBezTo>
                    <a:pt x="639990" y="32755"/>
                    <a:pt x="638730" y="31496"/>
                    <a:pt x="637471" y="31496"/>
                  </a:cubicBezTo>
                  <a:cubicBezTo>
                    <a:pt x="634951" y="30236"/>
                    <a:pt x="633691" y="30236"/>
                    <a:pt x="631172" y="28976"/>
                  </a:cubicBezTo>
                  <a:lnTo>
                    <a:pt x="628652" y="27716"/>
                  </a:lnTo>
                  <a:cubicBezTo>
                    <a:pt x="628652" y="27716"/>
                    <a:pt x="628652" y="27716"/>
                    <a:pt x="627392" y="27716"/>
                  </a:cubicBezTo>
                  <a:cubicBezTo>
                    <a:pt x="626132" y="26456"/>
                    <a:pt x="624872" y="26456"/>
                    <a:pt x="622353" y="25196"/>
                  </a:cubicBezTo>
                  <a:cubicBezTo>
                    <a:pt x="618573" y="23937"/>
                    <a:pt x="613534" y="23937"/>
                    <a:pt x="609755" y="22677"/>
                  </a:cubicBezTo>
                  <a:cubicBezTo>
                    <a:pt x="604715" y="21417"/>
                    <a:pt x="599676" y="20157"/>
                    <a:pt x="595896" y="18897"/>
                  </a:cubicBezTo>
                  <a:lnTo>
                    <a:pt x="595896" y="18897"/>
                  </a:lnTo>
                  <a:lnTo>
                    <a:pt x="590857" y="17637"/>
                  </a:lnTo>
                  <a:cubicBezTo>
                    <a:pt x="585818" y="16378"/>
                    <a:pt x="579519" y="15118"/>
                    <a:pt x="574480" y="12598"/>
                  </a:cubicBezTo>
                  <a:cubicBezTo>
                    <a:pt x="570700" y="11338"/>
                    <a:pt x="565661" y="10078"/>
                    <a:pt x="561881" y="8819"/>
                  </a:cubicBezTo>
                  <a:cubicBezTo>
                    <a:pt x="558102" y="7559"/>
                    <a:pt x="555582" y="6299"/>
                    <a:pt x="551803" y="6299"/>
                  </a:cubicBezTo>
                  <a:lnTo>
                    <a:pt x="550543" y="6299"/>
                  </a:lnTo>
                  <a:cubicBezTo>
                    <a:pt x="546763" y="5039"/>
                    <a:pt x="544244" y="3779"/>
                    <a:pt x="540464" y="3779"/>
                  </a:cubicBezTo>
                  <a:cubicBezTo>
                    <a:pt x="537945" y="3779"/>
                    <a:pt x="535425" y="2520"/>
                    <a:pt x="534165" y="2520"/>
                  </a:cubicBezTo>
                  <a:cubicBezTo>
                    <a:pt x="532905" y="2520"/>
                    <a:pt x="531645" y="2520"/>
                    <a:pt x="530386" y="1260"/>
                  </a:cubicBezTo>
                  <a:cubicBezTo>
                    <a:pt x="529126" y="1260"/>
                    <a:pt x="527866" y="1260"/>
                    <a:pt x="526606" y="0"/>
                  </a:cubicBezTo>
                  <a:cubicBezTo>
                    <a:pt x="526606" y="0"/>
                    <a:pt x="526606" y="0"/>
                    <a:pt x="526606" y="0"/>
                  </a:cubicBezTo>
                  <a:cubicBezTo>
                    <a:pt x="526606" y="0"/>
                    <a:pt x="526606" y="0"/>
                    <a:pt x="526606" y="0"/>
                  </a:cubicBezTo>
                  <a:cubicBezTo>
                    <a:pt x="526606" y="0"/>
                    <a:pt x="526606" y="0"/>
                    <a:pt x="526606" y="0"/>
                  </a:cubicBezTo>
                  <a:cubicBezTo>
                    <a:pt x="537945" y="13858"/>
                    <a:pt x="537945" y="15118"/>
                    <a:pt x="537945" y="16378"/>
                  </a:cubicBezTo>
                  <a:close/>
                  <a:moveTo>
                    <a:pt x="162517" y="388025"/>
                  </a:moveTo>
                  <a:lnTo>
                    <a:pt x="162517" y="388025"/>
                  </a:lnTo>
                  <a:lnTo>
                    <a:pt x="162517" y="388025"/>
                  </a:lnTo>
                  <a:lnTo>
                    <a:pt x="162517" y="388025"/>
                  </a:lnTo>
                  <a:close/>
                  <a:moveTo>
                    <a:pt x="354010" y="725658"/>
                  </a:moveTo>
                  <a:cubicBezTo>
                    <a:pt x="352751" y="725658"/>
                    <a:pt x="352751" y="726918"/>
                    <a:pt x="351491" y="726918"/>
                  </a:cubicBezTo>
                  <a:cubicBezTo>
                    <a:pt x="352751" y="725658"/>
                    <a:pt x="354010" y="725658"/>
                    <a:pt x="354010" y="725658"/>
                  </a:cubicBezTo>
                  <a:close/>
                </a:path>
              </a:pathLst>
            </a:custGeom>
            <a:solidFill>
              <a:srgbClr val="54F3F5"/>
            </a:solidFill>
            <a:ln w="12584" cap="flat">
              <a:noFill/>
              <a:prstDash val="solid"/>
              <a:miter/>
            </a:ln>
          </p:spPr>
          <p:txBody>
            <a:bodyPr rtlCol="0" anchor="ctr"/>
            <a:lstStyle/>
            <a:p>
              <a:endParaRPr lang="zh-CN" altLang="en-US"/>
            </a:p>
          </p:txBody>
        </p:sp>
        <p:sp>
          <p:nvSpPr>
            <p:cNvPr id="127" name="任意多边形: 形状 126"/>
            <p:cNvSpPr/>
            <p:nvPr/>
          </p:nvSpPr>
          <p:spPr>
            <a:xfrm>
              <a:off x="8357259" y="3836489"/>
              <a:ext cx="231669" cy="497660"/>
            </a:xfrm>
            <a:custGeom>
              <a:avLst/>
              <a:gdLst>
                <a:gd name="connsiteX0" fmla="*/ 313696 w 340152"/>
                <a:gd name="connsiteY0" fmla="*/ 645030 h 730697"/>
                <a:gd name="connsiteX1" fmla="*/ 279681 w 340152"/>
                <a:gd name="connsiteY1" fmla="*/ 495110 h 730697"/>
                <a:gd name="connsiteX2" fmla="*/ 269602 w 340152"/>
                <a:gd name="connsiteY2" fmla="*/ 479993 h 730697"/>
                <a:gd name="connsiteX3" fmla="*/ 269602 w 340152"/>
                <a:gd name="connsiteY3" fmla="*/ 478733 h 730697"/>
                <a:gd name="connsiteX4" fmla="*/ 268342 w 340152"/>
                <a:gd name="connsiteY4" fmla="*/ 477473 h 730697"/>
                <a:gd name="connsiteX5" fmla="*/ 268342 w 340152"/>
                <a:gd name="connsiteY5" fmla="*/ 477473 h 730697"/>
                <a:gd name="connsiteX6" fmla="*/ 263303 w 340152"/>
                <a:gd name="connsiteY6" fmla="*/ 469914 h 730697"/>
                <a:gd name="connsiteX7" fmla="*/ 258264 w 340152"/>
                <a:gd name="connsiteY7" fmla="*/ 459836 h 730697"/>
                <a:gd name="connsiteX8" fmla="*/ 249445 w 340152"/>
                <a:gd name="connsiteY8" fmla="*/ 440938 h 730697"/>
                <a:gd name="connsiteX9" fmla="*/ 248185 w 340152"/>
                <a:gd name="connsiteY9" fmla="*/ 438418 h 730697"/>
                <a:gd name="connsiteX10" fmla="*/ 244406 w 340152"/>
                <a:gd name="connsiteY10" fmla="*/ 430860 h 730697"/>
                <a:gd name="connsiteX11" fmla="*/ 240626 w 340152"/>
                <a:gd name="connsiteY11" fmla="*/ 423301 h 730697"/>
                <a:gd name="connsiteX12" fmla="*/ 239366 w 340152"/>
                <a:gd name="connsiteY12" fmla="*/ 420781 h 730697"/>
                <a:gd name="connsiteX13" fmla="*/ 234327 w 340152"/>
                <a:gd name="connsiteY13" fmla="*/ 410702 h 730697"/>
                <a:gd name="connsiteX14" fmla="*/ 231808 w 340152"/>
                <a:gd name="connsiteY14" fmla="*/ 404403 h 730697"/>
                <a:gd name="connsiteX15" fmla="*/ 231808 w 340152"/>
                <a:gd name="connsiteY15" fmla="*/ 404403 h 730697"/>
                <a:gd name="connsiteX16" fmla="*/ 230548 w 340152"/>
                <a:gd name="connsiteY16" fmla="*/ 401884 h 730697"/>
                <a:gd name="connsiteX17" fmla="*/ 222989 w 340152"/>
                <a:gd name="connsiteY17" fmla="*/ 381726 h 730697"/>
                <a:gd name="connsiteX18" fmla="*/ 216690 w 340152"/>
                <a:gd name="connsiteY18" fmla="*/ 361569 h 730697"/>
                <a:gd name="connsiteX19" fmla="*/ 214170 w 340152"/>
                <a:gd name="connsiteY19" fmla="*/ 352751 h 730697"/>
                <a:gd name="connsiteX20" fmla="*/ 214170 w 340152"/>
                <a:gd name="connsiteY20" fmla="*/ 351491 h 730697"/>
                <a:gd name="connsiteX21" fmla="*/ 212910 w 340152"/>
                <a:gd name="connsiteY21" fmla="*/ 345192 h 730697"/>
                <a:gd name="connsiteX22" fmla="*/ 212910 w 340152"/>
                <a:gd name="connsiteY22" fmla="*/ 345192 h 730697"/>
                <a:gd name="connsiteX23" fmla="*/ 211650 w 340152"/>
                <a:gd name="connsiteY23" fmla="*/ 342672 h 730697"/>
                <a:gd name="connsiteX24" fmla="*/ 207871 w 340152"/>
                <a:gd name="connsiteY24" fmla="*/ 322515 h 730697"/>
                <a:gd name="connsiteX25" fmla="*/ 207871 w 340152"/>
                <a:gd name="connsiteY25" fmla="*/ 321255 h 730697"/>
                <a:gd name="connsiteX26" fmla="*/ 206611 w 340152"/>
                <a:gd name="connsiteY26" fmla="*/ 316216 h 730697"/>
                <a:gd name="connsiteX27" fmla="*/ 205351 w 340152"/>
                <a:gd name="connsiteY27" fmla="*/ 311176 h 730697"/>
                <a:gd name="connsiteX28" fmla="*/ 204092 w 340152"/>
                <a:gd name="connsiteY28" fmla="*/ 302358 h 730697"/>
                <a:gd name="connsiteX29" fmla="*/ 204092 w 340152"/>
                <a:gd name="connsiteY29" fmla="*/ 301098 h 730697"/>
                <a:gd name="connsiteX30" fmla="*/ 204092 w 340152"/>
                <a:gd name="connsiteY30" fmla="*/ 297318 h 730697"/>
                <a:gd name="connsiteX31" fmla="*/ 204092 w 340152"/>
                <a:gd name="connsiteY31" fmla="*/ 296058 h 730697"/>
                <a:gd name="connsiteX32" fmla="*/ 204092 w 340152"/>
                <a:gd name="connsiteY32" fmla="*/ 294799 h 730697"/>
                <a:gd name="connsiteX33" fmla="*/ 204092 w 340152"/>
                <a:gd name="connsiteY33" fmla="*/ 289759 h 730697"/>
                <a:gd name="connsiteX34" fmla="*/ 204092 w 340152"/>
                <a:gd name="connsiteY34" fmla="*/ 283460 h 730697"/>
                <a:gd name="connsiteX35" fmla="*/ 204092 w 340152"/>
                <a:gd name="connsiteY35" fmla="*/ 279681 h 730697"/>
                <a:gd name="connsiteX36" fmla="*/ 204092 w 340152"/>
                <a:gd name="connsiteY36" fmla="*/ 268342 h 730697"/>
                <a:gd name="connsiteX37" fmla="*/ 204092 w 340152"/>
                <a:gd name="connsiteY37" fmla="*/ 264563 h 730697"/>
                <a:gd name="connsiteX38" fmla="*/ 204092 w 340152"/>
                <a:gd name="connsiteY38" fmla="*/ 263303 h 730697"/>
                <a:gd name="connsiteX39" fmla="*/ 204092 w 340152"/>
                <a:gd name="connsiteY39" fmla="*/ 259523 h 730697"/>
                <a:gd name="connsiteX40" fmla="*/ 204092 w 340152"/>
                <a:gd name="connsiteY40" fmla="*/ 259523 h 730697"/>
                <a:gd name="connsiteX41" fmla="*/ 204092 w 340152"/>
                <a:gd name="connsiteY41" fmla="*/ 257004 h 730697"/>
                <a:gd name="connsiteX42" fmla="*/ 204092 w 340152"/>
                <a:gd name="connsiteY42" fmla="*/ 257004 h 730697"/>
                <a:gd name="connsiteX43" fmla="*/ 204092 w 340152"/>
                <a:gd name="connsiteY43" fmla="*/ 257004 h 730697"/>
                <a:gd name="connsiteX44" fmla="*/ 204092 w 340152"/>
                <a:gd name="connsiteY44" fmla="*/ 257004 h 730697"/>
                <a:gd name="connsiteX45" fmla="*/ 204092 w 340152"/>
                <a:gd name="connsiteY45" fmla="*/ 257004 h 730697"/>
                <a:gd name="connsiteX46" fmla="*/ 204092 w 340152"/>
                <a:gd name="connsiteY46" fmla="*/ 257004 h 730697"/>
                <a:gd name="connsiteX47" fmla="*/ 204092 w 340152"/>
                <a:gd name="connsiteY47" fmla="*/ 257004 h 730697"/>
                <a:gd name="connsiteX48" fmla="*/ 204092 w 340152"/>
                <a:gd name="connsiteY48" fmla="*/ 257004 h 730697"/>
                <a:gd name="connsiteX49" fmla="*/ 204092 w 340152"/>
                <a:gd name="connsiteY49" fmla="*/ 254484 h 730697"/>
                <a:gd name="connsiteX50" fmla="*/ 204092 w 340152"/>
                <a:gd name="connsiteY50" fmla="*/ 253224 h 730697"/>
                <a:gd name="connsiteX51" fmla="*/ 205351 w 340152"/>
                <a:gd name="connsiteY51" fmla="*/ 246925 h 730697"/>
                <a:gd name="connsiteX52" fmla="*/ 207871 w 340152"/>
                <a:gd name="connsiteY52" fmla="*/ 238107 h 730697"/>
                <a:gd name="connsiteX53" fmla="*/ 211650 w 340152"/>
                <a:gd name="connsiteY53" fmla="*/ 229288 h 730697"/>
                <a:gd name="connsiteX54" fmla="*/ 216690 w 340152"/>
                <a:gd name="connsiteY54" fmla="*/ 221729 h 730697"/>
                <a:gd name="connsiteX55" fmla="*/ 216690 w 340152"/>
                <a:gd name="connsiteY55" fmla="*/ 221729 h 730697"/>
                <a:gd name="connsiteX56" fmla="*/ 217949 w 340152"/>
                <a:gd name="connsiteY56" fmla="*/ 219209 h 730697"/>
                <a:gd name="connsiteX57" fmla="*/ 219209 w 340152"/>
                <a:gd name="connsiteY57" fmla="*/ 217949 h 730697"/>
                <a:gd name="connsiteX58" fmla="*/ 219209 w 340152"/>
                <a:gd name="connsiteY58" fmla="*/ 217949 h 730697"/>
                <a:gd name="connsiteX59" fmla="*/ 220469 w 340152"/>
                <a:gd name="connsiteY59" fmla="*/ 216690 h 730697"/>
                <a:gd name="connsiteX60" fmla="*/ 224249 w 340152"/>
                <a:gd name="connsiteY60" fmla="*/ 212910 h 730697"/>
                <a:gd name="connsiteX61" fmla="*/ 229288 w 340152"/>
                <a:gd name="connsiteY61" fmla="*/ 16378 h 730697"/>
                <a:gd name="connsiteX62" fmla="*/ 222989 w 340152"/>
                <a:gd name="connsiteY62" fmla="*/ 15118 h 730697"/>
                <a:gd name="connsiteX63" fmla="*/ 216690 w 340152"/>
                <a:gd name="connsiteY63" fmla="*/ 13858 h 730697"/>
                <a:gd name="connsiteX64" fmla="*/ 212910 w 340152"/>
                <a:gd name="connsiteY64" fmla="*/ 12598 h 730697"/>
                <a:gd name="connsiteX65" fmla="*/ 209131 w 340152"/>
                <a:gd name="connsiteY65" fmla="*/ 11338 h 730697"/>
                <a:gd name="connsiteX66" fmla="*/ 209131 w 340152"/>
                <a:gd name="connsiteY66" fmla="*/ 11338 h 730697"/>
                <a:gd name="connsiteX67" fmla="*/ 209131 w 340152"/>
                <a:gd name="connsiteY67" fmla="*/ 11338 h 730697"/>
                <a:gd name="connsiteX68" fmla="*/ 209131 w 340152"/>
                <a:gd name="connsiteY68" fmla="*/ 11338 h 730697"/>
                <a:gd name="connsiteX69" fmla="*/ 209131 w 340152"/>
                <a:gd name="connsiteY69" fmla="*/ 13858 h 730697"/>
                <a:gd name="connsiteX70" fmla="*/ 209131 w 340152"/>
                <a:gd name="connsiteY70" fmla="*/ 13858 h 730697"/>
                <a:gd name="connsiteX71" fmla="*/ 209131 w 340152"/>
                <a:gd name="connsiteY71" fmla="*/ 13858 h 730697"/>
                <a:gd name="connsiteX72" fmla="*/ 209131 w 340152"/>
                <a:gd name="connsiteY72" fmla="*/ 15118 h 730697"/>
                <a:gd name="connsiteX73" fmla="*/ 209131 w 340152"/>
                <a:gd name="connsiteY73" fmla="*/ 15118 h 730697"/>
                <a:gd name="connsiteX74" fmla="*/ 209131 w 340152"/>
                <a:gd name="connsiteY74" fmla="*/ 13858 h 730697"/>
                <a:gd name="connsiteX75" fmla="*/ 209131 w 340152"/>
                <a:gd name="connsiteY75" fmla="*/ 13858 h 730697"/>
                <a:gd name="connsiteX76" fmla="*/ 209131 w 340152"/>
                <a:gd name="connsiteY76" fmla="*/ 13858 h 730697"/>
                <a:gd name="connsiteX77" fmla="*/ 209131 w 340152"/>
                <a:gd name="connsiteY77" fmla="*/ 15118 h 730697"/>
                <a:gd name="connsiteX78" fmla="*/ 207871 w 340152"/>
                <a:gd name="connsiteY78" fmla="*/ 20157 h 730697"/>
                <a:gd name="connsiteX79" fmla="*/ 209131 w 340152"/>
                <a:gd name="connsiteY79" fmla="*/ 15118 h 730697"/>
                <a:gd name="connsiteX80" fmla="*/ 207871 w 340152"/>
                <a:gd name="connsiteY80" fmla="*/ 21417 h 730697"/>
                <a:gd name="connsiteX81" fmla="*/ 207871 w 340152"/>
                <a:gd name="connsiteY81" fmla="*/ 23937 h 730697"/>
                <a:gd name="connsiteX82" fmla="*/ 206611 w 340152"/>
                <a:gd name="connsiteY82" fmla="*/ 28976 h 730697"/>
                <a:gd name="connsiteX83" fmla="*/ 202832 w 340152"/>
                <a:gd name="connsiteY83" fmla="*/ 35275 h 730697"/>
                <a:gd name="connsiteX84" fmla="*/ 197792 w 340152"/>
                <a:gd name="connsiteY84" fmla="*/ 41574 h 730697"/>
                <a:gd name="connsiteX85" fmla="*/ 190233 w 340152"/>
                <a:gd name="connsiteY85" fmla="*/ 46613 h 730697"/>
                <a:gd name="connsiteX86" fmla="*/ 176375 w 340152"/>
                <a:gd name="connsiteY86" fmla="*/ 52913 h 730697"/>
                <a:gd name="connsiteX87" fmla="*/ 167557 w 340152"/>
                <a:gd name="connsiteY87" fmla="*/ 55432 h 730697"/>
                <a:gd name="connsiteX88" fmla="*/ 158738 w 340152"/>
                <a:gd name="connsiteY88" fmla="*/ 56692 h 730697"/>
                <a:gd name="connsiteX89" fmla="*/ 157478 w 340152"/>
                <a:gd name="connsiteY89" fmla="*/ 56692 h 730697"/>
                <a:gd name="connsiteX90" fmla="*/ 147399 w 340152"/>
                <a:gd name="connsiteY90" fmla="*/ 56692 h 730697"/>
                <a:gd name="connsiteX91" fmla="*/ 137321 w 340152"/>
                <a:gd name="connsiteY91" fmla="*/ 55432 h 730697"/>
                <a:gd name="connsiteX92" fmla="*/ 118424 w 340152"/>
                <a:gd name="connsiteY92" fmla="*/ 50393 h 730697"/>
                <a:gd name="connsiteX93" fmla="*/ 112124 w 340152"/>
                <a:gd name="connsiteY93" fmla="*/ 46613 h 730697"/>
                <a:gd name="connsiteX94" fmla="*/ 110864 w 340152"/>
                <a:gd name="connsiteY94" fmla="*/ 45354 h 730697"/>
                <a:gd name="connsiteX95" fmla="*/ 102046 w 340152"/>
                <a:gd name="connsiteY95" fmla="*/ 40314 h 730697"/>
                <a:gd name="connsiteX96" fmla="*/ 88188 w 340152"/>
                <a:gd name="connsiteY96" fmla="*/ 27716 h 730697"/>
                <a:gd name="connsiteX97" fmla="*/ 83148 w 340152"/>
                <a:gd name="connsiteY97" fmla="*/ 21417 h 730697"/>
                <a:gd name="connsiteX98" fmla="*/ 79369 w 340152"/>
                <a:gd name="connsiteY98" fmla="*/ 12598 h 730697"/>
                <a:gd name="connsiteX99" fmla="*/ 78109 w 340152"/>
                <a:gd name="connsiteY99" fmla="*/ 8819 h 730697"/>
                <a:gd name="connsiteX100" fmla="*/ 78109 w 340152"/>
                <a:gd name="connsiteY100" fmla="*/ 7559 h 730697"/>
                <a:gd name="connsiteX101" fmla="*/ 78109 w 340152"/>
                <a:gd name="connsiteY101" fmla="*/ 3779 h 730697"/>
                <a:gd name="connsiteX102" fmla="*/ 78109 w 340152"/>
                <a:gd name="connsiteY102" fmla="*/ 0 h 730697"/>
                <a:gd name="connsiteX103" fmla="*/ 78109 w 340152"/>
                <a:gd name="connsiteY103" fmla="*/ 0 h 730697"/>
                <a:gd name="connsiteX104" fmla="*/ 78109 w 340152"/>
                <a:gd name="connsiteY104" fmla="*/ 0 h 730697"/>
                <a:gd name="connsiteX105" fmla="*/ 78109 w 340152"/>
                <a:gd name="connsiteY105" fmla="*/ 0 h 730697"/>
                <a:gd name="connsiteX106" fmla="*/ 78109 w 340152"/>
                <a:gd name="connsiteY106" fmla="*/ 0 h 730697"/>
                <a:gd name="connsiteX107" fmla="*/ 78109 w 340152"/>
                <a:gd name="connsiteY107" fmla="*/ 0 h 730697"/>
                <a:gd name="connsiteX108" fmla="*/ 78109 w 340152"/>
                <a:gd name="connsiteY108" fmla="*/ 0 h 730697"/>
                <a:gd name="connsiteX109" fmla="*/ 78109 w 340152"/>
                <a:gd name="connsiteY109" fmla="*/ 0 h 730697"/>
                <a:gd name="connsiteX110" fmla="*/ 74330 w 340152"/>
                <a:gd name="connsiteY110" fmla="*/ 1260 h 730697"/>
                <a:gd name="connsiteX111" fmla="*/ 74330 w 340152"/>
                <a:gd name="connsiteY111" fmla="*/ 1260 h 730697"/>
                <a:gd name="connsiteX112" fmla="*/ 73070 w 340152"/>
                <a:gd name="connsiteY112" fmla="*/ 1260 h 730697"/>
                <a:gd name="connsiteX113" fmla="*/ 54172 w 340152"/>
                <a:gd name="connsiteY113" fmla="*/ 323775 h 730697"/>
                <a:gd name="connsiteX114" fmla="*/ 39055 w 340152"/>
                <a:gd name="connsiteY114" fmla="*/ 476213 h 730697"/>
                <a:gd name="connsiteX115" fmla="*/ 25196 w 340152"/>
                <a:gd name="connsiteY115" fmla="*/ 573220 h 730697"/>
                <a:gd name="connsiteX116" fmla="*/ 25196 w 340152"/>
                <a:gd name="connsiteY116" fmla="*/ 573220 h 730697"/>
                <a:gd name="connsiteX117" fmla="*/ 25196 w 340152"/>
                <a:gd name="connsiteY117" fmla="*/ 573220 h 730697"/>
                <a:gd name="connsiteX118" fmla="*/ 27716 w 340152"/>
                <a:gd name="connsiteY118" fmla="*/ 576999 h 730697"/>
                <a:gd name="connsiteX119" fmla="*/ 25196 w 340152"/>
                <a:gd name="connsiteY119" fmla="*/ 573220 h 730697"/>
                <a:gd name="connsiteX120" fmla="*/ 30236 w 340152"/>
                <a:gd name="connsiteY120" fmla="*/ 580778 h 730697"/>
                <a:gd name="connsiteX121" fmla="*/ 28976 w 340152"/>
                <a:gd name="connsiteY121" fmla="*/ 578259 h 730697"/>
                <a:gd name="connsiteX122" fmla="*/ 30236 w 340152"/>
                <a:gd name="connsiteY122" fmla="*/ 580778 h 730697"/>
                <a:gd name="connsiteX123" fmla="*/ 30236 w 340152"/>
                <a:gd name="connsiteY123" fmla="*/ 580778 h 730697"/>
                <a:gd name="connsiteX124" fmla="*/ 30236 w 340152"/>
                <a:gd name="connsiteY124" fmla="*/ 580778 h 730697"/>
                <a:gd name="connsiteX125" fmla="*/ 31496 w 340152"/>
                <a:gd name="connsiteY125" fmla="*/ 582038 h 730697"/>
                <a:gd name="connsiteX126" fmla="*/ 32755 w 340152"/>
                <a:gd name="connsiteY126" fmla="*/ 583298 h 730697"/>
                <a:gd name="connsiteX127" fmla="*/ 37795 w 340152"/>
                <a:gd name="connsiteY127" fmla="*/ 592117 h 730697"/>
                <a:gd name="connsiteX128" fmla="*/ 37795 w 340152"/>
                <a:gd name="connsiteY128" fmla="*/ 592117 h 730697"/>
                <a:gd name="connsiteX129" fmla="*/ 40314 w 340152"/>
                <a:gd name="connsiteY129" fmla="*/ 597156 h 730697"/>
                <a:gd name="connsiteX130" fmla="*/ 40314 w 340152"/>
                <a:gd name="connsiteY130" fmla="*/ 597156 h 730697"/>
                <a:gd name="connsiteX131" fmla="*/ 40314 w 340152"/>
                <a:gd name="connsiteY131" fmla="*/ 597156 h 730697"/>
                <a:gd name="connsiteX132" fmla="*/ 41574 w 340152"/>
                <a:gd name="connsiteY132" fmla="*/ 599676 h 730697"/>
                <a:gd name="connsiteX133" fmla="*/ 47873 w 340152"/>
                <a:gd name="connsiteY133" fmla="*/ 613534 h 730697"/>
                <a:gd name="connsiteX134" fmla="*/ 47873 w 340152"/>
                <a:gd name="connsiteY134" fmla="*/ 614794 h 730697"/>
                <a:gd name="connsiteX135" fmla="*/ 47873 w 340152"/>
                <a:gd name="connsiteY135" fmla="*/ 614794 h 730697"/>
                <a:gd name="connsiteX136" fmla="*/ 47873 w 340152"/>
                <a:gd name="connsiteY136" fmla="*/ 614794 h 730697"/>
                <a:gd name="connsiteX137" fmla="*/ 50393 w 340152"/>
                <a:gd name="connsiteY137" fmla="*/ 623613 h 730697"/>
                <a:gd name="connsiteX138" fmla="*/ 50393 w 340152"/>
                <a:gd name="connsiteY138" fmla="*/ 624872 h 730697"/>
                <a:gd name="connsiteX139" fmla="*/ 52913 w 340152"/>
                <a:gd name="connsiteY139" fmla="*/ 632431 h 730697"/>
                <a:gd name="connsiteX140" fmla="*/ 52913 w 340152"/>
                <a:gd name="connsiteY140" fmla="*/ 637471 h 730697"/>
                <a:gd name="connsiteX141" fmla="*/ 52913 w 340152"/>
                <a:gd name="connsiteY141" fmla="*/ 639990 h 730697"/>
                <a:gd name="connsiteX142" fmla="*/ 52913 w 340152"/>
                <a:gd name="connsiteY142" fmla="*/ 642510 h 730697"/>
                <a:gd name="connsiteX143" fmla="*/ 52913 w 340152"/>
                <a:gd name="connsiteY143" fmla="*/ 647549 h 730697"/>
                <a:gd name="connsiteX144" fmla="*/ 52913 w 340152"/>
                <a:gd name="connsiteY144" fmla="*/ 647549 h 730697"/>
                <a:gd name="connsiteX145" fmla="*/ 52913 w 340152"/>
                <a:gd name="connsiteY145" fmla="*/ 647549 h 730697"/>
                <a:gd name="connsiteX146" fmla="*/ 52913 w 340152"/>
                <a:gd name="connsiteY146" fmla="*/ 647549 h 730697"/>
                <a:gd name="connsiteX147" fmla="*/ 52913 w 340152"/>
                <a:gd name="connsiteY147" fmla="*/ 650069 h 730697"/>
                <a:gd name="connsiteX148" fmla="*/ 52913 w 340152"/>
                <a:gd name="connsiteY148" fmla="*/ 656368 h 730697"/>
                <a:gd name="connsiteX149" fmla="*/ 52913 w 340152"/>
                <a:gd name="connsiteY149" fmla="*/ 657628 h 730697"/>
                <a:gd name="connsiteX150" fmla="*/ 51653 w 340152"/>
                <a:gd name="connsiteY150" fmla="*/ 665187 h 730697"/>
                <a:gd name="connsiteX151" fmla="*/ 47873 w 340152"/>
                <a:gd name="connsiteY151" fmla="*/ 682824 h 730697"/>
                <a:gd name="connsiteX152" fmla="*/ 47873 w 340152"/>
                <a:gd name="connsiteY152" fmla="*/ 682824 h 730697"/>
                <a:gd name="connsiteX153" fmla="*/ 47873 w 340152"/>
                <a:gd name="connsiteY153" fmla="*/ 684084 h 730697"/>
                <a:gd name="connsiteX154" fmla="*/ 47873 w 340152"/>
                <a:gd name="connsiteY154" fmla="*/ 684084 h 730697"/>
                <a:gd name="connsiteX155" fmla="*/ 45354 w 340152"/>
                <a:gd name="connsiteY155" fmla="*/ 691643 h 730697"/>
                <a:gd name="connsiteX156" fmla="*/ 46614 w 340152"/>
                <a:gd name="connsiteY156" fmla="*/ 687863 h 730697"/>
                <a:gd name="connsiteX157" fmla="*/ 45354 w 340152"/>
                <a:gd name="connsiteY157" fmla="*/ 692903 h 730697"/>
                <a:gd name="connsiteX158" fmla="*/ 45354 w 340152"/>
                <a:gd name="connsiteY158" fmla="*/ 691643 h 730697"/>
                <a:gd name="connsiteX159" fmla="*/ 44094 w 340152"/>
                <a:gd name="connsiteY159" fmla="*/ 694163 h 730697"/>
                <a:gd name="connsiteX160" fmla="*/ 42834 w 340152"/>
                <a:gd name="connsiteY160" fmla="*/ 696682 h 730697"/>
                <a:gd name="connsiteX161" fmla="*/ 40314 w 340152"/>
                <a:gd name="connsiteY161" fmla="*/ 701722 h 730697"/>
                <a:gd name="connsiteX162" fmla="*/ 39055 w 340152"/>
                <a:gd name="connsiteY162" fmla="*/ 704241 h 730697"/>
                <a:gd name="connsiteX163" fmla="*/ 39055 w 340152"/>
                <a:gd name="connsiteY163" fmla="*/ 705501 h 730697"/>
                <a:gd name="connsiteX164" fmla="*/ 39055 w 340152"/>
                <a:gd name="connsiteY164" fmla="*/ 704241 h 730697"/>
                <a:gd name="connsiteX165" fmla="*/ 37795 w 340152"/>
                <a:gd name="connsiteY165" fmla="*/ 706761 h 730697"/>
                <a:gd name="connsiteX166" fmla="*/ 39055 w 340152"/>
                <a:gd name="connsiteY166" fmla="*/ 705501 h 730697"/>
                <a:gd name="connsiteX167" fmla="*/ 37795 w 340152"/>
                <a:gd name="connsiteY167" fmla="*/ 708021 h 730697"/>
                <a:gd name="connsiteX168" fmla="*/ 37795 w 340152"/>
                <a:gd name="connsiteY168" fmla="*/ 708021 h 730697"/>
                <a:gd name="connsiteX169" fmla="*/ 37795 w 340152"/>
                <a:gd name="connsiteY169" fmla="*/ 708021 h 730697"/>
                <a:gd name="connsiteX170" fmla="*/ 36535 w 340152"/>
                <a:gd name="connsiteY170" fmla="*/ 709280 h 730697"/>
                <a:gd name="connsiteX171" fmla="*/ 36535 w 340152"/>
                <a:gd name="connsiteY171" fmla="*/ 710540 h 730697"/>
                <a:gd name="connsiteX172" fmla="*/ 30236 w 340152"/>
                <a:gd name="connsiteY172" fmla="*/ 716839 h 730697"/>
                <a:gd name="connsiteX173" fmla="*/ 30236 w 340152"/>
                <a:gd name="connsiteY173" fmla="*/ 716839 h 730697"/>
                <a:gd name="connsiteX174" fmla="*/ 28976 w 340152"/>
                <a:gd name="connsiteY174" fmla="*/ 718099 h 730697"/>
                <a:gd name="connsiteX175" fmla="*/ 28976 w 340152"/>
                <a:gd name="connsiteY175" fmla="*/ 718099 h 730697"/>
                <a:gd name="connsiteX176" fmla="*/ 28976 w 340152"/>
                <a:gd name="connsiteY176" fmla="*/ 718099 h 730697"/>
                <a:gd name="connsiteX177" fmla="*/ 26456 w 340152"/>
                <a:gd name="connsiteY177" fmla="*/ 719359 h 730697"/>
                <a:gd name="connsiteX178" fmla="*/ 21417 w 340152"/>
                <a:gd name="connsiteY178" fmla="*/ 721879 h 730697"/>
                <a:gd name="connsiteX179" fmla="*/ 21417 w 340152"/>
                <a:gd name="connsiteY179" fmla="*/ 721879 h 730697"/>
                <a:gd name="connsiteX180" fmla="*/ 21417 w 340152"/>
                <a:gd name="connsiteY180" fmla="*/ 721879 h 730697"/>
                <a:gd name="connsiteX181" fmla="*/ 21417 w 340152"/>
                <a:gd name="connsiteY181" fmla="*/ 721879 h 730697"/>
                <a:gd name="connsiteX182" fmla="*/ 17638 w 340152"/>
                <a:gd name="connsiteY182" fmla="*/ 723139 h 730697"/>
                <a:gd name="connsiteX183" fmla="*/ 10079 w 340152"/>
                <a:gd name="connsiteY183" fmla="*/ 726918 h 730697"/>
                <a:gd name="connsiteX184" fmla="*/ 10079 w 340152"/>
                <a:gd name="connsiteY184" fmla="*/ 726918 h 730697"/>
                <a:gd name="connsiteX185" fmla="*/ 0 w 340152"/>
                <a:gd name="connsiteY185" fmla="*/ 729438 h 730697"/>
                <a:gd name="connsiteX186" fmla="*/ 0 w 340152"/>
                <a:gd name="connsiteY186" fmla="*/ 729438 h 730697"/>
                <a:gd name="connsiteX187" fmla="*/ 0 w 340152"/>
                <a:gd name="connsiteY187" fmla="*/ 729438 h 730697"/>
                <a:gd name="connsiteX188" fmla="*/ 0 w 340152"/>
                <a:gd name="connsiteY188" fmla="*/ 729438 h 730697"/>
                <a:gd name="connsiteX189" fmla="*/ 0 w 340152"/>
                <a:gd name="connsiteY189" fmla="*/ 729438 h 730697"/>
                <a:gd name="connsiteX190" fmla="*/ 0 w 340152"/>
                <a:gd name="connsiteY190" fmla="*/ 729438 h 730697"/>
                <a:gd name="connsiteX191" fmla="*/ 0 w 340152"/>
                <a:gd name="connsiteY191" fmla="*/ 729438 h 730697"/>
                <a:gd name="connsiteX192" fmla="*/ 0 w 340152"/>
                <a:gd name="connsiteY192" fmla="*/ 729438 h 730697"/>
                <a:gd name="connsiteX193" fmla="*/ 2520 w 340152"/>
                <a:gd name="connsiteY193" fmla="*/ 729438 h 730697"/>
                <a:gd name="connsiteX194" fmla="*/ 3780 w 340152"/>
                <a:gd name="connsiteY194" fmla="*/ 729438 h 730697"/>
                <a:gd name="connsiteX195" fmla="*/ 7559 w 340152"/>
                <a:gd name="connsiteY195" fmla="*/ 729438 h 730697"/>
                <a:gd name="connsiteX196" fmla="*/ 12598 w 340152"/>
                <a:gd name="connsiteY196" fmla="*/ 729438 h 730697"/>
                <a:gd name="connsiteX197" fmla="*/ 34015 w 340152"/>
                <a:gd name="connsiteY197" fmla="*/ 730698 h 730697"/>
                <a:gd name="connsiteX198" fmla="*/ 64251 w 340152"/>
                <a:gd name="connsiteY198" fmla="*/ 730698 h 730697"/>
                <a:gd name="connsiteX199" fmla="*/ 73070 w 340152"/>
                <a:gd name="connsiteY199" fmla="*/ 730698 h 730697"/>
                <a:gd name="connsiteX200" fmla="*/ 75589 w 340152"/>
                <a:gd name="connsiteY200" fmla="*/ 730698 h 730697"/>
                <a:gd name="connsiteX201" fmla="*/ 75589 w 340152"/>
                <a:gd name="connsiteY201" fmla="*/ 730698 h 730697"/>
                <a:gd name="connsiteX202" fmla="*/ 81889 w 340152"/>
                <a:gd name="connsiteY202" fmla="*/ 730698 h 730697"/>
                <a:gd name="connsiteX203" fmla="*/ 84408 w 340152"/>
                <a:gd name="connsiteY203" fmla="*/ 730698 h 730697"/>
                <a:gd name="connsiteX204" fmla="*/ 91967 w 340152"/>
                <a:gd name="connsiteY204" fmla="*/ 730698 h 730697"/>
                <a:gd name="connsiteX205" fmla="*/ 95747 w 340152"/>
                <a:gd name="connsiteY205" fmla="*/ 730698 h 730697"/>
                <a:gd name="connsiteX206" fmla="*/ 97007 w 340152"/>
                <a:gd name="connsiteY206" fmla="*/ 730698 h 730697"/>
                <a:gd name="connsiteX207" fmla="*/ 97007 w 340152"/>
                <a:gd name="connsiteY207" fmla="*/ 730698 h 730697"/>
                <a:gd name="connsiteX208" fmla="*/ 110864 w 340152"/>
                <a:gd name="connsiteY208" fmla="*/ 730698 h 730697"/>
                <a:gd name="connsiteX209" fmla="*/ 118424 w 340152"/>
                <a:gd name="connsiteY209" fmla="*/ 730698 h 730697"/>
                <a:gd name="connsiteX210" fmla="*/ 129762 w 340152"/>
                <a:gd name="connsiteY210" fmla="*/ 730698 h 730697"/>
                <a:gd name="connsiteX211" fmla="*/ 134801 w 340152"/>
                <a:gd name="connsiteY211" fmla="*/ 730698 h 730697"/>
                <a:gd name="connsiteX212" fmla="*/ 136061 w 340152"/>
                <a:gd name="connsiteY212" fmla="*/ 730698 h 730697"/>
                <a:gd name="connsiteX213" fmla="*/ 149919 w 340152"/>
                <a:gd name="connsiteY213" fmla="*/ 730698 h 730697"/>
                <a:gd name="connsiteX214" fmla="*/ 157478 w 340152"/>
                <a:gd name="connsiteY214" fmla="*/ 730698 h 730697"/>
                <a:gd name="connsiteX215" fmla="*/ 158738 w 340152"/>
                <a:gd name="connsiteY215" fmla="*/ 730698 h 730697"/>
                <a:gd name="connsiteX216" fmla="*/ 170076 w 340152"/>
                <a:gd name="connsiteY216" fmla="*/ 730698 h 730697"/>
                <a:gd name="connsiteX217" fmla="*/ 190233 w 340152"/>
                <a:gd name="connsiteY217" fmla="*/ 729438 h 730697"/>
                <a:gd name="connsiteX218" fmla="*/ 192753 w 340152"/>
                <a:gd name="connsiteY218" fmla="*/ 729438 h 730697"/>
                <a:gd name="connsiteX219" fmla="*/ 192753 w 340152"/>
                <a:gd name="connsiteY219" fmla="*/ 729438 h 730697"/>
                <a:gd name="connsiteX220" fmla="*/ 202832 w 340152"/>
                <a:gd name="connsiteY220" fmla="*/ 728178 h 730697"/>
                <a:gd name="connsiteX221" fmla="*/ 202832 w 340152"/>
                <a:gd name="connsiteY221" fmla="*/ 728178 h 730697"/>
                <a:gd name="connsiteX222" fmla="*/ 210391 w 340152"/>
                <a:gd name="connsiteY222" fmla="*/ 726918 h 730697"/>
                <a:gd name="connsiteX223" fmla="*/ 212910 w 340152"/>
                <a:gd name="connsiteY223" fmla="*/ 726918 h 730697"/>
                <a:gd name="connsiteX224" fmla="*/ 212910 w 340152"/>
                <a:gd name="connsiteY224" fmla="*/ 726918 h 730697"/>
                <a:gd name="connsiteX225" fmla="*/ 221729 w 340152"/>
                <a:gd name="connsiteY225" fmla="*/ 726918 h 730697"/>
                <a:gd name="connsiteX226" fmla="*/ 229288 w 340152"/>
                <a:gd name="connsiteY226" fmla="*/ 726918 h 730697"/>
                <a:gd name="connsiteX227" fmla="*/ 231808 w 340152"/>
                <a:gd name="connsiteY227" fmla="*/ 726918 h 730697"/>
                <a:gd name="connsiteX228" fmla="*/ 235587 w 340152"/>
                <a:gd name="connsiteY228" fmla="*/ 726918 h 730697"/>
                <a:gd name="connsiteX229" fmla="*/ 235587 w 340152"/>
                <a:gd name="connsiteY229" fmla="*/ 726918 h 730697"/>
                <a:gd name="connsiteX230" fmla="*/ 235587 w 340152"/>
                <a:gd name="connsiteY230" fmla="*/ 726918 h 730697"/>
                <a:gd name="connsiteX231" fmla="*/ 236847 w 340152"/>
                <a:gd name="connsiteY231" fmla="*/ 726918 h 730697"/>
                <a:gd name="connsiteX232" fmla="*/ 240626 w 340152"/>
                <a:gd name="connsiteY232" fmla="*/ 726918 h 730697"/>
                <a:gd name="connsiteX233" fmla="*/ 246925 w 340152"/>
                <a:gd name="connsiteY233" fmla="*/ 726918 h 730697"/>
                <a:gd name="connsiteX234" fmla="*/ 249445 w 340152"/>
                <a:gd name="connsiteY234" fmla="*/ 726918 h 730697"/>
                <a:gd name="connsiteX235" fmla="*/ 249445 w 340152"/>
                <a:gd name="connsiteY235" fmla="*/ 726918 h 730697"/>
                <a:gd name="connsiteX236" fmla="*/ 250705 w 340152"/>
                <a:gd name="connsiteY236" fmla="*/ 726918 h 730697"/>
                <a:gd name="connsiteX237" fmla="*/ 262043 w 340152"/>
                <a:gd name="connsiteY237" fmla="*/ 726918 h 730697"/>
                <a:gd name="connsiteX238" fmla="*/ 267083 w 340152"/>
                <a:gd name="connsiteY238" fmla="*/ 726918 h 730697"/>
                <a:gd name="connsiteX239" fmla="*/ 272122 w 340152"/>
                <a:gd name="connsiteY239" fmla="*/ 726918 h 730697"/>
                <a:gd name="connsiteX240" fmla="*/ 273382 w 340152"/>
                <a:gd name="connsiteY240" fmla="*/ 726918 h 730697"/>
                <a:gd name="connsiteX241" fmla="*/ 274642 w 340152"/>
                <a:gd name="connsiteY241" fmla="*/ 726918 h 730697"/>
                <a:gd name="connsiteX242" fmla="*/ 280941 w 340152"/>
                <a:gd name="connsiteY242" fmla="*/ 726918 h 730697"/>
                <a:gd name="connsiteX243" fmla="*/ 280941 w 340152"/>
                <a:gd name="connsiteY243" fmla="*/ 726918 h 730697"/>
                <a:gd name="connsiteX244" fmla="*/ 280941 w 340152"/>
                <a:gd name="connsiteY244" fmla="*/ 726918 h 730697"/>
                <a:gd name="connsiteX245" fmla="*/ 312436 w 340152"/>
                <a:gd name="connsiteY245" fmla="*/ 729438 h 730697"/>
                <a:gd name="connsiteX246" fmla="*/ 331334 w 340152"/>
                <a:gd name="connsiteY246" fmla="*/ 729438 h 730697"/>
                <a:gd name="connsiteX247" fmla="*/ 332593 w 340152"/>
                <a:gd name="connsiteY247" fmla="*/ 729438 h 730697"/>
                <a:gd name="connsiteX248" fmla="*/ 335113 w 340152"/>
                <a:gd name="connsiteY248" fmla="*/ 729438 h 730697"/>
                <a:gd name="connsiteX249" fmla="*/ 336373 w 340152"/>
                <a:gd name="connsiteY249" fmla="*/ 729438 h 730697"/>
                <a:gd name="connsiteX250" fmla="*/ 341412 w 340152"/>
                <a:gd name="connsiteY250" fmla="*/ 729438 h 730697"/>
                <a:gd name="connsiteX251" fmla="*/ 345192 w 340152"/>
                <a:gd name="connsiteY251" fmla="*/ 729438 h 730697"/>
                <a:gd name="connsiteX252" fmla="*/ 348971 w 340152"/>
                <a:gd name="connsiteY252" fmla="*/ 729438 h 730697"/>
                <a:gd name="connsiteX253" fmla="*/ 348971 w 340152"/>
                <a:gd name="connsiteY253" fmla="*/ 729438 h 730697"/>
                <a:gd name="connsiteX254" fmla="*/ 350231 w 340152"/>
                <a:gd name="connsiteY254" fmla="*/ 729438 h 730697"/>
                <a:gd name="connsiteX255" fmla="*/ 313696 w 340152"/>
                <a:gd name="connsiteY255" fmla="*/ 645030 h 730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340152" h="730697">
                  <a:moveTo>
                    <a:pt x="313696" y="645030"/>
                  </a:moveTo>
                  <a:cubicBezTo>
                    <a:pt x="299838" y="600936"/>
                    <a:pt x="282201" y="553062"/>
                    <a:pt x="279681" y="495110"/>
                  </a:cubicBezTo>
                  <a:cubicBezTo>
                    <a:pt x="275901" y="490071"/>
                    <a:pt x="273382" y="485032"/>
                    <a:pt x="269602" y="479993"/>
                  </a:cubicBezTo>
                  <a:lnTo>
                    <a:pt x="269602" y="478733"/>
                  </a:lnTo>
                  <a:lnTo>
                    <a:pt x="268342" y="477473"/>
                  </a:lnTo>
                  <a:lnTo>
                    <a:pt x="268342" y="477473"/>
                  </a:lnTo>
                  <a:cubicBezTo>
                    <a:pt x="267083" y="474953"/>
                    <a:pt x="264563" y="472434"/>
                    <a:pt x="263303" y="469914"/>
                  </a:cubicBezTo>
                  <a:cubicBezTo>
                    <a:pt x="262043" y="466135"/>
                    <a:pt x="259524" y="463615"/>
                    <a:pt x="258264" y="459836"/>
                  </a:cubicBezTo>
                  <a:cubicBezTo>
                    <a:pt x="255744" y="452277"/>
                    <a:pt x="251965" y="447237"/>
                    <a:pt x="249445" y="440938"/>
                  </a:cubicBezTo>
                  <a:lnTo>
                    <a:pt x="248185" y="438418"/>
                  </a:lnTo>
                  <a:cubicBezTo>
                    <a:pt x="246925" y="435899"/>
                    <a:pt x="245666" y="433379"/>
                    <a:pt x="244406" y="430860"/>
                  </a:cubicBezTo>
                  <a:cubicBezTo>
                    <a:pt x="243146" y="428340"/>
                    <a:pt x="241886" y="425820"/>
                    <a:pt x="240626" y="423301"/>
                  </a:cubicBezTo>
                  <a:lnTo>
                    <a:pt x="239366" y="420781"/>
                  </a:lnTo>
                  <a:cubicBezTo>
                    <a:pt x="238107" y="418261"/>
                    <a:pt x="235587" y="414482"/>
                    <a:pt x="234327" y="410702"/>
                  </a:cubicBezTo>
                  <a:cubicBezTo>
                    <a:pt x="233067" y="408183"/>
                    <a:pt x="233067" y="406923"/>
                    <a:pt x="231808" y="404403"/>
                  </a:cubicBezTo>
                  <a:lnTo>
                    <a:pt x="231808" y="404403"/>
                  </a:lnTo>
                  <a:cubicBezTo>
                    <a:pt x="231808" y="403143"/>
                    <a:pt x="230548" y="403143"/>
                    <a:pt x="230548" y="401884"/>
                  </a:cubicBezTo>
                  <a:cubicBezTo>
                    <a:pt x="228028" y="394325"/>
                    <a:pt x="225508" y="388025"/>
                    <a:pt x="222989" y="381726"/>
                  </a:cubicBezTo>
                  <a:cubicBezTo>
                    <a:pt x="220469" y="375427"/>
                    <a:pt x="217949" y="369128"/>
                    <a:pt x="216690" y="361569"/>
                  </a:cubicBezTo>
                  <a:cubicBezTo>
                    <a:pt x="215430" y="359050"/>
                    <a:pt x="215430" y="355270"/>
                    <a:pt x="214170" y="352751"/>
                  </a:cubicBezTo>
                  <a:lnTo>
                    <a:pt x="214170" y="351491"/>
                  </a:lnTo>
                  <a:cubicBezTo>
                    <a:pt x="214170" y="348971"/>
                    <a:pt x="212910" y="347711"/>
                    <a:pt x="212910" y="345192"/>
                  </a:cubicBezTo>
                  <a:lnTo>
                    <a:pt x="212910" y="345192"/>
                  </a:lnTo>
                  <a:cubicBezTo>
                    <a:pt x="212910" y="343932"/>
                    <a:pt x="212910" y="342672"/>
                    <a:pt x="211650" y="342672"/>
                  </a:cubicBezTo>
                  <a:cubicBezTo>
                    <a:pt x="210391" y="336373"/>
                    <a:pt x="209131" y="328814"/>
                    <a:pt x="207871" y="322515"/>
                  </a:cubicBezTo>
                  <a:lnTo>
                    <a:pt x="207871" y="321255"/>
                  </a:lnTo>
                  <a:cubicBezTo>
                    <a:pt x="207871" y="319995"/>
                    <a:pt x="207871" y="317475"/>
                    <a:pt x="206611" y="316216"/>
                  </a:cubicBezTo>
                  <a:cubicBezTo>
                    <a:pt x="206611" y="314956"/>
                    <a:pt x="206611" y="312436"/>
                    <a:pt x="205351" y="311176"/>
                  </a:cubicBezTo>
                  <a:cubicBezTo>
                    <a:pt x="205351" y="307397"/>
                    <a:pt x="204092" y="304877"/>
                    <a:pt x="204092" y="302358"/>
                  </a:cubicBezTo>
                  <a:lnTo>
                    <a:pt x="204092" y="301098"/>
                  </a:lnTo>
                  <a:cubicBezTo>
                    <a:pt x="204092" y="299838"/>
                    <a:pt x="204092" y="298578"/>
                    <a:pt x="204092" y="297318"/>
                  </a:cubicBezTo>
                  <a:lnTo>
                    <a:pt x="204092" y="296058"/>
                  </a:lnTo>
                  <a:lnTo>
                    <a:pt x="204092" y="294799"/>
                  </a:lnTo>
                  <a:cubicBezTo>
                    <a:pt x="204092" y="293539"/>
                    <a:pt x="204092" y="292279"/>
                    <a:pt x="204092" y="289759"/>
                  </a:cubicBezTo>
                  <a:cubicBezTo>
                    <a:pt x="204092" y="287240"/>
                    <a:pt x="204092" y="284720"/>
                    <a:pt x="204092" y="283460"/>
                  </a:cubicBezTo>
                  <a:cubicBezTo>
                    <a:pt x="204092" y="282200"/>
                    <a:pt x="204092" y="280940"/>
                    <a:pt x="204092" y="279681"/>
                  </a:cubicBezTo>
                  <a:cubicBezTo>
                    <a:pt x="204092" y="275901"/>
                    <a:pt x="204092" y="272122"/>
                    <a:pt x="204092" y="268342"/>
                  </a:cubicBezTo>
                  <a:cubicBezTo>
                    <a:pt x="204092" y="267083"/>
                    <a:pt x="204092" y="265823"/>
                    <a:pt x="204092" y="264563"/>
                  </a:cubicBezTo>
                  <a:cubicBezTo>
                    <a:pt x="204092" y="264563"/>
                    <a:pt x="204092" y="264563"/>
                    <a:pt x="204092" y="263303"/>
                  </a:cubicBezTo>
                  <a:cubicBezTo>
                    <a:pt x="204092" y="262043"/>
                    <a:pt x="204092" y="260783"/>
                    <a:pt x="204092" y="259523"/>
                  </a:cubicBezTo>
                  <a:cubicBezTo>
                    <a:pt x="204092" y="259523"/>
                    <a:pt x="204092" y="259523"/>
                    <a:pt x="204092" y="259523"/>
                  </a:cubicBezTo>
                  <a:cubicBezTo>
                    <a:pt x="204092" y="258264"/>
                    <a:pt x="204092" y="258264"/>
                    <a:pt x="204092" y="257004"/>
                  </a:cubicBezTo>
                  <a:lnTo>
                    <a:pt x="204092" y="257004"/>
                  </a:lnTo>
                  <a:lnTo>
                    <a:pt x="204092" y="257004"/>
                  </a:lnTo>
                  <a:lnTo>
                    <a:pt x="204092" y="257004"/>
                  </a:lnTo>
                  <a:cubicBezTo>
                    <a:pt x="204092" y="257004"/>
                    <a:pt x="204092" y="257004"/>
                    <a:pt x="204092" y="257004"/>
                  </a:cubicBezTo>
                  <a:lnTo>
                    <a:pt x="204092" y="257004"/>
                  </a:lnTo>
                  <a:cubicBezTo>
                    <a:pt x="204092" y="257004"/>
                    <a:pt x="204092" y="257004"/>
                    <a:pt x="204092" y="257004"/>
                  </a:cubicBezTo>
                  <a:lnTo>
                    <a:pt x="204092" y="257004"/>
                  </a:lnTo>
                  <a:cubicBezTo>
                    <a:pt x="204092" y="255744"/>
                    <a:pt x="204092" y="255744"/>
                    <a:pt x="204092" y="254484"/>
                  </a:cubicBezTo>
                  <a:lnTo>
                    <a:pt x="204092" y="253224"/>
                  </a:lnTo>
                  <a:cubicBezTo>
                    <a:pt x="204092" y="250705"/>
                    <a:pt x="204092" y="248185"/>
                    <a:pt x="205351" y="246925"/>
                  </a:cubicBezTo>
                  <a:cubicBezTo>
                    <a:pt x="205351" y="244406"/>
                    <a:pt x="206611" y="241886"/>
                    <a:pt x="207871" y="238107"/>
                  </a:cubicBezTo>
                  <a:cubicBezTo>
                    <a:pt x="209131" y="234327"/>
                    <a:pt x="210391" y="231807"/>
                    <a:pt x="211650" y="229288"/>
                  </a:cubicBezTo>
                  <a:cubicBezTo>
                    <a:pt x="212910" y="226768"/>
                    <a:pt x="215430" y="224248"/>
                    <a:pt x="216690" y="221729"/>
                  </a:cubicBezTo>
                  <a:cubicBezTo>
                    <a:pt x="216690" y="221729"/>
                    <a:pt x="216690" y="221729"/>
                    <a:pt x="216690" y="221729"/>
                  </a:cubicBezTo>
                  <a:cubicBezTo>
                    <a:pt x="216690" y="220469"/>
                    <a:pt x="217949" y="220469"/>
                    <a:pt x="217949" y="219209"/>
                  </a:cubicBezTo>
                  <a:cubicBezTo>
                    <a:pt x="217949" y="219209"/>
                    <a:pt x="219209" y="217949"/>
                    <a:pt x="219209" y="217949"/>
                  </a:cubicBezTo>
                  <a:cubicBezTo>
                    <a:pt x="219209" y="217949"/>
                    <a:pt x="219209" y="217949"/>
                    <a:pt x="219209" y="217949"/>
                  </a:cubicBezTo>
                  <a:cubicBezTo>
                    <a:pt x="219209" y="217949"/>
                    <a:pt x="219209" y="216690"/>
                    <a:pt x="220469" y="216690"/>
                  </a:cubicBezTo>
                  <a:cubicBezTo>
                    <a:pt x="221729" y="215430"/>
                    <a:pt x="222989" y="214170"/>
                    <a:pt x="224249" y="212910"/>
                  </a:cubicBezTo>
                  <a:cubicBezTo>
                    <a:pt x="217949" y="144880"/>
                    <a:pt x="220469" y="78109"/>
                    <a:pt x="229288" y="16378"/>
                  </a:cubicBezTo>
                  <a:cubicBezTo>
                    <a:pt x="226768" y="15118"/>
                    <a:pt x="224249" y="15118"/>
                    <a:pt x="222989" y="15118"/>
                  </a:cubicBezTo>
                  <a:cubicBezTo>
                    <a:pt x="220469" y="15118"/>
                    <a:pt x="217949" y="13858"/>
                    <a:pt x="216690" y="13858"/>
                  </a:cubicBezTo>
                  <a:cubicBezTo>
                    <a:pt x="215430" y="13858"/>
                    <a:pt x="214170" y="13858"/>
                    <a:pt x="212910" y="12598"/>
                  </a:cubicBezTo>
                  <a:cubicBezTo>
                    <a:pt x="211650" y="12598"/>
                    <a:pt x="210391" y="12598"/>
                    <a:pt x="209131" y="11338"/>
                  </a:cubicBezTo>
                  <a:cubicBezTo>
                    <a:pt x="209131" y="11338"/>
                    <a:pt x="209131" y="11338"/>
                    <a:pt x="209131" y="11338"/>
                  </a:cubicBezTo>
                  <a:cubicBezTo>
                    <a:pt x="209131" y="11338"/>
                    <a:pt x="209131" y="11338"/>
                    <a:pt x="209131" y="11338"/>
                  </a:cubicBezTo>
                  <a:cubicBezTo>
                    <a:pt x="209131" y="11338"/>
                    <a:pt x="209131" y="11338"/>
                    <a:pt x="209131" y="11338"/>
                  </a:cubicBezTo>
                  <a:cubicBezTo>
                    <a:pt x="209131" y="12598"/>
                    <a:pt x="209131" y="13858"/>
                    <a:pt x="209131" y="13858"/>
                  </a:cubicBezTo>
                  <a:cubicBezTo>
                    <a:pt x="209131" y="13858"/>
                    <a:pt x="209131" y="13858"/>
                    <a:pt x="209131" y="13858"/>
                  </a:cubicBezTo>
                  <a:lnTo>
                    <a:pt x="209131" y="13858"/>
                  </a:lnTo>
                  <a:cubicBezTo>
                    <a:pt x="209131" y="13858"/>
                    <a:pt x="209131" y="15118"/>
                    <a:pt x="209131" y="15118"/>
                  </a:cubicBezTo>
                  <a:cubicBezTo>
                    <a:pt x="209131" y="15118"/>
                    <a:pt x="209131" y="15118"/>
                    <a:pt x="209131" y="15118"/>
                  </a:cubicBezTo>
                  <a:cubicBezTo>
                    <a:pt x="209131" y="15118"/>
                    <a:pt x="209131" y="13858"/>
                    <a:pt x="209131" y="13858"/>
                  </a:cubicBezTo>
                  <a:lnTo>
                    <a:pt x="209131" y="13858"/>
                  </a:lnTo>
                  <a:lnTo>
                    <a:pt x="209131" y="13858"/>
                  </a:lnTo>
                  <a:cubicBezTo>
                    <a:pt x="209131" y="13858"/>
                    <a:pt x="209131" y="15118"/>
                    <a:pt x="209131" y="15118"/>
                  </a:cubicBezTo>
                  <a:cubicBezTo>
                    <a:pt x="209131" y="16378"/>
                    <a:pt x="209131" y="18897"/>
                    <a:pt x="207871" y="20157"/>
                  </a:cubicBezTo>
                  <a:cubicBezTo>
                    <a:pt x="207871" y="18897"/>
                    <a:pt x="207871" y="16378"/>
                    <a:pt x="209131" y="15118"/>
                  </a:cubicBezTo>
                  <a:cubicBezTo>
                    <a:pt x="209131" y="17637"/>
                    <a:pt x="209131" y="18897"/>
                    <a:pt x="207871" y="21417"/>
                  </a:cubicBezTo>
                  <a:cubicBezTo>
                    <a:pt x="207871" y="22677"/>
                    <a:pt x="207871" y="22677"/>
                    <a:pt x="207871" y="23937"/>
                  </a:cubicBezTo>
                  <a:cubicBezTo>
                    <a:pt x="207871" y="25196"/>
                    <a:pt x="206611" y="27716"/>
                    <a:pt x="206611" y="28976"/>
                  </a:cubicBezTo>
                  <a:cubicBezTo>
                    <a:pt x="205351" y="30236"/>
                    <a:pt x="205351" y="32755"/>
                    <a:pt x="202832" y="35275"/>
                  </a:cubicBezTo>
                  <a:cubicBezTo>
                    <a:pt x="201572" y="36535"/>
                    <a:pt x="200312" y="39054"/>
                    <a:pt x="197792" y="41574"/>
                  </a:cubicBezTo>
                  <a:cubicBezTo>
                    <a:pt x="195273" y="42834"/>
                    <a:pt x="194013" y="44094"/>
                    <a:pt x="190233" y="46613"/>
                  </a:cubicBezTo>
                  <a:cubicBezTo>
                    <a:pt x="185194" y="49133"/>
                    <a:pt x="181415" y="51653"/>
                    <a:pt x="176375" y="52913"/>
                  </a:cubicBezTo>
                  <a:cubicBezTo>
                    <a:pt x="173856" y="54172"/>
                    <a:pt x="171336" y="55432"/>
                    <a:pt x="167557" y="55432"/>
                  </a:cubicBezTo>
                  <a:cubicBezTo>
                    <a:pt x="163777" y="56692"/>
                    <a:pt x="161257" y="56692"/>
                    <a:pt x="158738" y="56692"/>
                  </a:cubicBezTo>
                  <a:cubicBezTo>
                    <a:pt x="158738" y="56692"/>
                    <a:pt x="157478" y="56692"/>
                    <a:pt x="157478" y="56692"/>
                  </a:cubicBezTo>
                  <a:cubicBezTo>
                    <a:pt x="153699" y="56692"/>
                    <a:pt x="151179" y="56692"/>
                    <a:pt x="147399" y="56692"/>
                  </a:cubicBezTo>
                  <a:cubicBezTo>
                    <a:pt x="143620" y="56692"/>
                    <a:pt x="141100" y="56692"/>
                    <a:pt x="137321" y="55432"/>
                  </a:cubicBezTo>
                  <a:cubicBezTo>
                    <a:pt x="129762" y="54172"/>
                    <a:pt x="123463" y="52913"/>
                    <a:pt x="118424" y="50393"/>
                  </a:cubicBezTo>
                  <a:cubicBezTo>
                    <a:pt x="115904" y="49133"/>
                    <a:pt x="113384" y="47873"/>
                    <a:pt x="112124" y="46613"/>
                  </a:cubicBezTo>
                  <a:lnTo>
                    <a:pt x="110864" y="45354"/>
                  </a:lnTo>
                  <a:cubicBezTo>
                    <a:pt x="107085" y="44094"/>
                    <a:pt x="104565" y="41574"/>
                    <a:pt x="102046" y="40314"/>
                  </a:cubicBezTo>
                  <a:cubicBezTo>
                    <a:pt x="97007" y="36535"/>
                    <a:pt x="91967" y="32755"/>
                    <a:pt x="88188" y="27716"/>
                  </a:cubicBezTo>
                  <a:cubicBezTo>
                    <a:pt x="85668" y="25196"/>
                    <a:pt x="84408" y="23937"/>
                    <a:pt x="83148" y="21417"/>
                  </a:cubicBezTo>
                  <a:cubicBezTo>
                    <a:pt x="81889" y="18897"/>
                    <a:pt x="80629" y="15118"/>
                    <a:pt x="79369" y="12598"/>
                  </a:cubicBezTo>
                  <a:cubicBezTo>
                    <a:pt x="79369" y="11338"/>
                    <a:pt x="78109" y="10078"/>
                    <a:pt x="78109" y="8819"/>
                  </a:cubicBezTo>
                  <a:lnTo>
                    <a:pt x="78109" y="7559"/>
                  </a:lnTo>
                  <a:cubicBezTo>
                    <a:pt x="78109" y="6299"/>
                    <a:pt x="76849" y="5039"/>
                    <a:pt x="78109" y="3779"/>
                  </a:cubicBezTo>
                  <a:cubicBezTo>
                    <a:pt x="78109" y="2520"/>
                    <a:pt x="78109" y="1260"/>
                    <a:pt x="78109" y="0"/>
                  </a:cubicBezTo>
                  <a:lnTo>
                    <a:pt x="78109" y="0"/>
                  </a:lnTo>
                  <a:lnTo>
                    <a:pt x="78109" y="0"/>
                  </a:lnTo>
                  <a:cubicBezTo>
                    <a:pt x="78109" y="0"/>
                    <a:pt x="78109" y="0"/>
                    <a:pt x="78109" y="0"/>
                  </a:cubicBezTo>
                  <a:lnTo>
                    <a:pt x="78109" y="0"/>
                  </a:lnTo>
                  <a:lnTo>
                    <a:pt x="78109" y="0"/>
                  </a:lnTo>
                  <a:lnTo>
                    <a:pt x="78109" y="0"/>
                  </a:lnTo>
                  <a:lnTo>
                    <a:pt x="78109" y="0"/>
                  </a:lnTo>
                  <a:cubicBezTo>
                    <a:pt x="76849" y="0"/>
                    <a:pt x="75589" y="1260"/>
                    <a:pt x="74330" y="1260"/>
                  </a:cubicBezTo>
                  <a:lnTo>
                    <a:pt x="74330" y="1260"/>
                  </a:lnTo>
                  <a:lnTo>
                    <a:pt x="73070" y="1260"/>
                  </a:lnTo>
                  <a:cubicBezTo>
                    <a:pt x="84408" y="105825"/>
                    <a:pt x="80629" y="217949"/>
                    <a:pt x="54172" y="323775"/>
                  </a:cubicBezTo>
                  <a:cubicBezTo>
                    <a:pt x="49133" y="374167"/>
                    <a:pt x="45354" y="425820"/>
                    <a:pt x="39055" y="476213"/>
                  </a:cubicBezTo>
                  <a:cubicBezTo>
                    <a:pt x="35275" y="507709"/>
                    <a:pt x="31496" y="540464"/>
                    <a:pt x="25196" y="573220"/>
                  </a:cubicBezTo>
                  <a:lnTo>
                    <a:pt x="25196" y="573220"/>
                  </a:lnTo>
                  <a:cubicBezTo>
                    <a:pt x="25196" y="573220"/>
                    <a:pt x="25196" y="573220"/>
                    <a:pt x="25196" y="573220"/>
                  </a:cubicBezTo>
                  <a:cubicBezTo>
                    <a:pt x="26456" y="574479"/>
                    <a:pt x="26456" y="575739"/>
                    <a:pt x="27716" y="576999"/>
                  </a:cubicBezTo>
                  <a:cubicBezTo>
                    <a:pt x="26456" y="575739"/>
                    <a:pt x="26456" y="574479"/>
                    <a:pt x="25196" y="573220"/>
                  </a:cubicBezTo>
                  <a:cubicBezTo>
                    <a:pt x="26456" y="575739"/>
                    <a:pt x="28976" y="578259"/>
                    <a:pt x="30236" y="580778"/>
                  </a:cubicBezTo>
                  <a:cubicBezTo>
                    <a:pt x="30236" y="579519"/>
                    <a:pt x="28976" y="579519"/>
                    <a:pt x="28976" y="578259"/>
                  </a:cubicBezTo>
                  <a:cubicBezTo>
                    <a:pt x="28976" y="579519"/>
                    <a:pt x="30236" y="579519"/>
                    <a:pt x="30236" y="580778"/>
                  </a:cubicBezTo>
                  <a:cubicBezTo>
                    <a:pt x="30236" y="580778"/>
                    <a:pt x="30236" y="580778"/>
                    <a:pt x="30236" y="580778"/>
                  </a:cubicBezTo>
                  <a:cubicBezTo>
                    <a:pt x="30236" y="580778"/>
                    <a:pt x="30236" y="580778"/>
                    <a:pt x="30236" y="580778"/>
                  </a:cubicBezTo>
                  <a:cubicBezTo>
                    <a:pt x="30236" y="580778"/>
                    <a:pt x="30236" y="582038"/>
                    <a:pt x="31496" y="582038"/>
                  </a:cubicBezTo>
                  <a:cubicBezTo>
                    <a:pt x="31496" y="582038"/>
                    <a:pt x="32755" y="583298"/>
                    <a:pt x="32755" y="583298"/>
                  </a:cubicBezTo>
                  <a:cubicBezTo>
                    <a:pt x="34015" y="585818"/>
                    <a:pt x="36535" y="588337"/>
                    <a:pt x="37795" y="592117"/>
                  </a:cubicBezTo>
                  <a:cubicBezTo>
                    <a:pt x="37795" y="592117"/>
                    <a:pt x="37795" y="592117"/>
                    <a:pt x="37795" y="592117"/>
                  </a:cubicBezTo>
                  <a:cubicBezTo>
                    <a:pt x="39055" y="593377"/>
                    <a:pt x="40314" y="595896"/>
                    <a:pt x="40314" y="597156"/>
                  </a:cubicBezTo>
                  <a:lnTo>
                    <a:pt x="40314" y="597156"/>
                  </a:lnTo>
                  <a:lnTo>
                    <a:pt x="40314" y="597156"/>
                  </a:lnTo>
                  <a:cubicBezTo>
                    <a:pt x="40314" y="598416"/>
                    <a:pt x="41574" y="598416"/>
                    <a:pt x="41574" y="599676"/>
                  </a:cubicBezTo>
                  <a:cubicBezTo>
                    <a:pt x="44094" y="604715"/>
                    <a:pt x="45354" y="608495"/>
                    <a:pt x="47873" y="613534"/>
                  </a:cubicBezTo>
                  <a:cubicBezTo>
                    <a:pt x="47873" y="613534"/>
                    <a:pt x="47873" y="614794"/>
                    <a:pt x="47873" y="614794"/>
                  </a:cubicBezTo>
                  <a:lnTo>
                    <a:pt x="47873" y="614794"/>
                  </a:lnTo>
                  <a:lnTo>
                    <a:pt x="47873" y="614794"/>
                  </a:lnTo>
                  <a:cubicBezTo>
                    <a:pt x="49133" y="617313"/>
                    <a:pt x="50393" y="621093"/>
                    <a:pt x="50393" y="623613"/>
                  </a:cubicBezTo>
                  <a:lnTo>
                    <a:pt x="50393" y="624872"/>
                  </a:lnTo>
                  <a:cubicBezTo>
                    <a:pt x="51653" y="627392"/>
                    <a:pt x="51653" y="629912"/>
                    <a:pt x="52913" y="632431"/>
                  </a:cubicBezTo>
                  <a:cubicBezTo>
                    <a:pt x="52913" y="633691"/>
                    <a:pt x="52913" y="634951"/>
                    <a:pt x="52913" y="637471"/>
                  </a:cubicBezTo>
                  <a:lnTo>
                    <a:pt x="52913" y="639990"/>
                  </a:lnTo>
                  <a:lnTo>
                    <a:pt x="52913" y="642510"/>
                  </a:lnTo>
                  <a:cubicBezTo>
                    <a:pt x="52913" y="643770"/>
                    <a:pt x="52913" y="646289"/>
                    <a:pt x="52913" y="647549"/>
                  </a:cubicBezTo>
                  <a:cubicBezTo>
                    <a:pt x="52913" y="647549"/>
                    <a:pt x="52913" y="647549"/>
                    <a:pt x="52913" y="647549"/>
                  </a:cubicBezTo>
                  <a:lnTo>
                    <a:pt x="52913" y="647549"/>
                  </a:lnTo>
                  <a:lnTo>
                    <a:pt x="52913" y="647549"/>
                  </a:lnTo>
                  <a:lnTo>
                    <a:pt x="52913" y="650069"/>
                  </a:lnTo>
                  <a:cubicBezTo>
                    <a:pt x="52913" y="652588"/>
                    <a:pt x="52913" y="653848"/>
                    <a:pt x="52913" y="656368"/>
                  </a:cubicBezTo>
                  <a:lnTo>
                    <a:pt x="52913" y="657628"/>
                  </a:lnTo>
                  <a:cubicBezTo>
                    <a:pt x="52913" y="660147"/>
                    <a:pt x="52913" y="662667"/>
                    <a:pt x="51653" y="665187"/>
                  </a:cubicBezTo>
                  <a:cubicBezTo>
                    <a:pt x="50393" y="672746"/>
                    <a:pt x="49133" y="677785"/>
                    <a:pt x="47873" y="682824"/>
                  </a:cubicBezTo>
                  <a:cubicBezTo>
                    <a:pt x="47873" y="682824"/>
                    <a:pt x="47873" y="682824"/>
                    <a:pt x="47873" y="682824"/>
                  </a:cubicBezTo>
                  <a:lnTo>
                    <a:pt x="47873" y="684084"/>
                  </a:lnTo>
                  <a:cubicBezTo>
                    <a:pt x="47873" y="684084"/>
                    <a:pt x="47873" y="684084"/>
                    <a:pt x="47873" y="684084"/>
                  </a:cubicBezTo>
                  <a:cubicBezTo>
                    <a:pt x="46614" y="686604"/>
                    <a:pt x="46614" y="689123"/>
                    <a:pt x="45354" y="691643"/>
                  </a:cubicBezTo>
                  <a:cubicBezTo>
                    <a:pt x="45354" y="690383"/>
                    <a:pt x="46614" y="689123"/>
                    <a:pt x="46614" y="687863"/>
                  </a:cubicBezTo>
                  <a:cubicBezTo>
                    <a:pt x="46614" y="689123"/>
                    <a:pt x="45354" y="690383"/>
                    <a:pt x="45354" y="692903"/>
                  </a:cubicBezTo>
                  <a:cubicBezTo>
                    <a:pt x="45354" y="692903"/>
                    <a:pt x="45354" y="692903"/>
                    <a:pt x="45354" y="691643"/>
                  </a:cubicBezTo>
                  <a:cubicBezTo>
                    <a:pt x="45354" y="692903"/>
                    <a:pt x="45354" y="692903"/>
                    <a:pt x="44094" y="694163"/>
                  </a:cubicBezTo>
                  <a:cubicBezTo>
                    <a:pt x="44094" y="695422"/>
                    <a:pt x="42834" y="695422"/>
                    <a:pt x="42834" y="696682"/>
                  </a:cubicBezTo>
                  <a:cubicBezTo>
                    <a:pt x="41574" y="697942"/>
                    <a:pt x="41574" y="699202"/>
                    <a:pt x="40314" y="701722"/>
                  </a:cubicBezTo>
                  <a:cubicBezTo>
                    <a:pt x="40314" y="702981"/>
                    <a:pt x="39055" y="702981"/>
                    <a:pt x="39055" y="704241"/>
                  </a:cubicBezTo>
                  <a:cubicBezTo>
                    <a:pt x="39055" y="704241"/>
                    <a:pt x="39055" y="704241"/>
                    <a:pt x="39055" y="705501"/>
                  </a:cubicBezTo>
                  <a:cubicBezTo>
                    <a:pt x="39055" y="705501"/>
                    <a:pt x="39055" y="705501"/>
                    <a:pt x="39055" y="704241"/>
                  </a:cubicBezTo>
                  <a:cubicBezTo>
                    <a:pt x="39055" y="705501"/>
                    <a:pt x="37795" y="705501"/>
                    <a:pt x="37795" y="706761"/>
                  </a:cubicBezTo>
                  <a:cubicBezTo>
                    <a:pt x="37795" y="706761"/>
                    <a:pt x="39055" y="705501"/>
                    <a:pt x="39055" y="705501"/>
                  </a:cubicBezTo>
                  <a:cubicBezTo>
                    <a:pt x="39055" y="706761"/>
                    <a:pt x="37795" y="706761"/>
                    <a:pt x="37795" y="708021"/>
                  </a:cubicBezTo>
                  <a:cubicBezTo>
                    <a:pt x="37795" y="708021"/>
                    <a:pt x="37795" y="708021"/>
                    <a:pt x="37795" y="708021"/>
                  </a:cubicBezTo>
                  <a:cubicBezTo>
                    <a:pt x="37795" y="708021"/>
                    <a:pt x="37795" y="708021"/>
                    <a:pt x="37795" y="708021"/>
                  </a:cubicBezTo>
                  <a:cubicBezTo>
                    <a:pt x="37795" y="709280"/>
                    <a:pt x="36535" y="709280"/>
                    <a:pt x="36535" y="709280"/>
                  </a:cubicBezTo>
                  <a:lnTo>
                    <a:pt x="36535" y="710540"/>
                  </a:lnTo>
                  <a:cubicBezTo>
                    <a:pt x="34015" y="713060"/>
                    <a:pt x="32755" y="715580"/>
                    <a:pt x="30236" y="716839"/>
                  </a:cubicBezTo>
                  <a:lnTo>
                    <a:pt x="30236" y="716839"/>
                  </a:lnTo>
                  <a:cubicBezTo>
                    <a:pt x="30236" y="716839"/>
                    <a:pt x="28976" y="718099"/>
                    <a:pt x="28976" y="718099"/>
                  </a:cubicBezTo>
                  <a:cubicBezTo>
                    <a:pt x="28976" y="718099"/>
                    <a:pt x="28976" y="718099"/>
                    <a:pt x="28976" y="718099"/>
                  </a:cubicBezTo>
                  <a:cubicBezTo>
                    <a:pt x="28976" y="718099"/>
                    <a:pt x="28976" y="718099"/>
                    <a:pt x="28976" y="718099"/>
                  </a:cubicBezTo>
                  <a:cubicBezTo>
                    <a:pt x="27716" y="718099"/>
                    <a:pt x="27716" y="719359"/>
                    <a:pt x="26456" y="719359"/>
                  </a:cubicBezTo>
                  <a:cubicBezTo>
                    <a:pt x="25196" y="720619"/>
                    <a:pt x="22677" y="721879"/>
                    <a:pt x="21417" y="721879"/>
                  </a:cubicBezTo>
                  <a:lnTo>
                    <a:pt x="21417" y="721879"/>
                  </a:lnTo>
                  <a:lnTo>
                    <a:pt x="21417" y="721879"/>
                  </a:lnTo>
                  <a:lnTo>
                    <a:pt x="21417" y="721879"/>
                  </a:lnTo>
                  <a:cubicBezTo>
                    <a:pt x="20157" y="721879"/>
                    <a:pt x="18897" y="723139"/>
                    <a:pt x="17638" y="723139"/>
                  </a:cubicBezTo>
                  <a:cubicBezTo>
                    <a:pt x="15118" y="724398"/>
                    <a:pt x="12598" y="725658"/>
                    <a:pt x="10079" y="726918"/>
                  </a:cubicBezTo>
                  <a:lnTo>
                    <a:pt x="10079" y="726918"/>
                  </a:lnTo>
                  <a:cubicBezTo>
                    <a:pt x="6299" y="728178"/>
                    <a:pt x="3780" y="729438"/>
                    <a:pt x="0" y="729438"/>
                  </a:cubicBezTo>
                  <a:cubicBezTo>
                    <a:pt x="0" y="729438"/>
                    <a:pt x="0" y="729438"/>
                    <a:pt x="0" y="729438"/>
                  </a:cubicBezTo>
                  <a:cubicBezTo>
                    <a:pt x="0" y="729438"/>
                    <a:pt x="0" y="729438"/>
                    <a:pt x="0" y="729438"/>
                  </a:cubicBezTo>
                  <a:cubicBezTo>
                    <a:pt x="0" y="729438"/>
                    <a:pt x="0" y="729438"/>
                    <a:pt x="0" y="729438"/>
                  </a:cubicBezTo>
                  <a:cubicBezTo>
                    <a:pt x="0" y="729438"/>
                    <a:pt x="0" y="729438"/>
                    <a:pt x="0" y="729438"/>
                  </a:cubicBezTo>
                  <a:lnTo>
                    <a:pt x="0" y="729438"/>
                  </a:lnTo>
                  <a:lnTo>
                    <a:pt x="0" y="729438"/>
                  </a:lnTo>
                  <a:cubicBezTo>
                    <a:pt x="0" y="729438"/>
                    <a:pt x="0" y="729438"/>
                    <a:pt x="0" y="729438"/>
                  </a:cubicBezTo>
                  <a:cubicBezTo>
                    <a:pt x="1260" y="729438"/>
                    <a:pt x="1260" y="729438"/>
                    <a:pt x="2520" y="729438"/>
                  </a:cubicBezTo>
                  <a:lnTo>
                    <a:pt x="3780" y="729438"/>
                  </a:lnTo>
                  <a:cubicBezTo>
                    <a:pt x="5039" y="729438"/>
                    <a:pt x="6299" y="729438"/>
                    <a:pt x="7559" y="729438"/>
                  </a:cubicBezTo>
                  <a:cubicBezTo>
                    <a:pt x="8819" y="729438"/>
                    <a:pt x="11339" y="729438"/>
                    <a:pt x="12598" y="729438"/>
                  </a:cubicBezTo>
                  <a:cubicBezTo>
                    <a:pt x="18897" y="729438"/>
                    <a:pt x="26456" y="730698"/>
                    <a:pt x="34015" y="730698"/>
                  </a:cubicBezTo>
                  <a:cubicBezTo>
                    <a:pt x="44094" y="730698"/>
                    <a:pt x="54172" y="730698"/>
                    <a:pt x="64251" y="730698"/>
                  </a:cubicBezTo>
                  <a:cubicBezTo>
                    <a:pt x="66771" y="730698"/>
                    <a:pt x="69290" y="730698"/>
                    <a:pt x="73070" y="730698"/>
                  </a:cubicBezTo>
                  <a:lnTo>
                    <a:pt x="75589" y="730698"/>
                  </a:lnTo>
                  <a:lnTo>
                    <a:pt x="75589" y="730698"/>
                  </a:lnTo>
                  <a:cubicBezTo>
                    <a:pt x="78109" y="730698"/>
                    <a:pt x="79369" y="730698"/>
                    <a:pt x="81889" y="730698"/>
                  </a:cubicBezTo>
                  <a:cubicBezTo>
                    <a:pt x="83148" y="730698"/>
                    <a:pt x="83148" y="730698"/>
                    <a:pt x="84408" y="730698"/>
                  </a:cubicBezTo>
                  <a:cubicBezTo>
                    <a:pt x="86928" y="730698"/>
                    <a:pt x="89448" y="730698"/>
                    <a:pt x="91967" y="730698"/>
                  </a:cubicBezTo>
                  <a:cubicBezTo>
                    <a:pt x="93227" y="730698"/>
                    <a:pt x="94487" y="730698"/>
                    <a:pt x="95747" y="730698"/>
                  </a:cubicBezTo>
                  <a:cubicBezTo>
                    <a:pt x="95747" y="730698"/>
                    <a:pt x="97007" y="730698"/>
                    <a:pt x="97007" y="730698"/>
                  </a:cubicBezTo>
                  <a:lnTo>
                    <a:pt x="97007" y="730698"/>
                  </a:lnTo>
                  <a:cubicBezTo>
                    <a:pt x="102046" y="730698"/>
                    <a:pt x="107085" y="730698"/>
                    <a:pt x="110864" y="730698"/>
                  </a:cubicBezTo>
                  <a:cubicBezTo>
                    <a:pt x="113384" y="730698"/>
                    <a:pt x="115904" y="730698"/>
                    <a:pt x="118424" y="730698"/>
                  </a:cubicBezTo>
                  <a:cubicBezTo>
                    <a:pt x="122203" y="730698"/>
                    <a:pt x="125982" y="730698"/>
                    <a:pt x="129762" y="730698"/>
                  </a:cubicBezTo>
                  <a:lnTo>
                    <a:pt x="134801" y="730698"/>
                  </a:lnTo>
                  <a:lnTo>
                    <a:pt x="136061" y="730698"/>
                  </a:lnTo>
                  <a:cubicBezTo>
                    <a:pt x="141100" y="730698"/>
                    <a:pt x="144880" y="730698"/>
                    <a:pt x="149919" y="730698"/>
                  </a:cubicBezTo>
                  <a:cubicBezTo>
                    <a:pt x="152439" y="730698"/>
                    <a:pt x="154958" y="730698"/>
                    <a:pt x="157478" y="730698"/>
                  </a:cubicBezTo>
                  <a:cubicBezTo>
                    <a:pt x="157478" y="730698"/>
                    <a:pt x="158738" y="730698"/>
                    <a:pt x="158738" y="730698"/>
                  </a:cubicBezTo>
                  <a:cubicBezTo>
                    <a:pt x="162517" y="730698"/>
                    <a:pt x="166297" y="730698"/>
                    <a:pt x="170076" y="730698"/>
                  </a:cubicBezTo>
                  <a:cubicBezTo>
                    <a:pt x="176375" y="730698"/>
                    <a:pt x="182674" y="730698"/>
                    <a:pt x="190233" y="729438"/>
                  </a:cubicBezTo>
                  <a:cubicBezTo>
                    <a:pt x="191493" y="729438"/>
                    <a:pt x="191493" y="729438"/>
                    <a:pt x="192753" y="729438"/>
                  </a:cubicBezTo>
                  <a:lnTo>
                    <a:pt x="192753" y="729438"/>
                  </a:lnTo>
                  <a:cubicBezTo>
                    <a:pt x="196533" y="729438"/>
                    <a:pt x="199052" y="729438"/>
                    <a:pt x="202832" y="728178"/>
                  </a:cubicBezTo>
                  <a:lnTo>
                    <a:pt x="202832" y="728178"/>
                  </a:lnTo>
                  <a:cubicBezTo>
                    <a:pt x="205351" y="728178"/>
                    <a:pt x="207871" y="728178"/>
                    <a:pt x="210391" y="726918"/>
                  </a:cubicBezTo>
                  <a:cubicBezTo>
                    <a:pt x="211650" y="726918"/>
                    <a:pt x="211650" y="726918"/>
                    <a:pt x="212910" y="726918"/>
                  </a:cubicBezTo>
                  <a:lnTo>
                    <a:pt x="212910" y="726918"/>
                  </a:lnTo>
                  <a:cubicBezTo>
                    <a:pt x="215430" y="726918"/>
                    <a:pt x="219209" y="726918"/>
                    <a:pt x="221729" y="726918"/>
                  </a:cubicBezTo>
                  <a:cubicBezTo>
                    <a:pt x="224249" y="726918"/>
                    <a:pt x="226768" y="726918"/>
                    <a:pt x="229288" y="726918"/>
                  </a:cubicBezTo>
                  <a:cubicBezTo>
                    <a:pt x="230548" y="726918"/>
                    <a:pt x="231808" y="726918"/>
                    <a:pt x="231808" y="726918"/>
                  </a:cubicBezTo>
                  <a:cubicBezTo>
                    <a:pt x="233067" y="726918"/>
                    <a:pt x="234327" y="726918"/>
                    <a:pt x="235587" y="726918"/>
                  </a:cubicBezTo>
                  <a:lnTo>
                    <a:pt x="235587" y="726918"/>
                  </a:lnTo>
                  <a:lnTo>
                    <a:pt x="235587" y="726918"/>
                  </a:lnTo>
                  <a:cubicBezTo>
                    <a:pt x="235587" y="726918"/>
                    <a:pt x="236847" y="726918"/>
                    <a:pt x="236847" y="726918"/>
                  </a:cubicBezTo>
                  <a:cubicBezTo>
                    <a:pt x="238107" y="726918"/>
                    <a:pt x="239366" y="726918"/>
                    <a:pt x="240626" y="726918"/>
                  </a:cubicBezTo>
                  <a:cubicBezTo>
                    <a:pt x="243146" y="726918"/>
                    <a:pt x="244406" y="726918"/>
                    <a:pt x="246925" y="726918"/>
                  </a:cubicBezTo>
                  <a:cubicBezTo>
                    <a:pt x="248185" y="726918"/>
                    <a:pt x="249445" y="726918"/>
                    <a:pt x="249445" y="726918"/>
                  </a:cubicBezTo>
                  <a:lnTo>
                    <a:pt x="249445" y="726918"/>
                  </a:lnTo>
                  <a:cubicBezTo>
                    <a:pt x="249445" y="726918"/>
                    <a:pt x="250705" y="726918"/>
                    <a:pt x="250705" y="726918"/>
                  </a:cubicBezTo>
                  <a:cubicBezTo>
                    <a:pt x="254484" y="726918"/>
                    <a:pt x="258264" y="726918"/>
                    <a:pt x="262043" y="726918"/>
                  </a:cubicBezTo>
                  <a:cubicBezTo>
                    <a:pt x="263303" y="726918"/>
                    <a:pt x="265823" y="726918"/>
                    <a:pt x="267083" y="726918"/>
                  </a:cubicBezTo>
                  <a:cubicBezTo>
                    <a:pt x="268342" y="726918"/>
                    <a:pt x="270862" y="726918"/>
                    <a:pt x="272122" y="726918"/>
                  </a:cubicBezTo>
                  <a:lnTo>
                    <a:pt x="273382" y="726918"/>
                  </a:lnTo>
                  <a:cubicBezTo>
                    <a:pt x="273382" y="726918"/>
                    <a:pt x="274642" y="726918"/>
                    <a:pt x="274642" y="726918"/>
                  </a:cubicBezTo>
                  <a:cubicBezTo>
                    <a:pt x="277161" y="726918"/>
                    <a:pt x="278421" y="726918"/>
                    <a:pt x="280941" y="726918"/>
                  </a:cubicBezTo>
                  <a:lnTo>
                    <a:pt x="280941" y="726918"/>
                  </a:lnTo>
                  <a:lnTo>
                    <a:pt x="280941" y="726918"/>
                  </a:lnTo>
                  <a:cubicBezTo>
                    <a:pt x="291019" y="728178"/>
                    <a:pt x="302358" y="728178"/>
                    <a:pt x="312436" y="729438"/>
                  </a:cubicBezTo>
                  <a:cubicBezTo>
                    <a:pt x="319995" y="729438"/>
                    <a:pt x="325034" y="729438"/>
                    <a:pt x="331334" y="729438"/>
                  </a:cubicBezTo>
                  <a:cubicBezTo>
                    <a:pt x="331334" y="729438"/>
                    <a:pt x="331334" y="729438"/>
                    <a:pt x="332593" y="729438"/>
                  </a:cubicBezTo>
                  <a:cubicBezTo>
                    <a:pt x="333853" y="729438"/>
                    <a:pt x="333853" y="729438"/>
                    <a:pt x="335113" y="729438"/>
                  </a:cubicBezTo>
                  <a:lnTo>
                    <a:pt x="336373" y="729438"/>
                  </a:lnTo>
                  <a:cubicBezTo>
                    <a:pt x="337633" y="729438"/>
                    <a:pt x="340152" y="729438"/>
                    <a:pt x="341412" y="729438"/>
                  </a:cubicBezTo>
                  <a:cubicBezTo>
                    <a:pt x="342672" y="729438"/>
                    <a:pt x="343932" y="729438"/>
                    <a:pt x="345192" y="729438"/>
                  </a:cubicBezTo>
                  <a:cubicBezTo>
                    <a:pt x="346451" y="729438"/>
                    <a:pt x="347711" y="729438"/>
                    <a:pt x="348971" y="729438"/>
                  </a:cubicBezTo>
                  <a:lnTo>
                    <a:pt x="348971" y="729438"/>
                  </a:lnTo>
                  <a:cubicBezTo>
                    <a:pt x="348971" y="729438"/>
                    <a:pt x="350231" y="729438"/>
                    <a:pt x="350231" y="729438"/>
                  </a:cubicBezTo>
                  <a:cubicBezTo>
                    <a:pt x="333853" y="705501"/>
                    <a:pt x="323775" y="676525"/>
                    <a:pt x="313696" y="645030"/>
                  </a:cubicBezTo>
                  <a:close/>
                </a:path>
              </a:pathLst>
            </a:custGeom>
            <a:solidFill>
              <a:srgbClr val="54F3F5"/>
            </a:solidFill>
            <a:ln w="12584" cap="flat">
              <a:noFill/>
              <a:prstDash val="solid"/>
              <a:miter/>
            </a:ln>
          </p:spPr>
          <p:txBody>
            <a:bodyPr rtlCol="0" anchor="ctr"/>
            <a:lstStyle/>
            <a:p>
              <a:endParaRPr lang="zh-CN" altLang="en-US"/>
            </a:p>
          </p:txBody>
        </p:sp>
        <p:sp>
          <p:nvSpPr>
            <p:cNvPr id="128" name="任意多边形: 形状 127"/>
            <p:cNvSpPr/>
            <p:nvPr/>
          </p:nvSpPr>
          <p:spPr>
            <a:xfrm>
              <a:off x="8371845" y="4330717"/>
              <a:ext cx="8580" cy="8580"/>
            </a:xfrm>
            <a:custGeom>
              <a:avLst/>
              <a:gdLst>
                <a:gd name="connsiteX0" fmla="*/ 0 w 0"/>
                <a:gd name="connsiteY0" fmla="*/ 1260 h 0"/>
                <a:gd name="connsiteX1" fmla="*/ 2520 w 0"/>
                <a:gd name="connsiteY1" fmla="*/ 0 h 0"/>
                <a:gd name="connsiteX2" fmla="*/ 0 w 0"/>
                <a:gd name="connsiteY2" fmla="*/ 1260 h 0"/>
              </a:gdLst>
              <a:ahLst/>
              <a:cxnLst>
                <a:cxn ang="0">
                  <a:pos x="connsiteX0" y="connsiteY0"/>
                </a:cxn>
                <a:cxn ang="0">
                  <a:pos x="connsiteX1" y="connsiteY1"/>
                </a:cxn>
                <a:cxn ang="0">
                  <a:pos x="connsiteX2" y="connsiteY2"/>
                </a:cxn>
              </a:cxnLst>
              <a:rect l="l" t="t" r="r" b="b"/>
              <a:pathLst>
                <a:path>
                  <a:moveTo>
                    <a:pt x="0" y="1260"/>
                  </a:moveTo>
                  <a:cubicBezTo>
                    <a:pt x="1260" y="1260"/>
                    <a:pt x="1260" y="0"/>
                    <a:pt x="2520" y="0"/>
                  </a:cubicBezTo>
                  <a:cubicBezTo>
                    <a:pt x="2520" y="0"/>
                    <a:pt x="1260" y="0"/>
                    <a:pt x="0" y="1260"/>
                  </a:cubicBezTo>
                  <a:close/>
                </a:path>
              </a:pathLst>
            </a:custGeom>
            <a:solidFill>
              <a:srgbClr val="54F3F5"/>
            </a:solidFill>
            <a:ln w="12584" cap="flat">
              <a:noFill/>
              <a:prstDash val="solid"/>
              <a:miter/>
            </a:ln>
          </p:spPr>
          <p:txBody>
            <a:bodyPr rtlCol="0" anchor="ctr"/>
            <a:lstStyle/>
            <a:p>
              <a:endParaRPr lang="zh-CN" altLang="en-US"/>
            </a:p>
          </p:txBody>
        </p:sp>
        <p:sp>
          <p:nvSpPr>
            <p:cNvPr id="129" name="任意多边形: 形状 128"/>
            <p:cNvSpPr/>
            <p:nvPr/>
          </p:nvSpPr>
          <p:spPr>
            <a:xfrm>
              <a:off x="8668725" y="4092183"/>
              <a:ext cx="8580" cy="8580"/>
            </a:xfrm>
            <a:custGeom>
              <a:avLst/>
              <a:gdLst>
                <a:gd name="connsiteX0" fmla="*/ 0 w 0"/>
                <a:gd name="connsiteY0" fmla="*/ 0 h 0"/>
                <a:gd name="connsiteX1" fmla="*/ 0 w 0"/>
                <a:gd name="connsiteY1" fmla="*/ 0 h 0"/>
                <a:gd name="connsiteX2" fmla="*/ 0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0" y="0"/>
                    <a:pt x="0" y="0"/>
                    <a:pt x="0" y="0"/>
                  </a:cubicBezTo>
                  <a:cubicBezTo>
                    <a:pt x="0" y="0"/>
                    <a:pt x="0" y="0"/>
                    <a:pt x="0" y="0"/>
                  </a:cubicBezTo>
                  <a:cubicBezTo>
                    <a:pt x="0" y="0"/>
                    <a:pt x="0" y="0"/>
                    <a:pt x="0" y="0"/>
                  </a:cubicBezTo>
                  <a:close/>
                </a:path>
              </a:pathLst>
            </a:custGeom>
            <a:solidFill>
              <a:srgbClr val="54F3F5"/>
            </a:solidFill>
            <a:ln w="12584" cap="flat">
              <a:noFill/>
              <a:prstDash val="solid"/>
              <a:miter/>
            </a:ln>
          </p:spPr>
          <p:txBody>
            <a:bodyPr rtlCol="0" anchor="ctr"/>
            <a:lstStyle/>
            <a:p>
              <a:endParaRPr lang="zh-CN" altLang="en-US"/>
            </a:p>
          </p:txBody>
        </p:sp>
        <p:sp>
          <p:nvSpPr>
            <p:cNvPr id="130" name="任意多边形: 形状 129"/>
            <p:cNvSpPr/>
            <p:nvPr/>
          </p:nvSpPr>
          <p:spPr>
            <a:xfrm>
              <a:off x="8613811" y="3996941"/>
              <a:ext cx="60063" cy="231669"/>
            </a:xfrm>
            <a:custGeom>
              <a:avLst/>
              <a:gdLst>
                <a:gd name="connsiteX0" fmla="*/ 61731 w 88187"/>
                <a:gd name="connsiteY0" fmla="*/ 103305 h 340152"/>
                <a:gd name="connsiteX1" fmla="*/ 61731 w 88187"/>
                <a:gd name="connsiteY1" fmla="*/ 103305 h 340152"/>
                <a:gd name="connsiteX2" fmla="*/ 59212 w 88187"/>
                <a:gd name="connsiteY2" fmla="*/ 97006 h 340152"/>
                <a:gd name="connsiteX3" fmla="*/ 59212 w 88187"/>
                <a:gd name="connsiteY3" fmla="*/ 97006 h 340152"/>
                <a:gd name="connsiteX4" fmla="*/ 59212 w 88187"/>
                <a:gd name="connsiteY4" fmla="*/ 97006 h 340152"/>
                <a:gd name="connsiteX5" fmla="*/ 56692 w 88187"/>
                <a:gd name="connsiteY5" fmla="*/ 91967 h 340152"/>
                <a:gd name="connsiteX6" fmla="*/ 54172 w 88187"/>
                <a:gd name="connsiteY6" fmla="*/ 86928 h 340152"/>
                <a:gd name="connsiteX7" fmla="*/ 51653 w 88187"/>
                <a:gd name="connsiteY7" fmla="*/ 81889 h 340152"/>
                <a:gd name="connsiteX8" fmla="*/ 49133 w 88187"/>
                <a:gd name="connsiteY8" fmla="*/ 75589 h 340152"/>
                <a:gd name="connsiteX9" fmla="*/ 39054 w 88187"/>
                <a:gd name="connsiteY9" fmla="*/ 56692 h 340152"/>
                <a:gd name="connsiteX10" fmla="*/ 36535 w 88187"/>
                <a:gd name="connsiteY10" fmla="*/ 52913 h 340152"/>
                <a:gd name="connsiteX11" fmla="*/ 32755 w 88187"/>
                <a:gd name="connsiteY11" fmla="*/ 46613 h 340152"/>
                <a:gd name="connsiteX12" fmla="*/ 31496 w 88187"/>
                <a:gd name="connsiteY12" fmla="*/ 45354 h 340152"/>
                <a:gd name="connsiteX13" fmla="*/ 27716 w 88187"/>
                <a:gd name="connsiteY13" fmla="*/ 39054 h 340152"/>
                <a:gd name="connsiteX14" fmla="*/ 26456 w 88187"/>
                <a:gd name="connsiteY14" fmla="*/ 36535 h 340152"/>
                <a:gd name="connsiteX15" fmla="*/ 22677 w 88187"/>
                <a:gd name="connsiteY15" fmla="*/ 28976 h 340152"/>
                <a:gd name="connsiteX16" fmla="*/ 22677 w 88187"/>
                <a:gd name="connsiteY16" fmla="*/ 28976 h 340152"/>
                <a:gd name="connsiteX17" fmla="*/ 21417 w 88187"/>
                <a:gd name="connsiteY17" fmla="*/ 26456 h 340152"/>
                <a:gd name="connsiteX18" fmla="*/ 18897 w 88187"/>
                <a:gd name="connsiteY18" fmla="*/ 22677 h 340152"/>
                <a:gd name="connsiteX19" fmla="*/ 10079 w 88187"/>
                <a:gd name="connsiteY19" fmla="*/ 3780 h 340152"/>
                <a:gd name="connsiteX20" fmla="*/ 7559 w 88187"/>
                <a:gd name="connsiteY20" fmla="*/ 1260 h 340152"/>
                <a:gd name="connsiteX21" fmla="*/ 7559 w 88187"/>
                <a:gd name="connsiteY21" fmla="*/ 1260 h 340152"/>
                <a:gd name="connsiteX22" fmla="*/ 6299 w 88187"/>
                <a:gd name="connsiteY22" fmla="*/ 1260 h 340152"/>
                <a:gd name="connsiteX23" fmla="*/ 6299 w 88187"/>
                <a:gd name="connsiteY23" fmla="*/ 1260 h 340152"/>
                <a:gd name="connsiteX24" fmla="*/ 6299 w 88187"/>
                <a:gd name="connsiteY24" fmla="*/ 1260 h 340152"/>
                <a:gd name="connsiteX25" fmla="*/ 6299 w 88187"/>
                <a:gd name="connsiteY25" fmla="*/ 1260 h 340152"/>
                <a:gd name="connsiteX26" fmla="*/ 6299 w 88187"/>
                <a:gd name="connsiteY26" fmla="*/ 0 h 340152"/>
                <a:gd name="connsiteX27" fmla="*/ 6299 w 88187"/>
                <a:gd name="connsiteY27" fmla="*/ 0 h 340152"/>
                <a:gd name="connsiteX28" fmla="*/ 6299 w 88187"/>
                <a:gd name="connsiteY28" fmla="*/ 0 h 340152"/>
                <a:gd name="connsiteX29" fmla="*/ 6299 w 88187"/>
                <a:gd name="connsiteY29" fmla="*/ 0 h 340152"/>
                <a:gd name="connsiteX30" fmla="*/ 6299 w 88187"/>
                <a:gd name="connsiteY30" fmla="*/ 0 h 340152"/>
                <a:gd name="connsiteX31" fmla="*/ 6299 w 88187"/>
                <a:gd name="connsiteY31" fmla="*/ 0 h 340152"/>
                <a:gd name="connsiteX32" fmla="*/ 6299 w 88187"/>
                <a:gd name="connsiteY32" fmla="*/ 0 h 340152"/>
                <a:gd name="connsiteX33" fmla="*/ 5039 w 88187"/>
                <a:gd name="connsiteY33" fmla="*/ 0 h 340152"/>
                <a:gd name="connsiteX34" fmla="*/ 3780 w 88187"/>
                <a:gd name="connsiteY34" fmla="*/ 0 h 340152"/>
                <a:gd name="connsiteX35" fmla="*/ 2520 w 88187"/>
                <a:gd name="connsiteY35" fmla="*/ 2520 h 340152"/>
                <a:gd name="connsiteX36" fmla="*/ 2520 w 88187"/>
                <a:gd name="connsiteY36" fmla="*/ 3780 h 340152"/>
                <a:gd name="connsiteX37" fmla="*/ 1260 w 88187"/>
                <a:gd name="connsiteY37" fmla="*/ 7559 h 340152"/>
                <a:gd name="connsiteX38" fmla="*/ 1260 w 88187"/>
                <a:gd name="connsiteY38" fmla="*/ 8819 h 340152"/>
                <a:gd name="connsiteX39" fmla="*/ 0 w 88187"/>
                <a:gd name="connsiteY39" fmla="*/ 11338 h 340152"/>
                <a:gd name="connsiteX40" fmla="*/ 0 w 88187"/>
                <a:gd name="connsiteY40" fmla="*/ 11338 h 340152"/>
                <a:gd name="connsiteX41" fmla="*/ 0 w 88187"/>
                <a:gd name="connsiteY41" fmla="*/ 12598 h 340152"/>
                <a:gd name="connsiteX42" fmla="*/ 0 w 88187"/>
                <a:gd name="connsiteY42" fmla="*/ 13858 h 340152"/>
                <a:gd name="connsiteX43" fmla="*/ 0 w 88187"/>
                <a:gd name="connsiteY43" fmla="*/ 18897 h 340152"/>
                <a:gd name="connsiteX44" fmla="*/ 0 w 88187"/>
                <a:gd name="connsiteY44" fmla="*/ 18897 h 340152"/>
                <a:gd name="connsiteX45" fmla="*/ 0 w 88187"/>
                <a:gd name="connsiteY45" fmla="*/ 18897 h 340152"/>
                <a:gd name="connsiteX46" fmla="*/ 0 w 88187"/>
                <a:gd name="connsiteY46" fmla="*/ 22677 h 340152"/>
                <a:gd name="connsiteX47" fmla="*/ 0 w 88187"/>
                <a:gd name="connsiteY47" fmla="*/ 27716 h 340152"/>
                <a:gd name="connsiteX48" fmla="*/ 0 w 88187"/>
                <a:gd name="connsiteY48" fmla="*/ 37795 h 340152"/>
                <a:gd name="connsiteX49" fmla="*/ 0 w 88187"/>
                <a:gd name="connsiteY49" fmla="*/ 41574 h 340152"/>
                <a:gd name="connsiteX50" fmla="*/ 0 w 88187"/>
                <a:gd name="connsiteY50" fmla="*/ 41574 h 340152"/>
                <a:gd name="connsiteX51" fmla="*/ 0 w 88187"/>
                <a:gd name="connsiteY51" fmla="*/ 47873 h 340152"/>
                <a:gd name="connsiteX52" fmla="*/ 0 w 88187"/>
                <a:gd name="connsiteY52" fmla="*/ 50393 h 340152"/>
                <a:gd name="connsiteX53" fmla="*/ 0 w 88187"/>
                <a:gd name="connsiteY53" fmla="*/ 51653 h 340152"/>
                <a:gd name="connsiteX54" fmla="*/ 0 w 88187"/>
                <a:gd name="connsiteY54" fmla="*/ 52913 h 340152"/>
                <a:gd name="connsiteX55" fmla="*/ 0 w 88187"/>
                <a:gd name="connsiteY55" fmla="*/ 61731 h 340152"/>
                <a:gd name="connsiteX56" fmla="*/ 0 w 88187"/>
                <a:gd name="connsiteY56" fmla="*/ 70550 h 340152"/>
                <a:gd name="connsiteX57" fmla="*/ 0 w 88187"/>
                <a:gd name="connsiteY57" fmla="*/ 74330 h 340152"/>
                <a:gd name="connsiteX58" fmla="*/ 0 w 88187"/>
                <a:gd name="connsiteY58" fmla="*/ 78109 h 340152"/>
                <a:gd name="connsiteX59" fmla="*/ 0 w 88187"/>
                <a:gd name="connsiteY59" fmla="*/ 88188 h 340152"/>
                <a:gd name="connsiteX60" fmla="*/ 0 w 88187"/>
                <a:gd name="connsiteY60" fmla="*/ 91967 h 340152"/>
                <a:gd name="connsiteX61" fmla="*/ 0 w 88187"/>
                <a:gd name="connsiteY61" fmla="*/ 93227 h 340152"/>
                <a:gd name="connsiteX62" fmla="*/ 0 w 88187"/>
                <a:gd name="connsiteY62" fmla="*/ 94487 h 340152"/>
                <a:gd name="connsiteX63" fmla="*/ 0 w 88187"/>
                <a:gd name="connsiteY63" fmla="*/ 99526 h 340152"/>
                <a:gd name="connsiteX64" fmla="*/ 0 w 88187"/>
                <a:gd name="connsiteY64" fmla="*/ 104565 h 340152"/>
                <a:gd name="connsiteX65" fmla="*/ 0 w 88187"/>
                <a:gd name="connsiteY65" fmla="*/ 105825 h 340152"/>
                <a:gd name="connsiteX66" fmla="*/ 0 w 88187"/>
                <a:gd name="connsiteY66" fmla="*/ 109605 h 340152"/>
                <a:gd name="connsiteX67" fmla="*/ 0 w 88187"/>
                <a:gd name="connsiteY67" fmla="*/ 112124 h 340152"/>
                <a:gd name="connsiteX68" fmla="*/ 0 w 88187"/>
                <a:gd name="connsiteY68" fmla="*/ 113384 h 340152"/>
                <a:gd name="connsiteX69" fmla="*/ 0 w 88187"/>
                <a:gd name="connsiteY69" fmla="*/ 119683 h 340152"/>
                <a:gd name="connsiteX70" fmla="*/ 0 w 88187"/>
                <a:gd name="connsiteY70" fmla="*/ 119683 h 340152"/>
                <a:gd name="connsiteX71" fmla="*/ 0 w 88187"/>
                <a:gd name="connsiteY71" fmla="*/ 120943 h 340152"/>
                <a:gd name="connsiteX72" fmla="*/ 0 w 88187"/>
                <a:gd name="connsiteY72" fmla="*/ 129762 h 340152"/>
                <a:gd name="connsiteX73" fmla="*/ 0 w 88187"/>
                <a:gd name="connsiteY73" fmla="*/ 129762 h 340152"/>
                <a:gd name="connsiteX74" fmla="*/ 0 w 88187"/>
                <a:gd name="connsiteY74" fmla="*/ 134801 h 340152"/>
                <a:gd name="connsiteX75" fmla="*/ 0 w 88187"/>
                <a:gd name="connsiteY75" fmla="*/ 136061 h 340152"/>
                <a:gd name="connsiteX76" fmla="*/ 0 w 88187"/>
                <a:gd name="connsiteY76" fmla="*/ 139840 h 340152"/>
                <a:gd name="connsiteX77" fmla="*/ 0 w 88187"/>
                <a:gd name="connsiteY77" fmla="*/ 143620 h 340152"/>
                <a:gd name="connsiteX78" fmla="*/ 0 w 88187"/>
                <a:gd name="connsiteY78" fmla="*/ 151179 h 340152"/>
                <a:gd name="connsiteX79" fmla="*/ 0 w 88187"/>
                <a:gd name="connsiteY79" fmla="*/ 152439 h 340152"/>
                <a:gd name="connsiteX80" fmla="*/ 1260 w 88187"/>
                <a:gd name="connsiteY80" fmla="*/ 154958 h 340152"/>
                <a:gd name="connsiteX81" fmla="*/ 1260 w 88187"/>
                <a:gd name="connsiteY81" fmla="*/ 154958 h 340152"/>
                <a:gd name="connsiteX82" fmla="*/ 2520 w 88187"/>
                <a:gd name="connsiteY82" fmla="*/ 157478 h 340152"/>
                <a:gd name="connsiteX83" fmla="*/ 5039 w 88187"/>
                <a:gd name="connsiteY83" fmla="*/ 161257 h 340152"/>
                <a:gd name="connsiteX84" fmla="*/ 5039 w 88187"/>
                <a:gd name="connsiteY84" fmla="*/ 161257 h 340152"/>
                <a:gd name="connsiteX85" fmla="*/ 7559 w 88187"/>
                <a:gd name="connsiteY85" fmla="*/ 163777 h 340152"/>
                <a:gd name="connsiteX86" fmla="*/ 11338 w 88187"/>
                <a:gd name="connsiteY86" fmla="*/ 167557 h 340152"/>
                <a:gd name="connsiteX87" fmla="*/ 12598 w 88187"/>
                <a:gd name="connsiteY87" fmla="*/ 168816 h 340152"/>
                <a:gd name="connsiteX88" fmla="*/ 12598 w 88187"/>
                <a:gd name="connsiteY88" fmla="*/ 168816 h 340152"/>
                <a:gd name="connsiteX89" fmla="*/ 20157 w 88187"/>
                <a:gd name="connsiteY89" fmla="*/ 178895 h 340152"/>
                <a:gd name="connsiteX90" fmla="*/ 22677 w 88187"/>
                <a:gd name="connsiteY90" fmla="*/ 182674 h 340152"/>
                <a:gd name="connsiteX91" fmla="*/ 31496 w 88187"/>
                <a:gd name="connsiteY91" fmla="*/ 196532 h 340152"/>
                <a:gd name="connsiteX92" fmla="*/ 34015 w 88187"/>
                <a:gd name="connsiteY92" fmla="*/ 201572 h 340152"/>
                <a:gd name="connsiteX93" fmla="*/ 36535 w 88187"/>
                <a:gd name="connsiteY93" fmla="*/ 205351 h 340152"/>
                <a:gd name="connsiteX94" fmla="*/ 36535 w 88187"/>
                <a:gd name="connsiteY94" fmla="*/ 206611 h 340152"/>
                <a:gd name="connsiteX95" fmla="*/ 37795 w 88187"/>
                <a:gd name="connsiteY95" fmla="*/ 207871 h 340152"/>
                <a:gd name="connsiteX96" fmla="*/ 37795 w 88187"/>
                <a:gd name="connsiteY96" fmla="*/ 207871 h 340152"/>
                <a:gd name="connsiteX97" fmla="*/ 37795 w 88187"/>
                <a:gd name="connsiteY97" fmla="*/ 207871 h 340152"/>
                <a:gd name="connsiteX98" fmla="*/ 41574 w 88187"/>
                <a:gd name="connsiteY98" fmla="*/ 212910 h 340152"/>
                <a:gd name="connsiteX99" fmla="*/ 47873 w 88187"/>
                <a:gd name="connsiteY99" fmla="*/ 225508 h 340152"/>
                <a:gd name="connsiteX100" fmla="*/ 47873 w 88187"/>
                <a:gd name="connsiteY100" fmla="*/ 225508 h 340152"/>
                <a:gd name="connsiteX101" fmla="*/ 47873 w 88187"/>
                <a:gd name="connsiteY101" fmla="*/ 225508 h 340152"/>
                <a:gd name="connsiteX102" fmla="*/ 47873 w 88187"/>
                <a:gd name="connsiteY102" fmla="*/ 225508 h 340152"/>
                <a:gd name="connsiteX103" fmla="*/ 50393 w 88187"/>
                <a:gd name="connsiteY103" fmla="*/ 228028 h 340152"/>
                <a:gd name="connsiteX104" fmla="*/ 50393 w 88187"/>
                <a:gd name="connsiteY104" fmla="*/ 228028 h 340152"/>
                <a:gd name="connsiteX105" fmla="*/ 50393 w 88187"/>
                <a:gd name="connsiteY105" fmla="*/ 228028 h 340152"/>
                <a:gd name="connsiteX106" fmla="*/ 51653 w 88187"/>
                <a:gd name="connsiteY106" fmla="*/ 229288 h 340152"/>
                <a:gd name="connsiteX107" fmla="*/ 55432 w 88187"/>
                <a:gd name="connsiteY107" fmla="*/ 234327 h 340152"/>
                <a:gd name="connsiteX108" fmla="*/ 56692 w 88187"/>
                <a:gd name="connsiteY108" fmla="*/ 236847 h 340152"/>
                <a:gd name="connsiteX109" fmla="*/ 60472 w 88187"/>
                <a:gd name="connsiteY109" fmla="*/ 243146 h 340152"/>
                <a:gd name="connsiteX110" fmla="*/ 60472 w 88187"/>
                <a:gd name="connsiteY110" fmla="*/ 243146 h 340152"/>
                <a:gd name="connsiteX111" fmla="*/ 64251 w 88187"/>
                <a:gd name="connsiteY111" fmla="*/ 250705 h 340152"/>
                <a:gd name="connsiteX112" fmla="*/ 65511 w 88187"/>
                <a:gd name="connsiteY112" fmla="*/ 251965 h 340152"/>
                <a:gd name="connsiteX113" fmla="*/ 66771 w 88187"/>
                <a:gd name="connsiteY113" fmla="*/ 254484 h 340152"/>
                <a:gd name="connsiteX114" fmla="*/ 66771 w 88187"/>
                <a:gd name="connsiteY114" fmla="*/ 254484 h 340152"/>
                <a:gd name="connsiteX115" fmla="*/ 66771 w 88187"/>
                <a:gd name="connsiteY115" fmla="*/ 255744 h 340152"/>
                <a:gd name="connsiteX116" fmla="*/ 70550 w 88187"/>
                <a:gd name="connsiteY116" fmla="*/ 263303 h 340152"/>
                <a:gd name="connsiteX117" fmla="*/ 74329 w 88187"/>
                <a:gd name="connsiteY117" fmla="*/ 270862 h 340152"/>
                <a:gd name="connsiteX118" fmla="*/ 78109 w 88187"/>
                <a:gd name="connsiteY118" fmla="*/ 277161 h 340152"/>
                <a:gd name="connsiteX119" fmla="*/ 84408 w 88187"/>
                <a:gd name="connsiteY119" fmla="*/ 289759 h 340152"/>
                <a:gd name="connsiteX120" fmla="*/ 84408 w 88187"/>
                <a:gd name="connsiteY120" fmla="*/ 291019 h 340152"/>
                <a:gd name="connsiteX121" fmla="*/ 85668 w 88187"/>
                <a:gd name="connsiteY121" fmla="*/ 293539 h 340152"/>
                <a:gd name="connsiteX122" fmla="*/ 85668 w 88187"/>
                <a:gd name="connsiteY122" fmla="*/ 294799 h 340152"/>
                <a:gd name="connsiteX123" fmla="*/ 93227 w 88187"/>
                <a:gd name="connsiteY123" fmla="*/ 313696 h 340152"/>
                <a:gd name="connsiteX124" fmla="*/ 94487 w 88187"/>
                <a:gd name="connsiteY124" fmla="*/ 317475 h 340152"/>
                <a:gd name="connsiteX125" fmla="*/ 94487 w 88187"/>
                <a:gd name="connsiteY125" fmla="*/ 318735 h 340152"/>
                <a:gd name="connsiteX126" fmla="*/ 95746 w 88187"/>
                <a:gd name="connsiteY126" fmla="*/ 323775 h 340152"/>
                <a:gd name="connsiteX127" fmla="*/ 95746 w 88187"/>
                <a:gd name="connsiteY127" fmla="*/ 323775 h 340152"/>
                <a:gd name="connsiteX128" fmla="*/ 95746 w 88187"/>
                <a:gd name="connsiteY128" fmla="*/ 323775 h 340152"/>
                <a:gd name="connsiteX129" fmla="*/ 95746 w 88187"/>
                <a:gd name="connsiteY129" fmla="*/ 326294 h 340152"/>
                <a:gd name="connsiteX130" fmla="*/ 97006 w 88187"/>
                <a:gd name="connsiteY130" fmla="*/ 331334 h 340152"/>
                <a:gd name="connsiteX131" fmla="*/ 97006 w 88187"/>
                <a:gd name="connsiteY131" fmla="*/ 333853 h 340152"/>
                <a:gd name="connsiteX132" fmla="*/ 97006 w 88187"/>
                <a:gd name="connsiteY132" fmla="*/ 333853 h 340152"/>
                <a:gd name="connsiteX133" fmla="*/ 97006 w 88187"/>
                <a:gd name="connsiteY133" fmla="*/ 336373 h 340152"/>
                <a:gd name="connsiteX134" fmla="*/ 97006 w 88187"/>
                <a:gd name="connsiteY134" fmla="*/ 338892 h 340152"/>
                <a:gd name="connsiteX135" fmla="*/ 97006 w 88187"/>
                <a:gd name="connsiteY135" fmla="*/ 341412 h 340152"/>
                <a:gd name="connsiteX136" fmla="*/ 97006 w 88187"/>
                <a:gd name="connsiteY136" fmla="*/ 342672 h 340152"/>
                <a:gd name="connsiteX137" fmla="*/ 97006 w 88187"/>
                <a:gd name="connsiteY137" fmla="*/ 342672 h 340152"/>
                <a:gd name="connsiteX138" fmla="*/ 97006 w 88187"/>
                <a:gd name="connsiteY138" fmla="*/ 343932 h 340152"/>
                <a:gd name="connsiteX139" fmla="*/ 97006 w 88187"/>
                <a:gd name="connsiteY139" fmla="*/ 343932 h 340152"/>
                <a:gd name="connsiteX140" fmla="*/ 97006 w 88187"/>
                <a:gd name="connsiteY140" fmla="*/ 343932 h 340152"/>
                <a:gd name="connsiteX141" fmla="*/ 97006 w 88187"/>
                <a:gd name="connsiteY141" fmla="*/ 343932 h 340152"/>
                <a:gd name="connsiteX142" fmla="*/ 97006 w 88187"/>
                <a:gd name="connsiteY142" fmla="*/ 343932 h 340152"/>
                <a:gd name="connsiteX143" fmla="*/ 97006 w 88187"/>
                <a:gd name="connsiteY143" fmla="*/ 343932 h 340152"/>
                <a:gd name="connsiteX144" fmla="*/ 97006 w 88187"/>
                <a:gd name="connsiteY144" fmla="*/ 342672 h 340152"/>
                <a:gd name="connsiteX145" fmla="*/ 98266 w 88187"/>
                <a:gd name="connsiteY145" fmla="*/ 332593 h 340152"/>
                <a:gd name="connsiteX146" fmla="*/ 98266 w 88187"/>
                <a:gd name="connsiteY146" fmla="*/ 332593 h 340152"/>
                <a:gd name="connsiteX147" fmla="*/ 98266 w 88187"/>
                <a:gd name="connsiteY147" fmla="*/ 331334 h 340152"/>
                <a:gd name="connsiteX148" fmla="*/ 98266 w 88187"/>
                <a:gd name="connsiteY148" fmla="*/ 330074 h 340152"/>
                <a:gd name="connsiteX149" fmla="*/ 98266 w 88187"/>
                <a:gd name="connsiteY149" fmla="*/ 321255 h 340152"/>
                <a:gd name="connsiteX150" fmla="*/ 98266 w 88187"/>
                <a:gd name="connsiteY150" fmla="*/ 321255 h 340152"/>
                <a:gd name="connsiteX151" fmla="*/ 98266 w 88187"/>
                <a:gd name="connsiteY151" fmla="*/ 309916 h 340152"/>
                <a:gd name="connsiteX152" fmla="*/ 98266 w 88187"/>
                <a:gd name="connsiteY152" fmla="*/ 307397 h 340152"/>
                <a:gd name="connsiteX153" fmla="*/ 98266 w 88187"/>
                <a:gd name="connsiteY153" fmla="*/ 303617 h 340152"/>
                <a:gd name="connsiteX154" fmla="*/ 98266 w 88187"/>
                <a:gd name="connsiteY154" fmla="*/ 289759 h 340152"/>
                <a:gd name="connsiteX155" fmla="*/ 98266 w 88187"/>
                <a:gd name="connsiteY155" fmla="*/ 280941 h 340152"/>
                <a:gd name="connsiteX156" fmla="*/ 98266 w 88187"/>
                <a:gd name="connsiteY156" fmla="*/ 272122 h 340152"/>
                <a:gd name="connsiteX157" fmla="*/ 98266 w 88187"/>
                <a:gd name="connsiteY157" fmla="*/ 268342 h 340152"/>
                <a:gd name="connsiteX158" fmla="*/ 97006 w 88187"/>
                <a:gd name="connsiteY158" fmla="*/ 248185 h 340152"/>
                <a:gd name="connsiteX159" fmla="*/ 95746 w 88187"/>
                <a:gd name="connsiteY159" fmla="*/ 226768 h 340152"/>
                <a:gd name="connsiteX160" fmla="*/ 95746 w 88187"/>
                <a:gd name="connsiteY160" fmla="*/ 219209 h 340152"/>
                <a:gd name="connsiteX161" fmla="*/ 94487 w 88187"/>
                <a:gd name="connsiteY161" fmla="*/ 210390 h 340152"/>
                <a:gd name="connsiteX162" fmla="*/ 91967 w 88187"/>
                <a:gd name="connsiteY162" fmla="*/ 190233 h 340152"/>
                <a:gd name="connsiteX163" fmla="*/ 89447 w 88187"/>
                <a:gd name="connsiteY163" fmla="*/ 168816 h 340152"/>
                <a:gd name="connsiteX164" fmla="*/ 88188 w 88187"/>
                <a:gd name="connsiteY164" fmla="*/ 152439 h 340152"/>
                <a:gd name="connsiteX165" fmla="*/ 85668 w 88187"/>
                <a:gd name="connsiteY165" fmla="*/ 147399 h 340152"/>
                <a:gd name="connsiteX166" fmla="*/ 84408 w 88187"/>
                <a:gd name="connsiteY166" fmla="*/ 144880 h 340152"/>
                <a:gd name="connsiteX167" fmla="*/ 80629 w 88187"/>
                <a:gd name="connsiteY167" fmla="*/ 134801 h 340152"/>
                <a:gd name="connsiteX168" fmla="*/ 80629 w 88187"/>
                <a:gd name="connsiteY168" fmla="*/ 133541 h 340152"/>
                <a:gd name="connsiteX169" fmla="*/ 76849 w 88187"/>
                <a:gd name="connsiteY169" fmla="*/ 123463 h 340152"/>
                <a:gd name="connsiteX170" fmla="*/ 71810 w 88187"/>
                <a:gd name="connsiteY170" fmla="*/ 112124 h 340152"/>
                <a:gd name="connsiteX171" fmla="*/ 61731 w 88187"/>
                <a:gd name="connsiteY171" fmla="*/ 103305 h 340152"/>
                <a:gd name="connsiteX172" fmla="*/ 61731 w 88187"/>
                <a:gd name="connsiteY172" fmla="*/ 103305 h 340152"/>
                <a:gd name="connsiteX173" fmla="*/ 61731 w 88187"/>
                <a:gd name="connsiteY173" fmla="*/ 103305 h 340152"/>
                <a:gd name="connsiteX174" fmla="*/ 7559 w 88187"/>
                <a:gd name="connsiteY174" fmla="*/ 142360 h 340152"/>
                <a:gd name="connsiteX175" fmla="*/ 7559 w 88187"/>
                <a:gd name="connsiteY175" fmla="*/ 142360 h 340152"/>
                <a:gd name="connsiteX176" fmla="*/ 7559 w 88187"/>
                <a:gd name="connsiteY176" fmla="*/ 142360 h 34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88187" h="340152">
                  <a:moveTo>
                    <a:pt x="61731" y="103305"/>
                  </a:moveTo>
                  <a:lnTo>
                    <a:pt x="61731" y="103305"/>
                  </a:lnTo>
                  <a:cubicBezTo>
                    <a:pt x="60472" y="100786"/>
                    <a:pt x="59212" y="99526"/>
                    <a:pt x="59212" y="97006"/>
                  </a:cubicBezTo>
                  <a:lnTo>
                    <a:pt x="59212" y="97006"/>
                  </a:lnTo>
                  <a:lnTo>
                    <a:pt x="59212" y="97006"/>
                  </a:lnTo>
                  <a:cubicBezTo>
                    <a:pt x="57952" y="95746"/>
                    <a:pt x="57952" y="93227"/>
                    <a:pt x="56692" y="91967"/>
                  </a:cubicBezTo>
                  <a:cubicBezTo>
                    <a:pt x="55432" y="90707"/>
                    <a:pt x="55432" y="89447"/>
                    <a:pt x="54172" y="86928"/>
                  </a:cubicBezTo>
                  <a:cubicBezTo>
                    <a:pt x="52913" y="85668"/>
                    <a:pt x="52913" y="83148"/>
                    <a:pt x="51653" y="81889"/>
                  </a:cubicBezTo>
                  <a:cubicBezTo>
                    <a:pt x="50393" y="79369"/>
                    <a:pt x="49133" y="78109"/>
                    <a:pt x="49133" y="75589"/>
                  </a:cubicBezTo>
                  <a:cubicBezTo>
                    <a:pt x="45354" y="69290"/>
                    <a:pt x="42834" y="62991"/>
                    <a:pt x="39054" y="56692"/>
                  </a:cubicBezTo>
                  <a:lnTo>
                    <a:pt x="36535" y="52913"/>
                  </a:lnTo>
                  <a:cubicBezTo>
                    <a:pt x="35275" y="50393"/>
                    <a:pt x="34015" y="49133"/>
                    <a:pt x="32755" y="46613"/>
                  </a:cubicBezTo>
                  <a:lnTo>
                    <a:pt x="31496" y="45354"/>
                  </a:lnTo>
                  <a:cubicBezTo>
                    <a:pt x="30236" y="42834"/>
                    <a:pt x="28976" y="41574"/>
                    <a:pt x="27716" y="39054"/>
                  </a:cubicBezTo>
                  <a:lnTo>
                    <a:pt x="26456" y="36535"/>
                  </a:lnTo>
                  <a:cubicBezTo>
                    <a:pt x="25196" y="34015"/>
                    <a:pt x="23937" y="31496"/>
                    <a:pt x="22677" y="28976"/>
                  </a:cubicBezTo>
                  <a:lnTo>
                    <a:pt x="22677" y="28976"/>
                  </a:lnTo>
                  <a:cubicBezTo>
                    <a:pt x="22677" y="27716"/>
                    <a:pt x="21417" y="27716"/>
                    <a:pt x="21417" y="26456"/>
                  </a:cubicBezTo>
                  <a:cubicBezTo>
                    <a:pt x="20157" y="25196"/>
                    <a:pt x="20157" y="23937"/>
                    <a:pt x="18897" y="22677"/>
                  </a:cubicBezTo>
                  <a:cubicBezTo>
                    <a:pt x="16378" y="16378"/>
                    <a:pt x="13858" y="11338"/>
                    <a:pt x="10079" y="3780"/>
                  </a:cubicBezTo>
                  <a:cubicBezTo>
                    <a:pt x="10079" y="2520"/>
                    <a:pt x="8819" y="1260"/>
                    <a:pt x="7559" y="1260"/>
                  </a:cubicBezTo>
                  <a:lnTo>
                    <a:pt x="7559" y="1260"/>
                  </a:lnTo>
                  <a:cubicBezTo>
                    <a:pt x="7559" y="1260"/>
                    <a:pt x="7559" y="1260"/>
                    <a:pt x="6299" y="1260"/>
                  </a:cubicBezTo>
                  <a:cubicBezTo>
                    <a:pt x="6299" y="1260"/>
                    <a:pt x="6299" y="1260"/>
                    <a:pt x="6299" y="1260"/>
                  </a:cubicBezTo>
                  <a:cubicBezTo>
                    <a:pt x="6299" y="1260"/>
                    <a:pt x="6299" y="1260"/>
                    <a:pt x="6299" y="1260"/>
                  </a:cubicBezTo>
                  <a:cubicBezTo>
                    <a:pt x="6299" y="1260"/>
                    <a:pt x="6299" y="1260"/>
                    <a:pt x="6299" y="1260"/>
                  </a:cubicBezTo>
                  <a:cubicBezTo>
                    <a:pt x="6299" y="1260"/>
                    <a:pt x="6299" y="1260"/>
                    <a:pt x="6299" y="0"/>
                  </a:cubicBezTo>
                  <a:cubicBezTo>
                    <a:pt x="6299" y="0"/>
                    <a:pt x="6299" y="0"/>
                    <a:pt x="6299" y="0"/>
                  </a:cubicBezTo>
                  <a:lnTo>
                    <a:pt x="6299" y="0"/>
                  </a:lnTo>
                  <a:cubicBezTo>
                    <a:pt x="6299" y="0"/>
                    <a:pt x="6299" y="0"/>
                    <a:pt x="6299" y="0"/>
                  </a:cubicBezTo>
                  <a:cubicBezTo>
                    <a:pt x="6299" y="0"/>
                    <a:pt x="6299" y="0"/>
                    <a:pt x="6299" y="0"/>
                  </a:cubicBezTo>
                  <a:lnTo>
                    <a:pt x="6299" y="0"/>
                  </a:lnTo>
                  <a:cubicBezTo>
                    <a:pt x="6299" y="0"/>
                    <a:pt x="6299" y="0"/>
                    <a:pt x="6299" y="0"/>
                  </a:cubicBezTo>
                  <a:cubicBezTo>
                    <a:pt x="6299" y="0"/>
                    <a:pt x="6299" y="0"/>
                    <a:pt x="5039" y="0"/>
                  </a:cubicBezTo>
                  <a:cubicBezTo>
                    <a:pt x="5039" y="0"/>
                    <a:pt x="3780" y="0"/>
                    <a:pt x="3780" y="0"/>
                  </a:cubicBezTo>
                  <a:cubicBezTo>
                    <a:pt x="2520" y="0"/>
                    <a:pt x="2520" y="1260"/>
                    <a:pt x="2520" y="2520"/>
                  </a:cubicBezTo>
                  <a:cubicBezTo>
                    <a:pt x="2520" y="2520"/>
                    <a:pt x="2520" y="2520"/>
                    <a:pt x="2520" y="3780"/>
                  </a:cubicBezTo>
                  <a:cubicBezTo>
                    <a:pt x="1260" y="5039"/>
                    <a:pt x="1260" y="6299"/>
                    <a:pt x="1260" y="7559"/>
                  </a:cubicBezTo>
                  <a:lnTo>
                    <a:pt x="1260" y="8819"/>
                  </a:lnTo>
                  <a:cubicBezTo>
                    <a:pt x="1260" y="8819"/>
                    <a:pt x="1260" y="10079"/>
                    <a:pt x="0" y="11338"/>
                  </a:cubicBezTo>
                  <a:cubicBezTo>
                    <a:pt x="0" y="11338"/>
                    <a:pt x="0" y="11338"/>
                    <a:pt x="0" y="11338"/>
                  </a:cubicBezTo>
                  <a:lnTo>
                    <a:pt x="0" y="12598"/>
                  </a:lnTo>
                  <a:cubicBezTo>
                    <a:pt x="0" y="12598"/>
                    <a:pt x="0" y="13858"/>
                    <a:pt x="0" y="13858"/>
                  </a:cubicBezTo>
                  <a:cubicBezTo>
                    <a:pt x="0" y="15118"/>
                    <a:pt x="0" y="17637"/>
                    <a:pt x="0" y="18897"/>
                  </a:cubicBezTo>
                  <a:lnTo>
                    <a:pt x="0" y="18897"/>
                  </a:lnTo>
                  <a:lnTo>
                    <a:pt x="0" y="18897"/>
                  </a:lnTo>
                  <a:cubicBezTo>
                    <a:pt x="0" y="20157"/>
                    <a:pt x="0" y="21417"/>
                    <a:pt x="0" y="22677"/>
                  </a:cubicBezTo>
                  <a:cubicBezTo>
                    <a:pt x="0" y="23937"/>
                    <a:pt x="0" y="26456"/>
                    <a:pt x="0" y="27716"/>
                  </a:cubicBezTo>
                  <a:cubicBezTo>
                    <a:pt x="0" y="31496"/>
                    <a:pt x="0" y="35275"/>
                    <a:pt x="0" y="37795"/>
                  </a:cubicBezTo>
                  <a:cubicBezTo>
                    <a:pt x="0" y="39054"/>
                    <a:pt x="0" y="40314"/>
                    <a:pt x="0" y="41574"/>
                  </a:cubicBezTo>
                  <a:lnTo>
                    <a:pt x="0" y="41574"/>
                  </a:lnTo>
                  <a:cubicBezTo>
                    <a:pt x="0" y="44094"/>
                    <a:pt x="0" y="45354"/>
                    <a:pt x="0" y="47873"/>
                  </a:cubicBezTo>
                  <a:cubicBezTo>
                    <a:pt x="0" y="49133"/>
                    <a:pt x="0" y="50393"/>
                    <a:pt x="0" y="50393"/>
                  </a:cubicBezTo>
                  <a:lnTo>
                    <a:pt x="0" y="51653"/>
                  </a:lnTo>
                  <a:cubicBezTo>
                    <a:pt x="0" y="51653"/>
                    <a:pt x="0" y="52913"/>
                    <a:pt x="0" y="52913"/>
                  </a:cubicBezTo>
                  <a:cubicBezTo>
                    <a:pt x="0" y="55432"/>
                    <a:pt x="0" y="57952"/>
                    <a:pt x="0" y="61731"/>
                  </a:cubicBezTo>
                  <a:cubicBezTo>
                    <a:pt x="0" y="64251"/>
                    <a:pt x="0" y="68030"/>
                    <a:pt x="0" y="70550"/>
                  </a:cubicBezTo>
                  <a:cubicBezTo>
                    <a:pt x="0" y="71810"/>
                    <a:pt x="0" y="73070"/>
                    <a:pt x="0" y="74330"/>
                  </a:cubicBezTo>
                  <a:cubicBezTo>
                    <a:pt x="0" y="75589"/>
                    <a:pt x="0" y="76849"/>
                    <a:pt x="0" y="78109"/>
                  </a:cubicBezTo>
                  <a:cubicBezTo>
                    <a:pt x="0" y="80629"/>
                    <a:pt x="0" y="84408"/>
                    <a:pt x="0" y="88188"/>
                  </a:cubicBezTo>
                  <a:cubicBezTo>
                    <a:pt x="0" y="89447"/>
                    <a:pt x="0" y="90707"/>
                    <a:pt x="0" y="91967"/>
                  </a:cubicBezTo>
                  <a:lnTo>
                    <a:pt x="0" y="93227"/>
                  </a:lnTo>
                  <a:lnTo>
                    <a:pt x="0" y="94487"/>
                  </a:lnTo>
                  <a:cubicBezTo>
                    <a:pt x="0" y="95746"/>
                    <a:pt x="0" y="98266"/>
                    <a:pt x="0" y="99526"/>
                  </a:cubicBezTo>
                  <a:cubicBezTo>
                    <a:pt x="0" y="100786"/>
                    <a:pt x="0" y="103305"/>
                    <a:pt x="0" y="104565"/>
                  </a:cubicBezTo>
                  <a:lnTo>
                    <a:pt x="0" y="105825"/>
                  </a:lnTo>
                  <a:cubicBezTo>
                    <a:pt x="0" y="107085"/>
                    <a:pt x="0" y="108345"/>
                    <a:pt x="0" y="109605"/>
                  </a:cubicBezTo>
                  <a:cubicBezTo>
                    <a:pt x="0" y="110864"/>
                    <a:pt x="0" y="110864"/>
                    <a:pt x="0" y="112124"/>
                  </a:cubicBezTo>
                  <a:lnTo>
                    <a:pt x="0" y="113384"/>
                  </a:lnTo>
                  <a:cubicBezTo>
                    <a:pt x="0" y="115904"/>
                    <a:pt x="0" y="117164"/>
                    <a:pt x="0" y="119683"/>
                  </a:cubicBezTo>
                  <a:lnTo>
                    <a:pt x="0" y="119683"/>
                  </a:lnTo>
                  <a:lnTo>
                    <a:pt x="0" y="120943"/>
                  </a:lnTo>
                  <a:cubicBezTo>
                    <a:pt x="0" y="123463"/>
                    <a:pt x="0" y="125982"/>
                    <a:pt x="0" y="129762"/>
                  </a:cubicBezTo>
                  <a:lnTo>
                    <a:pt x="0" y="129762"/>
                  </a:lnTo>
                  <a:cubicBezTo>
                    <a:pt x="0" y="131022"/>
                    <a:pt x="0" y="133541"/>
                    <a:pt x="0" y="134801"/>
                  </a:cubicBezTo>
                  <a:lnTo>
                    <a:pt x="0" y="136061"/>
                  </a:lnTo>
                  <a:cubicBezTo>
                    <a:pt x="0" y="137321"/>
                    <a:pt x="0" y="138581"/>
                    <a:pt x="0" y="139840"/>
                  </a:cubicBezTo>
                  <a:cubicBezTo>
                    <a:pt x="0" y="141100"/>
                    <a:pt x="0" y="142360"/>
                    <a:pt x="0" y="143620"/>
                  </a:cubicBezTo>
                  <a:cubicBezTo>
                    <a:pt x="0" y="146139"/>
                    <a:pt x="0" y="148659"/>
                    <a:pt x="0" y="151179"/>
                  </a:cubicBezTo>
                  <a:cubicBezTo>
                    <a:pt x="0" y="151179"/>
                    <a:pt x="0" y="151179"/>
                    <a:pt x="0" y="152439"/>
                  </a:cubicBezTo>
                  <a:cubicBezTo>
                    <a:pt x="0" y="153698"/>
                    <a:pt x="1260" y="153698"/>
                    <a:pt x="1260" y="154958"/>
                  </a:cubicBezTo>
                  <a:lnTo>
                    <a:pt x="1260" y="154958"/>
                  </a:lnTo>
                  <a:cubicBezTo>
                    <a:pt x="1260" y="156218"/>
                    <a:pt x="2520" y="156218"/>
                    <a:pt x="2520" y="157478"/>
                  </a:cubicBezTo>
                  <a:cubicBezTo>
                    <a:pt x="3780" y="158738"/>
                    <a:pt x="5039" y="159998"/>
                    <a:pt x="5039" y="161257"/>
                  </a:cubicBezTo>
                  <a:lnTo>
                    <a:pt x="5039" y="161257"/>
                  </a:lnTo>
                  <a:cubicBezTo>
                    <a:pt x="6299" y="162517"/>
                    <a:pt x="6299" y="163777"/>
                    <a:pt x="7559" y="163777"/>
                  </a:cubicBezTo>
                  <a:cubicBezTo>
                    <a:pt x="8819" y="165037"/>
                    <a:pt x="10079" y="166297"/>
                    <a:pt x="11338" y="167557"/>
                  </a:cubicBezTo>
                  <a:cubicBezTo>
                    <a:pt x="11338" y="167557"/>
                    <a:pt x="12598" y="168816"/>
                    <a:pt x="12598" y="168816"/>
                  </a:cubicBezTo>
                  <a:lnTo>
                    <a:pt x="12598" y="168816"/>
                  </a:lnTo>
                  <a:cubicBezTo>
                    <a:pt x="15118" y="171336"/>
                    <a:pt x="17637" y="175115"/>
                    <a:pt x="20157" y="178895"/>
                  </a:cubicBezTo>
                  <a:cubicBezTo>
                    <a:pt x="21417" y="180155"/>
                    <a:pt x="21417" y="181414"/>
                    <a:pt x="22677" y="182674"/>
                  </a:cubicBezTo>
                  <a:cubicBezTo>
                    <a:pt x="26456" y="187714"/>
                    <a:pt x="28976" y="191493"/>
                    <a:pt x="31496" y="196532"/>
                  </a:cubicBezTo>
                  <a:cubicBezTo>
                    <a:pt x="32755" y="197792"/>
                    <a:pt x="32755" y="199052"/>
                    <a:pt x="34015" y="201572"/>
                  </a:cubicBezTo>
                  <a:cubicBezTo>
                    <a:pt x="35275" y="202831"/>
                    <a:pt x="35275" y="204091"/>
                    <a:pt x="36535" y="205351"/>
                  </a:cubicBezTo>
                  <a:lnTo>
                    <a:pt x="36535" y="206611"/>
                  </a:lnTo>
                  <a:lnTo>
                    <a:pt x="37795" y="207871"/>
                  </a:lnTo>
                  <a:lnTo>
                    <a:pt x="37795" y="207871"/>
                  </a:lnTo>
                  <a:lnTo>
                    <a:pt x="37795" y="207871"/>
                  </a:lnTo>
                  <a:cubicBezTo>
                    <a:pt x="39054" y="209131"/>
                    <a:pt x="40314" y="211650"/>
                    <a:pt x="41574" y="212910"/>
                  </a:cubicBezTo>
                  <a:cubicBezTo>
                    <a:pt x="44094" y="216690"/>
                    <a:pt x="45354" y="220469"/>
                    <a:pt x="47873" y="225508"/>
                  </a:cubicBezTo>
                  <a:lnTo>
                    <a:pt x="47873" y="225508"/>
                  </a:lnTo>
                  <a:lnTo>
                    <a:pt x="47873" y="225508"/>
                  </a:lnTo>
                  <a:lnTo>
                    <a:pt x="47873" y="225508"/>
                  </a:lnTo>
                  <a:cubicBezTo>
                    <a:pt x="49133" y="226768"/>
                    <a:pt x="49133" y="226768"/>
                    <a:pt x="50393" y="228028"/>
                  </a:cubicBezTo>
                  <a:lnTo>
                    <a:pt x="50393" y="228028"/>
                  </a:lnTo>
                  <a:lnTo>
                    <a:pt x="50393" y="228028"/>
                  </a:lnTo>
                  <a:cubicBezTo>
                    <a:pt x="50393" y="228028"/>
                    <a:pt x="51653" y="229288"/>
                    <a:pt x="51653" y="229288"/>
                  </a:cubicBezTo>
                  <a:cubicBezTo>
                    <a:pt x="52913" y="230548"/>
                    <a:pt x="54172" y="231807"/>
                    <a:pt x="55432" y="234327"/>
                  </a:cubicBezTo>
                  <a:cubicBezTo>
                    <a:pt x="55432" y="235587"/>
                    <a:pt x="56692" y="235587"/>
                    <a:pt x="56692" y="236847"/>
                  </a:cubicBezTo>
                  <a:cubicBezTo>
                    <a:pt x="57952" y="238107"/>
                    <a:pt x="59212" y="240626"/>
                    <a:pt x="60472" y="243146"/>
                  </a:cubicBezTo>
                  <a:cubicBezTo>
                    <a:pt x="60472" y="243146"/>
                    <a:pt x="60472" y="243146"/>
                    <a:pt x="60472" y="243146"/>
                  </a:cubicBezTo>
                  <a:cubicBezTo>
                    <a:pt x="61731" y="245666"/>
                    <a:pt x="62991" y="248185"/>
                    <a:pt x="64251" y="250705"/>
                  </a:cubicBezTo>
                  <a:lnTo>
                    <a:pt x="65511" y="251965"/>
                  </a:lnTo>
                  <a:lnTo>
                    <a:pt x="66771" y="254484"/>
                  </a:lnTo>
                  <a:lnTo>
                    <a:pt x="66771" y="254484"/>
                  </a:lnTo>
                  <a:lnTo>
                    <a:pt x="66771" y="255744"/>
                  </a:lnTo>
                  <a:cubicBezTo>
                    <a:pt x="68030" y="258264"/>
                    <a:pt x="69290" y="260783"/>
                    <a:pt x="70550" y="263303"/>
                  </a:cubicBezTo>
                  <a:cubicBezTo>
                    <a:pt x="71810" y="265823"/>
                    <a:pt x="73070" y="268342"/>
                    <a:pt x="74329" y="270862"/>
                  </a:cubicBezTo>
                  <a:cubicBezTo>
                    <a:pt x="75589" y="273382"/>
                    <a:pt x="76849" y="274642"/>
                    <a:pt x="78109" y="277161"/>
                  </a:cubicBezTo>
                  <a:cubicBezTo>
                    <a:pt x="80629" y="280941"/>
                    <a:pt x="81889" y="285980"/>
                    <a:pt x="84408" y="289759"/>
                  </a:cubicBezTo>
                  <a:lnTo>
                    <a:pt x="84408" y="291019"/>
                  </a:lnTo>
                  <a:cubicBezTo>
                    <a:pt x="84408" y="292279"/>
                    <a:pt x="85668" y="292279"/>
                    <a:pt x="85668" y="293539"/>
                  </a:cubicBezTo>
                  <a:cubicBezTo>
                    <a:pt x="85668" y="293539"/>
                    <a:pt x="85668" y="294799"/>
                    <a:pt x="85668" y="294799"/>
                  </a:cubicBezTo>
                  <a:cubicBezTo>
                    <a:pt x="88188" y="301098"/>
                    <a:pt x="90707" y="307397"/>
                    <a:pt x="93227" y="313696"/>
                  </a:cubicBezTo>
                  <a:cubicBezTo>
                    <a:pt x="93227" y="314956"/>
                    <a:pt x="94487" y="316216"/>
                    <a:pt x="94487" y="317475"/>
                  </a:cubicBezTo>
                  <a:cubicBezTo>
                    <a:pt x="94487" y="317475"/>
                    <a:pt x="94487" y="317475"/>
                    <a:pt x="94487" y="318735"/>
                  </a:cubicBezTo>
                  <a:cubicBezTo>
                    <a:pt x="94487" y="319995"/>
                    <a:pt x="95746" y="321255"/>
                    <a:pt x="95746" y="323775"/>
                  </a:cubicBezTo>
                  <a:lnTo>
                    <a:pt x="95746" y="323775"/>
                  </a:lnTo>
                  <a:lnTo>
                    <a:pt x="95746" y="323775"/>
                  </a:lnTo>
                  <a:cubicBezTo>
                    <a:pt x="95746" y="325034"/>
                    <a:pt x="95746" y="325034"/>
                    <a:pt x="95746" y="326294"/>
                  </a:cubicBezTo>
                  <a:cubicBezTo>
                    <a:pt x="95746" y="327554"/>
                    <a:pt x="95746" y="330074"/>
                    <a:pt x="97006" y="331334"/>
                  </a:cubicBezTo>
                  <a:cubicBezTo>
                    <a:pt x="97006" y="332593"/>
                    <a:pt x="97006" y="333853"/>
                    <a:pt x="97006" y="333853"/>
                  </a:cubicBezTo>
                  <a:cubicBezTo>
                    <a:pt x="97006" y="333853"/>
                    <a:pt x="97006" y="333853"/>
                    <a:pt x="97006" y="333853"/>
                  </a:cubicBezTo>
                  <a:cubicBezTo>
                    <a:pt x="97006" y="335113"/>
                    <a:pt x="97006" y="335113"/>
                    <a:pt x="97006" y="336373"/>
                  </a:cubicBezTo>
                  <a:cubicBezTo>
                    <a:pt x="97006" y="337633"/>
                    <a:pt x="97006" y="338892"/>
                    <a:pt x="97006" y="338892"/>
                  </a:cubicBezTo>
                  <a:cubicBezTo>
                    <a:pt x="97006" y="340152"/>
                    <a:pt x="97006" y="340152"/>
                    <a:pt x="97006" y="341412"/>
                  </a:cubicBezTo>
                  <a:lnTo>
                    <a:pt x="97006" y="342672"/>
                  </a:lnTo>
                  <a:lnTo>
                    <a:pt x="97006" y="342672"/>
                  </a:lnTo>
                  <a:cubicBezTo>
                    <a:pt x="97006" y="342672"/>
                    <a:pt x="97006" y="343932"/>
                    <a:pt x="97006" y="343932"/>
                  </a:cubicBezTo>
                  <a:lnTo>
                    <a:pt x="97006" y="343932"/>
                  </a:lnTo>
                  <a:lnTo>
                    <a:pt x="97006" y="343932"/>
                  </a:lnTo>
                  <a:cubicBezTo>
                    <a:pt x="97006" y="343932"/>
                    <a:pt x="97006" y="343932"/>
                    <a:pt x="97006" y="343932"/>
                  </a:cubicBezTo>
                  <a:cubicBezTo>
                    <a:pt x="97006" y="343932"/>
                    <a:pt x="97006" y="343932"/>
                    <a:pt x="97006" y="343932"/>
                  </a:cubicBezTo>
                  <a:cubicBezTo>
                    <a:pt x="97006" y="343932"/>
                    <a:pt x="97006" y="343932"/>
                    <a:pt x="97006" y="343932"/>
                  </a:cubicBezTo>
                  <a:cubicBezTo>
                    <a:pt x="97006" y="343932"/>
                    <a:pt x="97006" y="343932"/>
                    <a:pt x="97006" y="342672"/>
                  </a:cubicBezTo>
                  <a:cubicBezTo>
                    <a:pt x="97006" y="338892"/>
                    <a:pt x="98266" y="336373"/>
                    <a:pt x="98266" y="332593"/>
                  </a:cubicBezTo>
                  <a:cubicBezTo>
                    <a:pt x="98266" y="332593"/>
                    <a:pt x="98266" y="332593"/>
                    <a:pt x="98266" y="332593"/>
                  </a:cubicBezTo>
                  <a:cubicBezTo>
                    <a:pt x="98266" y="332593"/>
                    <a:pt x="98266" y="331334"/>
                    <a:pt x="98266" y="331334"/>
                  </a:cubicBezTo>
                  <a:cubicBezTo>
                    <a:pt x="98266" y="331334"/>
                    <a:pt x="98266" y="331334"/>
                    <a:pt x="98266" y="330074"/>
                  </a:cubicBezTo>
                  <a:cubicBezTo>
                    <a:pt x="98266" y="327554"/>
                    <a:pt x="98266" y="323775"/>
                    <a:pt x="98266" y="321255"/>
                  </a:cubicBezTo>
                  <a:cubicBezTo>
                    <a:pt x="98266" y="321255"/>
                    <a:pt x="98266" y="321255"/>
                    <a:pt x="98266" y="321255"/>
                  </a:cubicBezTo>
                  <a:cubicBezTo>
                    <a:pt x="98266" y="317475"/>
                    <a:pt x="98266" y="313696"/>
                    <a:pt x="98266" y="309916"/>
                  </a:cubicBezTo>
                  <a:cubicBezTo>
                    <a:pt x="98266" y="308657"/>
                    <a:pt x="98266" y="307397"/>
                    <a:pt x="98266" y="307397"/>
                  </a:cubicBezTo>
                  <a:cubicBezTo>
                    <a:pt x="98266" y="306137"/>
                    <a:pt x="98266" y="304877"/>
                    <a:pt x="98266" y="303617"/>
                  </a:cubicBezTo>
                  <a:cubicBezTo>
                    <a:pt x="98266" y="298578"/>
                    <a:pt x="98266" y="294799"/>
                    <a:pt x="98266" y="289759"/>
                  </a:cubicBezTo>
                  <a:cubicBezTo>
                    <a:pt x="98266" y="287240"/>
                    <a:pt x="98266" y="284720"/>
                    <a:pt x="98266" y="280941"/>
                  </a:cubicBezTo>
                  <a:cubicBezTo>
                    <a:pt x="98266" y="278421"/>
                    <a:pt x="98266" y="274642"/>
                    <a:pt x="98266" y="272122"/>
                  </a:cubicBezTo>
                  <a:cubicBezTo>
                    <a:pt x="98266" y="270862"/>
                    <a:pt x="98266" y="269602"/>
                    <a:pt x="98266" y="268342"/>
                  </a:cubicBezTo>
                  <a:cubicBezTo>
                    <a:pt x="98266" y="262043"/>
                    <a:pt x="97006" y="254484"/>
                    <a:pt x="97006" y="248185"/>
                  </a:cubicBezTo>
                  <a:cubicBezTo>
                    <a:pt x="97006" y="241886"/>
                    <a:pt x="95746" y="234327"/>
                    <a:pt x="95746" y="226768"/>
                  </a:cubicBezTo>
                  <a:cubicBezTo>
                    <a:pt x="95746" y="224249"/>
                    <a:pt x="95746" y="221729"/>
                    <a:pt x="95746" y="219209"/>
                  </a:cubicBezTo>
                  <a:cubicBezTo>
                    <a:pt x="95746" y="216690"/>
                    <a:pt x="94487" y="212910"/>
                    <a:pt x="94487" y="210390"/>
                  </a:cubicBezTo>
                  <a:cubicBezTo>
                    <a:pt x="93227" y="204091"/>
                    <a:pt x="93227" y="196532"/>
                    <a:pt x="91967" y="190233"/>
                  </a:cubicBezTo>
                  <a:cubicBezTo>
                    <a:pt x="90707" y="182674"/>
                    <a:pt x="90707" y="176375"/>
                    <a:pt x="89447" y="168816"/>
                  </a:cubicBezTo>
                  <a:cubicBezTo>
                    <a:pt x="89447" y="163777"/>
                    <a:pt x="88188" y="157478"/>
                    <a:pt x="88188" y="152439"/>
                  </a:cubicBezTo>
                  <a:cubicBezTo>
                    <a:pt x="86928" y="151179"/>
                    <a:pt x="86928" y="148659"/>
                    <a:pt x="85668" y="147399"/>
                  </a:cubicBezTo>
                  <a:lnTo>
                    <a:pt x="84408" y="144880"/>
                  </a:lnTo>
                  <a:cubicBezTo>
                    <a:pt x="83148" y="141100"/>
                    <a:pt x="81889" y="138581"/>
                    <a:pt x="80629" y="134801"/>
                  </a:cubicBezTo>
                  <a:lnTo>
                    <a:pt x="80629" y="133541"/>
                  </a:lnTo>
                  <a:cubicBezTo>
                    <a:pt x="79369" y="129762"/>
                    <a:pt x="78109" y="127242"/>
                    <a:pt x="76849" y="123463"/>
                  </a:cubicBezTo>
                  <a:cubicBezTo>
                    <a:pt x="75589" y="119683"/>
                    <a:pt x="73070" y="115904"/>
                    <a:pt x="71810" y="112124"/>
                  </a:cubicBezTo>
                  <a:cubicBezTo>
                    <a:pt x="64251" y="108345"/>
                    <a:pt x="62991" y="105825"/>
                    <a:pt x="61731" y="103305"/>
                  </a:cubicBezTo>
                  <a:cubicBezTo>
                    <a:pt x="61731" y="103305"/>
                    <a:pt x="61731" y="103305"/>
                    <a:pt x="61731" y="103305"/>
                  </a:cubicBezTo>
                  <a:lnTo>
                    <a:pt x="61731" y="103305"/>
                  </a:lnTo>
                  <a:close/>
                  <a:moveTo>
                    <a:pt x="7559" y="142360"/>
                  </a:moveTo>
                  <a:cubicBezTo>
                    <a:pt x="7559" y="142360"/>
                    <a:pt x="7559" y="142360"/>
                    <a:pt x="7559" y="142360"/>
                  </a:cubicBezTo>
                  <a:cubicBezTo>
                    <a:pt x="7559" y="142360"/>
                    <a:pt x="7559" y="142360"/>
                    <a:pt x="7559" y="142360"/>
                  </a:cubicBezTo>
                  <a:close/>
                </a:path>
              </a:pathLst>
            </a:custGeom>
            <a:solidFill>
              <a:srgbClr val="00CFF0"/>
            </a:solidFill>
            <a:ln w="12584" cap="flat">
              <a:noFill/>
              <a:prstDash val="solid"/>
              <a:miter/>
            </a:ln>
          </p:spPr>
          <p:txBody>
            <a:bodyPr rtlCol="0" anchor="ctr"/>
            <a:lstStyle/>
            <a:p>
              <a:endParaRPr lang="zh-CN" altLang="en-US"/>
            </a:p>
          </p:txBody>
        </p:sp>
        <p:sp>
          <p:nvSpPr>
            <p:cNvPr id="131" name="任意多边形: 形状 130"/>
            <p:cNvSpPr/>
            <p:nvPr/>
          </p:nvSpPr>
          <p:spPr>
            <a:xfrm>
              <a:off x="8672157" y="4242339"/>
              <a:ext cx="8580" cy="8580"/>
            </a:xfrm>
            <a:custGeom>
              <a:avLst/>
              <a:gdLst>
                <a:gd name="connsiteX0" fmla="*/ 1260 w 0"/>
                <a:gd name="connsiteY0" fmla="*/ 2520 h 0"/>
                <a:gd name="connsiteX1" fmla="*/ 1260 w 0"/>
                <a:gd name="connsiteY1" fmla="*/ 2520 h 0"/>
                <a:gd name="connsiteX2" fmla="*/ 0 w 0"/>
                <a:gd name="connsiteY2" fmla="*/ 6299 h 0"/>
                <a:gd name="connsiteX3" fmla="*/ 0 w 0"/>
                <a:gd name="connsiteY3" fmla="*/ 6299 h 0"/>
                <a:gd name="connsiteX4" fmla="*/ 1260 w 0"/>
                <a:gd name="connsiteY4" fmla="*/ 5039 h 0"/>
                <a:gd name="connsiteX5" fmla="*/ 1260 w 0"/>
                <a:gd name="connsiteY5" fmla="*/ 2520 h 0"/>
                <a:gd name="connsiteX6" fmla="*/ 1260 w 0"/>
                <a:gd name="connsiteY6" fmla="*/ 2520 h 0"/>
                <a:gd name="connsiteX7" fmla="*/ 1260 w 0"/>
                <a:gd name="connsiteY7" fmla="*/ 2520 h 0"/>
                <a:gd name="connsiteX8" fmla="*/ 2520 w 0"/>
                <a:gd name="connsiteY8" fmla="*/ 0 h 0"/>
                <a:gd name="connsiteX9" fmla="*/ 2520 w 0"/>
                <a:gd name="connsiteY9" fmla="*/ 0 h 0"/>
                <a:gd name="connsiteX10" fmla="*/ 2520 w 0"/>
                <a:gd name="connsiteY10" fmla="*/ 0 h 0"/>
                <a:gd name="connsiteX11" fmla="*/ 2520 w 0"/>
                <a:gd name="connsiteY11" fmla="*/ 0 h 0"/>
                <a:gd name="connsiteX12" fmla="*/ 2520 w 0"/>
                <a:gd name="connsiteY12" fmla="*/ 0 h 0"/>
                <a:gd name="connsiteX13" fmla="*/ 2520 w 0"/>
                <a:gd name="connsiteY13" fmla="*/ 0 h 0"/>
                <a:gd name="connsiteX14" fmla="*/ 1260 w 0"/>
                <a:gd name="connsiteY14" fmla="*/ 2520 h 0"/>
                <a:gd name="connsiteX15" fmla="*/ 1260 w 0"/>
                <a:gd name="connsiteY15" fmla="*/ 252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a:moveTo>
                    <a:pt x="1260" y="2520"/>
                  </a:moveTo>
                  <a:cubicBezTo>
                    <a:pt x="1260" y="2520"/>
                    <a:pt x="1260" y="3780"/>
                    <a:pt x="1260" y="2520"/>
                  </a:cubicBezTo>
                  <a:cubicBezTo>
                    <a:pt x="0" y="3780"/>
                    <a:pt x="0" y="5039"/>
                    <a:pt x="0" y="6299"/>
                  </a:cubicBezTo>
                  <a:cubicBezTo>
                    <a:pt x="0" y="6299"/>
                    <a:pt x="0" y="6299"/>
                    <a:pt x="0" y="6299"/>
                  </a:cubicBezTo>
                  <a:cubicBezTo>
                    <a:pt x="0" y="6299"/>
                    <a:pt x="1260" y="5039"/>
                    <a:pt x="1260" y="5039"/>
                  </a:cubicBezTo>
                  <a:cubicBezTo>
                    <a:pt x="1260" y="3780"/>
                    <a:pt x="1260" y="3780"/>
                    <a:pt x="1260" y="2520"/>
                  </a:cubicBezTo>
                  <a:lnTo>
                    <a:pt x="1260" y="2520"/>
                  </a:lnTo>
                  <a:cubicBezTo>
                    <a:pt x="1260" y="3780"/>
                    <a:pt x="2520" y="3780"/>
                    <a:pt x="1260" y="2520"/>
                  </a:cubicBezTo>
                  <a:cubicBezTo>
                    <a:pt x="2520" y="2520"/>
                    <a:pt x="2520" y="1260"/>
                    <a:pt x="2520" y="0"/>
                  </a:cubicBezTo>
                  <a:cubicBezTo>
                    <a:pt x="2520" y="0"/>
                    <a:pt x="2520" y="0"/>
                    <a:pt x="2520" y="0"/>
                  </a:cubicBezTo>
                  <a:cubicBezTo>
                    <a:pt x="2520" y="0"/>
                    <a:pt x="2520" y="0"/>
                    <a:pt x="2520" y="0"/>
                  </a:cubicBezTo>
                  <a:lnTo>
                    <a:pt x="2520" y="0"/>
                  </a:lnTo>
                  <a:lnTo>
                    <a:pt x="2520" y="0"/>
                  </a:lnTo>
                  <a:cubicBezTo>
                    <a:pt x="2520" y="0"/>
                    <a:pt x="2520" y="0"/>
                    <a:pt x="2520" y="0"/>
                  </a:cubicBezTo>
                  <a:cubicBezTo>
                    <a:pt x="2520" y="0"/>
                    <a:pt x="2520" y="1260"/>
                    <a:pt x="1260" y="2520"/>
                  </a:cubicBezTo>
                  <a:lnTo>
                    <a:pt x="1260" y="2520"/>
                  </a:lnTo>
                  <a:close/>
                </a:path>
              </a:pathLst>
            </a:custGeom>
            <a:solidFill>
              <a:srgbClr val="00CFF0"/>
            </a:solidFill>
            <a:ln w="12584" cap="flat">
              <a:noFill/>
              <a:prstDash val="solid"/>
              <a:miter/>
            </a:ln>
          </p:spPr>
          <p:txBody>
            <a:bodyPr rtlCol="0" anchor="ctr"/>
            <a:lstStyle/>
            <a:p>
              <a:endParaRPr lang="zh-CN" altLang="en-US"/>
            </a:p>
          </p:txBody>
        </p:sp>
        <p:sp>
          <p:nvSpPr>
            <p:cNvPr id="132" name="任意多边形: 形状 131"/>
            <p:cNvSpPr/>
            <p:nvPr/>
          </p:nvSpPr>
          <p:spPr>
            <a:xfrm>
              <a:off x="8352110" y="3471824"/>
              <a:ext cx="300312" cy="248830"/>
            </a:xfrm>
            <a:custGeom>
              <a:avLst/>
              <a:gdLst>
                <a:gd name="connsiteX0" fmla="*/ 449757 w 440938"/>
                <a:gd name="connsiteY0" fmla="*/ 84408 h 365348"/>
                <a:gd name="connsiteX1" fmla="*/ 447237 w 440938"/>
                <a:gd name="connsiteY1" fmla="*/ 73070 h 365348"/>
                <a:gd name="connsiteX2" fmla="*/ 442198 w 440938"/>
                <a:gd name="connsiteY2" fmla="*/ 62991 h 365348"/>
                <a:gd name="connsiteX3" fmla="*/ 442198 w 440938"/>
                <a:gd name="connsiteY3" fmla="*/ 61731 h 365348"/>
                <a:gd name="connsiteX4" fmla="*/ 437159 w 440938"/>
                <a:gd name="connsiteY4" fmla="*/ 52913 h 365348"/>
                <a:gd name="connsiteX5" fmla="*/ 430860 w 440938"/>
                <a:gd name="connsiteY5" fmla="*/ 42834 h 365348"/>
                <a:gd name="connsiteX6" fmla="*/ 415742 w 440938"/>
                <a:gd name="connsiteY6" fmla="*/ 26456 h 365348"/>
                <a:gd name="connsiteX7" fmla="*/ 395584 w 440938"/>
                <a:gd name="connsiteY7" fmla="*/ 12598 h 365348"/>
                <a:gd name="connsiteX8" fmla="*/ 385506 w 440938"/>
                <a:gd name="connsiteY8" fmla="*/ 7559 h 365348"/>
                <a:gd name="connsiteX9" fmla="*/ 380467 w 440938"/>
                <a:gd name="connsiteY9" fmla="*/ 5039 h 365348"/>
                <a:gd name="connsiteX10" fmla="*/ 372908 w 440938"/>
                <a:gd name="connsiteY10" fmla="*/ 2520 h 365348"/>
                <a:gd name="connsiteX11" fmla="*/ 360309 w 440938"/>
                <a:gd name="connsiteY11" fmla="*/ 0 h 365348"/>
                <a:gd name="connsiteX12" fmla="*/ 345192 w 440938"/>
                <a:gd name="connsiteY12" fmla="*/ 0 h 365348"/>
                <a:gd name="connsiteX13" fmla="*/ 343932 w 440938"/>
                <a:gd name="connsiteY13" fmla="*/ 0 h 365348"/>
                <a:gd name="connsiteX14" fmla="*/ 340152 w 440938"/>
                <a:gd name="connsiteY14" fmla="*/ 0 h 365348"/>
                <a:gd name="connsiteX15" fmla="*/ 332593 w 440938"/>
                <a:gd name="connsiteY15" fmla="*/ 1260 h 365348"/>
                <a:gd name="connsiteX16" fmla="*/ 322515 w 440938"/>
                <a:gd name="connsiteY16" fmla="*/ 3779 h 365348"/>
                <a:gd name="connsiteX17" fmla="*/ 312436 w 440938"/>
                <a:gd name="connsiteY17" fmla="*/ 6299 h 365348"/>
                <a:gd name="connsiteX18" fmla="*/ 309916 w 440938"/>
                <a:gd name="connsiteY18" fmla="*/ 7559 h 365348"/>
                <a:gd name="connsiteX19" fmla="*/ 302358 w 440938"/>
                <a:gd name="connsiteY19" fmla="*/ 8819 h 365348"/>
                <a:gd name="connsiteX20" fmla="*/ 282200 w 440938"/>
                <a:gd name="connsiteY20" fmla="*/ 17637 h 365348"/>
                <a:gd name="connsiteX21" fmla="*/ 273382 w 440938"/>
                <a:gd name="connsiteY21" fmla="*/ 23937 h 365348"/>
                <a:gd name="connsiteX22" fmla="*/ 272122 w 440938"/>
                <a:gd name="connsiteY22" fmla="*/ 25196 h 365348"/>
                <a:gd name="connsiteX23" fmla="*/ 269602 w 440938"/>
                <a:gd name="connsiteY23" fmla="*/ 22677 h 365348"/>
                <a:gd name="connsiteX24" fmla="*/ 259523 w 440938"/>
                <a:gd name="connsiteY24" fmla="*/ 16378 h 365348"/>
                <a:gd name="connsiteX25" fmla="*/ 236847 w 440938"/>
                <a:gd name="connsiteY25" fmla="*/ 11338 h 365348"/>
                <a:gd name="connsiteX26" fmla="*/ 210390 w 440938"/>
                <a:gd name="connsiteY26" fmla="*/ 8819 h 365348"/>
                <a:gd name="connsiteX27" fmla="*/ 186454 w 440938"/>
                <a:gd name="connsiteY27" fmla="*/ 8819 h 365348"/>
                <a:gd name="connsiteX28" fmla="*/ 185194 w 440938"/>
                <a:gd name="connsiteY28" fmla="*/ 8819 h 365348"/>
                <a:gd name="connsiteX29" fmla="*/ 167557 w 440938"/>
                <a:gd name="connsiteY29" fmla="*/ 8819 h 365348"/>
                <a:gd name="connsiteX30" fmla="*/ 162517 w 440938"/>
                <a:gd name="connsiteY30" fmla="*/ 8819 h 365348"/>
                <a:gd name="connsiteX31" fmla="*/ 138581 w 440938"/>
                <a:gd name="connsiteY31" fmla="*/ 15118 h 365348"/>
                <a:gd name="connsiteX32" fmla="*/ 128502 w 440938"/>
                <a:gd name="connsiteY32" fmla="*/ 20157 h 365348"/>
                <a:gd name="connsiteX33" fmla="*/ 119683 w 440938"/>
                <a:gd name="connsiteY33" fmla="*/ 25196 h 365348"/>
                <a:gd name="connsiteX34" fmla="*/ 118423 w 440938"/>
                <a:gd name="connsiteY34" fmla="*/ 26456 h 365348"/>
                <a:gd name="connsiteX35" fmla="*/ 113384 w 440938"/>
                <a:gd name="connsiteY35" fmla="*/ 28976 h 365348"/>
                <a:gd name="connsiteX36" fmla="*/ 108345 w 440938"/>
                <a:gd name="connsiteY36" fmla="*/ 31496 h 365348"/>
                <a:gd name="connsiteX37" fmla="*/ 98266 w 440938"/>
                <a:gd name="connsiteY37" fmla="*/ 36535 h 365348"/>
                <a:gd name="connsiteX38" fmla="*/ 93227 w 440938"/>
                <a:gd name="connsiteY38" fmla="*/ 39054 h 365348"/>
                <a:gd name="connsiteX39" fmla="*/ 86928 w 440938"/>
                <a:gd name="connsiteY39" fmla="*/ 42834 h 365348"/>
                <a:gd name="connsiteX40" fmla="*/ 78109 w 440938"/>
                <a:gd name="connsiteY40" fmla="*/ 49133 h 365348"/>
                <a:gd name="connsiteX41" fmla="*/ 61731 w 440938"/>
                <a:gd name="connsiteY41" fmla="*/ 64251 h 365348"/>
                <a:gd name="connsiteX42" fmla="*/ 46613 w 440938"/>
                <a:gd name="connsiteY42" fmla="*/ 81889 h 365348"/>
                <a:gd name="connsiteX43" fmla="*/ 44094 w 440938"/>
                <a:gd name="connsiteY43" fmla="*/ 84408 h 365348"/>
                <a:gd name="connsiteX44" fmla="*/ 42834 w 440938"/>
                <a:gd name="connsiteY44" fmla="*/ 85668 h 365348"/>
                <a:gd name="connsiteX45" fmla="*/ 39054 w 440938"/>
                <a:gd name="connsiteY45" fmla="*/ 90707 h 365348"/>
                <a:gd name="connsiteX46" fmla="*/ 34015 w 440938"/>
                <a:gd name="connsiteY46" fmla="*/ 98266 h 365348"/>
                <a:gd name="connsiteX47" fmla="*/ 32755 w 440938"/>
                <a:gd name="connsiteY47" fmla="*/ 100786 h 365348"/>
                <a:gd name="connsiteX48" fmla="*/ 32755 w 440938"/>
                <a:gd name="connsiteY48" fmla="*/ 100786 h 365348"/>
                <a:gd name="connsiteX49" fmla="*/ 31496 w 440938"/>
                <a:gd name="connsiteY49" fmla="*/ 102046 h 365348"/>
                <a:gd name="connsiteX50" fmla="*/ 30236 w 440938"/>
                <a:gd name="connsiteY50" fmla="*/ 104565 h 365348"/>
                <a:gd name="connsiteX51" fmla="*/ 25196 w 440938"/>
                <a:gd name="connsiteY51" fmla="*/ 113384 h 365348"/>
                <a:gd name="connsiteX52" fmla="*/ 21417 w 440938"/>
                <a:gd name="connsiteY52" fmla="*/ 123463 h 365348"/>
                <a:gd name="connsiteX53" fmla="*/ 18897 w 440938"/>
                <a:gd name="connsiteY53" fmla="*/ 129762 h 365348"/>
                <a:gd name="connsiteX54" fmla="*/ 17637 w 440938"/>
                <a:gd name="connsiteY54" fmla="*/ 132281 h 365348"/>
                <a:gd name="connsiteX55" fmla="*/ 16378 w 440938"/>
                <a:gd name="connsiteY55" fmla="*/ 134801 h 365348"/>
                <a:gd name="connsiteX56" fmla="*/ 12598 w 440938"/>
                <a:gd name="connsiteY56" fmla="*/ 144880 h 365348"/>
                <a:gd name="connsiteX57" fmla="*/ 11338 w 440938"/>
                <a:gd name="connsiteY57" fmla="*/ 152439 h 365348"/>
                <a:gd name="connsiteX58" fmla="*/ 11338 w 440938"/>
                <a:gd name="connsiteY58" fmla="*/ 152439 h 365348"/>
                <a:gd name="connsiteX59" fmla="*/ 11338 w 440938"/>
                <a:gd name="connsiteY59" fmla="*/ 154958 h 365348"/>
                <a:gd name="connsiteX60" fmla="*/ 8819 w 440938"/>
                <a:gd name="connsiteY60" fmla="*/ 165037 h 365348"/>
                <a:gd name="connsiteX61" fmla="*/ 8819 w 440938"/>
                <a:gd name="connsiteY61" fmla="*/ 168816 h 365348"/>
                <a:gd name="connsiteX62" fmla="*/ 8819 w 440938"/>
                <a:gd name="connsiteY62" fmla="*/ 168816 h 365348"/>
                <a:gd name="connsiteX63" fmla="*/ 7559 w 440938"/>
                <a:gd name="connsiteY63" fmla="*/ 172596 h 365348"/>
                <a:gd name="connsiteX64" fmla="*/ 3780 w 440938"/>
                <a:gd name="connsiteY64" fmla="*/ 188974 h 365348"/>
                <a:gd name="connsiteX65" fmla="*/ 2520 w 440938"/>
                <a:gd name="connsiteY65" fmla="*/ 201572 h 365348"/>
                <a:gd name="connsiteX66" fmla="*/ 2520 w 440938"/>
                <a:gd name="connsiteY66" fmla="*/ 201572 h 365348"/>
                <a:gd name="connsiteX67" fmla="*/ 2520 w 440938"/>
                <a:gd name="connsiteY67" fmla="*/ 202831 h 365348"/>
                <a:gd name="connsiteX68" fmla="*/ 1260 w 440938"/>
                <a:gd name="connsiteY68" fmla="*/ 211650 h 365348"/>
                <a:gd name="connsiteX69" fmla="*/ 0 w 440938"/>
                <a:gd name="connsiteY69" fmla="*/ 233067 h 365348"/>
                <a:gd name="connsiteX70" fmla="*/ 0 w 440938"/>
                <a:gd name="connsiteY70" fmla="*/ 244406 h 365348"/>
                <a:gd name="connsiteX71" fmla="*/ 1260 w 440938"/>
                <a:gd name="connsiteY71" fmla="*/ 254484 h 365348"/>
                <a:gd name="connsiteX72" fmla="*/ 1260 w 440938"/>
                <a:gd name="connsiteY72" fmla="*/ 255744 h 365348"/>
                <a:gd name="connsiteX73" fmla="*/ 3780 w 440938"/>
                <a:gd name="connsiteY73" fmla="*/ 267083 h 365348"/>
                <a:gd name="connsiteX74" fmla="*/ 3780 w 440938"/>
                <a:gd name="connsiteY74" fmla="*/ 268342 h 365348"/>
                <a:gd name="connsiteX75" fmla="*/ 6299 w 440938"/>
                <a:gd name="connsiteY75" fmla="*/ 277161 h 365348"/>
                <a:gd name="connsiteX76" fmla="*/ 10079 w 440938"/>
                <a:gd name="connsiteY76" fmla="*/ 287240 h 365348"/>
                <a:gd name="connsiteX77" fmla="*/ 13858 w 440938"/>
                <a:gd name="connsiteY77" fmla="*/ 296058 h 365348"/>
                <a:gd name="connsiteX78" fmla="*/ 13858 w 440938"/>
                <a:gd name="connsiteY78" fmla="*/ 297318 h 365348"/>
                <a:gd name="connsiteX79" fmla="*/ 23937 w 440938"/>
                <a:gd name="connsiteY79" fmla="*/ 316216 h 365348"/>
                <a:gd name="connsiteX80" fmla="*/ 25196 w 440938"/>
                <a:gd name="connsiteY80" fmla="*/ 317475 h 365348"/>
                <a:gd name="connsiteX81" fmla="*/ 36535 w 440938"/>
                <a:gd name="connsiteY81" fmla="*/ 335113 h 365348"/>
                <a:gd name="connsiteX82" fmla="*/ 50393 w 440938"/>
                <a:gd name="connsiteY82" fmla="*/ 352751 h 365348"/>
                <a:gd name="connsiteX83" fmla="*/ 59212 w 440938"/>
                <a:gd name="connsiteY83" fmla="*/ 361569 h 365348"/>
                <a:gd name="connsiteX84" fmla="*/ 65511 w 440938"/>
                <a:gd name="connsiteY84" fmla="*/ 366608 h 365348"/>
                <a:gd name="connsiteX85" fmla="*/ 66771 w 440938"/>
                <a:gd name="connsiteY85" fmla="*/ 367868 h 365348"/>
                <a:gd name="connsiteX86" fmla="*/ 73070 w 440938"/>
                <a:gd name="connsiteY86" fmla="*/ 372908 h 365348"/>
                <a:gd name="connsiteX87" fmla="*/ 71810 w 440938"/>
                <a:gd name="connsiteY87" fmla="*/ 369128 h 365348"/>
                <a:gd name="connsiteX88" fmla="*/ 68030 w 440938"/>
                <a:gd name="connsiteY88" fmla="*/ 348971 h 365348"/>
                <a:gd name="connsiteX89" fmla="*/ 65511 w 440938"/>
                <a:gd name="connsiteY89" fmla="*/ 331333 h 365348"/>
                <a:gd name="connsiteX90" fmla="*/ 61731 w 440938"/>
                <a:gd name="connsiteY90" fmla="*/ 294799 h 365348"/>
                <a:gd name="connsiteX91" fmla="*/ 60472 w 440938"/>
                <a:gd name="connsiteY91" fmla="*/ 277161 h 365348"/>
                <a:gd name="connsiteX92" fmla="*/ 60472 w 440938"/>
                <a:gd name="connsiteY92" fmla="*/ 260783 h 365348"/>
                <a:gd name="connsiteX93" fmla="*/ 60472 w 440938"/>
                <a:gd name="connsiteY93" fmla="*/ 257004 h 365348"/>
                <a:gd name="connsiteX94" fmla="*/ 60472 w 440938"/>
                <a:gd name="connsiteY94" fmla="*/ 255744 h 365348"/>
                <a:gd name="connsiteX95" fmla="*/ 60472 w 440938"/>
                <a:gd name="connsiteY95" fmla="*/ 255744 h 365348"/>
                <a:gd name="connsiteX96" fmla="*/ 59212 w 440938"/>
                <a:gd name="connsiteY96" fmla="*/ 245666 h 365348"/>
                <a:gd name="connsiteX97" fmla="*/ 59212 w 440938"/>
                <a:gd name="connsiteY97" fmla="*/ 238107 h 365348"/>
                <a:gd name="connsiteX98" fmla="*/ 59212 w 440938"/>
                <a:gd name="connsiteY98" fmla="*/ 234327 h 365348"/>
                <a:gd name="connsiteX99" fmla="*/ 59212 w 440938"/>
                <a:gd name="connsiteY99" fmla="*/ 234327 h 365348"/>
                <a:gd name="connsiteX100" fmla="*/ 62991 w 440938"/>
                <a:gd name="connsiteY100" fmla="*/ 233067 h 365348"/>
                <a:gd name="connsiteX101" fmla="*/ 70550 w 440938"/>
                <a:gd name="connsiteY101" fmla="*/ 230548 h 365348"/>
                <a:gd name="connsiteX102" fmla="*/ 78109 w 440938"/>
                <a:gd name="connsiteY102" fmla="*/ 228028 h 365348"/>
                <a:gd name="connsiteX103" fmla="*/ 94487 w 440938"/>
                <a:gd name="connsiteY103" fmla="*/ 221729 h 365348"/>
                <a:gd name="connsiteX104" fmla="*/ 119683 w 440938"/>
                <a:gd name="connsiteY104" fmla="*/ 212910 h 365348"/>
                <a:gd name="connsiteX105" fmla="*/ 138581 w 440938"/>
                <a:gd name="connsiteY105" fmla="*/ 200312 h 365348"/>
                <a:gd name="connsiteX106" fmla="*/ 151179 w 440938"/>
                <a:gd name="connsiteY106" fmla="*/ 190233 h 365348"/>
                <a:gd name="connsiteX107" fmla="*/ 153698 w 440938"/>
                <a:gd name="connsiteY107" fmla="*/ 186454 h 365348"/>
                <a:gd name="connsiteX108" fmla="*/ 156218 w 440938"/>
                <a:gd name="connsiteY108" fmla="*/ 181414 h 365348"/>
                <a:gd name="connsiteX109" fmla="*/ 161257 w 440938"/>
                <a:gd name="connsiteY109" fmla="*/ 170076 h 365348"/>
                <a:gd name="connsiteX110" fmla="*/ 162517 w 440938"/>
                <a:gd name="connsiteY110" fmla="*/ 167556 h 365348"/>
                <a:gd name="connsiteX111" fmla="*/ 163777 w 440938"/>
                <a:gd name="connsiteY111" fmla="*/ 166297 h 365348"/>
                <a:gd name="connsiteX112" fmla="*/ 166297 w 440938"/>
                <a:gd name="connsiteY112" fmla="*/ 161257 h 365348"/>
                <a:gd name="connsiteX113" fmla="*/ 166297 w 440938"/>
                <a:gd name="connsiteY113" fmla="*/ 161257 h 365348"/>
                <a:gd name="connsiteX114" fmla="*/ 171336 w 440938"/>
                <a:gd name="connsiteY114" fmla="*/ 166297 h 365348"/>
                <a:gd name="connsiteX115" fmla="*/ 173856 w 440938"/>
                <a:gd name="connsiteY115" fmla="*/ 168816 h 365348"/>
                <a:gd name="connsiteX116" fmla="*/ 175115 w 440938"/>
                <a:gd name="connsiteY116" fmla="*/ 170076 h 365348"/>
                <a:gd name="connsiteX117" fmla="*/ 175115 w 440938"/>
                <a:gd name="connsiteY117" fmla="*/ 170076 h 365348"/>
                <a:gd name="connsiteX118" fmla="*/ 175115 w 440938"/>
                <a:gd name="connsiteY118" fmla="*/ 170076 h 365348"/>
                <a:gd name="connsiteX119" fmla="*/ 175115 w 440938"/>
                <a:gd name="connsiteY119" fmla="*/ 170076 h 365348"/>
                <a:gd name="connsiteX120" fmla="*/ 175115 w 440938"/>
                <a:gd name="connsiteY120" fmla="*/ 170076 h 365348"/>
                <a:gd name="connsiteX121" fmla="*/ 180155 w 440938"/>
                <a:gd name="connsiteY121" fmla="*/ 175115 h 365348"/>
                <a:gd name="connsiteX122" fmla="*/ 182674 w 440938"/>
                <a:gd name="connsiteY122" fmla="*/ 177635 h 365348"/>
                <a:gd name="connsiteX123" fmla="*/ 186454 w 440938"/>
                <a:gd name="connsiteY123" fmla="*/ 181414 h 365348"/>
                <a:gd name="connsiteX124" fmla="*/ 187714 w 440938"/>
                <a:gd name="connsiteY124" fmla="*/ 182674 h 365348"/>
                <a:gd name="connsiteX125" fmla="*/ 190233 w 440938"/>
                <a:gd name="connsiteY125" fmla="*/ 183934 h 365348"/>
                <a:gd name="connsiteX126" fmla="*/ 197792 w 440938"/>
                <a:gd name="connsiteY126" fmla="*/ 188974 h 365348"/>
                <a:gd name="connsiteX127" fmla="*/ 197792 w 440938"/>
                <a:gd name="connsiteY127" fmla="*/ 188974 h 365348"/>
                <a:gd name="connsiteX128" fmla="*/ 197792 w 440938"/>
                <a:gd name="connsiteY128" fmla="*/ 188974 h 365348"/>
                <a:gd name="connsiteX129" fmla="*/ 209131 w 440938"/>
                <a:gd name="connsiteY129" fmla="*/ 194013 h 365348"/>
                <a:gd name="connsiteX130" fmla="*/ 233067 w 440938"/>
                <a:gd name="connsiteY130" fmla="*/ 202831 h 365348"/>
                <a:gd name="connsiteX131" fmla="*/ 254484 w 440938"/>
                <a:gd name="connsiteY131" fmla="*/ 209131 h 365348"/>
                <a:gd name="connsiteX132" fmla="*/ 257004 w 440938"/>
                <a:gd name="connsiteY132" fmla="*/ 209131 h 365348"/>
                <a:gd name="connsiteX133" fmla="*/ 258264 w 440938"/>
                <a:gd name="connsiteY133" fmla="*/ 209131 h 365348"/>
                <a:gd name="connsiteX134" fmla="*/ 267083 w 440938"/>
                <a:gd name="connsiteY134" fmla="*/ 210390 h 365348"/>
                <a:gd name="connsiteX135" fmla="*/ 268342 w 440938"/>
                <a:gd name="connsiteY135" fmla="*/ 210390 h 365348"/>
                <a:gd name="connsiteX136" fmla="*/ 268342 w 440938"/>
                <a:gd name="connsiteY136" fmla="*/ 210390 h 365348"/>
                <a:gd name="connsiteX137" fmla="*/ 272122 w 440938"/>
                <a:gd name="connsiteY137" fmla="*/ 210390 h 365348"/>
                <a:gd name="connsiteX138" fmla="*/ 274642 w 440938"/>
                <a:gd name="connsiteY138" fmla="*/ 210390 h 365348"/>
                <a:gd name="connsiteX139" fmla="*/ 274642 w 440938"/>
                <a:gd name="connsiteY139" fmla="*/ 210390 h 365348"/>
                <a:gd name="connsiteX140" fmla="*/ 278421 w 440938"/>
                <a:gd name="connsiteY140" fmla="*/ 210390 h 365348"/>
                <a:gd name="connsiteX141" fmla="*/ 279681 w 440938"/>
                <a:gd name="connsiteY141" fmla="*/ 210390 h 365348"/>
                <a:gd name="connsiteX142" fmla="*/ 292279 w 440938"/>
                <a:gd name="connsiteY142" fmla="*/ 211650 h 365348"/>
                <a:gd name="connsiteX143" fmla="*/ 301098 w 440938"/>
                <a:gd name="connsiteY143" fmla="*/ 211650 h 365348"/>
                <a:gd name="connsiteX144" fmla="*/ 302358 w 440938"/>
                <a:gd name="connsiteY144" fmla="*/ 211650 h 365348"/>
                <a:gd name="connsiteX145" fmla="*/ 302358 w 440938"/>
                <a:gd name="connsiteY145" fmla="*/ 211650 h 365348"/>
                <a:gd name="connsiteX146" fmla="*/ 304877 w 440938"/>
                <a:gd name="connsiteY146" fmla="*/ 211650 h 365348"/>
                <a:gd name="connsiteX147" fmla="*/ 306137 w 440938"/>
                <a:gd name="connsiteY147" fmla="*/ 211650 h 365348"/>
                <a:gd name="connsiteX148" fmla="*/ 318735 w 440938"/>
                <a:gd name="connsiteY148" fmla="*/ 211650 h 365348"/>
                <a:gd name="connsiteX149" fmla="*/ 319995 w 440938"/>
                <a:gd name="connsiteY149" fmla="*/ 211650 h 365348"/>
                <a:gd name="connsiteX150" fmla="*/ 335113 w 440938"/>
                <a:gd name="connsiteY150" fmla="*/ 209131 h 365348"/>
                <a:gd name="connsiteX151" fmla="*/ 335113 w 440938"/>
                <a:gd name="connsiteY151" fmla="*/ 209131 h 365348"/>
                <a:gd name="connsiteX152" fmla="*/ 335113 w 440938"/>
                <a:gd name="connsiteY152" fmla="*/ 209131 h 365348"/>
                <a:gd name="connsiteX153" fmla="*/ 337633 w 440938"/>
                <a:gd name="connsiteY153" fmla="*/ 207871 h 365348"/>
                <a:gd name="connsiteX154" fmla="*/ 337633 w 440938"/>
                <a:gd name="connsiteY154" fmla="*/ 207871 h 365348"/>
                <a:gd name="connsiteX155" fmla="*/ 346451 w 440938"/>
                <a:gd name="connsiteY155" fmla="*/ 205351 h 365348"/>
                <a:gd name="connsiteX156" fmla="*/ 369128 w 440938"/>
                <a:gd name="connsiteY156" fmla="*/ 197792 h 365348"/>
                <a:gd name="connsiteX157" fmla="*/ 376687 w 440938"/>
                <a:gd name="connsiteY157" fmla="*/ 195273 h 365348"/>
                <a:gd name="connsiteX158" fmla="*/ 376687 w 440938"/>
                <a:gd name="connsiteY158" fmla="*/ 195273 h 365348"/>
                <a:gd name="connsiteX159" fmla="*/ 398104 w 440938"/>
                <a:gd name="connsiteY159" fmla="*/ 185194 h 365348"/>
                <a:gd name="connsiteX160" fmla="*/ 409443 w 440938"/>
                <a:gd name="connsiteY160" fmla="*/ 176375 h 365348"/>
                <a:gd name="connsiteX161" fmla="*/ 418261 w 440938"/>
                <a:gd name="connsiteY161" fmla="*/ 163777 h 365348"/>
                <a:gd name="connsiteX162" fmla="*/ 423301 w 440938"/>
                <a:gd name="connsiteY162" fmla="*/ 153698 h 365348"/>
                <a:gd name="connsiteX163" fmla="*/ 423301 w 440938"/>
                <a:gd name="connsiteY163" fmla="*/ 153698 h 365348"/>
                <a:gd name="connsiteX164" fmla="*/ 433379 w 440938"/>
                <a:gd name="connsiteY164" fmla="*/ 133541 h 365348"/>
                <a:gd name="connsiteX165" fmla="*/ 437159 w 440938"/>
                <a:gd name="connsiteY165" fmla="*/ 123463 h 365348"/>
                <a:gd name="connsiteX166" fmla="*/ 439678 w 440938"/>
                <a:gd name="connsiteY166" fmla="*/ 114644 h 365348"/>
                <a:gd name="connsiteX167" fmla="*/ 442198 w 440938"/>
                <a:gd name="connsiteY167" fmla="*/ 103305 h 365348"/>
                <a:gd name="connsiteX168" fmla="*/ 443458 w 440938"/>
                <a:gd name="connsiteY168" fmla="*/ 91967 h 365348"/>
                <a:gd name="connsiteX169" fmla="*/ 443458 w 440938"/>
                <a:gd name="connsiteY169" fmla="*/ 81889 h 365348"/>
                <a:gd name="connsiteX170" fmla="*/ 449757 w 440938"/>
                <a:gd name="connsiteY170" fmla="*/ 84408 h 36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440938" h="365348">
                  <a:moveTo>
                    <a:pt x="449757" y="84408"/>
                  </a:moveTo>
                  <a:cubicBezTo>
                    <a:pt x="449757" y="80629"/>
                    <a:pt x="448497" y="76849"/>
                    <a:pt x="447237" y="73070"/>
                  </a:cubicBezTo>
                  <a:cubicBezTo>
                    <a:pt x="445977" y="69290"/>
                    <a:pt x="443458" y="65511"/>
                    <a:pt x="442198" y="62991"/>
                  </a:cubicBezTo>
                  <a:lnTo>
                    <a:pt x="442198" y="61731"/>
                  </a:lnTo>
                  <a:cubicBezTo>
                    <a:pt x="440938" y="59212"/>
                    <a:pt x="438419" y="55432"/>
                    <a:pt x="437159" y="52913"/>
                  </a:cubicBezTo>
                  <a:cubicBezTo>
                    <a:pt x="434639" y="49133"/>
                    <a:pt x="433379" y="46613"/>
                    <a:pt x="430860" y="42834"/>
                  </a:cubicBezTo>
                  <a:cubicBezTo>
                    <a:pt x="425820" y="36535"/>
                    <a:pt x="420781" y="31496"/>
                    <a:pt x="415742" y="26456"/>
                  </a:cubicBezTo>
                  <a:cubicBezTo>
                    <a:pt x="409443" y="21417"/>
                    <a:pt x="401884" y="16378"/>
                    <a:pt x="395584" y="12598"/>
                  </a:cubicBezTo>
                  <a:cubicBezTo>
                    <a:pt x="391805" y="11338"/>
                    <a:pt x="389285" y="8819"/>
                    <a:pt x="385506" y="7559"/>
                  </a:cubicBezTo>
                  <a:cubicBezTo>
                    <a:pt x="384246" y="6299"/>
                    <a:pt x="382986" y="6299"/>
                    <a:pt x="380467" y="5039"/>
                  </a:cubicBezTo>
                  <a:cubicBezTo>
                    <a:pt x="377947" y="3779"/>
                    <a:pt x="376687" y="3779"/>
                    <a:pt x="372908" y="2520"/>
                  </a:cubicBezTo>
                  <a:cubicBezTo>
                    <a:pt x="367868" y="1260"/>
                    <a:pt x="364089" y="0"/>
                    <a:pt x="360309" y="0"/>
                  </a:cubicBezTo>
                  <a:cubicBezTo>
                    <a:pt x="355270" y="0"/>
                    <a:pt x="350231" y="0"/>
                    <a:pt x="345192" y="0"/>
                  </a:cubicBezTo>
                  <a:lnTo>
                    <a:pt x="343932" y="0"/>
                  </a:lnTo>
                  <a:cubicBezTo>
                    <a:pt x="342672" y="0"/>
                    <a:pt x="341412" y="0"/>
                    <a:pt x="340152" y="0"/>
                  </a:cubicBezTo>
                  <a:cubicBezTo>
                    <a:pt x="337633" y="0"/>
                    <a:pt x="335113" y="0"/>
                    <a:pt x="332593" y="1260"/>
                  </a:cubicBezTo>
                  <a:cubicBezTo>
                    <a:pt x="328814" y="1260"/>
                    <a:pt x="326294" y="2520"/>
                    <a:pt x="322515" y="3779"/>
                  </a:cubicBezTo>
                  <a:cubicBezTo>
                    <a:pt x="318735" y="5039"/>
                    <a:pt x="316216" y="5039"/>
                    <a:pt x="312436" y="6299"/>
                  </a:cubicBezTo>
                  <a:cubicBezTo>
                    <a:pt x="311176" y="6299"/>
                    <a:pt x="311176" y="6299"/>
                    <a:pt x="309916" y="7559"/>
                  </a:cubicBezTo>
                  <a:cubicBezTo>
                    <a:pt x="307397" y="7559"/>
                    <a:pt x="304877" y="8819"/>
                    <a:pt x="302358" y="8819"/>
                  </a:cubicBezTo>
                  <a:cubicBezTo>
                    <a:pt x="294799" y="11338"/>
                    <a:pt x="287240" y="13858"/>
                    <a:pt x="282200" y="17637"/>
                  </a:cubicBezTo>
                  <a:cubicBezTo>
                    <a:pt x="278421" y="20157"/>
                    <a:pt x="275901" y="22677"/>
                    <a:pt x="273382" y="23937"/>
                  </a:cubicBezTo>
                  <a:cubicBezTo>
                    <a:pt x="273382" y="23937"/>
                    <a:pt x="272122" y="25196"/>
                    <a:pt x="272122" y="25196"/>
                  </a:cubicBezTo>
                  <a:cubicBezTo>
                    <a:pt x="272122" y="25196"/>
                    <a:pt x="270862" y="23937"/>
                    <a:pt x="269602" y="22677"/>
                  </a:cubicBezTo>
                  <a:cubicBezTo>
                    <a:pt x="265823" y="20157"/>
                    <a:pt x="263303" y="18897"/>
                    <a:pt x="259523" y="16378"/>
                  </a:cubicBezTo>
                  <a:cubicBezTo>
                    <a:pt x="251965" y="12598"/>
                    <a:pt x="244406" y="11338"/>
                    <a:pt x="236847" y="11338"/>
                  </a:cubicBezTo>
                  <a:cubicBezTo>
                    <a:pt x="226768" y="10078"/>
                    <a:pt x="219209" y="8819"/>
                    <a:pt x="210390" y="8819"/>
                  </a:cubicBezTo>
                  <a:cubicBezTo>
                    <a:pt x="202831" y="8819"/>
                    <a:pt x="194013" y="8819"/>
                    <a:pt x="186454" y="8819"/>
                  </a:cubicBezTo>
                  <a:lnTo>
                    <a:pt x="185194" y="8819"/>
                  </a:lnTo>
                  <a:cubicBezTo>
                    <a:pt x="178895" y="8819"/>
                    <a:pt x="173856" y="8819"/>
                    <a:pt x="167557" y="8819"/>
                  </a:cubicBezTo>
                  <a:cubicBezTo>
                    <a:pt x="166297" y="8819"/>
                    <a:pt x="163777" y="8819"/>
                    <a:pt x="162517" y="8819"/>
                  </a:cubicBezTo>
                  <a:cubicBezTo>
                    <a:pt x="154958" y="10078"/>
                    <a:pt x="147399" y="11338"/>
                    <a:pt x="138581" y="15118"/>
                  </a:cubicBezTo>
                  <a:cubicBezTo>
                    <a:pt x="134801" y="16378"/>
                    <a:pt x="131022" y="17637"/>
                    <a:pt x="128502" y="20157"/>
                  </a:cubicBezTo>
                  <a:cubicBezTo>
                    <a:pt x="125982" y="21417"/>
                    <a:pt x="122203" y="22677"/>
                    <a:pt x="119683" y="25196"/>
                  </a:cubicBezTo>
                  <a:lnTo>
                    <a:pt x="118423" y="26456"/>
                  </a:lnTo>
                  <a:cubicBezTo>
                    <a:pt x="117164" y="27716"/>
                    <a:pt x="115904" y="27716"/>
                    <a:pt x="113384" y="28976"/>
                  </a:cubicBezTo>
                  <a:cubicBezTo>
                    <a:pt x="112124" y="30236"/>
                    <a:pt x="110864" y="30236"/>
                    <a:pt x="108345" y="31496"/>
                  </a:cubicBezTo>
                  <a:cubicBezTo>
                    <a:pt x="104565" y="34015"/>
                    <a:pt x="100786" y="35275"/>
                    <a:pt x="98266" y="36535"/>
                  </a:cubicBezTo>
                  <a:cubicBezTo>
                    <a:pt x="97006" y="37795"/>
                    <a:pt x="94487" y="37795"/>
                    <a:pt x="93227" y="39054"/>
                  </a:cubicBezTo>
                  <a:cubicBezTo>
                    <a:pt x="90707" y="40314"/>
                    <a:pt x="89447" y="41574"/>
                    <a:pt x="86928" y="42834"/>
                  </a:cubicBezTo>
                  <a:cubicBezTo>
                    <a:pt x="84408" y="45354"/>
                    <a:pt x="80629" y="47873"/>
                    <a:pt x="78109" y="49133"/>
                  </a:cubicBezTo>
                  <a:cubicBezTo>
                    <a:pt x="71810" y="54172"/>
                    <a:pt x="66771" y="59212"/>
                    <a:pt x="61731" y="64251"/>
                  </a:cubicBezTo>
                  <a:cubicBezTo>
                    <a:pt x="56692" y="69290"/>
                    <a:pt x="52913" y="74330"/>
                    <a:pt x="46613" y="81889"/>
                  </a:cubicBezTo>
                  <a:lnTo>
                    <a:pt x="44094" y="84408"/>
                  </a:lnTo>
                  <a:lnTo>
                    <a:pt x="42834" y="85668"/>
                  </a:lnTo>
                  <a:cubicBezTo>
                    <a:pt x="41574" y="86928"/>
                    <a:pt x="40314" y="88188"/>
                    <a:pt x="39054" y="90707"/>
                  </a:cubicBezTo>
                  <a:cubicBezTo>
                    <a:pt x="37795" y="93227"/>
                    <a:pt x="35275" y="95746"/>
                    <a:pt x="34015" y="98266"/>
                  </a:cubicBezTo>
                  <a:cubicBezTo>
                    <a:pt x="34015" y="99526"/>
                    <a:pt x="32755" y="99526"/>
                    <a:pt x="32755" y="100786"/>
                  </a:cubicBezTo>
                  <a:lnTo>
                    <a:pt x="32755" y="100786"/>
                  </a:lnTo>
                  <a:lnTo>
                    <a:pt x="31496" y="102046"/>
                  </a:lnTo>
                  <a:lnTo>
                    <a:pt x="30236" y="104565"/>
                  </a:lnTo>
                  <a:cubicBezTo>
                    <a:pt x="28976" y="107085"/>
                    <a:pt x="26456" y="110864"/>
                    <a:pt x="25196" y="113384"/>
                  </a:cubicBezTo>
                  <a:cubicBezTo>
                    <a:pt x="23937" y="117163"/>
                    <a:pt x="22677" y="120943"/>
                    <a:pt x="21417" y="123463"/>
                  </a:cubicBezTo>
                  <a:cubicBezTo>
                    <a:pt x="20157" y="125982"/>
                    <a:pt x="20157" y="127242"/>
                    <a:pt x="18897" y="129762"/>
                  </a:cubicBezTo>
                  <a:lnTo>
                    <a:pt x="17637" y="132281"/>
                  </a:lnTo>
                  <a:lnTo>
                    <a:pt x="16378" y="134801"/>
                  </a:lnTo>
                  <a:cubicBezTo>
                    <a:pt x="15118" y="138581"/>
                    <a:pt x="13858" y="142360"/>
                    <a:pt x="12598" y="144880"/>
                  </a:cubicBezTo>
                  <a:cubicBezTo>
                    <a:pt x="11338" y="147399"/>
                    <a:pt x="11338" y="149919"/>
                    <a:pt x="11338" y="152439"/>
                  </a:cubicBezTo>
                  <a:lnTo>
                    <a:pt x="11338" y="152439"/>
                  </a:lnTo>
                  <a:lnTo>
                    <a:pt x="11338" y="154958"/>
                  </a:lnTo>
                  <a:cubicBezTo>
                    <a:pt x="10079" y="158738"/>
                    <a:pt x="10079" y="162517"/>
                    <a:pt x="8819" y="165037"/>
                  </a:cubicBezTo>
                  <a:cubicBezTo>
                    <a:pt x="8819" y="166297"/>
                    <a:pt x="8819" y="167556"/>
                    <a:pt x="8819" y="168816"/>
                  </a:cubicBezTo>
                  <a:lnTo>
                    <a:pt x="8819" y="168816"/>
                  </a:lnTo>
                  <a:lnTo>
                    <a:pt x="7559" y="172596"/>
                  </a:lnTo>
                  <a:cubicBezTo>
                    <a:pt x="6299" y="177635"/>
                    <a:pt x="5039" y="182674"/>
                    <a:pt x="3780" y="188974"/>
                  </a:cubicBezTo>
                  <a:cubicBezTo>
                    <a:pt x="2520" y="192753"/>
                    <a:pt x="2520" y="197792"/>
                    <a:pt x="2520" y="201572"/>
                  </a:cubicBezTo>
                  <a:lnTo>
                    <a:pt x="2520" y="201572"/>
                  </a:lnTo>
                  <a:lnTo>
                    <a:pt x="2520" y="202831"/>
                  </a:lnTo>
                  <a:cubicBezTo>
                    <a:pt x="2520" y="205351"/>
                    <a:pt x="1260" y="209131"/>
                    <a:pt x="1260" y="211650"/>
                  </a:cubicBezTo>
                  <a:cubicBezTo>
                    <a:pt x="1260" y="219209"/>
                    <a:pt x="0" y="226768"/>
                    <a:pt x="0" y="233067"/>
                  </a:cubicBezTo>
                  <a:cubicBezTo>
                    <a:pt x="0" y="236847"/>
                    <a:pt x="0" y="240626"/>
                    <a:pt x="0" y="244406"/>
                  </a:cubicBezTo>
                  <a:cubicBezTo>
                    <a:pt x="0" y="248185"/>
                    <a:pt x="0" y="250705"/>
                    <a:pt x="1260" y="254484"/>
                  </a:cubicBezTo>
                  <a:lnTo>
                    <a:pt x="1260" y="255744"/>
                  </a:lnTo>
                  <a:cubicBezTo>
                    <a:pt x="1260" y="259523"/>
                    <a:pt x="2520" y="263303"/>
                    <a:pt x="3780" y="267083"/>
                  </a:cubicBezTo>
                  <a:lnTo>
                    <a:pt x="3780" y="268342"/>
                  </a:lnTo>
                  <a:cubicBezTo>
                    <a:pt x="5039" y="270862"/>
                    <a:pt x="5039" y="274641"/>
                    <a:pt x="6299" y="277161"/>
                  </a:cubicBezTo>
                  <a:cubicBezTo>
                    <a:pt x="7559" y="280940"/>
                    <a:pt x="8819" y="283460"/>
                    <a:pt x="10079" y="287240"/>
                  </a:cubicBezTo>
                  <a:cubicBezTo>
                    <a:pt x="11338" y="289759"/>
                    <a:pt x="12598" y="293539"/>
                    <a:pt x="13858" y="296058"/>
                  </a:cubicBezTo>
                  <a:lnTo>
                    <a:pt x="13858" y="297318"/>
                  </a:lnTo>
                  <a:cubicBezTo>
                    <a:pt x="16378" y="303617"/>
                    <a:pt x="20157" y="309916"/>
                    <a:pt x="23937" y="316216"/>
                  </a:cubicBezTo>
                  <a:lnTo>
                    <a:pt x="25196" y="317475"/>
                  </a:lnTo>
                  <a:cubicBezTo>
                    <a:pt x="28976" y="323775"/>
                    <a:pt x="32755" y="330074"/>
                    <a:pt x="36535" y="335113"/>
                  </a:cubicBezTo>
                  <a:cubicBezTo>
                    <a:pt x="41574" y="341412"/>
                    <a:pt x="46613" y="347711"/>
                    <a:pt x="50393" y="352751"/>
                  </a:cubicBezTo>
                  <a:cubicBezTo>
                    <a:pt x="52913" y="355270"/>
                    <a:pt x="55432" y="359050"/>
                    <a:pt x="59212" y="361569"/>
                  </a:cubicBezTo>
                  <a:cubicBezTo>
                    <a:pt x="61731" y="362829"/>
                    <a:pt x="62991" y="365349"/>
                    <a:pt x="65511" y="366608"/>
                  </a:cubicBezTo>
                  <a:lnTo>
                    <a:pt x="66771" y="367868"/>
                  </a:lnTo>
                  <a:cubicBezTo>
                    <a:pt x="69290" y="369128"/>
                    <a:pt x="70550" y="371648"/>
                    <a:pt x="73070" y="372908"/>
                  </a:cubicBezTo>
                  <a:cubicBezTo>
                    <a:pt x="73070" y="371648"/>
                    <a:pt x="71810" y="370388"/>
                    <a:pt x="71810" y="369128"/>
                  </a:cubicBezTo>
                  <a:cubicBezTo>
                    <a:pt x="70550" y="362829"/>
                    <a:pt x="69290" y="356530"/>
                    <a:pt x="68030" y="348971"/>
                  </a:cubicBezTo>
                  <a:cubicBezTo>
                    <a:pt x="66771" y="342672"/>
                    <a:pt x="66771" y="337633"/>
                    <a:pt x="65511" y="331333"/>
                  </a:cubicBezTo>
                  <a:cubicBezTo>
                    <a:pt x="64251" y="318735"/>
                    <a:pt x="62991" y="307397"/>
                    <a:pt x="61731" y="294799"/>
                  </a:cubicBezTo>
                  <a:cubicBezTo>
                    <a:pt x="61731" y="288499"/>
                    <a:pt x="60472" y="283460"/>
                    <a:pt x="60472" y="277161"/>
                  </a:cubicBezTo>
                  <a:cubicBezTo>
                    <a:pt x="60472" y="272122"/>
                    <a:pt x="60472" y="265823"/>
                    <a:pt x="60472" y="260783"/>
                  </a:cubicBezTo>
                  <a:cubicBezTo>
                    <a:pt x="60472" y="259523"/>
                    <a:pt x="60472" y="258264"/>
                    <a:pt x="60472" y="257004"/>
                  </a:cubicBezTo>
                  <a:cubicBezTo>
                    <a:pt x="60472" y="257004"/>
                    <a:pt x="60472" y="255744"/>
                    <a:pt x="60472" y="255744"/>
                  </a:cubicBezTo>
                  <a:cubicBezTo>
                    <a:pt x="60472" y="255744"/>
                    <a:pt x="60472" y="255744"/>
                    <a:pt x="60472" y="255744"/>
                  </a:cubicBezTo>
                  <a:cubicBezTo>
                    <a:pt x="60472" y="251965"/>
                    <a:pt x="60472" y="249445"/>
                    <a:pt x="59212" y="245666"/>
                  </a:cubicBezTo>
                  <a:cubicBezTo>
                    <a:pt x="59212" y="243146"/>
                    <a:pt x="59212" y="240626"/>
                    <a:pt x="59212" y="238107"/>
                  </a:cubicBezTo>
                  <a:cubicBezTo>
                    <a:pt x="59212" y="236847"/>
                    <a:pt x="59212" y="235587"/>
                    <a:pt x="59212" y="234327"/>
                  </a:cubicBezTo>
                  <a:lnTo>
                    <a:pt x="59212" y="234327"/>
                  </a:lnTo>
                  <a:cubicBezTo>
                    <a:pt x="60472" y="234327"/>
                    <a:pt x="61731" y="234327"/>
                    <a:pt x="62991" y="233067"/>
                  </a:cubicBezTo>
                  <a:cubicBezTo>
                    <a:pt x="65511" y="231807"/>
                    <a:pt x="68030" y="231807"/>
                    <a:pt x="70550" y="230548"/>
                  </a:cubicBezTo>
                  <a:cubicBezTo>
                    <a:pt x="73070" y="229288"/>
                    <a:pt x="75589" y="229288"/>
                    <a:pt x="78109" y="228028"/>
                  </a:cubicBezTo>
                  <a:cubicBezTo>
                    <a:pt x="83148" y="226768"/>
                    <a:pt x="88188" y="224248"/>
                    <a:pt x="94487" y="221729"/>
                  </a:cubicBezTo>
                  <a:cubicBezTo>
                    <a:pt x="103305" y="219209"/>
                    <a:pt x="112124" y="216690"/>
                    <a:pt x="119683" y="212910"/>
                  </a:cubicBezTo>
                  <a:cubicBezTo>
                    <a:pt x="125982" y="209131"/>
                    <a:pt x="132281" y="205351"/>
                    <a:pt x="138581" y="200312"/>
                  </a:cubicBezTo>
                  <a:cubicBezTo>
                    <a:pt x="143620" y="197792"/>
                    <a:pt x="148659" y="194013"/>
                    <a:pt x="151179" y="190233"/>
                  </a:cubicBezTo>
                  <a:cubicBezTo>
                    <a:pt x="152439" y="188974"/>
                    <a:pt x="153698" y="187714"/>
                    <a:pt x="153698" y="186454"/>
                  </a:cubicBezTo>
                  <a:cubicBezTo>
                    <a:pt x="154958" y="185194"/>
                    <a:pt x="154958" y="182674"/>
                    <a:pt x="156218" y="181414"/>
                  </a:cubicBezTo>
                  <a:cubicBezTo>
                    <a:pt x="157478" y="177635"/>
                    <a:pt x="159998" y="173855"/>
                    <a:pt x="161257" y="170076"/>
                  </a:cubicBezTo>
                  <a:cubicBezTo>
                    <a:pt x="161257" y="168816"/>
                    <a:pt x="161257" y="168816"/>
                    <a:pt x="162517" y="167556"/>
                  </a:cubicBezTo>
                  <a:cubicBezTo>
                    <a:pt x="162517" y="167556"/>
                    <a:pt x="163777" y="166297"/>
                    <a:pt x="163777" y="166297"/>
                  </a:cubicBezTo>
                  <a:cubicBezTo>
                    <a:pt x="165037" y="165037"/>
                    <a:pt x="166297" y="162517"/>
                    <a:pt x="166297" y="161257"/>
                  </a:cubicBezTo>
                  <a:cubicBezTo>
                    <a:pt x="166297" y="161257"/>
                    <a:pt x="166297" y="161257"/>
                    <a:pt x="166297" y="161257"/>
                  </a:cubicBezTo>
                  <a:cubicBezTo>
                    <a:pt x="167557" y="162517"/>
                    <a:pt x="168816" y="165037"/>
                    <a:pt x="171336" y="166297"/>
                  </a:cubicBezTo>
                  <a:cubicBezTo>
                    <a:pt x="172596" y="167556"/>
                    <a:pt x="173856" y="168816"/>
                    <a:pt x="173856" y="168816"/>
                  </a:cubicBezTo>
                  <a:cubicBezTo>
                    <a:pt x="173856" y="168816"/>
                    <a:pt x="175115" y="170076"/>
                    <a:pt x="175115" y="170076"/>
                  </a:cubicBezTo>
                  <a:cubicBezTo>
                    <a:pt x="175115" y="170076"/>
                    <a:pt x="175115" y="170076"/>
                    <a:pt x="175115" y="170076"/>
                  </a:cubicBezTo>
                  <a:lnTo>
                    <a:pt x="175115" y="170076"/>
                  </a:lnTo>
                  <a:lnTo>
                    <a:pt x="175115" y="170076"/>
                  </a:lnTo>
                  <a:lnTo>
                    <a:pt x="175115" y="170076"/>
                  </a:lnTo>
                  <a:cubicBezTo>
                    <a:pt x="176375" y="171336"/>
                    <a:pt x="178895" y="173855"/>
                    <a:pt x="180155" y="175115"/>
                  </a:cubicBezTo>
                  <a:cubicBezTo>
                    <a:pt x="181414" y="176375"/>
                    <a:pt x="181414" y="176375"/>
                    <a:pt x="182674" y="177635"/>
                  </a:cubicBezTo>
                  <a:cubicBezTo>
                    <a:pt x="183934" y="178895"/>
                    <a:pt x="185194" y="180155"/>
                    <a:pt x="186454" y="181414"/>
                  </a:cubicBezTo>
                  <a:cubicBezTo>
                    <a:pt x="186454" y="181414"/>
                    <a:pt x="187714" y="182674"/>
                    <a:pt x="187714" y="182674"/>
                  </a:cubicBezTo>
                  <a:cubicBezTo>
                    <a:pt x="188973" y="182674"/>
                    <a:pt x="188973" y="183934"/>
                    <a:pt x="190233" y="183934"/>
                  </a:cubicBezTo>
                  <a:cubicBezTo>
                    <a:pt x="192753" y="185194"/>
                    <a:pt x="195273" y="187714"/>
                    <a:pt x="197792" y="188974"/>
                  </a:cubicBezTo>
                  <a:cubicBezTo>
                    <a:pt x="197792" y="188974"/>
                    <a:pt x="197792" y="188974"/>
                    <a:pt x="197792" y="188974"/>
                  </a:cubicBezTo>
                  <a:cubicBezTo>
                    <a:pt x="197792" y="188974"/>
                    <a:pt x="197792" y="188974"/>
                    <a:pt x="197792" y="188974"/>
                  </a:cubicBezTo>
                  <a:cubicBezTo>
                    <a:pt x="201572" y="191493"/>
                    <a:pt x="205351" y="192753"/>
                    <a:pt x="209131" y="194013"/>
                  </a:cubicBezTo>
                  <a:cubicBezTo>
                    <a:pt x="216690" y="196532"/>
                    <a:pt x="224249" y="200312"/>
                    <a:pt x="233067" y="202831"/>
                  </a:cubicBezTo>
                  <a:cubicBezTo>
                    <a:pt x="240626" y="205351"/>
                    <a:pt x="246925" y="207871"/>
                    <a:pt x="254484" y="209131"/>
                  </a:cubicBezTo>
                  <a:lnTo>
                    <a:pt x="257004" y="209131"/>
                  </a:lnTo>
                  <a:lnTo>
                    <a:pt x="258264" y="209131"/>
                  </a:lnTo>
                  <a:cubicBezTo>
                    <a:pt x="260783" y="209131"/>
                    <a:pt x="263303" y="210390"/>
                    <a:pt x="267083" y="210390"/>
                  </a:cubicBezTo>
                  <a:cubicBezTo>
                    <a:pt x="267083" y="210390"/>
                    <a:pt x="268342" y="210390"/>
                    <a:pt x="268342" y="210390"/>
                  </a:cubicBezTo>
                  <a:lnTo>
                    <a:pt x="268342" y="210390"/>
                  </a:lnTo>
                  <a:cubicBezTo>
                    <a:pt x="269602" y="210390"/>
                    <a:pt x="270862" y="210390"/>
                    <a:pt x="272122" y="210390"/>
                  </a:cubicBezTo>
                  <a:lnTo>
                    <a:pt x="274642" y="210390"/>
                  </a:lnTo>
                  <a:lnTo>
                    <a:pt x="274642" y="210390"/>
                  </a:lnTo>
                  <a:lnTo>
                    <a:pt x="278421" y="210390"/>
                  </a:lnTo>
                  <a:cubicBezTo>
                    <a:pt x="278421" y="210390"/>
                    <a:pt x="279681" y="210390"/>
                    <a:pt x="279681" y="210390"/>
                  </a:cubicBezTo>
                  <a:cubicBezTo>
                    <a:pt x="283460" y="210390"/>
                    <a:pt x="287240" y="211650"/>
                    <a:pt x="292279" y="211650"/>
                  </a:cubicBezTo>
                  <a:cubicBezTo>
                    <a:pt x="294799" y="211650"/>
                    <a:pt x="298578" y="211650"/>
                    <a:pt x="301098" y="211650"/>
                  </a:cubicBezTo>
                  <a:lnTo>
                    <a:pt x="302358" y="211650"/>
                  </a:lnTo>
                  <a:cubicBezTo>
                    <a:pt x="302358" y="211650"/>
                    <a:pt x="302358" y="211650"/>
                    <a:pt x="302358" y="211650"/>
                  </a:cubicBezTo>
                  <a:cubicBezTo>
                    <a:pt x="303617" y="211650"/>
                    <a:pt x="303617" y="211650"/>
                    <a:pt x="304877" y="211650"/>
                  </a:cubicBezTo>
                  <a:cubicBezTo>
                    <a:pt x="304877" y="211650"/>
                    <a:pt x="306137" y="211650"/>
                    <a:pt x="306137" y="211650"/>
                  </a:cubicBezTo>
                  <a:cubicBezTo>
                    <a:pt x="309916" y="211650"/>
                    <a:pt x="313696" y="211650"/>
                    <a:pt x="318735" y="211650"/>
                  </a:cubicBezTo>
                  <a:lnTo>
                    <a:pt x="319995" y="211650"/>
                  </a:lnTo>
                  <a:cubicBezTo>
                    <a:pt x="325034" y="211650"/>
                    <a:pt x="330074" y="210390"/>
                    <a:pt x="335113" y="209131"/>
                  </a:cubicBezTo>
                  <a:cubicBezTo>
                    <a:pt x="335113" y="209131"/>
                    <a:pt x="335113" y="209131"/>
                    <a:pt x="335113" y="209131"/>
                  </a:cubicBezTo>
                  <a:lnTo>
                    <a:pt x="335113" y="209131"/>
                  </a:lnTo>
                  <a:cubicBezTo>
                    <a:pt x="336373" y="209131"/>
                    <a:pt x="336373" y="209131"/>
                    <a:pt x="337633" y="207871"/>
                  </a:cubicBezTo>
                  <a:cubicBezTo>
                    <a:pt x="337633" y="207871"/>
                    <a:pt x="337633" y="207871"/>
                    <a:pt x="337633" y="207871"/>
                  </a:cubicBezTo>
                  <a:cubicBezTo>
                    <a:pt x="340152" y="206611"/>
                    <a:pt x="343932" y="206611"/>
                    <a:pt x="346451" y="205351"/>
                  </a:cubicBezTo>
                  <a:cubicBezTo>
                    <a:pt x="355270" y="202831"/>
                    <a:pt x="362829" y="200312"/>
                    <a:pt x="369128" y="197792"/>
                  </a:cubicBezTo>
                  <a:cubicBezTo>
                    <a:pt x="371648" y="196532"/>
                    <a:pt x="374167" y="196532"/>
                    <a:pt x="376687" y="195273"/>
                  </a:cubicBezTo>
                  <a:lnTo>
                    <a:pt x="376687" y="195273"/>
                  </a:lnTo>
                  <a:cubicBezTo>
                    <a:pt x="384246" y="192753"/>
                    <a:pt x="391805" y="190233"/>
                    <a:pt x="398104" y="185194"/>
                  </a:cubicBezTo>
                  <a:cubicBezTo>
                    <a:pt x="401884" y="182674"/>
                    <a:pt x="406923" y="180155"/>
                    <a:pt x="409443" y="176375"/>
                  </a:cubicBezTo>
                  <a:cubicBezTo>
                    <a:pt x="413222" y="172596"/>
                    <a:pt x="415742" y="167556"/>
                    <a:pt x="418261" y="163777"/>
                  </a:cubicBezTo>
                  <a:cubicBezTo>
                    <a:pt x="419521" y="161257"/>
                    <a:pt x="422041" y="157478"/>
                    <a:pt x="423301" y="153698"/>
                  </a:cubicBezTo>
                  <a:lnTo>
                    <a:pt x="423301" y="153698"/>
                  </a:lnTo>
                  <a:cubicBezTo>
                    <a:pt x="427080" y="147399"/>
                    <a:pt x="430860" y="139840"/>
                    <a:pt x="433379" y="133541"/>
                  </a:cubicBezTo>
                  <a:cubicBezTo>
                    <a:pt x="434639" y="129762"/>
                    <a:pt x="435899" y="127242"/>
                    <a:pt x="437159" y="123463"/>
                  </a:cubicBezTo>
                  <a:cubicBezTo>
                    <a:pt x="438419" y="120943"/>
                    <a:pt x="438419" y="117163"/>
                    <a:pt x="439678" y="114644"/>
                  </a:cubicBezTo>
                  <a:cubicBezTo>
                    <a:pt x="440938" y="110864"/>
                    <a:pt x="440938" y="107085"/>
                    <a:pt x="442198" y="103305"/>
                  </a:cubicBezTo>
                  <a:cubicBezTo>
                    <a:pt x="442198" y="99526"/>
                    <a:pt x="443458" y="95746"/>
                    <a:pt x="443458" y="91967"/>
                  </a:cubicBezTo>
                  <a:cubicBezTo>
                    <a:pt x="443458" y="89447"/>
                    <a:pt x="443458" y="85668"/>
                    <a:pt x="443458" y="81889"/>
                  </a:cubicBezTo>
                  <a:cubicBezTo>
                    <a:pt x="451017" y="88188"/>
                    <a:pt x="449757" y="86928"/>
                    <a:pt x="449757" y="84408"/>
                  </a:cubicBezTo>
                  <a:close/>
                </a:path>
              </a:pathLst>
            </a:custGeom>
            <a:solidFill>
              <a:srgbClr val="001675"/>
            </a:solidFill>
            <a:ln w="12584" cap="flat">
              <a:noFill/>
              <a:prstDash val="solid"/>
              <a:miter/>
            </a:ln>
          </p:spPr>
          <p:txBody>
            <a:bodyPr rtlCol="0" anchor="ctr"/>
            <a:lstStyle/>
            <a:p>
              <a:endParaRPr lang="zh-CN" altLang="en-US"/>
            </a:p>
          </p:txBody>
        </p:sp>
        <p:sp>
          <p:nvSpPr>
            <p:cNvPr id="133" name="任意多边形: 形状 132"/>
            <p:cNvSpPr/>
            <p:nvPr/>
          </p:nvSpPr>
          <p:spPr>
            <a:xfrm>
              <a:off x="8360690" y="3892261"/>
              <a:ext cx="231669" cy="248830"/>
            </a:xfrm>
            <a:custGeom>
              <a:avLst/>
              <a:gdLst>
                <a:gd name="connsiteX0" fmla="*/ 275901 w 340152"/>
                <a:gd name="connsiteY0" fmla="*/ 376687 h 365348"/>
                <a:gd name="connsiteX1" fmla="*/ 0 w 340152"/>
                <a:gd name="connsiteY1" fmla="*/ 332593 h 365348"/>
                <a:gd name="connsiteX2" fmla="*/ 69290 w 340152"/>
                <a:gd name="connsiteY2" fmla="*/ 0 h 365348"/>
                <a:gd name="connsiteX3" fmla="*/ 345192 w 340152"/>
                <a:gd name="connsiteY3" fmla="*/ 44094 h 365348"/>
              </a:gdLst>
              <a:ahLst/>
              <a:cxnLst>
                <a:cxn ang="0">
                  <a:pos x="connsiteX0" y="connsiteY0"/>
                </a:cxn>
                <a:cxn ang="0">
                  <a:pos x="connsiteX1" y="connsiteY1"/>
                </a:cxn>
                <a:cxn ang="0">
                  <a:pos x="connsiteX2" y="connsiteY2"/>
                </a:cxn>
                <a:cxn ang="0">
                  <a:pos x="connsiteX3" y="connsiteY3"/>
                </a:cxn>
              </a:cxnLst>
              <a:rect l="l" t="t" r="r" b="b"/>
              <a:pathLst>
                <a:path w="340152" h="365348">
                  <a:moveTo>
                    <a:pt x="275901" y="376687"/>
                  </a:moveTo>
                  <a:lnTo>
                    <a:pt x="0" y="332593"/>
                  </a:lnTo>
                  <a:lnTo>
                    <a:pt x="69290" y="0"/>
                  </a:lnTo>
                  <a:lnTo>
                    <a:pt x="345192" y="44094"/>
                  </a:lnTo>
                  <a:close/>
                </a:path>
              </a:pathLst>
            </a:custGeom>
            <a:solidFill>
              <a:srgbClr val="FFFFFF"/>
            </a:solidFill>
            <a:ln w="12584" cap="flat">
              <a:noFill/>
              <a:prstDash val="solid"/>
              <a:miter/>
            </a:ln>
          </p:spPr>
          <p:txBody>
            <a:bodyPr rtlCol="0" anchor="ctr"/>
            <a:lstStyle/>
            <a:p>
              <a:endParaRPr lang="zh-CN" altLang="en-US"/>
            </a:p>
          </p:txBody>
        </p:sp>
        <p:sp>
          <p:nvSpPr>
            <p:cNvPr id="134" name="任意多边形: 形状 133"/>
            <p:cNvSpPr/>
            <p:nvPr/>
          </p:nvSpPr>
          <p:spPr>
            <a:xfrm>
              <a:off x="8495402" y="3975490"/>
              <a:ext cx="180187" cy="283152"/>
            </a:xfrm>
            <a:custGeom>
              <a:avLst/>
              <a:gdLst>
                <a:gd name="connsiteX0" fmla="*/ 265823 w 264562"/>
                <a:gd name="connsiteY0" fmla="*/ 364089 h 415741"/>
                <a:gd name="connsiteX1" fmla="*/ 265823 w 264562"/>
                <a:gd name="connsiteY1" fmla="*/ 361569 h 415741"/>
                <a:gd name="connsiteX2" fmla="*/ 264563 w 264562"/>
                <a:gd name="connsiteY2" fmla="*/ 354010 h 415741"/>
                <a:gd name="connsiteX3" fmla="*/ 264563 w 264562"/>
                <a:gd name="connsiteY3" fmla="*/ 351491 h 415741"/>
                <a:gd name="connsiteX4" fmla="*/ 264563 w 264562"/>
                <a:gd name="connsiteY4" fmla="*/ 351491 h 415741"/>
                <a:gd name="connsiteX5" fmla="*/ 264563 w 264562"/>
                <a:gd name="connsiteY5" fmla="*/ 351491 h 415741"/>
                <a:gd name="connsiteX6" fmla="*/ 263303 w 264562"/>
                <a:gd name="connsiteY6" fmla="*/ 346451 h 415741"/>
                <a:gd name="connsiteX7" fmla="*/ 263303 w 264562"/>
                <a:gd name="connsiteY7" fmla="*/ 345192 h 415741"/>
                <a:gd name="connsiteX8" fmla="*/ 262043 w 264562"/>
                <a:gd name="connsiteY8" fmla="*/ 341412 h 415741"/>
                <a:gd name="connsiteX9" fmla="*/ 254484 w 264562"/>
                <a:gd name="connsiteY9" fmla="*/ 322515 h 415741"/>
                <a:gd name="connsiteX10" fmla="*/ 254484 w 264562"/>
                <a:gd name="connsiteY10" fmla="*/ 321255 h 415741"/>
                <a:gd name="connsiteX11" fmla="*/ 253225 w 264562"/>
                <a:gd name="connsiteY11" fmla="*/ 318735 h 415741"/>
                <a:gd name="connsiteX12" fmla="*/ 253225 w 264562"/>
                <a:gd name="connsiteY12" fmla="*/ 317475 h 415741"/>
                <a:gd name="connsiteX13" fmla="*/ 246925 w 264562"/>
                <a:gd name="connsiteY13" fmla="*/ 304877 h 415741"/>
                <a:gd name="connsiteX14" fmla="*/ 243146 w 264562"/>
                <a:gd name="connsiteY14" fmla="*/ 298578 h 415741"/>
                <a:gd name="connsiteX15" fmla="*/ 239366 w 264562"/>
                <a:gd name="connsiteY15" fmla="*/ 291019 h 415741"/>
                <a:gd name="connsiteX16" fmla="*/ 235587 w 264562"/>
                <a:gd name="connsiteY16" fmla="*/ 283460 h 415741"/>
                <a:gd name="connsiteX17" fmla="*/ 235587 w 264562"/>
                <a:gd name="connsiteY17" fmla="*/ 282200 h 415741"/>
                <a:gd name="connsiteX18" fmla="*/ 235587 w 264562"/>
                <a:gd name="connsiteY18" fmla="*/ 282200 h 415741"/>
                <a:gd name="connsiteX19" fmla="*/ 234327 w 264562"/>
                <a:gd name="connsiteY19" fmla="*/ 279681 h 415741"/>
                <a:gd name="connsiteX20" fmla="*/ 233067 w 264562"/>
                <a:gd name="connsiteY20" fmla="*/ 278421 h 415741"/>
                <a:gd name="connsiteX21" fmla="*/ 229288 w 264562"/>
                <a:gd name="connsiteY21" fmla="*/ 270862 h 415741"/>
                <a:gd name="connsiteX22" fmla="*/ 229288 w 264562"/>
                <a:gd name="connsiteY22" fmla="*/ 270862 h 415741"/>
                <a:gd name="connsiteX23" fmla="*/ 225508 w 264562"/>
                <a:gd name="connsiteY23" fmla="*/ 264563 h 415741"/>
                <a:gd name="connsiteX24" fmla="*/ 224249 w 264562"/>
                <a:gd name="connsiteY24" fmla="*/ 262043 h 415741"/>
                <a:gd name="connsiteX25" fmla="*/ 220469 w 264562"/>
                <a:gd name="connsiteY25" fmla="*/ 257004 h 415741"/>
                <a:gd name="connsiteX26" fmla="*/ 219209 w 264562"/>
                <a:gd name="connsiteY26" fmla="*/ 255744 h 415741"/>
                <a:gd name="connsiteX27" fmla="*/ 219209 w 264562"/>
                <a:gd name="connsiteY27" fmla="*/ 255744 h 415741"/>
                <a:gd name="connsiteX28" fmla="*/ 219209 w 264562"/>
                <a:gd name="connsiteY28" fmla="*/ 255744 h 415741"/>
                <a:gd name="connsiteX29" fmla="*/ 216690 w 264562"/>
                <a:gd name="connsiteY29" fmla="*/ 253224 h 415741"/>
                <a:gd name="connsiteX30" fmla="*/ 216690 w 264562"/>
                <a:gd name="connsiteY30" fmla="*/ 253224 h 415741"/>
                <a:gd name="connsiteX31" fmla="*/ 216690 w 264562"/>
                <a:gd name="connsiteY31" fmla="*/ 253224 h 415741"/>
                <a:gd name="connsiteX32" fmla="*/ 216690 w 264562"/>
                <a:gd name="connsiteY32" fmla="*/ 253224 h 415741"/>
                <a:gd name="connsiteX33" fmla="*/ 216690 w 264562"/>
                <a:gd name="connsiteY33" fmla="*/ 253224 h 415741"/>
                <a:gd name="connsiteX34" fmla="*/ 210390 w 264562"/>
                <a:gd name="connsiteY34" fmla="*/ 240626 h 415741"/>
                <a:gd name="connsiteX35" fmla="*/ 206611 w 264562"/>
                <a:gd name="connsiteY35" fmla="*/ 235587 h 415741"/>
                <a:gd name="connsiteX36" fmla="*/ 206611 w 264562"/>
                <a:gd name="connsiteY36" fmla="*/ 235587 h 415741"/>
                <a:gd name="connsiteX37" fmla="*/ 206611 w 264562"/>
                <a:gd name="connsiteY37" fmla="*/ 235587 h 415741"/>
                <a:gd name="connsiteX38" fmla="*/ 205351 w 264562"/>
                <a:gd name="connsiteY38" fmla="*/ 234327 h 415741"/>
                <a:gd name="connsiteX39" fmla="*/ 205351 w 264562"/>
                <a:gd name="connsiteY39" fmla="*/ 233067 h 415741"/>
                <a:gd name="connsiteX40" fmla="*/ 202832 w 264562"/>
                <a:gd name="connsiteY40" fmla="*/ 229288 h 415741"/>
                <a:gd name="connsiteX41" fmla="*/ 200312 w 264562"/>
                <a:gd name="connsiteY41" fmla="*/ 224249 h 415741"/>
                <a:gd name="connsiteX42" fmla="*/ 191493 w 264562"/>
                <a:gd name="connsiteY42" fmla="*/ 210390 h 415741"/>
                <a:gd name="connsiteX43" fmla="*/ 188973 w 264562"/>
                <a:gd name="connsiteY43" fmla="*/ 206611 h 415741"/>
                <a:gd name="connsiteX44" fmla="*/ 181414 w 264562"/>
                <a:gd name="connsiteY44" fmla="*/ 196532 h 415741"/>
                <a:gd name="connsiteX45" fmla="*/ 181414 w 264562"/>
                <a:gd name="connsiteY45" fmla="*/ 196532 h 415741"/>
                <a:gd name="connsiteX46" fmla="*/ 180155 w 264562"/>
                <a:gd name="connsiteY46" fmla="*/ 195273 h 415741"/>
                <a:gd name="connsiteX47" fmla="*/ 176375 w 264562"/>
                <a:gd name="connsiteY47" fmla="*/ 191493 h 415741"/>
                <a:gd name="connsiteX48" fmla="*/ 173856 w 264562"/>
                <a:gd name="connsiteY48" fmla="*/ 188974 h 415741"/>
                <a:gd name="connsiteX49" fmla="*/ 173856 w 264562"/>
                <a:gd name="connsiteY49" fmla="*/ 188974 h 415741"/>
                <a:gd name="connsiteX50" fmla="*/ 171336 w 264562"/>
                <a:gd name="connsiteY50" fmla="*/ 185194 h 415741"/>
                <a:gd name="connsiteX51" fmla="*/ 170076 w 264562"/>
                <a:gd name="connsiteY51" fmla="*/ 182674 h 415741"/>
                <a:gd name="connsiteX52" fmla="*/ 168816 w 264562"/>
                <a:gd name="connsiteY52" fmla="*/ 180155 h 415741"/>
                <a:gd name="connsiteX53" fmla="*/ 168816 w 264562"/>
                <a:gd name="connsiteY53" fmla="*/ 178895 h 415741"/>
                <a:gd name="connsiteX54" fmla="*/ 167557 w 264562"/>
                <a:gd name="connsiteY54" fmla="*/ 176375 h 415741"/>
                <a:gd name="connsiteX55" fmla="*/ 166297 w 264562"/>
                <a:gd name="connsiteY55" fmla="*/ 175115 h 415741"/>
                <a:gd name="connsiteX56" fmla="*/ 154958 w 264562"/>
                <a:gd name="connsiteY56" fmla="*/ 159998 h 415741"/>
                <a:gd name="connsiteX57" fmla="*/ 153698 w 264562"/>
                <a:gd name="connsiteY57" fmla="*/ 157478 h 415741"/>
                <a:gd name="connsiteX58" fmla="*/ 142360 w 264562"/>
                <a:gd name="connsiteY58" fmla="*/ 137321 h 415741"/>
                <a:gd name="connsiteX59" fmla="*/ 138581 w 264562"/>
                <a:gd name="connsiteY59" fmla="*/ 131022 h 415741"/>
                <a:gd name="connsiteX60" fmla="*/ 137321 w 264562"/>
                <a:gd name="connsiteY60" fmla="*/ 127242 h 415741"/>
                <a:gd name="connsiteX61" fmla="*/ 133541 w 264562"/>
                <a:gd name="connsiteY61" fmla="*/ 120943 h 415741"/>
                <a:gd name="connsiteX62" fmla="*/ 132281 w 264562"/>
                <a:gd name="connsiteY62" fmla="*/ 117164 h 415741"/>
                <a:gd name="connsiteX63" fmla="*/ 127242 w 264562"/>
                <a:gd name="connsiteY63" fmla="*/ 103305 h 415741"/>
                <a:gd name="connsiteX64" fmla="*/ 123463 w 264562"/>
                <a:gd name="connsiteY64" fmla="*/ 90707 h 415741"/>
                <a:gd name="connsiteX65" fmla="*/ 120943 w 264562"/>
                <a:gd name="connsiteY65" fmla="*/ 81889 h 415741"/>
                <a:gd name="connsiteX66" fmla="*/ 120943 w 264562"/>
                <a:gd name="connsiteY66" fmla="*/ 81889 h 415741"/>
                <a:gd name="connsiteX67" fmla="*/ 119683 w 264562"/>
                <a:gd name="connsiteY67" fmla="*/ 76849 h 415741"/>
                <a:gd name="connsiteX68" fmla="*/ 115904 w 264562"/>
                <a:gd name="connsiteY68" fmla="*/ 62991 h 415741"/>
                <a:gd name="connsiteX69" fmla="*/ 115904 w 264562"/>
                <a:gd name="connsiteY69" fmla="*/ 59212 h 415741"/>
                <a:gd name="connsiteX70" fmla="*/ 115904 w 264562"/>
                <a:gd name="connsiteY70" fmla="*/ 59212 h 415741"/>
                <a:gd name="connsiteX71" fmla="*/ 114644 w 264562"/>
                <a:gd name="connsiteY71" fmla="*/ 52913 h 415741"/>
                <a:gd name="connsiteX72" fmla="*/ 112124 w 264562"/>
                <a:gd name="connsiteY72" fmla="*/ 42834 h 415741"/>
                <a:gd name="connsiteX73" fmla="*/ 112124 w 264562"/>
                <a:gd name="connsiteY73" fmla="*/ 41574 h 415741"/>
                <a:gd name="connsiteX74" fmla="*/ 109605 w 264562"/>
                <a:gd name="connsiteY74" fmla="*/ 34015 h 415741"/>
                <a:gd name="connsiteX75" fmla="*/ 104565 w 264562"/>
                <a:gd name="connsiteY75" fmla="*/ 23937 h 415741"/>
                <a:gd name="connsiteX76" fmla="*/ 102046 w 264562"/>
                <a:gd name="connsiteY76" fmla="*/ 20157 h 415741"/>
                <a:gd name="connsiteX77" fmla="*/ 98266 w 264562"/>
                <a:gd name="connsiteY77" fmla="*/ 16378 h 415741"/>
                <a:gd name="connsiteX78" fmla="*/ 97006 w 264562"/>
                <a:gd name="connsiteY78" fmla="*/ 15118 h 415741"/>
                <a:gd name="connsiteX79" fmla="*/ 94487 w 264562"/>
                <a:gd name="connsiteY79" fmla="*/ 12598 h 415741"/>
                <a:gd name="connsiteX80" fmla="*/ 93227 w 264562"/>
                <a:gd name="connsiteY80" fmla="*/ 12598 h 415741"/>
                <a:gd name="connsiteX81" fmla="*/ 88188 w 264562"/>
                <a:gd name="connsiteY81" fmla="*/ 8819 h 415741"/>
                <a:gd name="connsiteX82" fmla="*/ 88188 w 264562"/>
                <a:gd name="connsiteY82" fmla="*/ 8819 h 415741"/>
                <a:gd name="connsiteX83" fmla="*/ 78109 w 264562"/>
                <a:gd name="connsiteY83" fmla="*/ 3780 h 415741"/>
                <a:gd name="connsiteX84" fmla="*/ 68030 w 264562"/>
                <a:gd name="connsiteY84" fmla="*/ 1260 h 415741"/>
                <a:gd name="connsiteX85" fmla="*/ 66771 w 264562"/>
                <a:gd name="connsiteY85" fmla="*/ 1260 h 415741"/>
                <a:gd name="connsiteX86" fmla="*/ 50393 w 264562"/>
                <a:gd name="connsiteY86" fmla="*/ 0 h 415741"/>
                <a:gd name="connsiteX87" fmla="*/ 47873 w 264562"/>
                <a:gd name="connsiteY87" fmla="*/ 0 h 415741"/>
                <a:gd name="connsiteX88" fmla="*/ 35275 w 264562"/>
                <a:gd name="connsiteY88" fmla="*/ 2520 h 415741"/>
                <a:gd name="connsiteX89" fmla="*/ 31496 w 264562"/>
                <a:gd name="connsiteY89" fmla="*/ 3780 h 415741"/>
                <a:gd name="connsiteX90" fmla="*/ 27716 w 264562"/>
                <a:gd name="connsiteY90" fmla="*/ 5039 h 415741"/>
                <a:gd name="connsiteX91" fmla="*/ 21417 w 264562"/>
                <a:gd name="connsiteY91" fmla="*/ 10079 h 415741"/>
                <a:gd name="connsiteX92" fmla="*/ 16378 w 264562"/>
                <a:gd name="connsiteY92" fmla="*/ 15118 h 415741"/>
                <a:gd name="connsiteX93" fmla="*/ 15118 w 264562"/>
                <a:gd name="connsiteY93" fmla="*/ 16378 h 415741"/>
                <a:gd name="connsiteX94" fmla="*/ 15118 w 264562"/>
                <a:gd name="connsiteY94" fmla="*/ 16378 h 415741"/>
                <a:gd name="connsiteX95" fmla="*/ 13858 w 264562"/>
                <a:gd name="connsiteY95" fmla="*/ 17637 h 415741"/>
                <a:gd name="connsiteX96" fmla="*/ 12598 w 264562"/>
                <a:gd name="connsiteY96" fmla="*/ 20157 h 415741"/>
                <a:gd name="connsiteX97" fmla="*/ 12598 w 264562"/>
                <a:gd name="connsiteY97" fmla="*/ 20157 h 415741"/>
                <a:gd name="connsiteX98" fmla="*/ 12598 w 264562"/>
                <a:gd name="connsiteY98" fmla="*/ 20157 h 415741"/>
                <a:gd name="connsiteX99" fmla="*/ 7559 w 264562"/>
                <a:gd name="connsiteY99" fmla="*/ 27716 h 415741"/>
                <a:gd name="connsiteX100" fmla="*/ 3780 w 264562"/>
                <a:gd name="connsiteY100" fmla="*/ 36535 h 415741"/>
                <a:gd name="connsiteX101" fmla="*/ 1260 w 264562"/>
                <a:gd name="connsiteY101" fmla="*/ 45354 h 415741"/>
                <a:gd name="connsiteX102" fmla="*/ 0 w 264562"/>
                <a:gd name="connsiteY102" fmla="*/ 51653 h 415741"/>
                <a:gd name="connsiteX103" fmla="*/ 0 w 264562"/>
                <a:gd name="connsiteY103" fmla="*/ 52913 h 415741"/>
                <a:gd name="connsiteX104" fmla="*/ 0 w 264562"/>
                <a:gd name="connsiteY104" fmla="*/ 55432 h 415741"/>
                <a:gd name="connsiteX105" fmla="*/ 0 w 264562"/>
                <a:gd name="connsiteY105" fmla="*/ 55432 h 415741"/>
                <a:gd name="connsiteX106" fmla="*/ 0 w 264562"/>
                <a:gd name="connsiteY106" fmla="*/ 55432 h 415741"/>
                <a:gd name="connsiteX107" fmla="*/ 0 w 264562"/>
                <a:gd name="connsiteY107" fmla="*/ 55432 h 415741"/>
                <a:gd name="connsiteX108" fmla="*/ 0 w 264562"/>
                <a:gd name="connsiteY108" fmla="*/ 55432 h 415741"/>
                <a:gd name="connsiteX109" fmla="*/ 0 w 264562"/>
                <a:gd name="connsiteY109" fmla="*/ 57952 h 415741"/>
                <a:gd name="connsiteX110" fmla="*/ 0 w 264562"/>
                <a:gd name="connsiteY110" fmla="*/ 61731 h 415741"/>
                <a:gd name="connsiteX111" fmla="*/ 0 w 264562"/>
                <a:gd name="connsiteY111" fmla="*/ 62991 h 415741"/>
                <a:gd name="connsiteX112" fmla="*/ 0 w 264562"/>
                <a:gd name="connsiteY112" fmla="*/ 66771 h 415741"/>
                <a:gd name="connsiteX113" fmla="*/ 0 w 264562"/>
                <a:gd name="connsiteY113" fmla="*/ 78109 h 415741"/>
                <a:gd name="connsiteX114" fmla="*/ 0 w 264562"/>
                <a:gd name="connsiteY114" fmla="*/ 81889 h 415741"/>
                <a:gd name="connsiteX115" fmla="*/ 0 w 264562"/>
                <a:gd name="connsiteY115" fmla="*/ 88188 h 415741"/>
                <a:gd name="connsiteX116" fmla="*/ 0 w 264562"/>
                <a:gd name="connsiteY116" fmla="*/ 93227 h 415741"/>
                <a:gd name="connsiteX117" fmla="*/ 0 w 264562"/>
                <a:gd name="connsiteY117" fmla="*/ 94487 h 415741"/>
                <a:gd name="connsiteX118" fmla="*/ 0 w 264562"/>
                <a:gd name="connsiteY118" fmla="*/ 95746 h 415741"/>
                <a:gd name="connsiteX119" fmla="*/ 0 w 264562"/>
                <a:gd name="connsiteY119" fmla="*/ 99526 h 415741"/>
                <a:gd name="connsiteX120" fmla="*/ 0 w 264562"/>
                <a:gd name="connsiteY120" fmla="*/ 100786 h 415741"/>
                <a:gd name="connsiteX121" fmla="*/ 1260 w 264562"/>
                <a:gd name="connsiteY121" fmla="*/ 109605 h 415741"/>
                <a:gd name="connsiteX122" fmla="*/ 2520 w 264562"/>
                <a:gd name="connsiteY122" fmla="*/ 114644 h 415741"/>
                <a:gd name="connsiteX123" fmla="*/ 3780 w 264562"/>
                <a:gd name="connsiteY123" fmla="*/ 119683 h 415741"/>
                <a:gd name="connsiteX124" fmla="*/ 3780 w 264562"/>
                <a:gd name="connsiteY124" fmla="*/ 120943 h 415741"/>
                <a:gd name="connsiteX125" fmla="*/ 7559 w 264562"/>
                <a:gd name="connsiteY125" fmla="*/ 141100 h 415741"/>
                <a:gd name="connsiteX126" fmla="*/ 8819 w 264562"/>
                <a:gd name="connsiteY126" fmla="*/ 143620 h 415741"/>
                <a:gd name="connsiteX127" fmla="*/ 8819 w 264562"/>
                <a:gd name="connsiteY127" fmla="*/ 143620 h 415741"/>
                <a:gd name="connsiteX128" fmla="*/ 10079 w 264562"/>
                <a:gd name="connsiteY128" fmla="*/ 149919 h 415741"/>
                <a:gd name="connsiteX129" fmla="*/ 10079 w 264562"/>
                <a:gd name="connsiteY129" fmla="*/ 151179 h 415741"/>
                <a:gd name="connsiteX130" fmla="*/ 12598 w 264562"/>
                <a:gd name="connsiteY130" fmla="*/ 159998 h 415741"/>
                <a:gd name="connsiteX131" fmla="*/ 18897 w 264562"/>
                <a:gd name="connsiteY131" fmla="*/ 180155 h 415741"/>
                <a:gd name="connsiteX132" fmla="*/ 26456 w 264562"/>
                <a:gd name="connsiteY132" fmla="*/ 200312 h 415741"/>
                <a:gd name="connsiteX133" fmla="*/ 27716 w 264562"/>
                <a:gd name="connsiteY133" fmla="*/ 202831 h 415741"/>
                <a:gd name="connsiteX134" fmla="*/ 27716 w 264562"/>
                <a:gd name="connsiteY134" fmla="*/ 202831 h 415741"/>
                <a:gd name="connsiteX135" fmla="*/ 30236 w 264562"/>
                <a:gd name="connsiteY135" fmla="*/ 209131 h 415741"/>
                <a:gd name="connsiteX136" fmla="*/ 35275 w 264562"/>
                <a:gd name="connsiteY136" fmla="*/ 219209 h 415741"/>
                <a:gd name="connsiteX137" fmla="*/ 36535 w 264562"/>
                <a:gd name="connsiteY137" fmla="*/ 221729 h 415741"/>
                <a:gd name="connsiteX138" fmla="*/ 40314 w 264562"/>
                <a:gd name="connsiteY138" fmla="*/ 229288 h 415741"/>
                <a:gd name="connsiteX139" fmla="*/ 44094 w 264562"/>
                <a:gd name="connsiteY139" fmla="*/ 236847 h 415741"/>
                <a:gd name="connsiteX140" fmla="*/ 45354 w 264562"/>
                <a:gd name="connsiteY140" fmla="*/ 239366 h 415741"/>
                <a:gd name="connsiteX141" fmla="*/ 54172 w 264562"/>
                <a:gd name="connsiteY141" fmla="*/ 258264 h 415741"/>
                <a:gd name="connsiteX142" fmla="*/ 59212 w 264562"/>
                <a:gd name="connsiteY142" fmla="*/ 268342 h 415741"/>
                <a:gd name="connsiteX143" fmla="*/ 64251 w 264562"/>
                <a:gd name="connsiteY143" fmla="*/ 275901 h 415741"/>
                <a:gd name="connsiteX144" fmla="*/ 64251 w 264562"/>
                <a:gd name="connsiteY144" fmla="*/ 275901 h 415741"/>
                <a:gd name="connsiteX145" fmla="*/ 65511 w 264562"/>
                <a:gd name="connsiteY145" fmla="*/ 277161 h 415741"/>
                <a:gd name="connsiteX146" fmla="*/ 65511 w 264562"/>
                <a:gd name="connsiteY146" fmla="*/ 278421 h 415741"/>
                <a:gd name="connsiteX147" fmla="*/ 76849 w 264562"/>
                <a:gd name="connsiteY147" fmla="*/ 296058 h 415741"/>
                <a:gd name="connsiteX148" fmla="*/ 81889 w 264562"/>
                <a:gd name="connsiteY148" fmla="*/ 303617 h 415741"/>
                <a:gd name="connsiteX149" fmla="*/ 81889 w 264562"/>
                <a:gd name="connsiteY149" fmla="*/ 303617 h 415741"/>
                <a:gd name="connsiteX150" fmla="*/ 81889 w 264562"/>
                <a:gd name="connsiteY150" fmla="*/ 303617 h 415741"/>
                <a:gd name="connsiteX151" fmla="*/ 88188 w 264562"/>
                <a:gd name="connsiteY151" fmla="*/ 313696 h 415741"/>
                <a:gd name="connsiteX152" fmla="*/ 93227 w 264562"/>
                <a:gd name="connsiteY152" fmla="*/ 321255 h 415741"/>
                <a:gd name="connsiteX153" fmla="*/ 99526 w 264562"/>
                <a:gd name="connsiteY153" fmla="*/ 330074 h 415741"/>
                <a:gd name="connsiteX154" fmla="*/ 112124 w 264562"/>
                <a:gd name="connsiteY154" fmla="*/ 346451 h 415741"/>
                <a:gd name="connsiteX155" fmla="*/ 114644 w 264562"/>
                <a:gd name="connsiteY155" fmla="*/ 350231 h 415741"/>
                <a:gd name="connsiteX156" fmla="*/ 123463 w 264562"/>
                <a:gd name="connsiteY156" fmla="*/ 362829 h 415741"/>
                <a:gd name="connsiteX157" fmla="*/ 128502 w 264562"/>
                <a:gd name="connsiteY157" fmla="*/ 370388 h 415741"/>
                <a:gd name="connsiteX158" fmla="*/ 133541 w 264562"/>
                <a:gd name="connsiteY158" fmla="*/ 376687 h 415741"/>
                <a:gd name="connsiteX159" fmla="*/ 134801 w 264562"/>
                <a:gd name="connsiteY159" fmla="*/ 377947 h 415741"/>
                <a:gd name="connsiteX160" fmla="*/ 137321 w 264562"/>
                <a:gd name="connsiteY160" fmla="*/ 381727 h 415741"/>
                <a:gd name="connsiteX161" fmla="*/ 137321 w 264562"/>
                <a:gd name="connsiteY161" fmla="*/ 381727 h 415741"/>
                <a:gd name="connsiteX162" fmla="*/ 148659 w 264562"/>
                <a:gd name="connsiteY162" fmla="*/ 394325 h 415741"/>
                <a:gd name="connsiteX163" fmla="*/ 152439 w 264562"/>
                <a:gd name="connsiteY163" fmla="*/ 398104 h 415741"/>
                <a:gd name="connsiteX164" fmla="*/ 153698 w 264562"/>
                <a:gd name="connsiteY164" fmla="*/ 399364 h 415741"/>
                <a:gd name="connsiteX165" fmla="*/ 156218 w 264562"/>
                <a:gd name="connsiteY165" fmla="*/ 401884 h 415741"/>
                <a:gd name="connsiteX166" fmla="*/ 156218 w 264562"/>
                <a:gd name="connsiteY166" fmla="*/ 401884 h 415741"/>
                <a:gd name="connsiteX167" fmla="*/ 163777 w 264562"/>
                <a:gd name="connsiteY167" fmla="*/ 406923 h 415741"/>
                <a:gd name="connsiteX168" fmla="*/ 166297 w 264562"/>
                <a:gd name="connsiteY168" fmla="*/ 409443 h 415741"/>
                <a:gd name="connsiteX169" fmla="*/ 167557 w 264562"/>
                <a:gd name="connsiteY169" fmla="*/ 410702 h 415741"/>
                <a:gd name="connsiteX170" fmla="*/ 167557 w 264562"/>
                <a:gd name="connsiteY170" fmla="*/ 410702 h 415741"/>
                <a:gd name="connsiteX171" fmla="*/ 171336 w 264562"/>
                <a:gd name="connsiteY171" fmla="*/ 413222 h 415741"/>
                <a:gd name="connsiteX172" fmla="*/ 177635 w 264562"/>
                <a:gd name="connsiteY172" fmla="*/ 415742 h 415741"/>
                <a:gd name="connsiteX173" fmla="*/ 181414 w 264562"/>
                <a:gd name="connsiteY173" fmla="*/ 417001 h 415741"/>
                <a:gd name="connsiteX174" fmla="*/ 182674 w 264562"/>
                <a:gd name="connsiteY174" fmla="*/ 417001 h 415741"/>
                <a:gd name="connsiteX175" fmla="*/ 188973 w 264562"/>
                <a:gd name="connsiteY175" fmla="*/ 419521 h 415741"/>
                <a:gd name="connsiteX176" fmla="*/ 197792 w 264562"/>
                <a:gd name="connsiteY176" fmla="*/ 422041 h 415741"/>
                <a:gd name="connsiteX177" fmla="*/ 210390 w 264562"/>
                <a:gd name="connsiteY177" fmla="*/ 423301 h 415741"/>
                <a:gd name="connsiteX178" fmla="*/ 215430 w 264562"/>
                <a:gd name="connsiteY178" fmla="*/ 423301 h 415741"/>
                <a:gd name="connsiteX179" fmla="*/ 216690 w 264562"/>
                <a:gd name="connsiteY179" fmla="*/ 423301 h 415741"/>
                <a:gd name="connsiteX180" fmla="*/ 221729 w 264562"/>
                <a:gd name="connsiteY180" fmla="*/ 423301 h 415741"/>
                <a:gd name="connsiteX181" fmla="*/ 222989 w 264562"/>
                <a:gd name="connsiteY181" fmla="*/ 423301 h 415741"/>
                <a:gd name="connsiteX182" fmla="*/ 228028 w 264562"/>
                <a:gd name="connsiteY182" fmla="*/ 422041 h 415741"/>
                <a:gd name="connsiteX183" fmla="*/ 234327 w 264562"/>
                <a:gd name="connsiteY183" fmla="*/ 419521 h 415741"/>
                <a:gd name="connsiteX184" fmla="*/ 239366 w 264562"/>
                <a:gd name="connsiteY184" fmla="*/ 417001 h 415741"/>
                <a:gd name="connsiteX185" fmla="*/ 245666 w 264562"/>
                <a:gd name="connsiteY185" fmla="*/ 411962 h 415741"/>
                <a:gd name="connsiteX186" fmla="*/ 249445 w 264562"/>
                <a:gd name="connsiteY186" fmla="*/ 406923 h 415741"/>
                <a:gd name="connsiteX187" fmla="*/ 251965 w 264562"/>
                <a:gd name="connsiteY187" fmla="*/ 403143 h 415741"/>
                <a:gd name="connsiteX188" fmla="*/ 255744 w 264562"/>
                <a:gd name="connsiteY188" fmla="*/ 395584 h 415741"/>
                <a:gd name="connsiteX189" fmla="*/ 255744 w 264562"/>
                <a:gd name="connsiteY189" fmla="*/ 394325 h 415741"/>
                <a:gd name="connsiteX190" fmla="*/ 255744 w 264562"/>
                <a:gd name="connsiteY190" fmla="*/ 393065 h 415741"/>
                <a:gd name="connsiteX191" fmla="*/ 257004 w 264562"/>
                <a:gd name="connsiteY191" fmla="*/ 390545 h 415741"/>
                <a:gd name="connsiteX192" fmla="*/ 257004 w 264562"/>
                <a:gd name="connsiteY192" fmla="*/ 390545 h 415741"/>
                <a:gd name="connsiteX193" fmla="*/ 259524 w 264562"/>
                <a:gd name="connsiteY193" fmla="*/ 376687 h 415741"/>
                <a:gd name="connsiteX194" fmla="*/ 259524 w 264562"/>
                <a:gd name="connsiteY194" fmla="*/ 371648 h 415741"/>
                <a:gd name="connsiteX195" fmla="*/ 259524 w 264562"/>
                <a:gd name="connsiteY195" fmla="*/ 370388 h 415741"/>
                <a:gd name="connsiteX196" fmla="*/ 259524 w 264562"/>
                <a:gd name="connsiteY196" fmla="*/ 369128 h 415741"/>
                <a:gd name="connsiteX197" fmla="*/ 259524 w 264562"/>
                <a:gd name="connsiteY197" fmla="*/ 366608 h 415741"/>
                <a:gd name="connsiteX198" fmla="*/ 265823 w 264562"/>
                <a:gd name="connsiteY198" fmla="*/ 364089 h 41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264562" h="415741">
                  <a:moveTo>
                    <a:pt x="265823" y="364089"/>
                  </a:moveTo>
                  <a:cubicBezTo>
                    <a:pt x="265823" y="362829"/>
                    <a:pt x="265823" y="362829"/>
                    <a:pt x="265823" y="361569"/>
                  </a:cubicBezTo>
                  <a:cubicBezTo>
                    <a:pt x="265823" y="359050"/>
                    <a:pt x="265823" y="356530"/>
                    <a:pt x="264563" y="354010"/>
                  </a:cubicBezTo>
                  <a:cubicBezTo>
                    <a:pt x="264563" y="352751"/>
                    <a:pt x="264563" y="352751"/>
                    <a:pt x="264563" y="351491"/>
                  </a:cubicBezTo>
                  <a:lnTo>
                    <a:pt x="264563" y="351491"/>
                  </a:lnTo>
                  <a:lnTo>
                    <a:pt x="264563" y="351491"/>
                  </a:lnTo>
                  <a:cubicBezTo>
                    <a:pt x="264563" y="350231"/>
                    <a:pt x="264563" y="348971"/>
                    <a:pt x="263303" y="346451"/>
                  </a:cubicBezTo>
                  <a:cubicBezTo>
                    <a:pt x="263303" y="346451"/>
                    <a:pt x="263303" y="346451"/>
                    <a:pt x="263303" y="345192"/>
                  </a:cubicBezTo>
                  <a:cubicBezTo>
                    <a:pt x="263303" y="343932"/>
                    <a:pt x="262043" y="342672"/>
                    <a:pt x="262043" y="341412"/>
                  </a:cubicBezTo>
                  <a:cubicBezTo>
                    <a:pt x="259524" y="335113"/>
                    <a:pt x="257004" y="328814"/>
                    <a:pt x="254484" y="322515"/>
                  </a:cubicBezTo>
                  <a:cubicBezTo>
                    <a:pt x="254484" y="322515"/>
                    <a:pt x="254484" y="321255"/>
                    <a:pt x="254484" y="321255"/>
                  </a:cubicBezTo>
                  <a:cubicBezTo>
                    <a:pt x="254484" y="319995"/>
                    <a:pt x="253225" y="319995"/>
                    <a:pt x="253225" y="318735"/>
                  </a:cubicBezTo>
                  <a:lnTo>
                    <a:pt x="253225" y="317475"/>
                  </a:lnTo>
                  <a:cubicBezTo>
                    <a:pt x="250705" y="313696"/>
                    <a:pt x="249445" y="308657"/>
                    <a:pt x="246925" y="304877"/>
                  </a:cubicBezTo>
                  <a:cubicBezTo>
                    <a:pt x="245666" y="302358"/>
                    <a:pt x="244406" y="301098"/>
                    <a:pt x="243146" y="298578"/>
                  </a:cubicBezTo>
                  <a:cubicBezTo>
                    <a:pt x="241886" y="296058"/>
                    <a:pt x="240626" y="293539"/>
                    <a:pt x="239366" y="291019"/>
                  </a:cubicBezTo>
                  <a:cubicBezTo>
                    <a:pt x="238107" y="288499"/>
                    <a:pt x="236847" y="285980"/>
                    <a:pt x="235587" y="283460"/>
                  </a:cubicBezTo>
                  <a:lnTo>
                    <a:pt x="235587" y="282200"/>
                  </a:lnTo>
                  <a:lnTo>
                    <a:pt x="235587" y="282200"/>
                  </a:lnTo>
                  <a:lnTo>
                    <a:pt x="234327" y="279681"/>
                  </a:lnTo>
                  <a:lnTo>
                    <a:pt x="233067" y="278421"/>
                  </a:lnTo>
                  <a:cubicBezTo>
                    <a:pt x="231807" y="275901"/>
                    <a:pt x="230548" y="273382"/>
                    <a:pt x="229288" y="270862"/>
                  </a:cubicBezTo>
                  <a:cubicBezTo>
                    <a:pt x="229288" y="270862"/>
                    <a:pt x="229288" y="270862"/>
                    <a:pt x="229288" y="270862"/>
                  </a:cubicBezTo>
                  <a:cubicBezTo>
                    <a:pt x="228028" y="268342"/>
                    <a:pt x="226768" y="267083"/>
                    <a:pt x="225508" y="264563"/>
                  </a:cubicBezTo>
                  <a:cubicBezTo>
                    <a:pt x="225508" y="263303"/>
                    <a:pt x="224249" y="263303"/>
                    <a:pt x="224249" y="262043"/>
                  </a:cubicBezTo>
                  <a:cubicBezTo>
                    <a:pt x="222989" y="260783"/>
                    <a:pt x="221729" y="258264"/>
                    <a:pt x="220469" y="257004"/>
                  </a:cubicBezTo>
                  <a:cubicBezTo>
                    <a:pt x="220469" y="257004"/>
                    <a:pt x="219209" y="255744"/>
                    <a:pt x="219209" y="255744"/>
                  </a:cubicBezTo>
                  <a:lnTo>
                    <a:pt x="219209" y="255744"/>
                  </a:lnTo>
                  <a:lnTo>
                    <a:pt x="219209" y="255744"/>
                  </a:lnTo>
                  <a:cubicBezTo>
                    <a:pt x="217949" y="254484"/>
                    <a:pt x="217949" y="254484"/>
                    <a:pt x="216690" y="253224"/>
                  </a:cubicBezTo>
                  <a:lnTo>
                    <a:pt x="216690" y="253224"/>
                  </a:lnTo>
                  <a:lnTo>
                    <a:pt x="216690" y="253224"/>
                  </a:lnTo>
                  <a:lnTo>
                    <a:pt x="216690" y="253224"/>
                  </a:lnTo>
                  <a:lnTo>
                    <a:pt x="216690" y="253224"/>
                  </a:lnTo>
                  <a:cubicBezTo>
                    <a:pt x="214170" y="248185"/>
                    <a:pt x="212910" y="244406"/>
                    <a:pt x="210390" y="240626"/>
                  </a:cubicBezTo>
                  <a:cubicBezTo>
                    <a:pt x="209131" y="239366"/>
                    <a:pt x="207871" y="236847"/>
                    <a:pt x="206611" y="235587"/>
                  </a:cubicBezTo>
                  <a:lnTo>
                    <a:pt x="206611" y="235587"/>
                  </a:lnTo>
                  <a:lnTo>
                    <a:pt x="206611" y="235587"/>
                  </a:lnTo>
                  <a:lnTo>
                    <a:pt x="205351" y="234327"/>
                  </a:lnTo>
                  <a:lnTo>
                    <a:pt x="205351" y="233067"/>
                  </a:lnTo>
                  <a:cubicBezTo>
                    <a:pt x="204091" y="231807"/>
                    <a:pt x="204091" y="230548"/>
                    <a:pt x="202832" y="229288"/>
                  </a:cubicBezTo>
                  <a:cubicBezTo>
                    <a:pt x="201572" y="228028"/>
                    <a:pt x="201572" y="226768"/>
                    <a:pt x="200312" y="224249"/>
                  </a:cubicBezTo>
                  <a:cubicBezTo>
                    <a:pt x="197792" y="220469"/>
                    <a:pt x="194013" y="215430"/>
                    <a:pt x="191493" y="210390"/>
                  </a:cubicBezTo>
                  <a:cubicBezTo>
                    <a:pt x="190233" y="209131"/>
                    <a:pt x="190233" y="207871"/>
                    <a:pt x="188973" y="206611"/>
                  </a:cubicBezTo>
                  <a:cubicBezTo>
                    <a:pt x="186454" y="202831"/>
                    <a:pt x="183934" y="200312"/>
                    <a:pt x="181414" y="196532"/>
                  </a:cubicBezTo>
                  <a:lnTo>
                    <a:pt x="181414" y="196532"/>
                  </a:lnTo>
                  <a:cubicBezTo>
                    <a:pt x="181414" y="196532"/>
                    <a:pt x="180155" y="195273"/>
                    <a:pt x="180155" y="195273"/>
                  </a:cubicBezTo>
                  <a:cubicBezTo>
                    <a:pt x="178895" y="194013"/>
                    <a:pt x="177635" y="192753"/>
                    <a:pt x="176375" y="191493"/>
                  </a:cubicBezTo>
                  <a:cubicBezTo>
                    <a:pt x="175115" y="190233"/>
                    <a:pt x="175115" y="188974"/>
                    <a:pt x="173856" y="188974"/>
                  </a:cubicBezTo>
                  <a:lnTo>
                    <a:pt x="173856" y="188974"/>
                  </a:lnTo>
                  <a:cubicBezTo>
                    <a:pt x="172596" y="187714"/>
                    <a:pt x="171336" y="186454"/>
                    <a:pt x="171336" y="185194"/>
                  </a:cubicBezTo>
                  <a:cubicBezTo>
                    <a:pt x="171336" y="183934"/>
                    <a:pt x="170076" y="183934"/>
                    <a:pt x="170076" y="182674"/>
                  </a:cubicBezTo>
                  <a:cubicBezTo>
                    <a:pt x="170076" y="181414"/>
                    <a:pt x="168816" y="181414"/>
                    <a:pt x="168816" y="180155"/>
                  </a:cubicBezTo>
                  <a:cubicBezTo>
                    <a:pt x="168816" y="180155"/>
                    <a:pt x="168816" y="180155"/>
                    <a:pt x="168816" y="178895"/>
                  </a:cubicBezTo>
                  <a:cubicBezTo>
                    <a:pt x="168816" y="177635"/>
                    <a:pt x="167557" y="177635"/>
                    <a:pt x="167557" y="176375"/>
                  </a:cubicBezTo>
                  <a:cubicBezTo>
                    <a:pt x="167557" y="176375"/>
                    <a:pt x="166297" y="175115"/>
                    <a:pt x="166297" y="175115"/>
                  </a:cubicBezTo>
                  <a:cubicBezTo>
                    <a:pt x="162517" y="170076"/>
                    <a:pt x="158738" y="165037"/>
                    <a:pt x="154958" y="159998"/>
                  </a:cubicBezTo>
                  <a:cubicBezTo>
                    <a:pt x="154958" y="158738"/>
                    <a:pt x="153698" y="158738"/>
                    <a:pt x="153698" y="157478"/>
                  </a:cubicBezTo>
                  <a:cubicBezTo>
                    <a:pt x="149919" y="151179"/>
                    <a:pt x="146140" y="143620"/>
                    <a:pt x="142360" y="137321"/>
                  </a:cubicBezTo>
                  <a:cubicBezTo>
                    <a:pt x="141100" y="134801"/>
                    <a:pt x="139840" y="132281"/>
                    <a:pt x="138581" y="131022"/>
                  </a:cubicBezTo>
                  <a:cubicBezTo>
                    <a:pt x="138581" y="129762"/>
                    <a:pt x="137321" y="128502"/>
                    <a:pt x="137321" y="127242"/>
                  </a:cubicBezTo>
                  <a:cubicBezTo>
                    <a:pt x="136061" y="124722"/>
                    <a:pt x="134801" y="123463"/>
                    <a:pt x="133541" y="120943"/>
                  </a:cubicBezTo>
                  <a:cubicBezTo>
                    <a:pt x="133541" y="119683"/>
                    <a:pt x="132281" y="118423"/>
                    <a:pt x="132281" y="117164"/>
                  </a:cubicBezTo>
                  <a:cubicBezTo>
                    <a:pt x="131022" y="113384"/>
                    <a:pt x="128502" y="108345"/>
                    <a:pt x="127242" y="103305"/>
                  </a:cubicBezTo>
                  <a:cubicBezTo>
                    <a:pt x="125982" y="99526"/>
                    <a:pt x="124722" y="94487"/>
                    <a:pt x="123463" y="90707"/>
                  </a:cubicBezTo>
                  <a:cubicBezTo>
                    <a:pt x="122203" y="88188"/>
                    <a:pt x="122203" y="84408"/>
                    <a:pt x="120943" y="81889"/>
                  </a:cubicBezTo>
                  <a:lnTo>
                    <a:pt x="120943" y="81889"/>
                  </a:lnTo>
                  <a:cubicBezTo>
                    <a:pt x="120943" y="80629"/>
                    <a:pt x="119683" y="78109"/>
                    <a:pt x="119683" y="76849"/>
                  </a:cubicBezTo>
                  <a:cubicBezTo>
                    <a:pt x="118423" y="73070"/>
                    <a:pt x="117164" y="68030"/>
                    <a:pt x="115904" y="62991"/>
                  </a:cubicBezTo>
                  <a:cubicBezTo>
                    <a:pt x="115904" y="61731"/>
                    <a:pt x="115904" y="60472"/>
                    <a:pt x="115904" y="59212"/>
                  </a:cubicBezTo>
                  <a:lnTo>
                    <a:pt x="115904" y="59212"/>
                  </a:lnTo>
                  <a:cubicBezTo>
                    <a:pt x="115904" y="56692"/>
                    <a:pt x="115904" y="55432"/>
                    <a:pt x="114644" y="52913"/>
                  </a:cubicBezTo>
                  <a:cubicBezTo>
                    <a:pt x="114644" y="49133"/>
                    <a:pt x="113384" y="46613"/>
                    <a:pt x="112124" y="42834"/>
                  </a:cubicBezTo>
                  <a:lnTo>
                    <a:pt x="112124" y="41574"/>
                  </a:lnTo>
                  <a:cubicBezTo>
                    <a:pt x="112124" y="39054"/>
                    <a:pt x="110864" y="36535"/>
                    <a:pt x="109605" y="34015"/>
                  </a:cubicBezTo>
                  <a:cubicBezTo>
                    <a:pt x="108345" y="30236"/>
                    <a:pt x="105825" y="26456"/>
                    <a:pt x="104565" y="23937"/>
                  </a:cubicBezTo>
                  <a:cubicBezTo>
                    <a:pt x="103305" y="22677"/>
                    <a:pt x="103305" y="21417"/>
                    <a:pt x="102046" y="20157"/>
                  </a:cubicBezTo>
                  <a:cubicBezTo>
                    <a:pt x="100786" y="18897"/>
                    <a:pt x="99526" y="17637"/>
                    <a:pt x="98266" y="16378"/>
                  </a:cubicBezTo>
                  <a:cubicBezTo>
                    <a:pt x="98266" y="16378"/>
                    <a:pt x="98266" y="16378"/>
                    <a:pt x="97006" y="15118"/>
                  </a:cubicBezTo>
                  <a:cubicBezTo>
                    <a:pt x="95747" y="13858"/>
                    <a:pt x="95747" y="13858"/>
                    <a:pt x="94487" y="12598"/>
                  </a:cubicBezTo>
                  <a:cubicBezTo>
                    <a:pt x="94487" y="12598"/>
                    <a:pt x="94487" y="12598"/>
                    <a:pt x="93227" y="12598"/>
                  </a:cubicBezTo>
                  <a:cubicBezTo>
                    <a:pt x="91967" y="11338"/>
                    <a:pt x="89448" y="10079"/>
                    <a:pt x="88188" y="8819"/>
                  </a:cubicBezTo>
                  <a:lnTo>
                    <a:pt x="88188" y="8819"/>
                  </a:lnTo>
                  <a:cubicBezTo>
                    <a:pt x="85668" y="7559"/>
                    <a:pt x="81889" y="5039"/>
                    <a:pt x="78109" y="3780"/>
                  </a:cubicBezTo>
                  <a:cubicBezTo>
                    <a:pt x="74329" y="2520"/>
                    <a:pt x="71810" y="1260"/>
                    <a:pt x="68030" y="1260"/>
                  </a:cubicBezTo>
                  <a:cubicBezTo>
                    <a:pt x="68030" y="1260"/>
                    <a:pt x="66771" y="1260"/>
                    <a:pt x="66771" y="1260"/>
                  </a:cubicBezTo>
                  <a:cubicBezTo>
                    <a:pt x="61731" y="0"/>
                    <a:pt x="55432" y="0"/>
                    <a:pt x="50393" y="0"/>
                  </a:cubicBezTo>
                  <a:cubicBezTo>
                    <a:pt x="49133" y="0"/>
                    <a:pt x="49133" y="0"/>
                    <a:pt x="47873" y="0"/>
                  </a:cubicBezTo>
                  <a:cubicBezTo>
                    <a:pt x="44094" y="0"/>
                    <a:pt x="39055" y="1260"/>
                    <a:pt x="35275" y="2520"/>
                  </a:cubicBezTo>
                  <a:cubicBezTo>
                    <a:pt x="34015" y="2520"/>
                    <a:pt x="32755" y="3780"/>
                    <a:pt x="31496" y="3780"/>
                  </a:cubicBezTo>
                  <a:cubicBezTo>
                    <a:pt x="30236" y="3780"/>
                    <a:pt x="28976" y="5039"/>
                    <a:pt x="27716" y="5039"/>
                  </a:cubicBezTo>
                  <a:cubicBezTo>
                    <a:pt x="25196" y="6299"/>
                    <a:pt x="22677" y="8819"/>
                    <a:pt x="21417" y="10079"/>
                  </a:cubicBezTo>
                  <a:cubicBezTo>
                    <a:pt x="20157" y="11338"/>
                    <a:pt x="18897" y="13858"/>
                    <a:pt x="16378" y="15118"/>
                  </a:cubicBezTo>
                  <a:cubicBezTo>
                    <a:pt x="16378" y="15118"/>
                    <a:pt x="16378" y="16378"/>
                    <a:pt x="15118" y="16378"/>
                  </a:cubicBezTo>
                  <a:cubicBezTo>
                    <a:pt x="15118" y="16378"/>
                    <a:pt x="15118" y="16378"/>
                    <a:pt x="15118" y="16378"/>
                  </a:cubicBezTo>
                  <a:cubicBezTo>
                    <a:pt x="15118" y="16378"/>
                    <a:pt x="13858" y="17637"/>
                    <a:pt x="13858" y="17637"/>
                  </a:cubicBezTo>
                  <a:cubicBezTo>
                    <a:pt x="13858" y="18897"/>
                    <a:pt x="12598" y="18897"/>
                    <a:pt x="12598" y="20157"/>
                  </a:cubicBezTo>
                  <a:lnTo>
                    <a:pt x="12598" y="20157"/>
                  </a:lnTo>
                  <a:cubicBezTo>
                    <a:pt x="12598" y="20157"/>
                    <a:pt x="12598" y="20157"/>
                    <a:pt x="12598" y="20157"/>
                  </a:cubicBezTo>
                  <a:cubicBezTo>
                    <a:pt x="11338" y="22677"/>
                    <a:pt x="8819" y="23937"/>
                    <a:pt x="7559" y="27716"/>
                  </a:cubicBezTo>
                  <a:cubicBezTo>
                    <a:pt x="6299" y="30236"/>
                    <a:pt x="5039" y="32755"/>
                    <a:pt x="3780" y="36535"/>
                  </a:cubicBezTo>
                  <a:cubicBezTo>
                    <a:pt x="2520" y="39054"/>
                    <a:pt x="2520" y="42834"/>
                    <a:pt x="1260" y="45354"/>
                  </a:cubicBezTo>
                  <a:cubicBezTo>
                    <a:pt x="1260" y="47873"/>
                    <a:pt x="0" y="50393"/>
                    <a:pt x="0" y="51653"/>
                  </a:cubicBezTo>
                  <a:lnTo>
                    <a:pt x="0" y="52913"/>
                  </a:lnTo>
                  <a:cubicBezTo>
                    <a:pt x="0" y="54172"/>
                    <a:pt x="0" y="54172"/>
                    <a:pt x="0" y="55432"/>
                  </a:cubicBezTo>
                  <a:lnTo>
                    <a:pt x="0" y="55432"/>
                  </a:lnTo>
                  <a:lnTo>
                    <a:pt x="0" y="55432"/>
                  </a:lnTo>
                  <a:lnTo>
                    <a:pt x="0" y="55432"/>
                  </a:lnTo>
                  <a:lnTo>
                    <a:pt x="0" y="55432"/>
                  </a:lnTo>
                  <a:cubicBezTo>
                    <a:pt x="0" y="56692"/>
                    <a:pt x="0" y="56692"/>
                    <a:pt x="0" y="57952"/>
                  </a:cubicBezTo>
                  <a:cubicBezTo>
                    <a:pt x="0" y="59212"/>
                    <a:pt x="0" y="60472"/>
                    <a:pt x="0" y="61731"/>
                  </a:cubicBezTo>
                  <a:cubicBezTo>
                    <a:pt x="0" y="61731"/>
                    <a:pt x="0" y="61731"/>
                    <a:pt x="0" y="62991"/>
                  </a:cubicBezTo>
                  <a:cubicBezTo>
                    <a:pt x="0" y="64251"/>
                    <a:pt x="0" y="65511"/>
                    <a:pt x="0" y="66771"/>
                  </a:cubicBezTo>
                  <a:cubicBezTo>
                    <a:pt x="0" y="70550"/>
                    <a:pt x="0" y="74330"/>
                    <a:pt x="0" y="78109"/>
                  </a:cubicBezTo>
                  <a:cubicBezTo>
                    <a:pt x="0" y="79369"/>
                    <a:pt x="0" y="80629"/>
                    <a:pt x="0" y="81889"/>
                  </a:cubicBezTo>
                  <a:cubicBezTo>
                    <a:pt x="0" y="84408"/>
                    <a:pt x="0" y="86928"/>
                    <a:pt x="0" y="88188"/>
                  </a:cubicBezTo>
                  <a:cubicBezTo>
                    <a:pt x="0" y="89447"/>
                    <a:pt x="0" y="90707"/>
                    <a:pt x="0" y="93227"/>
                  </a:cubicBezTo>
                  <a:lnTo>
                    <a:pt x="0" y="94487"/>
                  </a:lnTo>
                  <a:lnTo>
                    <a:pt x="0" y="95746"/>
                  </a:lnTo>
                  <a:cubicBezTo>
                    <a:pt x="0" y="97006"/>
                    <a:pt x="0" y="98266"/>
                    <a:pt x="0" y="99526"/>
                  </a:cubicBezTo>
                  <a:lnTo>
                    <a:pt x="0" y="100786"/>
                  </a:lnTo>
                  <a:cubicBezTo>
                    <a:pt x="0" y="103305"/>
                    <a:pt x="0" y="107085"/>
                    <a:pt x="1260" y="109605"/>
                  </a:cubicBezTo>
                  <a:cubicBezTo>
                    <a:pt x="1260" y="110864"/>
                    <a:pt x="1260" y="113384"/>
                    <a:pt x="2520" y="114644"/>
                  </a:cubicBezTo>
                  <a:cubicBezTo>
                    <a:pt x="2520" y="115904"/>
                    <a:pt x="2520" y="118423"/>
                    <a:pt x="3780" y="119683"/>
                  </a:cubicBezTo>
                  <a:lnTo>
                    <a:pt x="3780" y="120943"/>
                  </a:lnTo>
                  <a:cubicBezTo>
                    <a:pt x="5039" y="127242"/>
                    <a:pt x="6299" y="134801"/>
                    <a:pt x="7559" y="141100"/>
                  </a:cubicBezTo>
                  <a:cubicBezTo>
                    <a:pt x="7559" y="142360"/>
                    <a:pt x="7559" y="143620"/>
                    <a:pt x="8819" y="143620"/>
                  </a:cubicBezTo>
                  <a:lnTo>
                    <a:pt x="8819" y="143620"/>
                  </a:lnTo>
                  <a:cubicBezTo>
                    <a:pt x="8819" y="146139"/>
                    <a:pt x="10079" y="147399"/>
                    <a:pt x="10079" y="149919"/>
                  </a:cubicBezTo>
                  <a:lnTo>
                    <a:pt x="10079" y="151179"/>
                  </a:lnTo>
                  <a:cubicBezTo>
                    <a:pt x="10079" y="153698"/>
                    <a:pt x="11338" y="156218"/>
                    <a:pt x="12598" y="159998"/>
                  </a:cubicBezTo>
                  <a:cubicBezTo>
                    <a:pt x="13858" y="166297"/>
                    <a:pt x="16378" y="173856"/>
                    <a:pt x="18897" y="180155"/>
                  </a:cubicBezTo>
                  <a:cubicBezTo>
                    <a:pt x="21417" y="186454"/>
                    <a:pt x="23937" y="192753"/>
                    <a:pt x="26456" y="200312"/>
                  </a:cubicBezTo>
                  <a:cubicBezTo>
                    <a:pt x="26456" y="201572"/>
                    <a:pt x="27716" y="201572"/>
                    <a:pt x="27716" y="202831"/>
                  </a:cubicBezTo>
                  <a:lnTo>
                    <a:pt x="27716" y="202831"/>
                  </a:lnTo>
                  <a:cubicBezTo>
                    <a:pt x="28976" y="205351"/>
                    <a:pt x="28976" y="206611"/>
                    <a:pt x="30236" y="209131"/>
                  </a:cubicBezTo>
                  <a:cubicBezTo>
                    <a:pt x="31496" y="212910"/>
                    <a:pt x="34015" y="216690"/>
                    <a:pt x="35275" y="219209"/>
                  </a:cubicBezTo>
                  <a:lnTo>
                    <a:pt x="36535" y="221729"/>
                  </a:lnTo>
                  <a:cubicBezTo>
                    <a:pt x="37795" y="224249"/>
                    <a:pt x="39055" y="226768"/>
                    <a:pt x="40314" y="229288"/>
                  </a:cubicBezTo>
                  <a:cubicBezTo>
                    <a:pt x="41574" y="231807"/>
                    <a:pt x="42834" y="234327"/>
                    <a:pt x="44094" y="236847"/>
                  </a:cubicBezTo>
                  <a:lnTo>
                    <a:pt x="45354" y="239366"/>
                  </a:lnTo>
                  <a:cubicBezTo>
                    <a:pt x="47873" y="244406"/>
                    <a:pt x="50393" y="250705"/>
                    <a:pt x="54172" y="258264"/>
                  </a:cubicBezTo>
                  <a:cubicBezTo>
                    <a:pt x="55432" y="262043"/>
                    <a:pt x="57952" y="265823"/>
                    <a:pt x="59212" y="268342"/>
                  </a:cubicBezTo>
                  <a:cubicBezTo>
                    <a:pt x="60472" y="270862"/>
                    <a:pt x="61731" y="273382"/>
                    <a:pt x="64251" y="275901"/>
                  </a:cubicBezTo>
                  <a:lnTo>
                    <a:pt x="64251" y="275901"/>
                  </a:lnTo>
                  <a:lnTo>
                    <a:pt x="65511" y="277161"/>
                  </a:lnTo>
                  <a:lnTo>
                    <a:pt x="65511" y="278421"/>
                  </a:lnTo>
                  <a:cubicBezTo>
                    <a:pt x="69290" y="284720"/>
                    <a:pt x="73070" y="291019"/>
                    <a:pt x="76849" y="296058"/>
                  </a:cubicBezTo>
                  <a:cubicBezTo>
                    <a:pt x="78109" y="298578"/>
                    <a:pt x="80629" y="301098"/>
                    <a:pt x="81889" y="303617"/>
                  </a:cubicBezTo>
                  <a:lnTo>
                    <a:pt x="81889" y="303617"/>
                  </a:lnTo>
                  <a:lnTo>
                    <a:pt x="81889" y="303617"/>
                  </a:lnTo>
                  <a:cubicBezTo>
                    <a:pt x="84408" y="307397"/>
                    <a:pt x="86928" y="309916"/>
                    <a:pt x="88188" y="313696"/>
                  </a:cubicBezTo>
                  <a:cubicBezTo>
                    <a:pt x="89448" y="316216"/>
                    <a:pt x="91967" y="318735"/>
                    <a:pt x="93227" y="321255"/>
                  </a:cubicBezTo>
                  <a:cubicBezTo>
                    <a:pt x="95747" y="323775"/>
                    <a:pt x="97006" y="327554"/>
                    <a:pt x="99526" y="330074"/>
                  </a:cubicBezTo>
                  <a:cubicBezTo>
                    <a:pt x="103305" y="335113"/>
                    <a:pt x="107085" y="340152"/>
                    <a:pt x="112124" y="346451"/>
                  </a:cubicBezTo>
                  <a:cubicBezTo>
                    <a:pt x="113384" y="347711"/>
                    <a:pt x="113384" y="348971"/>
                    <a:pt x="114644" y="350231"/>
                  </a:cubicBezTo>
                  <a:cubicBezTo>
                    <a:pt x="117164" y="354010"/>
                    <a:pt x="120943" y="359050"/>
                    <a:pt x="123463" y="362829"/>
                  </a:cubicBezTo>
                  <a:cubicBezTo>
                    <a:pt x="124722" y="365349"/>
                    <a:pt x="127242" y="367868"/>
                    <a:pt x="128502" y="370388"/>
                  </a:cubicBezTo>
                  <a:cubicBezTo>
                    <a:pt x="129762" y="372908"/>
                    <a:pt x="132281" y="374167"/>
                    <a:pt x="133541" y="376687"/>
                  </a:cubicBezTo>
                  <a:lnTo>
                    <a:pt x="134801" y="377947"/>
                  </a:lnTo>
                  <a:cubicBezTo>
                    <a:pt x="136061" y="379207"/>
                    <a:pt x="137321" y="380467"/>
                    <a:pt x="137321" y="381727"/>
                  </a:cubicBezTo>
                  <a:lnTo>
                    <a:pt x="137321" y="381727"/>
                  </a:lnTo>
                  <a:cubicBezTo>
                    <a:pt x="141100" y="386766"/>
                    <a:pt x="144880" y="390545"/>
                    <a:pt x="148659" y="394325"/>
                  </a:cubicBezTo>
                  <a:cubicBezTo>
                    <a:pt x="149919" y="395584"/>
                    <a:pt x="151179" y="396844"/>
                    <a:pt x="152439" y="398104"/>
                  </a:cubicBezTo>
                  <a:cubicBezTo>
                    <a:pt x="152439" y="398104"/>
                    <a:pt x="153698" y="399364"/>
                    <a:pt x="153698" y="399364"/>
                  </a:cubicBezTo>
                  <a:cubicBezTo>
                    <a:pt x="154958" y="400624"/>
                    <a:pt x="154958" y="400624"/>
                    <a:pt x="156218" y="401884"/>
                  </a:cubicBezTo>
                  <a:cubicBezTo>
                    <a:pt x="156218" y="401884"/>
                    <a:pt x="156218" y="401884"/>
                    <a:pt x="156218" y="401884"/>
                  </a:cubicBezTo>
                  <a:cubicBezTo>
                    <a:pt x="158738" y="403143"/>
                    <a:pt x="161257" y="405663"/>
                    <a:pt x="163777" y="406923"/>
                  </a:cubicBezTo>
                  <a:cubicBezTo>
                    <a:pt x="165037" y="406923"/>
                    <a:pt x="166297" y="408183"/>
                    <a:pt x="166297" y="409443"/>
                  </a:cubicBezTo>
                  <a:lnTo>
                    <a:pt x="167557" y="410702"/>
                  </a:lnTo>
                  <a:lnTo>
                    <a:pt x="167557" y="410702"/>
                  </a:lnTo>
                  <a:cubicBezTo>
                    <a:pt x="168816" y="411962"/>
                    <a:pt x="170076" y="411962"/>
                    <a:pt x="171336" y="413222"/>
                  </a:cubicBezTo>
                  <a:cubicBezTo>
                    <a:pt x="173856" y="414482"/>
                    <a:pt x="175115" y="415742"/>
                    <a:pt x="177635" y="415742"/>
                  </a:cubicBezTo>
                  <a:cubicBezTo>
                    <a:pt x="178895" y="415742"/>
                    <a:pt x="180155" y="417001"/>
                    <a:pt x="181414" y="417001"/>
                  </a:cubicBezTo>
                  <a:lnTo>
                    <a:pt x="182674" y="417001"/>
                  </a:lnTo>
                  <a:cubicBezTo>
                    <a:pt x="185194" y="418261"/>
                    <a:pt x="186454" y="418261"/>
                    <a:pt x="188973" y="419521"/>
                  </a:cubicBezTo>
                  <a:cubicBezTo>
                    <a:pt x="191493" y="420781"/>
                    <a:pt x="194013" y="420781"/>
                    <a:pt x="197792" y="422041"/>
                  </a:cubicBezTo>
                  <a:cubicBezTo>
                    <a:pt x="201572" y="423301"/>
                    <a:pt x="206611" y="423301"/>
                    <a:pt x="210390" y="423301"/>
                  </a:cubicBezTo>
                  <a:cubicBezTo>
                    <a:pt x="211650" y="423301"/>
                    <a:pt x="214170" y="423301"/>
                    <a:pt x="215430" y="423301"/>
                  </a:cubicBezTo>
                  <a:cubicBezTo>
                    <a:pt x="215430" y="423301"/>
                    <a:pt x="216690" y="423301"/>
                    <a:pt x="216690" y="423301"/>
                  </a:cubicBezTo>
                  <a:cubicBezTo>
                    <a:pt x="217949" y="423301"/>
                    <a:pt x="219209" y="423301"/>
                    <a:pt x="221729" y="423301"/>
                  </a:cubicBezTo>
                  <a:lnTo>
                    <a:pt x="222989" y="423301"/>
                  </a:lnTo>
                  <a:cubicBezTo>
                    <a:pt x="225508" y="423301"/>
                    <a:pt x="226768" y="422041"/>
                    <a:pt x="228028" y="422041"/>
                  </a:cubicBezTo>
                  <a:cubicBezTo>
                    <a:pt x="230548" y="422041"/>
                    <a:pt x="231807" y="420781"/>
                    <a:pt x="234327" y="419521"/>
                  </a:cubicBezTo>
                  <a:cubicBezTo>
                    <a:pt x="235587" y="418261"/>
                    <a:pt x="236847" y="418261"/>
                    <a:pt x="239366" y="417001"/>
                  </a:cubicBezTo>
                  <a:cubicBezTo>
                    <a:pt x="241886" y="415742"/>
                    <a:pt x="244406" y="413222"/>
                    <a:pt x="245666" y="411962"/>
                  </a:cubicBezTo>
                  <a:cubicBezTo>
                    <a:pt x="246925" y="410702"/>
                    <a:pt x="248185" y="408183"/>
                    <a:pt x="249445" y="406923"/>
                  </a:cubicBezTo>
                  <a:cubicBezTo>
                    <a:pt x="250705" y="405663"/>
                    <a:pt x="251965" y="404403"/>
                    <a:pt x="251965" y="403143"/>
                  </a:cubicBezTo>
                  <a:cubicBezTo>
                    <a:pt x="253225" y="400624"/>
                    <a:pt x="254484" y="398104"/>
                    <a:pt x="255744" y="395584"/>
                  </a:cubicBezTo>
                  <a:cubicBezTo>
                    <a:pt x="255744" y="395584"/>
                    <a:pt x="255744" y="394325"/>
                    <a:pt x="255744" y="394325"/>
                  </a:cubicBezTo>
                  <a:lnTo>
                    <a:pt x="255744" y="393065"/>
                  </a:lnTo>
                  <a:cubicBezTo>
                    <a:pt x="255744" y="391805"/>
                    <a:pt x="255744" y="391805"/>
                    <a:pt x="257004" y="390545"/>
                  </a:cubicBezTo>
                  <a:cubicBezTo>
                    <a:pt x="257004" y="390545"/>
                    <a:pt x="257004" y="390545"/>
                    <a:pt x="257004" y="390545"/>
                  </a:cubicBezTo>
                  <a:cubicBezTo>
                    <a:pt x="258264" y="385506"/>
                    <a:pt x="259524" y="381727"/>
                    <a:pt x="259524" y="376687"/>
                  </a:cubicBezTo>
                  <a:cubicBezTo>
                    <a:pt x="259524" y="375427"/>
                    <a:pt x="259524" y="372908"/>
                    <a:pt x="259524" y="371648"/>
                  </a:cubicBezTo>
                  <a:cubicBezTo>
                    <a:pt x="259524" y="371648"/>
                    <a:pt x="259524" y="370388"/>
                    <a:pt x="259524" y="370388"/>
                  </a:cubicBezTo>
                  <a:lnTo>
                    <a:pt x="259524" y="369128"/>
                  </a:lnTo>
                  <a:cubicBezTo>
                    <a:pt x="259524" y="367868"/>
                    <a:pt x="259524" y="367868"/>
                    <a:pt x="259524" y="366608"/>
                  </a:cubicBezTo>
                  <a:cubicBezTo>
                    <a:pt x="265823" y="366608"/>
                    <a:pt x="265823" y="365349"/>
                    <a:pt x="265823" y="364089"/>
                  </a:cubicBezTo>
                  <a:close/>
                </a:path>
              </a:pathLst>
            </a:custGeom>
            <a:solidFill>
              <a:srgbClr val="F2A988"/>
            </a:solidFill>
            <a:ln w="12584" cap="flat">
              <a:noFill/>
              <a:prstDash val="solid"/>
              <a:miter/>
            </a:ln>
          </p:spPr>
          <p:txBody>
            <a:bodyPr rtlCol="0" anchor="ctr"/>
            <a:lstStyle/>
            <a:p>
              <a:endParaRPr lang="zh-CN" altLang="en-US"/>
            </a:p>
          </p:txBody>
        </p:sp>
        <p:sp>
          <p:nvSpPr>
            <p:cNvPr id="135" name="任意多边形: 形状 134"/>
            <p:cNvSpPr/>
            <p:nvPr/>
          </p:nvSpPr>
          <p:spPr>
            <a:xfrm>
              <a:off x="7847586" y="4254352"/>
              <a:ext cx="1201249" cy="660687"/>
            </a:xfrm>
            <a:custGeom>
              <a:avLst/>
              <a:gdLst>
                <a:gd name="connsiteX0" fmla="*/ 91967 w 1763752"/>
                <a:gd name="connsiteY0" fmla="*/ 0 h 970063"/>
                <a:gd name="connsiteX1" fmla="*/ 293539 w 1763752"/>
                <a:gd name="connsiteY1" fmla="*/ 0 h 970063"/>
                <a:gd name="connsiteX2" fmla="*/ 1472733 w 1763752"/>
                <a:gd name="connsiteY2" fmla="*/ 0 h 970063"/>
                <a:gd name="connsiteX3" fmla="*/ 1674305 w 1763752"/>
                <a:gd name="connsiteY3" fmla="*/ 0 h 970063"/>
                <a:gd name="connsiteX4" fmla="*/ 1765012 w 1763752"/>
                <a:gd name="connsiteY4" fmla="*/ 90707 h 970063"/>
                <a:gd name="connsiteX5" fmla="*/ 1765012 w 1763752"/>
                <a:gd name="connsiteY5" fmla="*/ 977623 h 970063"/>
                <a:gd name="connsiteX6" fmla="*/ 1700761 w 1763752"/>
                <a:gd name="connsiteY6" fmla="*/ 977623 h 970063"/>
                <a:gd name="connsiteX7" fmla="*/ 1700761 w 1763752"/>
                <a:gd name="connsiteY7" fmla="*/ 177635 h 970063"/>
                <a:gd name="connsiteX8" fmla="*/ 1654148 w 1763752"/>
                <a:gd name="connsiteY8" fmla="*/ 131022 h 970063"/>
                <a:gd name="connsiteX9" fmla="*/ 1470214 w 1763752"/>
                <a:gd name="connsiteY9" fmla="*/ 131022 h 970063"/>
                <a:gd name="connsiteX10" fmla="*/ 291019 w 1763752"/>
                <a:gd name="connsiteY10" fmla="*/ 131022 h 970063"/>
                <a:gd name="connsiteX11" fmla="*/ 108345 w 1763752"/>
                <a:gd name="connsiteY11" fmla="*/ 131022 h 970063"/>
                <a:gd name="connsiteX12" fmla="*/ 61731 w 1763752"/>
                <a:gd name="connsiteY12" fmla="*/ 177635 h 970063"/>
                <a:gd name="connsiteX13" fmla="*/ 61731 w 1763752"/>
                <a:gd name="connsiteY13" fmla="*/ 977623 h 970063"/>
                <a:gd name="connsiteX14" fmla="*/ 0 w 1763752"/>
                <a:gd name="connsiteY14" fmla="*/ 977623 h 970063"/>
                <a:gd name="connsiteX15" fmla="*/ 0 w 1763752"/>
                <a:gd name="connsiteY15" fmla="*/ 90707 h 970063"/>
                <a:gd name="connsiteX16" fmla="*/ 91967 w 1763752"/>
                <a:gd name="connsiteY16" fmla="*/ 0 h 97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63752" h="970063">
                  <a:moveTo>
                    <a:pt x="91967" y="0"/>
                  </a:moveTo>
                  <a:lnTo>
                    <a:pt x="293539" y="0"/>
                  </a:lnTo>
                  <a:lnTo>
                    <a:pt x="1472733" y="0"/>
                  </a:lnTo>
                  <a:lnTo>
                    <a:pt x="1674305" y="0"/>
                  </a:lnTo>
                  <a:cubicBezTo>
                    <a:pt x="1724698" y="0"/>
                    <a:pt x="1765012" y="40314"/>
                    <a:pt x="1765012" y="90707"/>
                  </a:cubicBezTo>
                  <a:lnTo>
                    <a:pt x="1765012" y="977623"/>
                  </a:lnTo>
                  <a:lnTo>
                    <a:pt x="1700761" y="977623"/>
                  </a:lnTo>
                  <a:lnTo>
                    <a:pt x="1700761" y="177635"/>
                  </a:lnTo>
                  <a:cubicBezTo>
                    <a:pt x="1700761" y="152439"/>
                    <a:pt x="1680604" y="131022"/>
                    <a:pt x="1654148" y="131022"/>
                  </a:cubicBezTo>
                  <a:lnTo>
                    <a:pt x="1470214" y="131022"/>
                  </a:lnTo>
                  <a:lnTo>
                    <a:pt x="291019" y="131022"/>
                  </a:lnTo>
                  <a:lnTo>
                    <a:pt x="108345" y="131022"/>
                  </a:lnTo>
                  <a:cubicBezTo>
                    <a:pt x="83148" y="131022"/>
                    <a:pt x="61731" y="151179"/>
                    <a:pt x="61731" y="177635"/>
                  </a:cubicBezTo>
                  <a:lnTo>
                    <a:pt x="61731" y="977623"/>
                  </a:lnTo>
                  <a:lnTo>
                    <a:pt x="0" y="977623"/>
                  </a:lnTo>
                  <a:lnTo>
                    <a:pt x="0" y="90707"/>
                  </a:lnTo>
                  <a:cubicBezTo>
                    <a:pt x="0" y="41574"/>
                    <a:pt x="41574" y="0"/>
                    <a:pt x="91967" y="0"/>
                  </a:cubicBezTo>
                  <a:close/>
                </a:path>
              </a:pathLst>
            </a:custGeom>
            <a:solidFill>
              <a:srgbClr val="FFD671"/>
            </a:solidFill>
            <a:ln w="12584" cap="flat">
              <a:noFill/>
              <a:prstDash val="solid"/>
              <a:miter/>
            </a:ln>
          </p:spPr>
          <p:txBody>
            <a:bodyPr rtlCol="0" anchor="ctr"/>
            <a:lstStyle/>
            <a:p>
              <a:endParaRPr lang="zh-CN" altLang="en-US"/>
            </a:p>
          </p:txBody>
        </p:sp>
        <p:sp>
          <p:nvSpPr>
            <p:cNvPr id="136" name="任意多边形: 形状 135"/>
            <p:cNvSpPr/>
            <p:nvPr/>
          </p:nvSpPr>
          <p:spPr>
            <a:xfrm>
              <a:off x="8116151" y="4214882"/>
              <a:ext cx="8580" cy="8580"/>
            </a:xfrm>
            <a:custGeom>
              <a:avLst/>
              <a:gdLst>
                <a:gd name="connsiteX0" fmla="*/ 0 w 0"/>
                <a:gd name="connsiteY0" fmla="*/ 0 h 0"/>
                <a:gd name="connsiteX1" fmla="*/ 0 w 0"/>
                <a:gd name="connsiteY1" fmla="*/ 5039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0" y="1260"/>
                    <a:pt x="0" y="3780"/>
                    <a:pt x="0" y="5039"/>
                  </a:cubicBezTo>
                  <a:cubicBezTo>
                    <a:pt x="0" y="3780"/>
                    <a:pt x="0" y="1260"/>
                    <a:pt x="0" y="0"/>
                  </a:cubicBezTo>
                  <a:close/>
                </a:path>
              </a:pathLst>
            </a:custGeom>
            <a:noFill/>
            <a:ln w="12584" cap="flat">
              <a:noFill/>
              <a:prstDash val="solid"/>
              <a:miter/>
            </a:ln>
          </p:spPr>
          <p:txBody>
            <a:bodyPr rtlCol="0" anchor="ctr"/>
            <a:lstStyle/>
            <a:p>
              <a:endParaRPr lang="zh-CN" altLang="en-US"/>
            </a:p>
          </p:txBody>
        </p:sp>
        <p:sp>
          <p:nvSpPr>
            <p:cNvPr id="137" name="任意多边形: 形状 136"/>
            <p:cNvSpPr/>
            <p:nvPr/>
          </p:nvSpPr>
          <p:spPr>
            <a:xfrm>
              <a:off x="8135028" y="4232043"/>
              <a:ext cx="188768" cy="8580"/>
            </a:xfrm>
            <a:custGeom>
              <a:avLst/>
              <a:gdLst>
                <a:gd name="connsiteX0" fmla="*/ 0 w 277161"/>
                <a:gd name="connsiteY0" fmla="*/ 0 h 0"/>
                <a:gd name="connsiteX1" fmla="*/ 287240 w 277161"/>
                <a:gd name="connsiteY1" fmla="*/ 0 h 0"/>
                <a:gd name="connsiteX2" fmla="*/ 287240 w 277161"/>
                <a:gd name="connsiteY2" fmla="*/ 7559 h 0"/>
                <a:gd name="connsiteX3" fmla="*/ 1260 w 277161"/>
                <a:gd name="connsiteY3" fmla="*/ 7559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7240" y="0"/>
                  </a:lnTo>
                  <a:lnTo>
                    <a:pt x="287240" y="7559"/>
                  </a:lnTo>
                  <a:lnTo>
                    <a:pt x="1260" y="7559"/>
                  </a:lnTo>
                  <a:cubicBezTo>
                    <a:pt x="0" y="5039"/>
                    <a:pt x="0" y="2520"/>
                    <a:pt x="0" y="0"/>
                  </a:cubicBezTo>
                  <a:close/>
                </a:path>
              </a:pathLst>
            </a:custGeom>
            <a:solidFill>
              <a:srgbClr val="FFFFFF"/>
            </a:solidFill>
            <a:ln w="12584" cap="flat">
              <a:noFill/>
              <a:prstDash val="solid"/>
              <a:miter/>
            </a:ln>
          </p:spPr>
          <p:txBody>
            <a:bodyPr rtlCol="0" anchor="ctr"/>
            <a:lstStyle/>
            <a:p>
              <a:endParaRPr lang="zh-CN" altLang="en-US"/>
            </a:p>
          </p:txBody>
        </p:sp>
        <p:sp>
          <p:nvSpPr>
            <p:cNvPr id="138" name="任意多边形: 形状 137"/>
            <p:cNvSpPr/>
            <p:nvPr/>
          </p:nvSpPr>
          <p:spPr>
            <a:xfrm>
              <a:off x="8136744" y="4238907"/>
              <a:ext cx="188768" cy="8580"/>
            </a:xfrm>
            <a:custGeom>
              <a:avLst/>
              <a:gdLst>
                <a:gd name="connsiteX0" fmla="*/ 3780 w 277161"/>
                <a:gd name="connsiteY0" fmla="*/ 10079 h 0"/>
                <a:gd name="connsiteX1" fmla="*/ 0 w 277161"/>
                <a:gd name="connsiteY1" fmla="*/ 0 h 0"/>
                <a:gd name="connsiteX2" fmla="*/ 285980 w 277161"/>
                <a:gd name="connsiteY2" fmla="*/ 0 h 0"/>
                <a:gd name="connsiteX3" fmla="*/ 285980 w 277161"/>
                <a:gd name="connsiteY3" fmla="*/ 10079 h 0"/>
                <a:gd name="connsiteX4" fmla="*/ 26456 w 277161"/>
                <a:gd name="connsiteY4" fmla="*/ 10079 h 0"/>
                <a:gd name="connsiteX5" fmla="*/ 3780 w 277161"/>
                <a:gd name="connsiteY5" fmla="*/ 1007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10079"/>
                  </a:moveTo>
                  <a:cubicBezTo>
                    <a:pt x="2520" y="7559"/>
                    <a:pt x="1260" y="3780"/>
                    <a:pt x="0" y="0"/>
                  </a:cubicBezTo>
                  <a:lnTo>
                    <a:pt x="285980" y="0"/>
                  </a:lnTo>
                  <a:lnTo>
                    <a:pt x="285980" y="10079"/>
                  </a:lnTo>
                  <a:lnTo>
                    <a:pt x="26456" y="10079"/>
                  </a:lnTo>
                  <a:lnTo>
                    <a:pt x="3780" y="10079"/>
                  </a:lnTo>
                  <a:close/>
                </a:path>
              </a:pathLst>
            </a:custGeom>
            <a:solidFill>
              <a:srgbClr val="FFFFFF"/>
            </a:solidFill>
            <a:ln w="12584" cap="flat">
              <a:noFill/>
              <a:prstDash val="solid"/>
              <a:miter/>
            </a:ln>
          </p:spPr>
          <p:txBody>
            <a:bodyPr rtlCol="0" anchor="ctr"/>
            <a:lstStyle/>
            <a:p>
              <a:endParaRPr lang="zh-CN" altLang="en-US"/>
            </a:p>
          </p:txBody>
        </p:sp>
        <p:sp>
          <p:nvSpPr>
            <p:cNvPr id="139" name="任意多边形: 形状 138"/>
            <p:cNvSpPr/>
            <p:nvPr/>
          </p:nvSpPr>
          <p:spPr>
            <a:xfrm>
              <a:off x="8135886" y="4208876"/>
              <a:ext cx="188768" cy="8580"/>
            </a:xfrm>
            <a:custGeom>
              <a:avLst/>
              <a:gdLst>
                <a:gd name="connsiteX0" fmla="*/ 3780 w 277161"/>
                <a:gd name="connsiteY0" fmla="*/ 0 h 0"/>
                <a:gd name="connsiteX1" fmla="*/ 42834 w 277161"/>
                <a:gd name="connsiteY1" fmla="*/ 0 h 0"/>
                <a:gd name="connsiteX2" fmla="*/ 285980 w 277161"/>
                <a:gd name="connsiteY2" fmla="*/ 0 h 0"/>
                <a:gd name="connsiteX3" fmla="*/ 285980 w 277161"/>
                <a:gd name="connsiteY3" fmla="*/ 10079 h 0"/>
                <a:gd name="connsiteX4" fmla="*/ 0 w 277161"/>
                <a:gd name="connsiteY4" fmla="*/ 10079 h 0"/>
                <a:gd name="connsiteX5" fmla="*/ 3780 w 277161"/>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0"/>
                  </a:moveTo>
                  <a:lnTo>
                    <a:pt x="42834" y="0"/>
                  </a:lnTo>
                  <a:lnTo>
                    <a:pt x="285980" y="0"/>
                  </a:lnTo>
                  <a:lnTo>
                    <a:pt x="285980" y="10079"/>
                  </a:lnTo>
                  <a:lnTo>
                    <a:pt x="0" y="10079"/>
                  </a:lnTo>
                  <a:cubicBezTo>
                    <a:pt x="1260" y="6299"/>
                    <a:pt x="2520" y="2520"/>
                    <a:pt x="3780" y="0"/>
                  </a:cubicBezTo>
                  <a:close/>
                </a:path>
              </a:pathLst>
            </a:custGeom>
            <a:solidFill>
              <a:srgbClr val="FFFFFF"/>
            </a:solidFill>
            <a:ln w="12584" cap="flat">
              <a:noFill/>
              <a:prstDash val="solid"/>
              <a:miter/>
            </a:ln>
          </p:spPr>
          <p:txBody>
            <a:bodyPr rtlCol="0" anchor="ctr"/>
            <a:lstStyle/>
            <a:p>
              <a:endParaRPr lang="zh-CN" altLang="en-US"/>
            </a:p>
          </p:txBody>
        </p:sp>
        <p:sp>
          <p:nvSpPr>
            <p:cNvPr id="140" name="任意多边形: 形状 139"/>
            <p:cNvSpPr/>
            <p:nvPr/>
          </p:nvSpPr>
          <p:spPr>
            <a:xfrm>
              <a:off x="8134169" y="4217456"/>
              <a:ext cx="188768" cy="8580"/>
            </a:xfrm>
            <a:custGeom>
              <a:avLst/>
              <a:gdLst>
                <a:gd name="connsiteX0" fmla="*/ 1260 w 277161"/>
                <a:gd name="connsiteY0" fmla="*/ 0 h 0"/>
                <a:gd name="connsiteX1" fmla="*/ 288500 w 277161"/>
                <a:gd name="connsiteY1" fmla="*/ 0 h 0"/>
                <a:gd name="connsiteX2" fmla="*/ 288500 w 277161"/>
                <a:gd name="connsiteY2" fmla="*/ 7559 h 0"/>
                <a:gd name="connsiteX3" fmla="*/ 0 w 277161"/>
                <a:gd name="connsiteY3" fmla="*/ 7559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8500" y="0"/>
                  </a:lnTo>
                  <a:lnTo>
                    <a:pt x="288500" y="7559"/>
                  </a:lnTo>
                  <a:lnTo>
                    <a:pt x="0" y="7559"/>
                  </a:lnTo>
                  <a:cubicBezTo>
                    <a:pt x="1260" y="5039"/>
                    <a:pt x="1260" y="2520"/>
                    <a:pt x="1260" y="0"/>
                  </a:cubicBezTo>
                  <a:close/>
                </a:path>
              </a:pathLst>
            </a:custGeom>
            <a:solidFill>
              <a:srgbClr val="FFFFFF"/>
            </a:solidFill>
            <a:ln w="12584" cap="flat">
              <a:noFill/>
              <a:prstDash val="solid"/>
              <a:miter/>
            </a:ln>
          </p:spPr>
          <p:txBody>
            <a:bodyPr rtlCol="0" anchor="ctr"/>
            <a:lstStyle/>
            <a:p>
              <a:endParaRPr lang="zh-CN" altLang="en-US"/>
            </a:p>
          </p:txBody>
        </p:sp>
        <p:sp>
          <p:nvSpPr>
            <p:cNvPr id="141" name="任意多边形: 形状 140"/>
            <p:cNvSpPr/>
            <p:nvPr/>
          </p:nvSpPr>
          <p:spPr>
            <a:xfrm>
              <a:off x="8135028" y="4224320"/>
              <a:ext cx="188768" cy="8580"/>
            </a:xfrm>
            <a:custGeom>
              <a:avLst/>
              <a:gdLst>
                <a:gd name="connsiteX0" fmla="*/ 0 w 277161"/>
                <a:gd name="connsiteY0" fmla="*/ 1260 h 0"/>
                <a:gd name="connsiteX1" fmla="*/ 0 w 277161"/>
                <a:gd name="connsiteY1" fmla="*/ 1260 h 0"/>
                <a:gd name="connsiteX2" fmla="*/ 288499 w 277161"/>
                <a:gd name="connsiteY2" fmla="*/ 0 h 0"/>
                <a:gd name="connsiteX3" fmla="*/ 288499 w 277161"/>
                <a:gd name="connsiteY3" fmla="*/ 7559 h 0"/>
                <a:gd name="connsiteX4" fmla="*/ 0 w 277161"/>
                <a:gd name="connsiteY4" fmla="*/ 7559 h 0"/>
                <a:gd name="connsiteX5" fmla="*/ 0 w 277161"/>
                <a:gd name="connsiteY5"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0" y="1260"/>
                  </a:moveTo>
                  <a:cubicBezTo>
                    <a:pt x="0" y="1260"/>
                    <a:pt x="0" y="1260"/>
                    <a:pt x="0" y="1260"/>
                  </a:cubicBezTo>
                  <a:lnTo>
                    <a:pt x="288499" y="0"/>
                  </a:lnTo>
                  <a:lnTo>
                    <a:pt x="288499" y="7559"/>
                  </a:lnTo>
                  <a:lnTo>
                    <a:pt x="0" y="7559"/>
                  </a:lnTo>
                  <a:cubicBezTo>
                    <a:pt x="0" y="6299"/>
                    <a:pt x="0" y="3780"/>
                    <a:pt x="0" y="1260"/>
                  </a:cubicBezTo>
                  <a:close/>
                </a:path>
              </a:pathLst>
            </a:custGeom>
            <a:solidFill>
              <a:srgbClr val="FFFFFF"/>
            </a:solidFill>
            <a:ln w="12584" cap="flat">
              <a:noFill/>
              <a:prstDash val="solid"/>
              <a:miter/>
            </a:ln>
          </p:spPr>
          <p:txBody>
            <a:bodyPr rtlCol="0" anchor="ctr"/>
            <a:lstStyle/>
            <a:p>
              <a:endParaRPr lang="zh-CN" altLang="en-US"/>
            </a:p>
          </p:txBody>
        </p:sp>
        <p:sp>
          <p:nvSpPr>
            <p:cNvPr id="142" name="任意多边形: 形状 141"/>
            <p:cNvSpPr/>
            <p:nvPr/>
          </p:nvSpPr>
          <p:spPr>
            <a:xfrm>
              <a:off x="8135028" y="4215740"/>
              <a:ext cx="188768" cy="8580"/>
            </a:xfrm>
            <a:custGeom>
              <a:avLst/>
              <a:gdLst>
                <a:gd name="connsiteX0" fmla="*/ 1260 w 277161"/>
                <a:gd name="connsiteY0" fmla="*/ 0 h 0"/>
                <a:gd name="connsiteX1" fmla="*/ 287240 w 277161"/>
                <a:gd name="connsiteY1" fmla="*/ 0 h 0"/>
                <a:gd name="connsiteX2" fmla="*/ 287240 w 277161"/>
                <a:gd name="connsiteY2" fmla="*/ 2520 h 0"/>
                <a:gd name="connsiteX3" fmla="*/ 0 w 277161"/>
                <a:gd name="connsiteY3" fmla="*/ 2520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7240" y="0"/>
                  </a:lnTo>
                  <a:lnTo>
                    <a:pt x="287240" y="2520"/>
                  </a:lnTo>
                  <a:lnTo>
                    <a:pt x="0" y="2520"/>
                  </a:lnTo>
                  <a:cubicBezTo>
                    <a:pt x="1260" y="2520"/>
                    <a:pt x="1260" y="1260"/>
                    <a:pt x="1260" y="0"/>
                  </a:cubicBezTo>
                  <a:close/>
                </a:path>
              </a:pathLst>
            </a:custGeom>
            <a:solidFill>
              <a:srgbClr val="E1E1E6"/>
            </a:solidFill>
            <a:ln w="12584" cap="flat">
              <a:noFill/>
              <a:prstDash val="solid"/>
              <a:miter/>
            </a:ln>
          </p:spPr>
          <p:txBody>
            <a:bodyPr rtlCol="0" anchor="ctr"/>
            <a:lstStyle/>
            <a:p>
              <a:endParaRPr lang="zh-CN" altLang="en-US"/>
            </a:p>
          </p:txBody>
        </p:sp>
        <p:sp>
          <p:nvSpPr>
            <p:cNvPr id="143" name="任意多边形: 形状 142"/>
            <p:cNvSpPr/>
            <p:nvPr/>
          </p:nvSpPr>
          <p:spPr>
            <a:xfrm>
              <a:off x="8135028" y="4222604"/>
              <a:ext cx="188768" cy="8580"/>
            </a:xfrm>
            <a:custGeom>
              <a:avLst/>
              <a:gdLst>
                <a:gd name="connsiteX0" fmla="*/ 0 w 277161"/>
                <a:gd name="connsiteY0" fmla="*/ 0 h 0"/>
                <a:gd name="connsiteX1" fmla="*/ 288499 w 277161"/>
                <a:gd name="connsiteY1" fmla="*/ 0 h 0"/>
                <a:gd name="connsiteX2" fmla="*/ 288499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44" name="任意多边形: 形状 143"/>
            <p:cNvSpPr/>
            <p:nvPr/>
          </p:nvSpPr>
          <p:spPr>
            <a:xfrm>
              <a:off x="8135028" y="4229469"/>
              <a:ext cx="188768" cy="8580"/>
            </a:xfrm>
            <a:custGeom>
              <a:avLst/>
              <a:gdLst>
                <a:gd name="connsiteX0" fmla="*/ 0 w 277161"/>
                <a:gd name="connsiteY0" fmla="*/ 0 h 0"/>
                <a:gd name="connsiteX1" fmla="*/ 288499 w 277161"/>
                <a:gd name="connsiteY1" fmla="*/ 0 h 0"/>
                <a:gd name="connsiteX2" fmla="*/ 288499 w 277161"/>
                <a:gd name="connsiteY2" fmla="*/ 2520 h 0"/>
                <a:gd name="connsiteX3" fmla="*/ 126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126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45" name="任意多边形: 形状 144"/>
            <p:cNvSpPr/>
            <p:nvPr/>
          </p:nvSpPr>
          <p:spPr>
            <a:xfrm>
              <a:off x="8135886" y="4237191"/>
              <a:ext cx="188768" cy="8580"/>
            </a:xfrm>
            <a:custGeom>
              <a:avLst/>
              <a:gdLst>
                <a:gd name="connsiteX0" fmla="*/ 0 w 277161"/>
                <a:gd name="connsiteY0" fmla="*/ 0 h 0"/>
                <a:gd name="connsiteX1" fmla="*/ 285980 w 277161"/>
                <a:gd name="connsiteY1" fmla="*/ 0 h 0"/>
                <a:gd name="connsiteX2" fmla="*/ 285980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5980" y="0"/>
                  </a:lnTo>
                  <a:lnTo>
                    <a:pt x="285980" y="2520"/>
                  </a:lnTo>
                  <a:lnTo>
                    <a:pt x="0" y="2520"/>
                  </a:lnTo>
                  <a:cubicBezTo>
                    <a:pt x="0" y="1260"/>
                    <a:pt x="0" y="0"/>
                    <a:pt x="0" y="0"/>
                  </a:cubicBezTo>
                  <a:close/>
                </a:path>
              </a:pathLst>
            </a:custGeom>
            <a:solidFill>
              <a:srgbClr val="E1E1E6"/>
            </a:solidFill>
            <a:ln w="12584" cap="flat">
              <a:noFill/>
              <a:prstDash val="solid"/>
              <a:miter/>
            </a:ln>
          </p:spPr>
          <p:txBody>
            <a:bodyPr rtlCol="0" anchor="ctr"/>
            <a:lstStyle/>
            <a:p>
              <a:endParaRPr lang="zh-CN" altLang="en-US"/>
            </a:p>
          </p:txBody>
        </p:sp>
        <p:sp>
          <p:nvSpPr>
            <p:cNvPr id="146" name="任意多边形: 形状 145"/>
            <p:cNvSpPr/>
            <p:nvPr/>
          </p:nvSpPr>
          <p:spPr>
            <a:xfrm>
              <a:off x="7909364" y="4197721"/>
              <a:ext cx="214509" cy="51482"/>
            </a:xfrm>
            <a:custGeom>
              <a:avLst/>
              <a:gdLst>
                <a:gd name="connsiteX0" fmla="*/ 303617 w 314955"/>
                <a:gd name="connsiteY0" fmla="*/ 30236 h 75589"/>
                <a:gd name="connsiteX1" fmla="*/ 303617 w 314955"/>
                <a:gd name="connsiteY1" fmla="*/ 35275 h 75589"/>
                <a:gd name="connsiteX2" fmla="*/ 306137 w 314955"/>
                <a:gd name="connsiteY2" fmla="*/ 52913 h 75589"/>
                <a:gd name="connsiteX3" fmla="*/ 313696 w 314955"/>
                <a:gd name="connsiteY3" fmla="*/ 75589 h 75589"/>
                <a:gd name="connsiteX4" fmla="*/ 318735 w 314955"/>
                <a:gd name="connsiteY4" fmla="*/ 85668 h 75589"/>
                <a:gd name="connsiteX5" fmla="*/ 42834 w 314955"/>
                <a:gd name="connsiteY5" fmla="*/ 85668 h 75589"/>
                <a:gd name="connsiteX6" fmla="*/ 0 w 314955"/>
                <a:gd name="connsiteY6" fmla="*/ 42834 h 75589"/>
                <a:gd name="connsiteX7" fmla="*/ 42834 w 314955"/>
                <a:gd name="connsiteY7" fmla="*/ 0 h 75589"/>
                <a:gd name="connsiteX8" fmla="*/ 312436 w 314955"/>
                <a:gd name="connsiteY8" fmla="*/ 0 h 75589"/>
                <a:gd name="connsiteX9" fmla="*/ 302358 w 314955"/>
                <a:gd name="connsiteY9" fmla="*/ 23937 h 75589"/>
                <a:gd name="connsiteX10" fmla="*/ 303617 w 314955"/>
                <a:gd name="connsiteY10" fmla="*/ 30236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955" h="75589">
                  <a:moveTo>
                    <a:pt x="303617" y="30236"/>
                  </a:moveTo>
                  <a:cubicBezTo>
                    <a:pt x="303617" y="31496"/>
                    <a:pt x="303617" y="34015"/>
                    <a:pt x="303617" y="35275"/>
                  </a:cubicBezTo>
                  <a:cubicBezTo>
                    <a:pt x="303617" y="40314"/>
                    <a:pt x="304877" y="46613"/>
                    <a:pt x="306137" y="52913"/>
                  </a:cubicBezTo>
                  <a:cubicBezTo>
                    <a:pt x="307397" y="60472"/>
                    <a:pt x="311176" y="68031"/>
                    <a:pt x="313696" y="75589"/>
                  </a:cubicBezTo>
                  <a:cubicBezTo>
                    <a:pt x="314956" y="79369"/>
                    <a:pt x="317476" y="83148"/>
                    <a:pt x="318735" y="85668"/>
                  </a:cubicBezTo>
                  <a:lnTo>
                    <a:pt x="42834" y="85668"/>
                  </a:lnTo>
                  <a:cubicBezTo>
                    <a:pt x="18897" y="85668"/>
                    <a:pt x="0" y="66771"/>
                    <a:pt x="0" y="42834"/>
                  </a:cubicBezTo>
                  <a:cubicBezTo>
                    <a:pt x="0" y="18897"/>
                    <a:pt x="18897" y="0"/>
                    <a:pt x="42834" y="0"/>
                  </a:cubicBezTo>
                  <a:lnTo>
                    <a:pt x="312436" y="0"/>
                  </a:lnTo>
                  <a:cubicBezTo>
                    <a:pt x="307397" y="6299"/>
                    <a:pt x="303617" y="15118"/>
                    <a:pt x="302358" y="23937"/>
                  </a:cubicBezTo>
                  <a:cubicBezTo>
                    <a:pt x="303617" y="26456"/>
                    <a:pt x="303617" y="28976"/>
                    <a:pt x="303617" y="30236"/>
                  </a:cubicBezTo>
                  <a:close/>
                </a:path>
              </a:pathLst>
            </a:custGeom>
            <a:solidFill>
              <a:srgbClr val="001675"/>
            </a:solidFill>
            <a:ln w="12584" cap="flat">
              <a:noFill/>
              <a:prstDash val="solid"/>
              <a:miter/>
            </a:ln>
          </p:spPr>
          <p:txBody>
            <a:bodyPr rtlCol="0" anchor="ctr"/>
            <a:lstStyle/>
            <a:p>
              <a:endParaRPr lang="zh-CN" altLang="en-US"/>
            </a:p>
          </p:txBody>
        </p:sp>
        <p:sp>
          <p:nvSpPr>
            <p:cNvPr id="147" name="任意多边形: 形状 146"/>
            <p:cNvSpPr/>
            <p:nvPr/>
          </p:nvSpPr>
          <p:spPr>
            <a:xfrm>
              <a:off x="8116151" y="4197721"/>
              <a:ext cx="214509" cy="51482"/>
            </a:xfrm>
            <a:custGeom>
              <a:avLst/>
              <a:gdLst>
                <a:gd name="connsiteX0" fmla="*/ 317475 w 314955"/>
                <a:gd name="connsiteY0" fmla="*/ 16378 h 75589"/>
                <a:gd name="connsiteX1" fmla="*/ 314956 w 314955"/>
                <a:gd name="connsiteY1" fmla="*/ 16378 h 75589"/>
                <a:gd name="connsiteX2" fmla="*/ 71810 w 314955"/>
                <a:gd name="connsiteY2" fmla="*/ 16378 h 75589"/>
                <a:gd name="connsiteX3" fmla="*/ 32755 w 314955"/>
                <a:gd name="connsiteY3" fmla="*/ 16378 h 75589"/>
                <a:gd name="connsiteX4" fmla="*/ 28976 w 314955"/>
                <a:gd name="connsiteY4" fmla="*/ 26456 h 75589"/>
                <a:gd name="connsiteX5" fmla="*/ 28976 w 314955"/>
                <a:gd name="connsiteY5" fmla="*/ 28976 h 75589"/>
                <a:gd name="connsiteX6" fmla="*/ 27716 w 314955"/>
                <a:gd name="connsiteY6" fmla="*/ 36535 h 75589"/>
                <a:gd name="connsiteX7" fmla="*/ 27716 w 314955"/>
                <a:gd name="connsiteY7" fmla="*/ 39055 h 75589"/>
                <a:gd name="connsiteX8" fmla="*/ 27716 w 314955"/>
                <a:gd name="connsiteY8" fmla="*/ 40314 h 75589"/>
                <a:gd name="connsiteX9" fmla="*/ 27716 w 314955"/>
                <a:gd name="connsiteY9" fmla="*/ 46613 h 75589"/>
                <a:gd name="connsiteX10" fmla="*/ 27716 w 314955"/>
                <a:gd name="connsiteY10" fmla="*/ 49133 h 75589"/>
                <a:gd name="connsiteX11" fmla="*/ 28976 w 314955"/>
                <a:gd name="connsiteY11" fmla="*/ 56692 h 75589"/>
                <a:gd name="connsiteX12" fmla="*/ 30236 w 314955"/>
                <a:gd name="connsiteY12" fmla="*/ 59212 h 75589"/>
                <a:gd name="connsiteX13" fmla="*/ 34015 w 314955"/>
                <a:gd name="connsiteY13" fmla="*/ 69290 h 75589"/>
                <a:gd name="connsiteX14" fmla="*/ 56692 w 314955"/>
                <a:gd name="connsiteY14" fmla="*/ 69290 h 75589"/>
                <a:gd name="connsiteX15" fmla="*/ 316216 w 314955"/>
                <a:gd name="connsiteY15" fmla="*/ 69290 h 75589"/>
                <a:gd name="connsiteX16" fmla="*/ 318735 w 314955"/>
                <a:gd name="connsiteY16" fmla="*/ 69290 h 75589"/>
                <a:gd name="connsiteX17" fmla="*/ 326294 w 314955"/>
                <a:gd name="connsiteY17" fmla="*/ 76849 h 75589"/>
                <a:gd name="connsiteX18" fmla="*/ 318735 w 314955"/>
                <a:gd name="connsiteY18" fmla="*/ 84408 h 75589"/>
                <a:gd name="connsiteX19" fmla="*/ 60471 w 314955"/>
                <a:gd name="connsiteY19" fmla="*/ 84408 h 75589"/>
                <a:gd name="connsiteX20" fmla="*/ 28976 w 314955"/>
                <a:gd name="connsiteY20" fmla="*/ 84408 h 75589"/>
                <a:gd name="connsiteX21" fmla="*/ 15118 w 314955"/>
                <a:gd name="connsiteY21" fmla="*/ 84408 h 75589"/>
                <a:gd name="connsiteX22" fmla="*/ 10079 w 314955"/>
                <a:gd name="connsiteY22" fmla="*/ 74330 h 75589"/>
                <a:gd name="connsiteX23" fmla="*/ 2520 w 314955"/>
                <a:gd name="connsiteY23" fmla="*/ 51653 h 75589"/>
                <a:gd name="connsiteX24" fmla="*/ 0 w 314955"/>
                <a:gd name="connsiteY24" fmla="*/ 34015 h 75589"/>
                <a:gd name="connsiteX25" fmla="*/ 0 w 314955"/>
                <a:gd name="connsiteY25" fmla="*/ 28976 h 75589"/>
                <a:gd name="connsiteX26" fmla="*/ 0 w 314955"/>
                <a:gd name="connsiteY26" fmla="*/ 23937 h 75589"/>
                <a:gd name="connsiteX27" fmla="*/ 10079 w 314955"/>
                <a:gd name="connsiteY27" fmla="*/ 0 h 75589"/>
                <a:gd name="connsiteX28" fmla="*/ 28976 w 314955"/>
                <a:gd name="connsiteY28" fmla="*/ 0 h 75589"/>
                <a:gd name="connsiteX29" fmla="*/ 60471 w 314955"/>
                <a:gd name="connsiteY29" fmla="*/ 0 h 75589"/>
                <a:gd name="connsiteX30" fmla="*/ 318735 w 314955"/>
                <a:gd name="connsiteY30" fmla="*/ 0 h 75589"/>
                <a:gd name="connsiteX31" fmla="*/ 326294 w 314955"/>
                <a:gd name="connsiteY31" fmla="*/ 7559 h 75589"/>
                <a:gd name="connsiteX32" fmla="*/ 317475 w 314955"/>
                <a:gd name="connsiteY32" fmla="*/ 16378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955" h="75589">
                  <a:moveTo>
                    <a:pt x="317475" y="16378"/>
                  </a:moveTo>
                  <a:lnTo>
                    <a:pt x="314956" y="16378"/>
                  </a:lnTo>
                  <a:lnTo>
                    <a:pt x="71810" y="16378"/>
                  </a:lnTo>
                  <a:lnTo>
                    <a:pt x="32755" y="16378"/>
                  </a:lnTo>
                  <a:cubicBezTo>
                    <a:pt x="31496" y="18897"/>
                    <a:pt x="30236" y="22677"/>
                    <a:pt x="28976" y="26456"/>
                  </a:cubicBezTo>
                  <a:cubicBezTo>
                    <a:pt x="28976" y="27716"/>
                    <a:pt x="28976" y="27716"/>
                    <a:pt x="28976" y="28976"/>
                  </a:cubicBezTo>
                  <a:cubicBezTo>
                    <a:pt x="28976" y="31496"/>
                    <a:pt x="27716" y="34015"/>
                    <a:pt x="27716" y="36535"/>
                  </a:cubicBezTo>
                  <a:cubicBezTo>
                    <a:pt x="27716" y="37795"/>
                    <a:pt x="27716" y="37795"/>
                    <a:pt x="27716" y="39055"/>
                  </a:cubicBezTo>
                  <a:cubicBezTo>
                    <a:pt x="27716" y="39055"/>
                    <a:pt x="27716" y="40314"/>
                    <a:pt x="27716" y="40314"/>
                  </a:cubicBezTo>
                  <a:cubicBezTo>
                    <a:pt x="27716" y="42834"/>
                    <a:pt x="27716" y="44094"/>
                    <a:pt x="27716" y="46613"/>
                  </a:cubicBezTo>
                  <a:cubicBezTo>
                    <a:pt x="27716" y="47873"/>
                    <a:pt x="27716" y="49133"/>
                    <a:pt x="27716" y="49133"/>
                  </a:cubicBezTo>
                  <a:cubicBezTo>
                    <a:pt x="27716" y="51653"/>
                    <a:pt x="27716" y="54172"/>
                    <a:pt x="28976" y="56692"/>
                  </a:cubicBezTo>
                  <a:cubicBezTo>
                    <a:pt x="28976" y="57952"/>
                    <a:pt x="28976" y="59212"/>
                    <a:pt x="30236" y="59212"/>
                  </a:cubicBezTo>
                  <a:cubicBezTo>
                    <a:pt x="31496" y="62991"/>
                    <a:pt x="32755" y="66771"/>
                    <a:pt x="34015" y="69290"/>
                  </a:cubicBezTo>
                  <a:lnTo>
                    <a:pt x="56692" y="69290"/>
                  </a:lnTo>
                  <a:lnTo>
                    <a:pt x="316216" y="69290"/>
                  </a:lnTo>
                  <a:lnTo>
                    <a:pt x="318735" y="69290"/>
                  </a:lnTo>
                  <a:cubicBezTo>
                    <a:pt x="322515" y="69290"/>
                    <a:pt x="326294" y="73070"/>
                    <a:pt x="326294" y="76849"/>
                  </a:cubicBezTo>
                  <a:cubicBezTo>
                    <a:pt x="326294" y="80629"/>
                    <a:pt x="322515" y="84408"/>
                    <a:pt x="318735" y="84408"/>
                  </a:cubicBezTo>
                  <a:lnTo>
                    <a:pt x="60471" y="84408"/>
                  </a:lnTo>
                  <a:lnTo>
                    <a:pt x="28976" y="84408"/>
                  </a:lnTo>
                  <a:lnTo>
                    <a:pt x="15118" y="84408"/>
                  </a:lnTo>
                  <a:cubicBezTo>
                    <a:pt x="13858" y="80629"/>
                    <a:pt x="11338" y="76849"/>
                    <a:pt x="10079" y="74330"/>
                  </a:cubicBezTo>
                  <a:cubicBezTo>
                    <a:pt x="6299" y="66771"/>
                    <a:pt x="3779" y="59212"/>
                    <a:pt x="2520" y="51653"/>
                  </a:cubicBezTo>
                  <a:cubicBezTo>
                    <a:pt x="1260" y="45354"/>
                    <a:pt x="0" y="40314"/>
                    <a:pt x="0" y="34015"/>
                  </a:cubicBezTo>
                  <a:cubicBezTo>
                    <a:pt x="0" y="32755"/>
                    <a:pt x="0" y="30236"/>
                    <a:pt x="0" y="28976"/>
                  </a:cubicBezTo>
                  <a:cubicBezTo>
                    <a:pt x="0" y="27716"/>
                    <a:pt x="0" y="25196"/>
                    <a:pt x="0" y="23937"/>
                  </a:cubicBezTo>
                  <a:cubicBezTo>
                    <a:pt x="1260" y="15118"/>
                    <a:pt x="3779" y="6299"/>
                    <a:pt x="10079" y="0"/>
                  </a:cubicBezTo>
                  <a:lnTo>
                    <a:pt x="28976" y="0"/>
                  </a:lnTo>
                  <a:lnTo>
                    <a:pt x="60471" y="0"/>
                  </a:lnTo>
                  <a:lnTo>
                    <a:pt x="318735" y="0"/>
                  </a:lnTo>
                  <a:cubicBezTo>
                    <a:pt x="322515" y="0"/>
                    <a:pt x="326294" y="3780"/>
                    <a:pt x="326294" y="7559"/>
                  </a:cubicBezTo>
                  <a:cubicBezTo>
                    <a:pt x="326294" y="12598"/>
                    <a:pt x="322515" y="16378"/>
                    <a:pt x="317475" y="16378"/>
                  </a:cubicBezTo>
                  <a:close/>
                </a:path>
              </a:pathLst>
            </a:custGeom>
            <a:solidFill>
              <a:srgbClr val="005CCF"/>
            </a:solidFill>
            <a:ln w="12584" cap="flat">
              <a:noFill/>
              <a:prstDash val="solid"/>
              <a:miter/>
            </a:ln>
          </p:spPr>
          <p:txBody>
            <a:bodyPr rtlCol="0" anchor="ctr"/>
            <a:lstStyle/>
            <a:p>
              <a:endParaRPr lang="zh-CN" altLang="en-US"/>
            </a:p>
          </p:txBody>
        </p:sp>
        <p:sp>
          <p:nvSpPr>
            <p:cNvPr id="148" name="任意多边形: 形状 147"/>
            <p:cNvSpPr/>
            <p:nvPr/>
          </p:nvSpPr>
          <p:spPr>
            <a:xfrm>
              <a:off x="8116365" y="4099906"/>
              <a:ext cx="8580" cy="8580"/>
            </a:xfrm>
            <a:custGeom>
              <a:avLst/>
              <a:gdLst>
                <a:gd name="connsiteX0" fmla="*/ 945 w 0"/>
                <a:gd name="connsiteY0" fmla="*/ 0 h 0"/>
                <a:gd name="connsiteX1" fmla="*/ 945 w 0"/>
                <a:gd name="connsiteY1" fmla="*/ 5039 h 0"/>
                <a:gd name="connsiteX2" fmla="*/ 945 w 0"/>
                <a:gd name="connsiteY2" fmla="*/ 0 h 0"/>
              </a:gdLst>
              <a:ahLst/>
              <a:cxnLst>
                <a:cxn ang="0">
                  <a:pos x="connsiteX0" y="connsiteY0"/>
                </a:cxn>
                <a:cxn ang="0">
                  <a:pos x="connsiteX1" y="connsiteY1"/>
                </a:cxn>
                <a:cxn ang="0">
                  <a:pos x="connsiteX2" y="connsiteY2"/>
                </a:cxn>
              </a:cxnLst>
              <a:rect l="l" t="t" r="r" b="b"/>
              <a:pathLst>
                <a:path>
                  <a:moveTo>
                    <a:pt x="945" y="0"/>
                  </a:moveTo>
                  <a:cubicBezTo>
                    <a:pt x="945" y="1260"/>
                    <a:pt x="945" y="3780"/>
                    <a:pt x="945" y="5039"/>
                  </a:cubicBezTo>
                  <a:cubicBezTo>
                    <a:pt x="-315" y="3780"/>
                    <a:pt x="-315" y="1260"/>
                    <a:pt x="945" y="0"/>
                  </a:cubicBezTo>
                  <a:close/>
                </a:path>
              </a:pathLst>
            </a:custGeom>
            <a:noFill/>
            <a:ln w="12584" cap="flat">
              <a:noFill/>
              <a:prstDash val="solid"/>
              <a:miter/>
            </a:ln>
          </p:spPr>
          <p:txBody>
            <a:bodyPr rtlCol="0" anchor="ctr"/>
            <a:lstStyle/>
            <a:p>
              <a:endParaRPr lang="zh-CN" altLang="en-US"/>
            </a:p>
          </p:txBody>
        </p:sp>
        <p:sp>
          <p:nvSpPr>
            <p:cNvPr id="149" name="任意多边形: 形状 148"/>
            <p:cNvSpPr/>
            <p:nvPr/>
          </p:nvSpPr>
          <p:spPr>
            <a:xfrm>
              <a:off x="8135886" y="4117066"/>
              <a:ext cx="188768" cy="8580"/>
            </a:xfrm>
            <a:custGeom>
              <a:avLst/>
              <a:gdLst>
                <a:gd name="connsiteX0" fmla="*/ 0 w 277161"/>
                <a:gd name="connsiteY0" fmla="*/ 0 h 0"/>
                <a:gd name="connsiteX1" fmla="*/ 287240 w 277161"/>
                <a:gd name="connsiteY1" fmla="*/ 0 h 0"/>
                <a:gd name="connsiteX2" fmla="*/ 287240 w 277161"/>
                <a:gd name="connsiteY2" fmla="*/ 7559 h 0"/>
                <a:gd name="connsiteX3" fmla="*/ 1260 w 277161"/>
                <a:gd name="connsiteY3" fmla="*/ 7559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7240" y="0"/>
                  </a:lnTo>
                  <a:lnTo>
                    <a:pt x="287240" y="7559"/>
                  </a:lnTo>
                  <a:lnTo>
                    <a:pt x="1260" y="7559"/>
                  </a:lnTo>
                  <a:cubicBezTo>
                    <a:pt x="0" y="5039"/>
                    <a:pt x="0" y="2520"/>
                    <a:pt x="0" y="0"/>
                  </a:cubicBezTo>
                  <a:close/>
                </a:path>
              </a:pathLst>
            </a:custGeom>
            <a:solidFill>
              <a:srgbClr val="FFFFFF"/>
            </a:solidFill>
            <a:ln w="12584" cap="flat">
              <a:noFill/>
              <a:prstDash val="solid"/>
              <a:miter/>
            </a:ln>
          </p:spPr>
          <p:txBody>
            <a:bodyPr rtlCol="0" anchor="ctr"/>
            <a:lstStyle/>
            <a:p>
              <a:endParaRPr lang="zh-CN" altLang="en-US"/>
            </a:p>
          </p:txBody>
        </p:sp>
        <p:sp>
          <p:nvSpPr>
            <p:cNvPr id="150" name="任意多边形: 形状 149"/>
            <p:cNvSpPr/>
            <p:nvPr/>
          </p:nvSpPr>
          <p:spPr>
            <a:xfrm>
              <a:off x="8136744" y="4123931"/>
              <a:ext cx="188768" cy="8580"/>
            </a:xfrm>
            <a:custGeom>
              <a:avLst/>
              <a:gdLst>
                <a:gd name="connsiteX0" fmla="*/ 3780 w 277161"/>
                <a:gd name="connsiteY0" fmla="*/ 10078 h 0"/>
                <a:gd name="connsiteX1" fmla="*/ 0 w 277161"/>
                <a:gd name="connsiteY1" fmla="*/ 0 h 0"/>
                <a:gd name="connsiteX2" fmla="*/ 285980 w 277161"/>
                <a:gd name="connsiteY2" fmla="*/ 0 h 0"/>
                <a:gd name="connsiteX3" fmla="*/ 285980 w 277161"/>
                <a:gd name="connsiteY3" fmla="*/ 10078 h 0"/>
                <a:gd name="connsiteX4" fmla="*/ 26456 w 277161"/>
                <a:gd name="connsiteY4" fmla="*/ 10078 h 0"/>
                <a:gd name="connsiteX5" fmla="*/ 3780 w 277161"/>
                <a:gd name="connsiteY5" fmla="*/ 100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10078"/>
                  </a:moveTo>
                  <a:cubicBezTo>
                    <a:pt x="2520" y="7559"/>
                    <a:pt x="1260" y="3779"/>
                    <a:pt x="0" y="0"/>
                  </a:cubicBezTo>
                  <a:lnTo>
                    <a:pt x="285980" y="0"/>
                  </a:lnTo>
                  <a:lnTo>
                    <a:pt x="285980" y="10078"/>
                  </a:lnTo>
                  <a:lnTo>
                    <a:pt x="26456" y="10078"/>
                  </a:lnTo>
                  <a:lnTo>
                    <a:pt x="3780" y="10078"/>
                  </a:lnTo>
                  <a:close/>
                </a:path>
              </a:pathLst>
            </a:custGeom>
            <a:solidFill>
              <a:srgbClr val="FFFFFF"/>
            </a:solidFill>
            <a:ln w="12584" cap="flat">
              <a:noFill/>
              <a:prstDash val="solid"/>
              <a:miter/>
            </a:ln>
          </p:spPr>
          <p:txBody>
            <a:bodyPr rtlCol="0" anchor="ctr"/>
            <a:lstStyle/>
            <a:p>
              <a:endParaRPr lang="zh-CN" altLang="en-US"/>
            </a:p>
          </p:txBody>
        </p:sp>
        <p:sp>
          <p:nvSpPr>
            <p:cNvPr id="151" name="任意多边形: 形状 150"/>
            <p:cNvSpPr/>
            <p:nvPr/>
          </p:nvSpPr>
          <p:spPr>
            <a:xfrm>
              <a:off x="8136744" y="4093899"/>
              <a:ext cx="188768" cy="8580"/>
            </a:xfrm>
            <a:custGeom>
              <a:avLst/>
              <a:gdLst>
                <a:gd name="connsiteX0" fmla="*/ 3780 w 277161"/>
                <a:gd name="connsiteY0" fmla="*/ 0 h 0"/>
                <a:gd name="connsiteX1" fmla="*/ 42834 w 277161"/>
                <a:gd name="connsiteY1" fmla="*/ 0 h 0"/>
                <a:gd name="connsiteX2" fmla="*/ 285980 w 277161"/>
                <a:gd name="connsiteY2" fmla="*/ 0 h 0"/>
                <a:gd name="connsiteX3" fmla="*/ 285980 w 277161"/>
                <a:gd name="connsiteY3" fmla="*/ 10078 h 0"/>
                <a:gd name="connsiteX4" fmla="*/ 0 w 277161"/>
                <a:gd name="connsiteY4" fmla="*/ 10078 h 0"/>
                <a:gd name="connsiteX5" fmla="*/ 3780 w 277161"/>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0"/>
                  </a:moveTo>
                  <a:lnTo>
                    <a:pt x="42834" y="0"/>
                  </a:lnTo>
                  <a:lnTo>
                    <a:pt x="285980" y="0"/>
                  </a:lnTo>
                  <a:lnTo>
                    <a:pt x="285980" y="10078"/>
                  </a:lnTo>
                  <a:lnTo>
                    <a:pt x="0" y="10078"/>
                  </a:lnTo>
                  <a:cubicBezTo>
                    <a:pt x="0" y="6299"/>
                    <a:pt x="1260" y="2520"/>
                    <a:pt x="3780" y="0"/>
                  </a:cubicBezTo>
                  <a:close/>
                </a:path>
              </a:pathLst>
            </a:custGeom>
            <a:solidFill>
              <a:srgbClr val="FFFFFF"/>
            </a:solidFill>
            <a:ln w="12584" cap="flat">
              <a:noFill/>
              <a:prstDash val="solid"/>
              <a:miter/>
            </a:ln>
          </p:spPr>
          <p:txBody>
            <a:bodyPr rtlCol="0" anchor="ctr"/>
            <a:lstStyle/>
            <a:p>
              <a:endParaRPr lang="zh-CN" altLang="en-US"/>
            </a:p>
          </p:txBody>
        </p:sp>
        <p:sp>
          <p:nvSpPr>
            <p:cNvPr id="152" name="任意多边形: 形状 151"/>
            <p:cNvSpPr/>
            <p:nvPr/>
          </p:nvSpPr>
          <p:spPr>
            <a:xfrm>
              <a:off x="8135028" y="4102479"/>
              <a:ext cx="188768" cy="8580"/>
            </a:xfrm>
            <a:custGeom>
              <a:avLst/>
              <a:gdLst>
                <a:gd name="connsiteX0" fmla="*/ 1260 w 277161"/>
                <a:gd name="connsiteY0" fmla="*/ 0 h 0"/>
                <a:gd name="connsiteX1" fmla="*/ 288499 w 277161"/>
                <a:gd name="connsiteY1" fmla="*/ 0 h 0"/>
                <a:gd name="connsiteX2" fmla="*/ 288499 w 277161"/>
                <a:gd name="connsiteY2" fmla="*/ 7559 h 0"/>
                <a:gd name="connsiteX3" fmla="*/ 0 w 277161"/>
                <a:gd name="connsiteY3" fmla="*/ 7559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8499" y="0"/>
                  </a:lnTo>
                  <a:lnTo>
                    <a:pt x="288499" y="7559"/>
                  </a:lnTo>
                  <a:lnTo>
                    <a:pt x="0" y="7559"/>
                  </a:lnTo>
                  <a:cubicBezTo>
                    <a:pt x="0" y="5039"/>
                    <a:pt x="1260" y="2520"/>
                    <a:pt x="1260" y="0"/>
                  </a:cubicBezTo>
                  <a:close/>
                </a:path>
              </a:pathLst>
            </a:custGeom>
            <a:solidFill>
              <a:srgbClr val="FFFFFF"/>
            </a:solidFill>
            <a:ln w="12584" cap="flat">
              <a:noFill/>
              <a:prstDash val="solid"/>
              <a:miter/>
            </a:ln>
          </p:spPr>
          <p:txBody>
            <a:bodyPr rtlCol="0" anchor="ctr"/>
            <a:lstStyle/>
            <a:p>
              <a:endParaRPr lang="zh-CN" altLang="en-US"/>
            </a:p>
          </p:txBody>
        </p:sp>
        <p:sp>
          <p:nvSpPr>
            <p:cNvPr id="153" name="任意多边形: 形状 152"/>
            <p:cNvSpPr/>
            <p:nvPr/>
          </p:nvSpPr>
          <p:spPr>
            <a:xfrm>
              <a:off x="8135028" y="4109344"/>
              <a:ext cx="188768" cy="8580"/>
            </a:xfrm>
            <a:custGeom>
              <a:avLst/>
              <a:gdLst>
                <a:gd name="connsiteX0" fmla="*/ 0 w 277161"/>
                <a:gd name="connsiteY0" fmla="*/ 1260 h 0"/>
                <a:gd name="connsiteX1" fmla="*/ 0 w 277161"/>
                <a:gd name="connsiteY1" fmla="*/ 1260 h 0"/>
                <a:gd name="connsiteX2" fmla="*/ 288499 w 277161"/>
                <a:gd name="connsiteY2" fmla="*/ 0 h 0"/>
                <a:gd name="connsiteX3" fmla="*/ 288499 w 277161"/>
                <a:gd name="connsiteY3" fmla="*/ 7559 h 0"/>
                <a:gd name="connsiteX4" fmla="*/ 0 w 277161"/>
                <a:gd name="connsiteY4" fmla="*/ 7559 h 0"/>
                <a:gd name="connsiteX5" fmla="*/ 0 w 277161"/>
                <a:gd name="connsiteY5"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0" y="1260"/>
                  </a:moveTo>
                  <a:cubicBezTo>
                    <a:pt x="0" y="1260"/>
                    <a:pt x="0" y="1260"/>
                    <a:pt x="0" y="1260"/>
                  </a:cubicBezTo>
                  <a:lnTo>
                    <a:pt x="288499" y="0"/>
                  </a:lnTo>
                  <a:lnTo>
                    <a:pt x="288499" y="7559"/>
                  </a:lnTo>
                  <a:lnTo>
                    <a:pt x="0" y="7559"/>
                  </a:lnTo>
                  <a:cubicBezTo>
                    <a:pt x="0" y="6299"/>
                    <a:pt x="0" y="3780"/>
                    <a:pt x="0" y="1260"/>
                  </a:cubicBezTo>
                  <a:close/>
                </a:path>
              </a:pathLst>
            </a:custGeom>
            <a:solidFill>
              <a:srgbClr val="FFFFFF"/>
            </a:solidFill>
            <a:ln w="12584" cap="flat">
              <a:noFill/>
              <a:prstDash val="solid"/>
              <a:miter/>
            </a:ln>
          </p:spPr>
          <p:txBody>
            <a:bodyPr rtlCol="0" anchor="ctr"/>
            <a:lstStyle/>
            <a:p>
              <a:endParaRPr lang="zh-CN" altLang="en-US"/>
            </a:p>
          </p:txBody>
        </p:sp>
        <p:sp>
          <p:nvSpPr>
            <p:cNvPr id="154" name="任意多边形: 形状 153"/>
            <p:cNvSpPr/>
            <p:nvPr/>
          </p:nvSpPr>
          <p:spPr>
            <a:xfrm>
              <a:off x="8135028" y="4100763"/>
              <a:ext cx="188768" cy="8580"/>
            </a:xfrm>
            <a:custGeom>
              <a:avLst/>
              <a:gdLst>
                <a:gd name="connsiteX0" fmla="*/ 1260 w 277161"/>
                <a:gd name="connsiteY0" fmla="*/ 0 h 0"/>
                <a:gd name="connsiteX1" fmla="*/ 287240 w 277161"/>
                <a:gd name="connsiteY1" fmla="*/ 0 h 0"/>
                <a:gd name="connsiteX2" fmla="*/ 287240 w 277161"/>
                <a:gd name="connsiteY2" fmla="*/ 2520 h 0"/>
                <a:gd name="connsiteX3" fmla="*/ 0 w 277161"/>
                <a:gd name="connsiteY3" fmla="*/ 2520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7240" y="0"/>
                  </a:lnTo>
                  <a:lnTo>
                    <a:pt x="287240" y="2520"/>
                  </a:lnTo>
                  <a:lnTo>
                    <a:pt x="0" y="2520"/>
                  </a:lnTo>
                  <a:cubicBezTo>
                    <a:pt x="1260" y="2520"/>
                    <a:pt x="1260" y="1260"/>
                    <a:pt x="1260" y="0"/>
                  </a:cubicBezTo>
                  <a:close/>
                </a:path>
              </a:pathLst>
            </a:custGeom>
            <a:solidFill>
              <a:srgbClr val="E1E1E6"/>
            </a:solidFill>
            <a:ln w="12584" cap="flat">
              <a:noFill/>
              <a:prstDash val="solid"/>
              <a:miter/>
            </a:ln>
          </p:spPr>
          <p:txBody>
            <a:bodyPr rtlCol="0" anchor="ctr"/>
            <a:lstStyle/>
            <a:p>
              <a:endParaRPr lang="zh-CN" altLang="en-US"/>
            </a:p>
          </p:txBody>
        </p:sp>
        <p:sp>
          <p:nvSpPr>
            <p:cNvPr id="155" name="任意多边形: 形状 154"/>
            <p:cNvSpPr/>
            <p:nvPr/>
          </p:nvSpPr>
          <p:spPr>
            <a:xfrm>
              <a:off x="8135028" y="4107628"/>
              <a:ext cx="188768" cy="8580"/>
            </a:xfrm>
            <a:custGeom>
              <a:avLst/>
              <a:gdLst>
                <a:gd name="connsiteX0" fmla="*/ 0 w 277161"/>
                <a:gd name="connsiteY0" fmla="*/ 0 h 0"/>
                <a:gd name="connsiteX1" fmla="*/ 288499 w 277161"/>
                <a:gd name="connsiteY1" fmla="*/ 0 h 0"/>
                <a:gd name="connsiteX2" fmla="*/ 288499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56" name="任意多边形: 形状 155"/>
            <p:cNvSpPr/>
            <p:nvPr/>
          </p:nvSpPr>
          <p:spPr>
            <a:xfrm>
              <a:off x="8135028" y="4114492"/>
              <a:ext cx="188768" cy="8580"/>
            </a:xfrm>
            <a:custGeom>
              <a:avLst/>
              <a:gdLst>
                <a:gd name="connsiteX0" fmla="*/ 0 w 277161"/>
                <a:gd name="connsiteY0" fmla="*/ 0 h 0"/>
                <a:gd name="connsiteX1" fmla="*/ 288499 w 277161"/>
                <a:gd name="connsiteY1" fmla="*/ 0 h 0"/>
                <a:gd name="connsiteX2" fmla="*/ 288499 w 277161"/>
                <a:gd name="connsiteY2" fmla="*/ 2520 h 0"/>
                <a:gd name="connsiteX3" fmla="*/ 126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126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57" name="任意多边形: 形状 156"/>
            <p:cNvSpPr/>
            <p:nvPr/>
          </p:nvSpPr>
          <p:spPr>
            <a:xfrm>
              <a:off x="8135886" y="4122214"/>
              <a:ext cx="188768" cy="8580"/>
            </a:xfrm>
            <a:custGeom>
              <a:avLst/>
              <a:gdLst>
                <a:gd name="connsiteX0" fmla="*/ 0 w 277161"/>
                <a:gd name="connsiteY0" fmla="*/ 0 h 0"/>
                <a:gd name="connsiteX1" fmla="*/ 285980 w 277161"/>
                <a:gd name="connsiteY1" fmla="*/ 0 h 0"/>
                <a:gd name="connsiteX2" fmla="*/ 285980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5980" y="0"/>
                  </a:lnTo>
                  <a:lnTo>
                    <a:pt x="285980" y="2520"/>
                  </a:lnTo>
                  <a:lnTo>
                    <a:pt x="0" y="2520"/>
                  </a:lnTo>
                  <a:cubicBezTo>
                    <a:pt x="1260" y="1260"/>
                    <a:pt x="1260" y="0"/>
                    <a:pt x="0" y="0"/>
                  </a:cubicBezTo>
                  <a:close/>
                </a:path>
              </a:pathLst>
            </a:custGeom>
            <a:solidFill>
              <a:srgbClr val="E1E1E6"/>
            </a:solidFill>
            <a:ln w="12584" cap="flat">
              <a:noFill/>
              <a:prstDash val="solid"/>
              <a:miter/>
            </a:ln>
          </p:spPr>
          <p:txBody>
            <a:bodyPr rtlCol="0" anchor="ctr"/>
            <a:lstStyle/>
            <a:p>
              <a:endParaRPr lang="zh-CN" altLang="en-US"/>
            </a:p>
          </p:txBody>
        </p:sp>
        <p:sp>
          <p:nvSpPr>
            <p:cNvPr id="158" name="任意多边形: 形状 157"/>
            <p:cNvSpPr/>
            <p:nvPr/>
          </p:nvSpPr>
          <p:spPr>
            <a:xfrm>
              <a:off x="7910222" y="4082745"/>
              <a:ext cx="214509" cy="51482"/>
            </a:xfrm>
            <a:custGeom>
              <a:avLst/>
              <a:gdLst>
                <a:gd name="connsiteX0" fmla="*/ 302358 w 314955"/>
                <a:gd name="connsiteY0" fmla="*/ 30236 h 75589"/>
                <a:gd name="connsiteX1" fmla="*/ 302358 w 314955"/>
                <a:gd name="connsiteY1" fmla="*/ 35275 h 75589"/>
                <a:gd name="connsiteX2" fmla="*/ 304877 w 314955"/>
                <a:gd name="connsiteY2" fmla="*/ 52913 h 75589"/>
                <a:gd name="connsiteX3" fmla="*/ 312436 w 314955"/>
                <a:gd name="connsiteY3" fmla="*/ 75589 h 75589"/>
                <a:gd name="connsiteX4" fmla="*/ 317475 w 314955"/>
                <a:gd name="connsiteY4" fmla="*/ 85668 h 75589"/>
                <a:gd name="connsiteX5" fmla="*/ 42834 w 314955"/>
                <a:gd name="connsiteY5" fmla="*/ 85668 h 75589"/>
                <a:gd name="connsiteX6" fmla="*/ 0 w 314955"/>
                <a:gd name="connsiteY6" fmla="*/ 42834 h 75589"/>
                <a:gd name="connsiteX7" fmla="*/ 42834 w 314955"/>
                <a:gd name="connsiteY7" fmla="*/ 0 h 75589"/>
                <a:gd name="connsiteX8" fmla="*/ 312436 w 314955"/>
                <a:gd name="connsiteY8" fmla="*/ 0 h 75589"/>
                <a:gd name="connsiteX9" fmla="*/ 302358 w 314955"/>
                <a:gd name="connsiteY9" fmla="*/ 23937 h 75589"/>
                <a:gd name="connsiteX10" fmla="*/ 302358 w 314955"/>
                <a:gd name="connsiteY10" fmla="*/ 30236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955" h="75589">
                  <a:moveTo>
                    <a:pt x="302358" y="30236"/>
                  </a:moveTo>
                  <a:cubicBezTo>
                    <a:pt x="302358" y="31496"/>
                    <a:pt x="302358" y="34015"/>
                    <a:pt x="302358" y="35275"/>
                  </a:cubicBezTo>
                  <a:cubicBezTo>
                    <a:pt x="302358" y="40314"/>
                    <a:pt x="303617" y="46613"/>
                    <a:pt x="304877" y="52913"/>
                  </a:cubicBezTo>
                  <a:cubicBezTo>
                    <a:pt x="306137" y="60472"/>
                    <a:pt x="309917" y="68030"/>
                    <a:pt x="312436" y="75589"/>
                  </a:cubicBezTo>
                  <a:cubicBezTo>
                    <a:pt x="313696" y="79369"/>
                    <a:pt x="316216" y="83148"/>
                    <a:pt x="317475" y="85668"/>
                  </a:cubicBezTo>
                  <a:lnTo>
                    <a:pt x="42834" y="85668"/>
                  </a:lnTo>
                  <a:cubicBezTo>
                    <a:pt x="18897" y="85668"/>
                    <a:pt x="0" y="66771"/>
                    <a:pt x="0" y="42834"/>
                  </a:cubicBezTo>
                  <a:cubicBezTo>
                    <a:pt x="0" y="18897"/>
                    <a:pt x="18897" y="0"/>
                    <a:pt x="42834" y="0"/>
                  </a:cubicBezTo>
                  <a:lnTo>
                    <a:pt x="312436" y="0"/>
                  </a:lnTo>
                  <a:cubicBezTo>
                    <a:pt x="307397" y="6299"/>
                    <a:pt x="303617" y="15118"/>
                    <a:pt x="302358" y="23937"/>
                  </a:cubicBezTo>
                  <a:cubicBezTo>
                    <a:pt x="302358" y="26456"/>
                    <a:pt x="302358" y="28976"/>
                    <a:pt x="302358" y="30236"/>
                  </a:cubicBezTo>
                  <a:close/>
                </a:path>
              </a:pathLst>
            </a:custGeom>
            <a:solidFill>
              <a:srgbClr val="001675"/>
            </a:solidFill>
            <a:ln w="12584" cap="flat">
              <a:noFill/>
              <a:prstDash val="solid"/>
              <a:miter/>
            </a:ln>
          </p:spPr>
          <p:txBody>
            <a:bodyPr rtlCol="0" anchor="ctr"/>
            <a:lstStyle/>
            <a:p>
              <a:endParaRPr lang="zh-CN" altLang="en-US"/>
            </a:p>
          </p:txBody>
        </p:sp>
        <p:sp>
          <p:nvSpPr>
            <p:cNvPr id="159" name="任意多边形: 形状 158"/>
            <p:cNvSpPr/>
            <p:nvPr/>
          </p:nvSpPr>
          <p:spPr>
            <a:xfrm>
              <a:off x="8117009" y="4082745"/>
              <a:ext cx="214509" cy="51482"/>
            </a:xfrm>
            <a:custGeom>
              <a:avLst/>
              <a:gdLst>
                <a:gd name="connsiteX0" fmla="*/ 317476 w 314955"/>
                <a:gd name="connsiteY0" fmla="*/ 16378 h 75589"/>
                <a:gd name="connsiteX1" fmla="*/ 314956 w 314955"/>
                <a:gd name="connsiteY1" fmla="*/ 16378 h 75589"/>
                <a:gd name="connsiteX2" fmla="*/ 71810 w 314955"/>
                <a:gd name="connsiteY2" fmla="*/ 16378 h 75589"/>
                <a:gd name="connsiteX3" fmla="*/ 32755 w 314955"/>
                <a:gd name="connsiteY3" fmla="*/ 16378 h 75589"/>
                <a:gd name="connsiteX4" fmla="*/ 28976 w 314955"/>
                <a:gd name="connsiteY4" fmla="*/ 26456 h 75589"/>
                <a:gd name="connsiteX5" fmla="*/ 28976 w 314955"/>
                <a:gd name="connsiteY5" fmla="*/ 28976 h 75589"/>
                <a:gd name="connsiteX6" fmla="*/ 27716 w 314955"/>
                <a:gd name="connsiteY6" fmla="*/ 36535 h 75589"/>
                <a:gd name="connsiteX7" fmla="*/ 27716 w 314955"/>
                <a:gd name="connsiteY7" fmla="*/ 39054 h 75589"/>
                <a:gd name="connsiteX8" fmla="*/ 27716 w 314955"/>
                <a:gd name="connsiteY8" fmla="*/ 40314 h 75589"/>
                <a:gd name="connsiteX9" fmla="*/ 27716 w 314955"/>
                <a:gd name="connsiteY9" fmla="*/ 46613 h 75589"/>
                <a:gd name="connsiteX10" fmla="*/ 27716 w 314955"/>
                <a:gd name="connsiteY10" fmla="*/ 49133 h 75589"/>
                <a:gd name="connsiteX11" fmla="*/ 28976 w 314955"/>
                <a:gd name="connsiteY11" fmla="*/ 56692 h 75589"/>
                <a:gd name="connsiteX12" fmla="*/ 30236 w 314955"/>
                <a:gd name="connsiteY12" fmla="*/ 59212 h 75589"/>
                <a:gd name="connsiteX13" fmla="*/ 34015 w 314955"/>
                <a:gd name="connsiteY13" fmla="*/ 69290 h 75589"/>
                <a:gd name="connsiteX14" fmla="*/ 56692 w 314955"/>
                <a:gd name="connsiteY14" fmla="*/ 69290 h 75589"/>
                <a:gd name="connsiteX15" fmla="*/ 316216 w 314955"/>
                <a:gd name="connsiteY15" fmla="*/ 69290 h 75589"/>
                <a:gd name="connsiteX16" fmla="*/ 318735 w 314955"/>
                <a:gd name="connsiteY16" fmla="*/ 69290 h 75589"/>
                <a:gd name="connsiteX17" fmla="*/ 326294 w 314955"/>
                <a:gd name="connsiteY17" fmla="*/ 76849 h 75589"/>
                <a:gd name="connsiteX18" fmla="*/ 318735 w 314955"/>
                <a:gd name="connsiteY18" fmla="*/ 84408 h 75589"/>
                <a:gd name="connsiteX19" fmla="*/ 60471 w 314955"/>
                <a:gd name="connsiteY19" fmla="*/ 84408 h 75589"/>
                <a:gd name="connsiteX20" fmla="*/ 28976 w 314955"/>
                <a:gd name="connsiteY20" fmla="*/ 84408 h 75589"/>
                <a:gd name="connsiteX21" fmla="*/ 15118 w 314955"/>
                <a:gd name="connsiteY21" fmla="*/ 84408 h 75589"/>
                <a:gd name="connsiteX22" fmla="*/ 10079 w 314955"/>
                <a:gd name="connsiteY22" fmla="*/ 74330 h 75589"/>
                <a:gd name="connsiteX23" fmla="*/ 2520 w 314955"/>
                <a:gd name="connsiteY23" fmla="*/ 51653 h 75589"/>
                <a:gd name="connsiteX24" fmla="*/ 0 w 314955"/>
                <a:gd name="connsiteY24" fmla="*/ 34015 h 75589"/>
                <a:gd name="connsiteX25" fmla="*/ 0 w 314955"/>
                <a:gd name="connsiteY25" fmla="*/ 28976 h 75589"/>
                <a:gd name="connsiteX26" fmla="*/ 0 w 314955"/>
                <a:gd name="connsiteY26" fmla="*/ 23937 h 75589"/>
                <a:gd name="connsiteX27" fmla="*/ 10079 w 314955"/>
                <a:gd name="connsiteY27" fmla="*/ 0 h 75589"/>
                <a:gd name="connsiteX28" fmla="*/ 28976 w 314955"/>
                <a:gd name="connsiteY28" fmla="*/ 0 h 75589"/>
                <a:gd name="connsiteX29" fmla="*/ 60471 w 314955"/>
                <a:gd name="connsiteY29" fmla="*/ 0 h 75589"/>
                <a:gd name="connsiteX30" fmla="*/ 318735 w 314955"/>
                <a:gd name="connsiteY30" fmla="*/ 0 h 75589"/>
                <a:gd name="connsiteX31" fmla="*/ 326294 w 314955"/>
                <a:gd name="connsiteY31" fmla="*/ 7559 h 75589"/>
                <a:gd name="connsiteX32" fmla="*/ 317476 w 314955"/>
                <a:gd name="connsiteY32" fmla="*/ 16378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955" h="75589">
                  <a:moveTo>
                    <a:pt x="317476" y="16378"/>
                  </a:moveTo>
                  <a:lnTo>
                    <a:pt x="314956" y="16378"/>
                  </a:lnTo>
                  <a:lnTo>
                    <a:pt x="71810" y="16378"/>
                  </a:lnTo>
                  <a:lnTo>
                    <a:pt x="32755" y="16378"/>
                  </a:lnTo>
                  <a:cubicBezTo>
                    <a:pt x="31496" y="18897"/>
                    <a:pt x="30236" y="22677"/>
                    <a:pt x="28976" y="26456"/>
                  </a:cubicBezTo>
                  <a:cubicBezTo>
                    <a:pt x="28976" y="27716"/>
                    <a:pt x="28976" y="27716"/>
                    <a:pt x="28976" y="28976"/>
                  </a:cubicBezTo>
                  <a:cubicBezTo>
                    <a:pt x="28976" y="31496"/>
                    <a:pt x="27716" y="34015"/>
                    <a:pt x="27716" y="36535"/>
                  </a:cubicBezTo>
                  <a:cubicBezTo>
                    <a:pt x="27716" y="37795"/>
                    <a:pt x="27716" y="37795"/>
                    <a:pt x="27716" y="39054"/>
                  </a:cubicBezTo>
                  <a:cubicBezTo>
                    <a:pt x="27716" y="39054"/>
                    <a:pt x="27716" y="40314"/>
                    <a:pt x="27716" y="40314"/>
                  </a:cubicBezTo>
                  <a:cubicBezTo>
                    <a:pt x="27716" y="42834"/>
                    <a:pt x="27716" y="44094"/>
                    <a:pt x="27716" y="46613"/>
                  </a:cubicBezTo>
                  <a:cubicBezTo>
                    <a:pt x="27716" y="47873"/>
                    <a:pt x="27716" y="49133"/>
                    <a:pt x="27716" y="49133"/>
                  </a:cubicBezTo>
                  <a:cubicBezTo>
                    <a:pt x="27716" y="51653"/>
                    <a:pt x="27716" y="54172"/>
                    <a:pt x="28976" y="56692"/>
                  </a:cubicBezTo>
                  <a:cubicBezTo>
                    <a:pt x="28976" y="57952"/>
                    <a:pt x="28976" y="59212"/>
                    <a:pt x="30236" y="59212"/>
                  </a:cubicBezTo>
                  <a:cubicBezTo>
                    <a:pt x="31496" y="62991"/>
                    <a:pt x="32755" y="66771"/>
                    <a:pt x="34015" y="69290"/>
                  </a:cubicBezTo>
                  <a:lnTo>
                    <a:pt x="56692" y="69290"/>
                  </a:lnTo>
                  <a:lnTo>
                    <a:pt x="316216" y="69290"/>
                  </a:lnTo>
                  <a:lnTo>
                    <a:pt x="318735" y="69290"/>
                  </a:lnTo>
                  <a:cubicBezTo>
                    <a:pt x="322515" y="69290"/>
                    <a:pt x="326294" y="73070"/>
                    <a:pt x="326294" y="76849"/>
                  </a:cubicBezTo>
                  <a:cubicBezTo>
                    <a:pt x="326294" y="80629"/>
                    <a:pt x="322515" y="84408"/>
                    <a:pt x="318735" y="84408"/>
                  </a:cubicBezTo>
                  <a:lnTo>
                    <a:pt x="60471" y="84408"/>
                  </a:lnTo>
                  <a:lnTo>
                    <a:pt x="28976" y="84408"/>
                  </a:lnTo>
                  <a:lnTo>
                    <a:pt x="15118" y="84408"/>
                  </a:lnTo>
                  <a:cubicBezTo>
                    <a:pt x="13858" y="80629"/>
                    <a:pt x="11338" y="76849"/>
                    <a:pt x="10079" y="74330"/>
                  </a:cubicBezTo>
                  <a:cubicBezTo>
                    <a:pt x="6299" y="66771"/>
                    <a:pt x="3779" y="59212"/>
                    <a:pt x="2520" y="51653"/>
                  </a:cubicBezTo>
                  <a:cubicBezTo>
                    <a:pt x="1260" y="45354"/>
                    <a:pt x="0" y="40314"/>
                    <a:pt x="0" y="34015"/>
                  </a:cubicBezTo>
                  <a:cubicBezTo>
                    <a:pt x="0" y="32755"/>
                    <a:pt x="0" y="30236"/>
                    <a:pt x="0" y="28976"/>
                  </a:cubicBezTo>
                  <a:cubicBezTo>
                    <a:pt x="0" y="27716"/>
                    <a:pt x="0" y="25196"/>
                    <a:pt x="0" y="23937"/>
                  </a:cubicBezTo>
                  <a:cubicBezTo>
                    <a:pt x="1260" y="15118"/>
                    <a:pt x="3779" y="6299"/>
                    <a:pt x="10079" y="0"/>
                  </a:cubicBezTo>
                  <a:lnTo>
                    <a:pt x="28976" y="0"/>
                  </a:lnTo>
                  <a:lnTo>
                    <a:pt x="60471" y="0"/>
                  </a:lnTo>
                  <a:lnTo>
                    <a:pt x="318735" y="0"/>
                  </a:lnTo>
                  <a:cubicBezTo>
                    <a:pt x="322515" y="0"/>
                    <a:pt x="326294" y="3780"/>
                    <a:pt x="326294" y="7559"/>
                  </a:cubicBezTo>
                  <a:cubicBezTo>
                    <a:pt x="325034" y="12598"/>
                    <a:pt x="321255" y="16378"/>
                    <a:pt x="317476" y="16378"/>
                  </a:cubicBezTo>
                  <a:close/>
                </a:path>
              </a:pathLst>
            </a:custGeom>
            <a:solidFill>
              <a:srgbClr val="005CCF"/>
            </a:solidFill>
            <a:ln w="12584" cap="flat">
              <a:noFill/>
              <a:prstDash val="solid"/>
              <a:miter/>
            </a:ln>
          </p:spPr>
          <p:txBody>
            <a:bodyPr rtlCol="0" anchor="ctr"/>
            <a:lstStyle/>
            <a:p>
              <a:endParaRPr lang="zh-CN" altLang="en-US"/>
            </a:p>
          </p:txBody>
        </p:sp>
        <p:sp>
          <p:nvSpPr>
            <p:cNvPr id="160" name="任意多边形: 形状 159"/>
            <p:cNvSpPr/>
            <p:nvPr/>
          </p:nvSpPr>
          <p:spPr>
            <a:xfrm>
              <a:off x="8088693" y="4156536"/>
              <a:ext cx="8580" cy="8580"/>
            </a:xfrm>
            <a:custGeom>
              <a:avLst/>
              <a:gdLst>
                <a:gd name="connsiteX0" fmla="*/ 0 w 0"/>
                <a:gd name="connsiteY0" fmla="*/ 0 h 0"/>
                <a:gd name="connsiteX1" fmla="*/ 0 w 0"/>
                <a:gd name="connsiteY1" fmla="*/ 5039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0" y="1260"/>
                    <a:pt x="0" y="3780"/>
                    <a:pt x="0" y="5039"/>
                  </a:cubicBezTo>
                  <a:cubicBezTo>
                    <a:pt x="0" y="3780"/>
                    <a:pt x="0" y="2520"/>
                    <a:pt x="0" y="0"/>
                  </a:cubicBezTo>
                  <a:close/>
                </a:path>
              </a:pathLst>
            </a:custGeom>
            <a:noFill/>
            <a:ln w="12584" cap="flat">
              <a:noFill/>
              <a:prstDash val="solid"/>
              <a:miter/>
            </a:ln>
          </p:spPr>
          <p:txBody>
            <a:bodyPr rtlCol="0" anchor="ctr"/>
            <a:lstStyle/>
            <a:p>
              <a:endParaRPr lang="zh-CN" altLang="en-US"/>
            </a:p>
          </p:txBody>
        </p:sp>
        <p:sp>
          <p:nvSpPr>
            <p:cNvPr id="161" name="任意多边形: 形状 160"/>
            <p:cNvSpPr/>
            <p:nvPr/>
          </p:nvSpPr>
          <p:spPr>
            <a:xfrm>
              <a:off x="8107571" y="4173696"/>
              <a:ext cx="188768" cy="8580"/>
            </a:xfrm>
            <a:custGeom>
              <a:avLst/>
              <a:gdLst>
                <a:gd name="connsiteX0" fmla="*/ 0 w 277161"/>
                <a:gd name="connsiteY0" fmla="*/ 0 h 0"/>
                <a:gd name="connsiteX1" fmla="*/ 287240 w 277161"/>
                <a:gd name="connsiteY1" fmla="*/ 0 h 0"/>
                <a:gd name="connsiteX2" fmla="*/ 287240 w 277161"/>
                <a:gd name="connsiteY2" fmla="*/ 7559 h 0"/>
                <a:gd name="connsiteX3" fmla="*/ 1260 w 277161"/>
                <a:gd name="connsiteY3" fmla="*/ 7559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7240" y="0"/>
                  </a:lnTo>
                  <a:lnTo>
                    <a:pt x="287240" y="7559"/>
                  </a:lnTo>
                  <a:lnTo>
                    <a:pt x="1260" y="7559"/>
                  </a:lnTo>
                  <a:cubicBezTo>
                    <a:pt x="1260" y="5039"/>
                    <a:pt x="0" y="2520"/>
                    <a:pt x="0" y="0"/>
                  </a:cubicBezTo>
                  <a:close/>
                </a:path>
              </a:pathLst>
            </a:custGeom>
            <a:solidFill>
              <a:srgbClr val="FFFFFF"/>
            </a:solidFill>
            <a:ln w="12584" cap="flat">
              <a:noFill/>
              <a:prstDash val="solid"/>
              <a:miter/>
            </a:ln>
          </p:spPr>
          <p:txBody>
            <a:bodyPr rtlCol="0" anchor="ctr"/>
            <a:lstStyle/>
            <a:p>
              <a:endParaRPr lang="zh-CN" altLang="en-US"/>
            </a:p>
          </p:txBody>
        </p:sp>
        <p:sp>
          <p:nvSpPr>
            <p:cNvPr id="162" name="任意多边形: 形状 161"/>
            <p:cNvSpPr/>
            <p:nvPr/>
          </p:nvSpPr>
          <p:spPr>
            <a:xfrm>
              <a:off x="8109286" y="4180561"/>
              <a:ext cx="188768" cy="8580"/>
            </a:xfrm>
            <a:custGeom>
              <a:avLst/>
              <a:gdLst>
                <a:gd name="connsiteX0" fmla="*/ 3780 w 277161"/>
                <a:gd name="connsiteY0" fmla="*/ 10079 h 0"/>
                <a:gd name="connsiteX1" fmla="*/ 0 w 277161"/>
                <a:gd name="connsiteY1" fmla="*/ 0 h 0"/>
                <a:gd name="connsiteX2" fmla="*/ 285980 w 277161"/>
                <a:gd name="connsiteY2" fmla="*/ 0 h 0"/>
                <a:gd name="connsiteX3" fmla="*/ 285980 w 277161"/>
                <a:gd name="connsiteY3" fmla="*/ 10079 h 0"/>
                <a:gd name="connsiteX4" fmla="*/ 26456 w 277161"/>
                <a:gd name="connsiteY4" fmla="*/ 10079 h 0"/>
                <a:gd name="connsiteX5" fmla="*/ 3780 w 277161"/>
                <a:gd name="connsiteY5" fmla="*/ 1007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10079"/>
                  </a:moveTo>
                  <a:cubicBezTo>
                    <a:pt x="2520" y="7559"/>
                    <a:pt x="1260" y="3780"/>
                    <a:pt x="0" y="0"/>
                  </a:cubicBezTo>
                  <a:lnTo>
                    <a:pt x="285980" y="0"/>
                  </a:lnTo>
                  <a:lnTo>
                    <a:pt x="285980" y="10079"/>
                  </a:lnTo>
                  <a:lnTo>
                    <a:pt x="26456" y="10079"/>
                  </a:lnTo>
                  <a:lnTo>
                    <a:pt x="3780" y="10079"/>
                  </a:lnTo>
                  <a:close/>
                </a:path>
              </a:pathLst>
            </a:custGeom>
            <a:solidFill>
              <a:srgbClr val="FFFFFF"/>
            </a:solidFill>
            <a:ln w="12584" cap="flat">
              <a:noFill/>
              <a:prstDash val="solid"/>
              <a:miter/>
            </a:ln>
          </p:spPr>
          <p:txBody>
            <a:bodyPr rtlCol="0" anchor="ctr"/>
            <a:lstStyle/>
            <a:p>
              <a:endParaRPr lang="zh-CN" altLang="en-US"/>
            </a:p>
          </p:txBody>
        </p:sp>
        <p:sp>
          <p:nvSpPr>
            <p:cNvPr id="163" name="任意多边形: 形状 162"/>
            <p:cNvSpPr/>
            <p:nvPr/>
          </p:nvSpPr>
          <p:spPr>
            <a:xfrm>
              <a:off x="8108428" y="4150529"/>
              <a:ext cx="188768" cy="8580"/>
            </a:xfrm>
            <a:custGeom>
              <a:avLst/>
              <a:gdLst>
                <a:gd name="connsiteX0" fmla="*/ 3779 w 277161"/>
                <a:gd name="connsiteY0" fmla="*/ 0 h 0"/>
                <a:gd name="connsiteX1" fmla="*/ 42834 w 277161"/>
                <a:gd name="connsiteY1" fmla="*/ 0 h 0"/>
                <a:gd name="connsiteX2" fmla="*/ 285980 w 277161"/>
                <a:gd name="connsiteY2" fmla="*/ 0 h 0"/>
                <a:gd name="connsiteX3" fmla="*/ 285980 w 277161"/>
                <a:gd name="connsiteY3" fmla="*/ 10079 h 0"/>
                <a:gd name="connsiteX4" fmla="*/ 0 w 277161"/>
                <a:gd name="connsiteY4" fmla="*/ 10079 h 0"/>
                <a:gd name="connsiteX5" fmla="*/ 3779 w 277161"/>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79" y="0"/>
                  </a:moveTo>
                  <a:lnTo>
                    <a:pt x="42834" y="0"/>
                  </a:lnTo>
                  <a:lnTo>
                    <a:pt x="285980" y="0"/>
                  </a:lnTo>
                  <a:lnTo>
                    <a:pt x="285980" y="10079"/>
                  </a:lnTo>
                  <a:lnTo>
                    <a:pt x="0" y="10079"/>
                  </a:lnTo>
                  <a:cubicBezTo>
                    <a:pt x="1260" y="6299"/>
                    <a:pt x="2520" y="3780"/>
                    <a:pt x="3779" y="0"/>
                  </a:cubicBezTo>
                  <a:close/>
                </a:path>
              </a:pathLst>
            </a:custGeom>
            <a:solidFill>
              <a:srgbClr val="FFFFFF"/>
            </a:solidFill>
            <a:ln w="12584" cap="flat">
              <a:noFill/>
              <a:prstDash val="solid"/>
              <a:miter/>
            </a:ln>
          </p:spPr>
          <p:txBody>
            <a:bodyPr rtlCol="0" anchor="ctr"/>
            <a:lstStyle/>
            <a:p>
              <a:endParaRPr lang="zh-CN" altLang="en-US"/>
            </a:p>
          </p:txBody>
        </p:sp>
        <p:sp>
          <p:nvSpPr>
            <p:cNvPr id="164" name="任意多边形: 形状 163"/>
            <p:cNvSpPr/>
            <p:nvPr/>
          </p:nvSpPr>
          <p:spPr>
            <a:xfrm>
              <a:off x="8107571" y="4159968"/>
              <a:ext cx="188768" cy="8580"/>
            </a:xfrm>
            <a:custGeom>
              <a:avLst/>
              <a:gdLst>
                <a:gd name="connsiteX0" fmla="*/ 1260 w 277161"/>
                <a:gd name="connsiteY0" fmla="*/ 0 h 0"/>
                <a:gd name="connsiteX1" fmla="*/ 288499 w 277161"/>
                <a:gd name="connsiteY1" fmla="*/ 0 h 0"/>
                <a:gd name="connsiteX2" fmla="*/ 288499 w 277161"/>
                <a:gd name="connsiteY2" fmla="*/ 7559 h 0"/>
                <a:gd name="connsiteX3" fmla="*/ 0 w 277161"/>
                <a:gd name="connsiteY3" fmla="*/ 7559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8499" y="0"/>
                  </a:lnTo>
                  <a:lnTo>
                    <a:pt x="288499" y="7559"/>
                  </a:lnTo>
                  <a:lnTo>
                    <a:pt x="0" y="7559"/>
                  </a:lnTo>
                  <a:cubicBezTo>
                    <a:pt x="0" y="5039"/>
                    <a:pt x="0" y="2520"/>
                    <a:pt x="1260" y="0"/>
                  </a:cubicBezTo>
                  <a:close/>
                </a:path>
              </a:pathLst>
            </a:custGeom>
            <a:solidFill>
              <a:srgbClr val="FFFFFF"/>
            </a:solidFill>
            <a:ln w="12584" cap="flat">
              <a:noFill/>
              <a:prstDash val="solid"/>
              <a:miter/>
            </a:ln>
          </p:spPr>
          <p:txBody>
            <a:bodyPr rtlCol="0" anchor="ctr"/>
            <a:lstStyle/>
            <a:p>
              <a:endParaRPr lang="zh-CN" altLang="en-US"/>
            </a:p>
          </p:txBody>
        </p:sp>
        <p:sp>
          <p:nvSpPr>
            <p:cNvPr id="165" name="任意多边形: 形状 164"/>
            <p:cNvSpPr/>
            <p:nvPr/>
          </p:nvSpPr>
          <p:spPr>
            <a:xfrm>
              <a:off x="8107571" y="4166832"/>
              <a:ext cx="188768" cy="8580"/>
            </a:xfrm>
            <a:custGeom>
              <a:avLst/>
              <a:gdLst>
                <a:gd name="connsiteX0" fmla="*/ 0 w 277161"/>
                <a:gd name="connsiteY0" fmla="*/ 1260 h 0"/>
                <a:gd name="connsiteX1" fmla="*/ 0 w 277161"/>
                <a:gd name="connsiteY1" fmla="*/ 1260 h 0"/>
                <a:gd name="connsiteX2" fmla="*/ 288499 w 277161"/>
                <a:gd name="connsiteY2" fmla="*/ 0 h 0"/>
                <a:gd name="connsiteX3" fmla="*/ 288499 w 277161"/>
                <a:gd name="connsiteY3" fmla="*/ 7559 h 0"/>
                <a:gd name="connsiteX4" fmla="*/ 0 w 277161"/>
                <a:gd name="connsiteY4" fmla="*/ 7559 h 0"/>
                <a:gd name="connsiteX5" fmla="*/ 0 w 277161"/>
                <a:gd name="connsiteY5"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0" y="1260"/>
                  </a:moveTo>
                  <a:cubicBezTo>
                    <a:pt x="0" y="0"/>
                    <a:pt x="0" y="0"/>
                    <a:pt x="0" y="1260"/>
                  </a:cubicBezTo>
                  <a:lnTo>
                    <a:pt x="288499" y="0"/>
                  </a:lnTo>
                  <a:lnTo>
                    <a:pt x="288499" y="7559"/>
                  </a:lnTo>
                  <a:lnTo>
                    <a:pt x="0" y="7559"/>
                  </a:lnTo>
                  <a:cubicBezTo>
                    <a:pt x="0" y="5039"/>
                    <a:pt x="0" y="3779"/>
                    <a:pt x="0" y="1260"/>
                  </a:cubicBezTo>
                  <a:close/>
                </a:path>
              </a:pathLst>
            </a:custGeom>
            <a:solidFill>
              <a:srgbClr val="FFFFFF"/>
            </a:solidFill>
            <a:ln w="12584" cap="flat">
              <a:noFill/>
              <a:prstDash val="solid"/>
              <a:miter/>
            </a:ln>
          </p:spPr>
          <p:txBody>
            <a:bodyPr rtlCol="0" anchor="ctr"/>
            <a:lstStyle/>
            <a:p>
              <a:endParaRPr lang="zh-CN" altLang="en-US"/>
            </a:p>
          </p:txBody>
        </p:sp>
        <p:sp>
          <p:nvSpPr>
            <p:cNvPr id="166" name="任意多边形: 形状 165"/>
            <p:cNvSpPr/>
            <p:nvPr/>
          </p:nvSpPr>
          <p:spPr>
            <a:xfrm>
              <a:off x="8107571" y="4158252"/>
              <a:ext cx="188768" cy="8580"/>
            </a:xfrm>
            <a:custGeom>
              <a:avLst/>
              <a:gdLst>
                <a:gd name="connsiteX0" fmla="*/ 1260 w 277161"/>
                <a:gd name="connsiteY0" fmla="*/ 0 h 0"/>
                <a:gd name="connsiteX1" fmla="*/ 287240 w 277161"/>
                <a:gd name="connsiteY1" fmla="*/ 0 h 0"/>
                <a:gd name="connsiteX2" fmla="*/ 287240 w 277161"/>
                <a:gd name="connsiteY2" fmla="*/ 2520 h 0"/>
                <a:gd name="connsiteX3" fmla="*/ 0 w 277161"/>
                <a:gd name="connsiteY3" fmla="*/ 2520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7240" y="0"/>
                  </a:lnTo>
                  <a:lnTo>
                    <a:pt x="287240" y="2520"/>
                  </a:lnTo>
                  <a:lnTo>
                    <a:pt x="0" y="2520"/>
                  </a:lnTo>
                  <a:cubicBezTo>
                    <a:pt x="1260" y="1260"/>
                    <a:pt x="1260" y="0"/>
                    <a:pt x="1260" y="0"/>
                  </a:cubicBezTo>
                  <a:close/>
                </a:path>
              </a:pathLst>
            </a:custGeom>
            <a:solidFill>
              <a:srgbClr val="E1E1E6"/>
            </a:solidFill>
            <a:ln w="12584" cap="flat">
              <a:noFill/>
              <a:prstDash val="solid"/>
              <a:miter/>
            </a:ln>
          </p:spPr>
          <p:txBody>
            <a:bodyPr rtlCol="0" anchor="ctr"/>
            <a:lstStyle/>
            <a:p>
              <a:endParaRPr lang="zh-CN" altLang="en-US"/>
            </a:p>
          </p:txBody>
        </p:sp>
        <p:sp>
          <p:nvSpPr>
            <p:cNvPr id="167" name="任意多边形: 形状 166"/>
            <p:cNvSpPr/>
            <p:nvPr/>
          </p:nvSpPr>
          <p:spPr>
            <a:xfrm>
              <a:off x="8107571" y="4165116"/>
              <a:ext cx="188768" cy="8580"/>
            </a:xfrm>
            <a:custGeom>
              <a:avLst/>
              <a:gdLst>
                <a:gd name="connsiteX0" fmla="*/ 0 w 277161"/>
                <a:gd name="connsiteY0" fmla="*/ 0 h 0"/>
                <a:gd name="connsiteX1" fmla="*/ 288499 w 277161"/>
                <a:gd name="connsiteY1" fmla="*/ 0 h 0"/>
                <a:gd name="connsiteX2" fmla="*/ 288499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0" y="2520"/>
                  </a:lnTo>
                  <a:cubicBezTo>
                    <a:pt x="0" y="1260"/>
                    <a:pt x="0" y="0"/>
                    <a:pt x="0" y="0"/>
                  </a:cubicBezTo>
                  <a:close/>
                </a:path>
              </a:pathLst>
            </a:custGeom>
            <a:solidFill>
              <a:srgbClr val="E1E1E6"/>
            </a:solidFill>
            <a:ln w="12584" cap="flat">
              <a:noFill/>
              <a:prstDash val="solid"/>
              <a:miter/>
            </a:ln>
          </p:spPr>
          <p:txBody>
            <a:bodyPr rtlCol="0" anchor="ctr"/>
            <a:lstStyle/>
            <a:p>
              <a:endParaRPr lang="zh-CN" altLang="en-US"/>
            </a:p>
          </p:txBody>
        </p:sp>
        <p:sp>
          <p:nvSpPr>
            <p:cNvPr id="168" name="任意多边形: 形状 167"/>
            <p:cNvSpPr/>
            <p:nvPr/>
          </p:nvSpPr>
          <p:spPr>
            <a:xfrm>
              <a:off x="8107571" y="4171981"/>
              <a:ext cx="188768" cy="8580"/>
            </a:xfrm>
            <a:custGeom>
              <a:avLst/>
              <a:gdLst>
                <a:gd name="connsiteX0" fmla="*/ 0 w 277161"/>
                <a:gd name="connsiteY0" fmla="*/ 0 h 0"/>
                <a:gd name="connsiteX1" fmla="*/ 288499 w 277161"/>
                <a:gd name="connsiteY1" fmla="*/ 0 h 0"/>
                <a:gd name="connsiteX2" fmla="*/ 288499 w 277161"/>
                <a:gd name="connsiteY2" fmla="*/ 2520 h 0"/>
                <a:gd name="connsiteX3" fmla="*/ 126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1260" y="2520"/>
                  </a:lnTo>
                  <a:cubicBezTo>
                    <a:pt x="0" y="126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69" name="任意多边形: 形状 168"/>
            <p:cNvSpPr/>
            <p:nvPr/>
          </p:nvSpPr>
          <p:spPr>
            <a:xfrm>
              <a:off x="8108428" y="4178844"/>
              <a:ext cx="188768" cy="8580"/>
            </a:xfrm>
            <a:custGeom>
              <a:avLst/>
              <a:gdLst>
                <a:gd name="connsiteX0" fmla="*/ 0 w 277161"/>
                <a:gd name="connsiteY0" fmla="*/ 0 h 0"/>
                <a:gd name="connsiteX1" fmla="*/ 285980 w 277161"/>
                <a:gd name="connsiteY1" fmla="*/ 0 h 0"/>
                <a:gd name="connsiteX2" fmla="*/ 285980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5980" y="0"/>
                  </a:lnTo>
                  <a:lnTo>
                    <a:pt x="285980" y="2520"/>
                  </a:lnTo>
                  <a:lnTo>
                    <a:pt x="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70" name="任意多边形: 形状 169"/>
            <p:cNvSpPr/>
            <p:nvPr/>
          </p:nvSpPr>
          <p:spPr>
            <a:xfrm>
              <a:off x="7882765" y="4139375"/>
              <a:ext cx="214509" cy="51482"/>
            </a:xfrm>
            <a:custGeom>
              <a:avLst/>
              <a:gdLst>
                <a:gd name="connsiteX0" fmla="*/ 302358 w 314955"/>
                <a:gd name="connsiteY0" fmla="*/ 30236 h 75589"/>
                <a:gd name="connsiteX1" fmla="*/ 302358 w 314955"/>
                <a:gd name="connsiteY1" fmla="*/ 35275 h 75589"/>
                <a:gd name="connsiteX2" fmla="*/ 304877 w 314955"/>
                <a:gd name="connsiteY2" fmla="*/ 52913 h 75589"/>
                <a:gd name="connsiteX3" fmla="*/ 312436 w 314955"/>
                <a:gd name="connsiteY3" fmla="*/ 75589 h 75589"/>
                <a:gd name="connsiteX4" fmla="*/ 317476 w 314955"/>
                <a:gd name="connsiteY4" fmla="*/ 85668 h 75589"/>
                <a:gd name="connsiteX5" fmla="*/ 42834 w 314955"/>
                <a:gd name="connsiteY5" fmla="*/ 85668 h 75589"/>
                <a:gd name="connsiteX6" fmla="*/ 0 w 314955"/>
                <a:gd name="connsiteY6" fmla="*/ 42834 h 75589"/>
                <a:gd name="connsiteX7" fmla="*/ 42834 w 314955"/>
                <a:gd name="connsiteY7" fmla="*/ 0 h 75589"/>
                <a:gd name="connsiteX8" fmla="*/ 312436 w 314955"/>
                <a:gd name="connsiteY8" fmla="*/ 0 h 75589"/>
                <a:gd name="connsiteX9" fmla="*/ 302358 w 314955"/>
                <a:gd name="connsiteY9" fmla="*/ 23937 h 75589"/>
                <a:gd name="connsiteX10" fmla="*/ 302358 w 314955"/>
                <a:gd name="connsiteY10" fmla="*/ 30236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955" h="75589">
                  <a:moveTo>
                    <a:pt x="302358" y="30236"/>
                  </a:moveTo>
                  <a:cubicBezTo>
                    <a:pt x="302358" y="31496"/>
                    <a:pt x="302358" y="34015"/>
                    <a:pt x="302358" y="35275"/>
                  </a:cubicBezTo>
                  <a:cubicBezTo>
                    <a:pt x="302358" y="40315"/>
                    <a:pt x="303617" y="46614"/>
                    <a:pt x="304877" y="52913"/>
                  </a:cubicBezTo>
                  <a:cubicBezTo>
                    <a:pt x="306137" y="60472"/>
                    <a:pt x="309917" y="68031"/>
                    <a:pt x="312436" y="75589"/>
                  </a:cubicBezTo>
                  <a:cubicBezTo>
                    <a:pt x="313696" y="79369"/>
                    <a:pt x="316216" y="83148"/>
                    <a:pt x="317476" y="85668"/>
                  </a:cubicBezTo>
                  <a:lnTo>
                    <a:pt x="42834" y="85668"/>
                  </a:lnTo>
                  <a:cubicBezTo>
                    <a:pt x="18897" y="85668"/>
                    <a:pt x="0" y="66771"/>
                    <a:pt x="0" y="42834"/>
                  </a:cubicBezTo>
                  <a:cubicBezTo>
                    <a:pt x="0" y="18897"/>
                    <a:pt x="18897" y="0"/>
                    <a:pt x="42834" y="0"/>
                  </a:cubicBezTo>
                  <a:lnTo>
                    <a:pt x="312436" y="0"/>
                  </a:lnTo>
                  <a:cubicBezTo>
                    <a:pt x="307397" y="6299"/>
                    <a:pt x="303617" y="15118"/>
                    <a:pt x="302358" y="23937"/>
                  </a:cubicBezTo>
                  <a:cubicBezTo>
                    <a:pt x="302358" y="27716"/>
                    <a:pt x="302358" y="28976"/>
                    <a:pt x="302358" y="30236"/>
                  </a:cubicBezTo>
                  <a:close/>
                </a:path>
              </a:pathLst>
            </a:custGeom>
            <a:solidFill>
              <a:srgbClr val="005CCF"/>
            </a:solidFill>
            <a:ln w="12584" cap="flat">
              <a:noFill/>
              <a:prstDash val="solid"/>
              <a:miter/>
            </a:ln>
          </p:spPr>
          <p:txBody>
            <a:bodyPr rtlCol="0" anchor="ctr"/>
            <a:lstStyle/>
            <a:p>
              <a:endParaRPr lang="zh-CN" altLang="en-US"/>
            </a:p>
          </p:txBody>
        </p:sp>
        <p:sp>
          <p:nvSpPr>
            <p:cNvPr id="171" name="任意多边形: 形状 170"/>
            <p:cNvSpPr/>
            <p:nvPr/>
          </p:nvSpPr>
          <p:spPr>
            <a:xfrm>
              <a:off x="8089552" y="4139375"/>
              <a:ext cx="214509" cy="51482"/>
            </a:xfrm>
            <a:custGeom>
              <a:avLst/>
              <a:gdLst>
                <a:gd name="connsiteX0" fmla="*/ 317475 w 314955"/>
                <a:gd name="connsiteY0" fmla="*/ 16378 h 75589"/>
                <a:gd name="connsiteX1" fmla="*/ 314956 w 314955"/>
                <a:gd name="connsiteY1" fmla="*/ 16378 h 75589"/>
                <a:gd name="connsiteX2" fmla="*/ 71810 w 314955"/>
                <a:gd name="connsiteY2" fmla="*/ 16378 h 75589"/>
                <a:gd name="connsiteX3" fmla="*/ 32755 w 314955"/>
                <a:gd name="connsiteY3" fmla="*/ 16378 h 75589"/>
                <a:gd name="connsiteX4" fmla="*/ 28976 w 314955"/>
                <a:gd name="connsiteY4" fmla="*/ 26456 h 75589"/>
                <a:gd name="connsiteX5" fmla="*/ 28976 w 314955"/>
                <a:gd name="connsiteY5" fmla="*/ 28976 h 75589"/>
                <a:gd name="connsiteX6" fmla="*/ 27716 w 314955"/>
                <a:gd name="connsiteY6" fmla="*/ 36535 h 75589"/>
                <a:gd name="connsiteX7" fmla="*/ 27716 w 314955"/>
                <a:gd name="connsiteY7" fmla="*/ 39055 h 75589"/>
                <a:gd name="connsiteX8" fmla="*/ 27716 w 314955"/>
                <a:gd name="connsiteY8" fmla="*/ 40315 h 75589"/>
                <a:gd name="connsiteX9" fmla="*/ 27716 w 314955"/>
                <a:gd name="connsiteY9" fmla="*/ 46614 h 75589"/>
                <a:gd name="connsiteX10" fmla="*/ 27716 w 314955"/>
                <a:gd name="connsiteY10" fmla="*/ 49133 h 75589"/>
                <a:gd name="connsiteX11" fmla="*/ 28976 w 314955"/>
                <a:gd name="connsiteY11" fmla="*/ 56692 h 75589"/>
                <a:gd name="connsiteX12" fmla="*/ 30236 w 314955"/>
                <a:gd name="connsiteY12" fmla="*/ 59212 h 75589"/>
                <a:gd name="connsiteX13" fmla="*/ 34015 w 314955"/>
                <a:gd name="connsiteY13" fmla="*/ 69290 h 75589"/>
                <a:gd name="connsiteX14" fmla="*/ 56692 w 314955"/>
                <a:gd name="connsiteY14" fmla="*/ 69290 h 75589"/>
                <a:gd name="connsiteX15" fmla="*/ 316216 w 314955"/>
                <a:gd name="connsiteY15" fmla="*/ 69290 h 75589"/>
                <a:gd name="connsiteX16" fmla="*/ 318735 w 314955"/>
                <a:gd name="connsiteY16" fmla="*/ 69290 h 75589"/>
                <a:gd name="connsiteX17" fmla="*/ 326294 w 314955"/>
                <a:gd name="connsiteY17" fmla="*/ 76849 h 75589"/>
                <a:gd name="connsiteX18" fmla="*/ 318735 w 314955"/>
                <a:gd name="connsiteY18" fmla="*/ 84408 h 75589"/>
                <a:gd name="connsiteX19" fmla="*/ 60472 w 314955"/>
                <a:gd name="connsiteY19" fmla="*/ 84408 h 75589"/>
                <a:gd name="connsiteX20" fmla="*/ 28976 w 314955"/>
                <a:gd name="connsiteY20" fmla="*/ 84408 h 75589"/>
                <a:gd name="connsiteX21" fmla="*/ 15118 w 314955"/>
                <a:gd name="connsiteY21" fmla="*/ 84408 h 75589"/>
                <a:gd name="connsiteX22" fmla="*/ 10079 w 314955"/>
                <a:gd name="connsiteY22" fmla="*/ 74330 h 75589"/>
                <a:gd name="connsiteX23" fmla="*/ 2520 w 314955"/>
                <a:gd name="connsiteY23" fmla="*/ 51653 h 75589"/>
                <a:gd name="connsiteX24" fmla="*/ 0 w 314955"/>
                <a:gd name="connsiteY24" fmla="*/ 34015 h 75589"/>
                <a:gd name="connsiteX25" fmla="*/ 0 w 314955"/>
                <a:gd name="connsiteY25" fmla="*/ 28976 h 75589"/>
                <a:gd name="connsiteX26" fmla="*/ 0 w 314955"/>
                <a:gd name="connsiteY26" fmla="*/ 23937 h 75589"/>
                <a:gd name="connsiteX27" fmla="*/ 10079 w 314955"/>
                <a:gd name="connsiteY27" fmla="*/ 0 h 75589"/>
                <a:gd name="connsiteX28" fmla="*/ 28976 w 314955"/>
                <a:gd name="connsiteY28" fmla="*/ 0 h 75589"/>
                <a:gd name="connsiteX29" fmla="*/ 60472 w 314955"/>
                <a:gd name="connsiteY29" fmla="*/ 0 h 75589"/>
                <a:gd name="connsiteX30" fmla="*/ 318735 w 314955"/>
                <a:gd name="connsiteY30" fmla="*/ 0 h 75589"/>
                <a:gd name="connsiteX31" fmla="*/ 326294 w 314955"/>
                <a:gd name="connsiteY31" fmla="*/ 7559 h 75589"/>
                <a:gd name="connsiteX32" fmla="*/ 317475 w 314955"/>
                <a:gd name="connsiteY32" fmla="*/ 16378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955" h="75589">
                  <a:moveTo>
                    <a:pt x="317475" y="16378"/>
                  </a:moveTo>
                  <a:lnTo>
                    <a:pt x="314956" y="16378"/>
                  </a:lnTo>
                  <a:lnTo>
                    <a:pt x="71810" y="16378"/>
                  </a:lnTo>
                  <a:lnTo>
                    <a:pt x="32755" y="16378"/>
                  </a:lnTo>
                  <a:cubicBezTo>
                    <a:pt x="31496" y="18897"/>
                    <a:pt x="30236" y="22677"/>
                    <a:pt x="28976" y="26456"/>
                  </a:cubicBezTo>
                  <a:cubicBezTo>
                    <a:pt x="28976" y="27716"/>
                    <a:pt x="28976" y="27716"/>
                    <a:pt x="28976" y="28976"/>
                  </a:cubicBezTo>
                  <a:cubicBezTo>
                    <a:pt x="28976" y="31496"/>
                    <a:pt x="27716" y="34015"/>
                    <a:pt x="27716" y="36535"/>
                  </a:cubicBezTo>
                  <a:cubicBezTo>
                    <a:pt x="27716" y="37795"/>
                    <a:pt x="27716" y="37795"/>
                    <a:pt x="27716" y="39055"/>
                  </a:cubicBezTo>
                  <a:cubicBezTo>
                    <a:pt x="27716" y="39055"/>
                    <a:pt x="27716" y="40315"/>
                    <a:pt x="27716" y="40315"/>
                  </a:cubicBezTo>
                  <a:cubicBezTo>
                    <a:pt x="27716" y="42834"/>
                    <a:pt x="27716" y="44094"/>
                    <a:pt x="27716" y="46614"/>
                  </a:cubicBezTo>
                  <a:cubicBezTo>
                    <a:pt x="27716" y="47873"/>
                    <a:pt x="27716" y="49133"/>
                    <a:pt x="27716" y="49133"/>
                  </a:cubicBezTo>
                  <a:cubicBezTo>
                    <a:pt x="27716" y="51653"/>
                    <a:pt x="27716" y="54172"/>
                    <a:pt x="28976" y="56692"/>
                  </a:cubicBezTo>
                  <a:cubicBezTo>
                    <a:pt x="28976" y="57952"/>
                    <a:pt x="28976" y="59212"/>
                    <a:pt x="30236" y="59212"/>
                  </a:cubicBezTo>
                  <a:cubicBezTo>
                    <a:pt x="31496" y="62991"/>
                    <a:pt x="32755" y="66771"/>
                    <a:pt x="34015" y="69290"/>
                  </a:cubicBezTo>
                  <a:lnTo>
                    <a:pt x="56692" y="69290"/>
                  </a:lnTo>
                  <a:lnTo>
                    <a:pt x="316216" y="69290"/>
                  </a:lnTo>
                  <a:lnTo>
                    <a:pt x="318735" y="69290"/>
                  </a:lnTo>
                  <a:cubicBezTo>
                    <a:pt x="322515" y="69290"/>
                    <a:pt x="326294" y="73070"/>
                    <a:pt x="326294" y="76849"/>
                  </a:cubicBezTo>
                  <a:cubicBezTo>
                    <a:pt x="326294" y="80629"/>
                    <a:pt x="322515" y="84408"/>
                    <a:pt x="318735" y="84408"/>
                  </a:cubicBezTo>
                  <a:lnTo>
                    <a:pt x="60472" y="84408"/>
                  </a:lnTo>
                  <a:lnTo>
                    <a:pt x="28976" y="84408"/>
                  </a:lnTo>
                  <a:lnTo>
                    <a:pt x="15118" y="84408"/>
                  </a:lnTo>
                  <a:cubicBezTo>
                    <a:pt x="13858" y="80629"/>
                    <a:pt x="11338" y="76849"/>
                    <a:pt x="10079" y="74330"/>
                  </a:cubicBezTo>
                  <a:cubicBezTo>
                    <a:pt x="6299" y="66771"/>
                    <a:pt x="3780" y="59212"/>
                    <a:pt x="2520" y="51653"/>
                  </a:cubicBezTo>
                  <a:cubicBezTo>
                    <a:pt x="1260" y="45354"/>
                    <a:pt x="0" y="40315"/>
                    <a:pt x="0" y="34015"/>
                  </a:cubicBezTo>
                  <a:cubicBezTo>
                    <a:pt x="0" y="32755"/>
                    <a:pt x="0" y="30236"/>
                    <a:pt x="0" y="28976"/>
                  </a:cubicBezTo>
                  <a:cubicBezTo>
                    <a:pt x="0" y="27716"/>
                    <a:pt x="0" y="25196"/>
                    <a:pt x="0" y="23937"/>
                  </a:cubicBezTo>
                  <a:cubicBezTo>
                    <a:pt x="1260" y="15118"/>
                    <a:pt x="3780" y="6299"/>
                    <a:pt x="10079" y="0"/>
                  </a:cubicBezTo>
                  <a:lnTo>
                    <a:pt x="28976" y="0"/>
                  </a:lnTo>
                  <a:lnTo>
                    <a:pt x="60472" y="0"/>
                  </a:lnTo>
                  <a:lnTo>
                    <a:pt x="318735" y="0"/>
                  </a:lnTo>
                  <a:cubicBezTo>
                    <a:pt x="322515" y="0"/>
                    <a:pt x="326294" y="3780"/>
                    <a:pt x="326294" y="7559"/>
                  </a:cubicBezTo>
                  <a:cubicBezTo>
                    <a:pt x="325034" y="13858"/>
                    <a:pt x="321255" y="16378"/>
                    <a:pt x="317475" y="16378"/>
                  </a:cubicBezTo>
                  <a:close/>
                </a:path>
              </a:pathLst>
            </a:custGeom>
            <a:solidFill>
              <a:srgbClr val="001675"/>
            </a:solidFill>
            <a:ln w="12584" cap="flat">
              <a:noFill/>
              <a:prstDash val="solid"/>
              <a:miter/>
            </a:ln>
          </p:spPr>
          <p:txBody>
            <a:bodyPr rtlCol="0" anchor="ctr"/>
            <a:lstStyle/>
            <a:p>
              <a:endParaRPr lang="zh-CN" altLang="en-US"/>
            </a:p>
          </p:txBody>
        </p:sp>
        <p:sp>
          <p:nvSpPr>
            <p:cNvPr id="172" name="任意多边形: 形状 171"/>
            <p:cNvSpPr/>
            <p:nvPr/>
          </p:nvSpPr>
          <p:spPr>
            <a:xfrm>
              <a:off x="8707337" y="4858408"/>
              <a:ext cx="197348" cy="60063"/>
            </a:xfrm>
            <a:custGeom>
              <a:avLst/>
              <a:gdLst>
                <a:gd name="connsiteX0" fmla="*/ 296058 w 289759"/>
                <a:gd name="connsiteY0" fmla="*/ 80629 h 88187"/>
                <a:gd name="connsiteX1" fmla="*/ 293539 w 289759"/>
                <a:gd name="connsiteY1" fmla="*/ 76849 h 88187"/>
                <a:gd name="connsiteX2" fmla="*/ 287240 w 289759"/>
                <a:gd name="connsiteY2" fmla="*/ 73070 h 88187"/>
                <a:gd name="connsiteX3" fmla="*/ 282201 w 289759"/>
                <a:gd name="connsiteY3" fmla="*/ 69290 h 88187"/>
                <a:gd name="connsiteX4" fmla="*/ 270862 w 289759"/>
                <a:gd name="connsiteY4" fmla="*/ 62991 h 88187"/>
                <a:gd name="connsiteX5" fmla="*/ 246925 w 289759"/>
                <a:gd name="connsiteY5" fmla="*/ 52912 h 88187"/>
                <a:gd name="connsiteX6" fmla="*/ 235587 w 289759"/>
                <a:gd name="connsiteY6" fmla="*/ 49133 h 88187"/>
                <a:gd name="connsiteX7" fmla="*/ 222989 w 289759"/>
                <a:gd name="connsiteY7" fmla="*/ 44094 h 88187"/>
                <a:gd name="connsiteX8" fmla="*/ 210390 w 289759"/>
                <a:gd name="connsiteY8" fmla="*/ 40314 h 88187"/>
                <a:gd name="connsiteX9" fmla="*/ 209131 w 289759"/>
                <a:gd name="connsiteY9" fmla="*/ 39054 h 88187"/>
                <a:gd name="connsiteX10" fmla="*/ 195273 w 289759"/>
                <a:gd name="connsiteY10" fmla="*/ 32755 h 88187"/>
                <a:gd name="connsiteX11" fmla="*/ 181415 w 289759"/>
                <a:gd name="connsiteY11" fmla="*/ 26456 h 88187"/>
                <a:gd name="connsiteX12" fmla="*/ 166297 w 289759"/>
                <a:gd name="connsiteY12" fmla="*/ 20157 h 88187"/>
                <a:gd name="connsiteX13" fmla="*/ 158738 w 289759"/>
                <a:gd name="connsiteY13" fmla="*/ 17637 h 88187"/>
                <a:gd name="connsiteX14" fmla="*/ 151179 w 289759"/>
                <a:gd name="connsiteY14" fmla="*/ 15118 h 88187"/>
                <a:gd name="connsiteX15" fmla="*/ 143620 w 289759"/>
                <a:gd name="connsiteY15" fmla="*/ 12598 h 88187"/>
                <a:gd name="connsiteX16" fmla="*/ 137321 w 289759"/>
                <a:gd name="connsiteY16" fmla="*/ 10078 h 88187"/>
                <a:gd name="connsiteX17" fmla="*/ 129762 w 289759"/>
                <a:gd name="connsiteY17" fmla="*/ 7559 h 88187"/>
                <a:gd name="connsiteX18" fmla="*/ 122203 w 289759"/>
                <a:gd name="connsiteY18" fmla="*/ 5039 h 88187"/>
                <a:gd name="connsiteX19" fmla="*/ 115904 w 289759"/>
                <a:gd name="connsiteY19" fmla="*/ 2519 h 88187"/>
                <a:gd name="connsiteX20" fmla="*/ 110864 w 289759"/>
                <a:gd name="connsiteY20" fmla="*/ 1260 h 88187"/>
                <a:gd name="connsiteX21" fmla="*/ 107085 w 289759"/>
                <a:gd name="connsiteY21" fmla="*/ 1260 h 88187"/>
                <a:gd name="connsiteX22" fmla="*/ 99526 w 289759"/>
                <a:gd name="connsiteY22" fmla="*/ 1260 h 88187"/>
                <a:gd name="connsiteX23" fmla="*/ 94487 w 289759"/>
                <a:gd name="connsiteY23" fmla="*/ 1260 h 88187"/>
                <a:gd name="connsiteX24" fmla="*/ 84408 w 289759"/>
                <a:gd name="connsiteY24" fmla="*/ 0 h 88187"/>
                <a:gd name="connsiteX25" fmla="*/ 73070 w 289759"/>
                <a:gd name="connsiteY25" fmla="*/ 0 h 88187"/>
                <a:gd name="connsiteX26" fmla="*/ 49133 w 289759"/>
                <a:gd name="connsiteY26" fmla="*/ 0 h 88187"/>
                <a:gd name="connsiteX27" fmla="*/ 40314 w 289759"/>
                <a:gd name="connsiteY27" fmla="*/ 0 h 88187"/>
                <a:gd name="connsiteX28" fmla="*/ 32755 w 289759"/>
                <a:gd name="connsiteY28" fmla="*/ 0 h 88187"/>
                <a:gd name="connsiteX29" fmla="*/ 25196 w 289759"/>
                <a:gd name="connsiteY29" fmla="*/ 0 h 88187"/>
                <a:gd name="connsiteX30" fmla="*/ 21417 w 289759"/>
                <a:gd name="connsiteY30" fmla="*/ 0 h 88187"/>
                <a:gd name="connsiteX31" fmla="*/ 17638 w 289759"/>
                <a:gd name="connsiteY31" fmla="*/ 0 h 88187"/>
                <a:gd name="connsiteX32" fmla="*/ 11339 w 289759"/>
                <a:gd name="connsiteY32" fmla="*/ 1260 h 88187"/>
                <a:gd name="connsiteX33" fmla="*/ 3780 w 289759"/>
                <a:gd name="connsiteY33" fmla="*/ 2519 h 88187"/>
                <a:gd name="connsiteX34" fmla="*/ 1260 w 289759"/>
                <a:gd name="connsiteY34" fmla="*/ 3779 h 88187"/>
                <a:gd name="connsiteX35" fmla="*/ 1260 w 289759"/>
                <a:gd name="connsiteY35" fmla="*/ 3779 h 88187"/>
                <a:gd name="connsiteX36" fmla="*/ 0 w 289759"/>
                <a:gd name="connsiteY36" fmla="*/ 6299 h 88187"/>
                <a:gd name="connsiteX37" fmla="*/ 0 w 289759"/>
                <a:gd name="connsiteY37" fmla="*/ 51652 h 88187"/>
                <a:gd name="connsiteX38" fmla="*/ 0 w 289759"/>
                <a:gd name="connsiteY38" fmla="*/ 59211 h 88187"/>
                <a:gd name="connsiteX39" fmla="*/ 0 w 289759"/>
                <a:gd name="connsiteY39" fmla="*/ 61731 h 88187"/>
                <a:gd name="connsiteX40" fmla="*/ 0 w 289759"/>
                <a:gd name="connsiteY40" fmla="*/ 66770 h 88187"/>
                <a:gd name="connsiteX41" fmla="*/ 0 w 289759"/>
                <a:gd name="connsiteY41" fmla="*/ 70550 h 88187"/>
                <a:gd name="connsiteX42" fmla="*/ 0 w 289759"/>
                <a:gd name="connsiteY42" fmla="*/ 70550 h 88187"/>
                <a:gd name="connsiteX43" fmla="*/ 0 w 289759"/>
                <a:gd name="connsiteY43" fmla="*/ 83148 h 88187"/>
                <a:gd name="connsiteX44" fmla="*/ 3780 w 289759"/>
                <a:gd name="connsiteY44" fmla="*/ 81889 h 88187"/>
                <a:gd name="connsiteX45" fmla="*/ 3780 w 289759"/>
                <a:gd name="connsiteY45" fmla="*/ 81889 h 88187"/>
                <a:gd name="connsiteX46" fmla="*/ 11339 w 289759"/>
                <a:gd name="connsiteY46" fmla="*/ 85668 h 88187"/>
                <a:gd name="connsiteX47" fmla="*/ 17638 w 289759"/>
                <a:gd name="connsiteY47" fmla="*/ 86928 h 88187"/>
                <a:gd name="connsiteX48" fmla="*/ 18897 w 289759"/>
                <a:gd name="connsiteY48" fmla="*/ 86928 h 88187"/>
                <a:gd name="connsiteX49" fmla="*/ 34015 w 289759"/>
                <a:gd name="connsiteY49" fmla="*/ 88188 h 88187"/>
                <a:gd name="connsiteX50" fmla="*/ 35275 w 289759"/>
                <a:gd name="connsiteY50" fmla="*/ 88188 h 88187"/>
                <a:gd name="connsiteX51" fmla="*/ 40314 w 289759"/>
                <a:gd name="connsiteY51" fmla="*/ 86928 h 88187"/>
                <a:gd name="connsiteX52" fmla="*/ 45354 w 289759"/>
                <a:gd name="connsiteY52" fmla="*/ 84408 h 88187"/>
                <a:gd name="connsiteX53" fmla="*/ 50393 w 289759"/>
                <a:gd name="connsiteY53" fmla="*/ 80629 h 88187"/>
                <a:gd name="connsiteX54" fmla="*/ 51653 w 289759"/>
                <a:gd name="connsiteY54" fmla="*/ 81889 h 88187"/>
                <a:gd name="connsiteX55" fmla="*/ 54172 w 289759"/>
                <a:gd name="connsiteY55" fmla="*/ 83148 h 88187"/>
                <a:gd name="connsiteX56" fmla="*/ 57952 w 289759"/>
                <a:gd name="connsiteY56" fmla="*/ 84408 h 88187"/>
                <a:gd name="connsiteX57" fmla="*/ 60472 w 289759"/>
                <a:gd name="connsiteY57" fmla="*/ 84408 h 88187"/>
                <a:gd name="connsiteX58" fmla="*/ 66771 w 289759"/>
                <a:gd name="connsiteY58" fmla="*/ 84408 h 88187"/>
                <a:gd name="connsiteX59" fmla="*/ 80629 w 289759"/>
                <a:gd name="connsiteY59" fmla="*/ 85668 h 88187"/>
                <a:gd name="connsiteX60" fmla="*/ 93227 w 289759"/>
                <a:gd name="connsiteY60" fmla="*/ 85668 h 88187"/>
                <a:gd name="connsiteX61" fmla="*/ 118424 w 289759"/>
                <a:gd name="connsiteY61" fmla="*/ 85668 h 88187"/>
                <a:gd name="connsiteX62" fmla="*/ 124723 w 289759"/>
                <a:gd name="connsiteY62" fmla="*/ 85668 h 88187"/>
                <a:gd name="connsiteX63" fmla="*/ 131022 w 289759"/>
                <a:gd name="connsiteY63" fmla="*/ 85668 h 88187"/>
                <a:gd name="connsiteX64" fmla="*/ 143620 w 289759"/>
                <a:gd name="connsiteY64" fmla="*/ 85668 h 88187"/>
                <a:gd name="connsiteX65" fmla="*/ 153698 w 289759"/>
                <a:gd name="connsiteY65" fmla="*/ 85668 h 88187"/>
                <a:gd name="connsiteX66" fmla="*/ 165037 w 289759"/>
                <a:gd name="connsiteY66" fmla="*/ 86928 h 88187"/>
                <a:gd name="connsiteX67" fmla="*/ 176375 w 289759"/>
                <a:gd name="connsiteY67" fmla="*/ 86928 h 88187"/>
                <a:gd name="connsiteX68" fmla="*/ 186454 w 289759"/>
                <a:gd name="connsiteY68" fmla="*/ 86928 h 88187"/>
                <a:gd name="connsiteX69" fmla="*/ 185194 w 289759"/>
                <a:gd name="connsiteY69" fmla="*/ 86928 h 88187"/>
                <a:gd name="connsiteX70" fmla="*/ 196533 w 289759"/>
                <a:gd name="connsiteY70" fmla="*/ 86928 h 88187"/>
                <a:gd name="connsiteX71" fmla="*/ 204091 w 289759"/>
                <a:gd name="connsiteY71" fmla="*/ 86928 h 88187"/>
                <a:gd name="connsiteX72" fmla="*/ 205351 w 289759"/>
                <a:gd name="connsiteY72" fmla="*/ 86928 h 88187"/>
                <a:gd name="connsiteX73" fmla="*/ 205351 w 289759"/>
                <a:gd name="connsiteY73" fmla="*/ 86928 h 88187"/>
                <a:gd name="connsiteX74" fmla="*/ 220469 w 289759"/>
                <a:gd name="connsiteY74" fmla="*/ 88188 h 88187"/>
                <a:gd name="connsiteX75" fmla="*/ 235587 w 289759"/>
                <a:gd name="connsiteY75" fmla="*/ 88188 h 88187"/>
                <a:gd name="connsiteX76" fmla="*/ 235587 w 289759"/>
                <a:gd name="connsiteY76" fmla="*/ 88188 h 88187"/>
                <a:gd name="connsiteX77" fmla="*/ 241886 w 289759"/>
                <a:gd name="connsiteY77" fmla="*/ 88188 h 88187"/>
                <a:gd name="connsiteX78" fmla="*/ 243146 w 289759"/>
                <a:gd name="connsiteY78" fmla="*/ 88188 h 88187"/>
                <a:gd name="connsiteX79" fmla="*/ 248185 w 289759"/>
                <a:gd name="connsiteY79" fmla="*/ 88188 h 88187"/>
                <a:gd name="connsiteX80" fmla="*/ 254484 w 289759"/>
                <a:gd name="connsiteY80" fmla="*/ 88188 h 88187"/>
                <a:gd name="connsiteX81" fmla="*/ 265823 w 289759"/>
                <a:gd name="connsiteY81" fmla="*/ 88188 h 88187"/>
                <a:gd name="connsiteX82" fmla="*/ 275901 w 289759"/>
                <a:gd name="connsiteY82" fmla="*/ 88188 h 88187"/>
                <a:gd name="connsiteX83" fmla="*/ 274642 w 289759"/>
                <a:gd name="connsiteY83" fmla="*/ 88188 h 88187"/>
                <a:gd name="connsiteX84" fmla="*/ 288500 w 289759"/>
                <a:gd name="connsiteY84" fmla="*/ 88188 h 88187"/>
                <a:gd name="connsiteX85" fmla="*/ 294799 w 289759"/>
                <a:gd name="connsiteY85" fmla="*/ 86928 h 88187"/>
                <a:gd name="connsiteX86" fmla="*/ 299838 w 289759"/>
                <a:gd name="connsiteY86" fmla="*/ 83148 h 88187"/>
                <a:gd name="connsiteX87" fmla="*/ 299838 w 289759"/>
                <a:gd name="connsiteY87" fmla="*/ 81889 h 88187"/>
                <a:gd name="connsiteX88" fmla="*/ 296058 w 289759"/>
                <a:gd name="connsiteY88" fmla="*/ 80629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89759" h="88187">
                  <a:moveTo>
                    <a:pt x="296058" y="80629"/>
                  </a:moveTo>
                  <a:cubicBezTo>
                    <a:pt x="296058" y="79369"/>
                    <a:pt x="294799" y="78109"/>
                    <a:pt x="293539" y="76849"/>
                  </a:cubicBezTo>
                  <a:cubicBezTo>
                    <a:pt x="292279" y="75589"/>
                    <a:pt x="289759" y="74330"/>
                    <a:pt x="287240" y="73070"/>
                  </a:cubicBezTo>
                  <a:cubicBezTo>
                    <a:pt x="285980" y="71810"/>
                    <a:pt x="283460" y="70550"/>
                    <a:pt x="282201" y="69290"/>
                  </a:cubicBezTo>
                  <a:cubicBezTo>
                    <a:pt x="278421" y="66770"/>
                    <a:pt x="274642" y="65511"/>
                    <a:pt x="270862" y="62991"/>
                  </a:cubicBezTo>
                  <a:cubicBezTo>
                    <a:pt x="263303" y="59211"/>
                    <a:pt x="254484" y="55432"/>
                    <a:pt x="246925" y="52912"/>
                  </a:cubicBezTo>
                  <a:cubicBezTo>
                    <a:pt x="243146" y="51652"/>
                    <a:pt x="239366" y="50393"/>
                    <a:pt x="235587" y="49133"/>
                  </a:cubicBezTo>
                  <a:cubicBezTo>
                    <a:pt x="231808" y="47873"/>
                    <a:pt x="228028" y="46613"/>
                    <a:pt x="222989" y="44094"/>
                  </a:cubicBezTo>
                  <a:cubicBezTo>
                    <a:pt x="219209" y="42834"/>
                    <a:pt x="215430" y="41574"/>
                    <a:pt x="210390" y="40314"/>
                  </a:cubicBezTo>
                  <a:cubicBezTo>
                    <a:pt x="210390" y="40314"/>
                    <a:pt x="209131" y="40314"/>
                    <a:pt x="209131" y="39054"/>
                  </a:cubicBezTo>
                  <a:cubicBezTo>
                    <a:pt x="204091" y="36535"/>
                    <a:pt x="199052" y="34015"/>
                    <a:pt x="195273" y="32755"/>
                  </a:cubicBezTo>
                  <a:cubicBezTo>
                    <a:pt x="190233" y="30236"/>
                    <a:pt x="185194" y="28976"/>
                    <a:pt x="181415" y="26456"/>
                  </a:cubicBezTo>
                  <a:cubicBezTo>
                    <a:pt x="176375" y="23937"/>
                    <a:pt x="171336" y="22677"/>
                    <a:pt x="166297" y="20157"/>
                  </a:cubicBezTo>
                  <a:cubicBezTo>
                    <a:pt x="163777" y="18897"/>
                    <a:pt x="161257" y="17637"/>
                    <a:pt x="158738" y="17637"/>
                  </a:cubicBezTo>
                  <a:cubicBezTo>
                    <a:pt x="156218" y="16378"/>
                    <a:pt x="153698" y="16378"/>
                    <a:pt x="151179" y="15118"/>
                  </a:cubicBezTo>
                  <a:cubicBezTo>
                    <a:pt x="148659" y="13858"/>
                    <a:pt x="146140" y="13858"/>
                    <a:pt x="143620" y="12598"/>
                  </a:cubicBezTo>
                  <a:cubicBezTo>
                    <a:pt x="141100" y="11338"/>
                    <a:pt x="138581" y="11338"/>
                    <a:pt x="137321" y="10078"/>
                  </a:cubicBezTo>
                  <a:cubicBezTo>
                    <a:pt x="134801" y="8819"/>
                    <a:pt x="132281" y="8819"/>
                    <a:pt x="129762" y="7559"/>
                  </a:cubicBezTo>
                  <a:cubicBezTo>
                    <a:pt x="127242" y="6299"/>
                    <a:pt x="124723" y="6299"/>
                    <a:pt x="122203" y="5039"/>
                  </a:cubicBezTo>
                  <a:cubicBezTo>
                    <a:pt x="119683" y="3779"/>
                    <a:pt x="117164" y="3779"/>
                    <a:pt x="115904" y="2519"/>
                  </a:cubicBezTo>
                  <a:cubicBezTo>
                    <a:pt x="114644" y="2519"/>
                    <a:pt x="112124" y="1260"/>
                    <a:pt x="110864" y="1260"/>
                  </a:cubicBezTo>
                  <a:cubicBezTo>
                    <a:pt x="109605" y="1260"/>
                    <a:pt x="108345" y="1260"/>
                    <a:pt x="107085" y="1260"/>
                  </a:cubicBezTo>
                  <a:cubicBezTo>
                    <a:pt x="104565" y="1260"/>
                    <a:pt x="102046" y="1260"/>
                    <a:pt x="99526" y="1260"/>
                  </a:cubicBezTo>
                  <a:cubicBezTo>
                    <a:pt x="98266" y="1260"/>
                    <a:pt x="95747" y="1260"/>
                    <a:pt x="94487" y="1260"/>
                  </a:cubicBezTo>
                  <a:cubicBezTo>
                    <a:pt x="90707" y="1260"/>
                    <a:pt x="88188" y="1260"/>
                    <a:pt x="84408" y="0"/>
                  </a:cubicBezTo>
                  <a:cubicBezTo>
                    <a:pt x="80629" y="0"/>
                    <a:pt x="76849" y="0"/>
                    <a:pt x="73070" y="0"/>
                  </a:cubicBezTo>
                  <a:cubicBezTo>
                    <a:pt x="65511" y="0"/>
                    <a:pt x="56692" y="0"/>
                    <a:pt x="49133" y="0"/>
                  </a:cubicBezTo>
                  <a:cubicBezTo>
                    <a:pt x="46613" y="0"/>
                    <a:pt x="44094" y="0"/>
                    <a:pt x="40314" y="0"/>
                  </a:cubicBezTo>
                  <a:cubicBezTo>
                    <a:pt x="37795" y="0"/>
                    <a:pt x="35275" y="0"/>
                    <a:pt x="32755" y="0"/>
                  </a:cubicBezTo>
                  <a:cubicBezTo>
                    <a:pt x="30236" y="0"/>
                    <a:pt x="27716" y="0"/>
                    <a:pt x="25196" y="0"/>
                  </a:cubicBezTo>
                  <a:cubicBezTo>
                    <a:pt x="23937" y="0"/>
                    <a:pt x="22677" y="0"/>
                    <a:pt x="21417" y="0"/>
                  </a:cubicBezTo>
                  <a:cubicBezTo>
                    <a:pt x="20157" y="0"/>
                    <a:pt x="18897" y="0"/>
                    <a:pt x="17638" y="0"/>
                  </a:cubicBezTo>
                  <a:cubicBezTo>
                    <a:pt x="15118" y="0"/>
                    <a:pt x="12598" y="0"/>
                    <a:pt x="11339" y="1260"/>
                  </a:cubicBezTo>
                  <a:cubicBezTo>
                    <a:pt x="8819" y="1260"/>
                    <a:pt x="6299" y="1260"/>
                    <a:pt x="3780" y="2519"/>
                  </a:cubicBezTo>
                  <a:cubicBezTo>
                    <a:pt x="2520" y="2519"/>
                    <a:pt x="1260" y="2519"/>
                    <a:pt x="1260" y="3779"/>
                  </a:cubicBezTo>
                  <a:cubicBezTo>
                    <a:pt x="1260" y="3779"/>
                    <a:pt x="1260" y="3779"/>
                    <a:pt x="1260" y="3779"/>
                  </a:cubicBezTo>
                  <a:cubicBezTo>
                    <a:pt x="0" y="5039"/>
                    <a:pt x="0" y="5039"/>
                    <a:pt x="0" y="6299"/>
                  </a:cubicBezTo>
                  <a:lnTo>
                    <a:pt x="0" y="51652"/>
                  </a:lnTo>
                  <a:cubicBezTo>
                    <a:pt x="0" y="54172"/>
                    <a:pt x="0" y="56692"/>
                    <a:pt x="0" y="59211"/>
                  </a:cubicBezTo>
                  <a:cubicBezTo>
                    <a:pt x="0" y="60471"/>
                    <a:pt x="0" y="60471"/>
                    <a:pt x="0" y="61731"/>
                  </a:cubicBezTo>
                  <a:cubicBezTo>
                    <a:pt x="0" y="62991"/>
                    <a:pt x="0" y="64251"/>
                    <a:pt x="0" y="66770"/>
                  </a:cubicBezTo>
                  <a:cubicBezTo>
                    <a:pt x="0" y="68030"/>
                    <a:pt x="0" y="69290"/>
                    <a:pt x="0" y="70550"/>
                  </a:cubicBezTo>
                  <a:cubicBezTo>
                    <a:pt x="0" y="70550"/>
                    <a:pt x="0" y="70550"/>
                    <a:pt x="0" y="70550"/>
                  </a:cubicBezTo>
                  <a:lnTo>
                    <a:pt x="0" y="83148"/>
                  </a:lnTo>
                  <a:cubicBezTo>
                    <a:pt x="1260" y="83148"/>
                    <a:pt x="2520" y="81889"/>
                    <a:pt x="3780" y="81889"/>
                  </a:cubicBezTo>
                  <a:cubicBezTo>
                    <a:pt x="3780" y="81889"/>
                    <a:pt x="3780" y="81889"/>
                    <a:pt x="3780" y="81889"/>
                  </a:cubicBezTo>
                  <a:cubicBezTo>
                    <a:pt x="6299" y="84408"/>
                    <a:pt x="8819" y="84408"/>
                    <a:pt x="11339" y="85668"/>
                  </a:cubicBezTo>
                  <a:cubicBezTo>
                    <a:pt x="12598" y="85668"/>
                    <a:pt x="15118" y="86928"/>
                    <a:pt x="17638" y="86928"/>
                  </a:cubicBezTo>
                  <a:lnTo>
                    <a:pt x="18897" y="86928"/>
                  </a:lnTo>
                  <a:cubicBezTo>
                    <a:pt x="23937" y="88188"/>
                    <a:pt x="28976" y="88188"/>
                    <a:pt x="34015" y="88188"/>
                  </a:cubicBezTo>
                  <a:cubicBezTo>
                    <a:pt x="34015" y="88188"/>
                    <a:pt x="34015" y="88188"/>
                    <a:pt x="35275" y="88188"/>
                  </a:cubicBezTo>
                  <a:cubicBezTo>
                    <a:pt x="36535" y="88188"/>
                    <a:pt x="37795" y="88188"/>
                    <a:pt x="40314" y="86928"/>
                  </a:cubicBezTo>
                  <a:cubicBezTo>
                    <a:pt x="41574" y="86928"/>
                    <a:pt x="44094" y="85668"/>
                    <a:pt x="45354" y="84408"/>
                  </a:cubicBezTo>
                  <a:cubicBezTo>
                    <a:pt x="46613" y="83148"/>
                    <a:pt x="49133" y="81889"/>
                    <a:pt x="50393" y="80629"/>
                  </a:cubicBezTo>
                  <a:cubicBezTo>
                    <a:pt x="50393" y="80629"/>
                    <a:pt x="50393" y="80629"/>
                    <a:pt x="51653" y="81889"/>
                  </a:cubicBezTo>
                  <a:cubicBezTo>
                    <a:pt x="52913" y="81889"/>
                    <a:pt x="52913" y="83148"/>
                    <a:pt x="54172" y="83148"/>
                  </a:cubicBezTo>
                  <a:cubicBezTo>
                    <a:pt x="55432" y="83148"/>
                    <a:pt x="56692" y="84408"/>
                    <a:pt x="57952" y="84408"/>
                  </a:cubicBezTo>
                  <a:cubicBezTo>
                    <a:pt x="59212" y="84408"/>
                    <a:pt x="59212" y="84408"/>
                    <a:pt x="60472" y="84408"/>
                  </a:cubicBezTo>
                  <a:cubicBezTo>
                    <a:pt x="62991" y="84408"/>
                    <a:pt x="64251" y="84408"/>
                    <a:pt x="66771" y="84408"/>
                  </a:cubicBezTo>
                  <a:cubicBezTo>
                    <a:pt x="71810" y="84408"/>
                    <a:pt x="75589" y="84408"/>
                    <a:pt x="80629" y="85668"/>
                  </a:cubicBezTo>
                  <a:cubicBezTo>
                    <a:pt x="84408" y="85668"/>
                    <a:pt x="89448" y="85668"/>
                    <a:pt x="93227" y="85668"/>
                  </a:cubicBezTo>
                  <a:cubicBezTo>
                    <a:pt x="102046" y="85668"/>
                    <a:pt x="109605" y="85668"/>
                    <a:pt x="118424" y="85668"/>
                  </a:cubicBezTo>
                  <a:cubicBezTo>
                    <a:pt x="120943" y="85668"/>
                    <a:pt x="122203" y="85668"/>
                    <a:pt x="124723" y="85668"/>
                  </a:cubicBezTo>
                  <a:cubicBezTo>
                    <a:pt x="127242" y="85668"/>
                    <a:pt x="128502" y="85668"/>
                    <a:pt x="131022" y="85668"/>
                  </a:cubicBezTo>
                  <a:cubicBezTo>
                    <a:pt x="134801" y="85668"/>
                    <a:pt x="138581" y="85668"/>
                    <a:pt x="143620" y="85668"/>
                  </a:cubicBezTo>
                  <a:cubicBezTo>
                    <a:pt x="147399" y="85668"/>
                    <a:pt x="151179" y="85668"/>
                    <a:pt x="153698" y="85668"/>
                  </a:cubicBezTo>
                  <a:cubicBezTo>
                    <a:pt x="157478" y="85668"/>
                    <a:pt x="161257" y="85668"/>
                    <a:pt x="165037" y="86928"/>
                  </a:cubicBezTo>
                  <a:cubicBezTo>
                    <a:pt x="168816" y="86928"/>
                    <a:pt x="172596" y="86928"/>
                    <a:pt x="176375" y="86928"/>
                  </a:cubicBezTo>
                  <a:cubicBezTo>
                    <a:pt x="180155" y="86928"/>
                    <a:pt x="183934" y="86928"/>
                    <a:pt x="186454" y="86928"/>
                  </a:cubicBezTo>
                  <a:lnTo>
                    <a:pt x="185194" y="86928"/>
                  </a:lnTo>
                  <a:cubicBezTo>
                    <a:pt x="188973" y="86928"/>
                    <a:pt x="192753" y="86928"/>
                    <a:pt x="196533" y="86928"/>
                  </a:cubicBezTo>
                  <a:cubicBezTo>
                    <a:pt x="199052" y="86928"/>
                    <a:pt x="201572" y="86928"/>
                    <a:pt x="204091" y="86928"/>
                  </a:cubicBezTo>
                  <a:cubicBezTo>
                    <a:pt x="204091" y="86928"/>
                    <a:pt x="205351" y="86928"/>
                    <a:pt x="205351" y="86928"/>
                  </a:cubicBezTo>
                  <a:lnTo>
                    <a:pt x="205351" y="86928"/>
                  </a:lnTo>
                  <a:cubicBezTo>
                    <a:pt x="210390" y="86928"/>
                    <a:pt x="215430" y="88188"/>
                    <a:pt x="220469" y="88188"/>
                  </a:cubicBezTo>
                  <a:cubicBezTo>
                    <a:pt x="225508" y="88188"/>
                    <a:pt x="230548" y="88188"/>
                    <a:pt x="235587" y="88188"/>
                  </a:cubicBezTo>
                  <a:lnTo>
                    <a:pt x="235587" y="88188"/>
                  </a:lnTo>
                  <a:cubicBezTo>
                    <a:pt x="238107" y="88188"/>
                    <a:pt x="239366" y="88188"/>
                    <a:pt x="241886" y="88188"/>
                  </a:cubicBezTo>
                  <a:lnTo>
                    <a:pt x="243146" y="88188"/>
                  </a:lnTo>
                  <a:cubicBezTo>
                    <a:pt x="244406" y="88188"/>
                    <a:pt x="246925" y="88188"/>
                    <a:pt x="248185" y="88188"/>
                  </a:cubicBezTo>
                  <a:cubicBezTo>
                    <a:pt x="250705" y="88188"/>
                    <a:pt x="253225" y="88188"/>
                    <a:pt x="254484" y="88188"/>
                  </a:cubicBezTo>
                  <a:cubicBezTo>
                    <a:pt x="258264" y="88188"/>
                    <a:pt x="262043" y="88188"/>
                    <a:pt x="265823" y="88188"/>
                  </a:cubicBezTo>
                  <a:cubicBezTo>
                    <a:pt x="269602" y="88188"/>
                    <a:pt x="272122" y="88188"/>
                    <a:pt x="275901" y="88188"/>
                  </a:cubicBezTo>
                  <a:cubicBezTo>
                    <a:pt x="275901" y="88188"/>
                    <a:pt x="274642" y="88188"/>
                    <a:pt x="274642" y="88188"/>
                  </a:cubicBezTo>
                  <a:cubicBezTo>
                    <a:pt x="279681" y="88188"/>
                    <a:pt x="283460" y="88188"/>
                    <a:pt x="288500" y="88188"/>
                  </a:cubicBezTo>
                  <a:cubicBezTo>
                    <a:pt x="291019" y="88188"/>
                    <a:pt x="292279" y="88188"/>
                    <a:pt x="294799" y="86928"/>
                  </a:cubicBezTo>
                  <a:cubicBezTo>
                    <a:pt x="297318" y="86928"/>
                    <a:pt x="298578" y="85668"/>
                    <a:pt x="299838" y="83148"/>
                  </a:cubicBezTo>
                  <a:cubicBezTo>
                    <a:pt x="299838" y="83148"/>
                    <a:pt x="299838" y="81889"/>
                    <a:pt x="299838" y="81889"/>
                  </a:cubicBezTo>
                  <a:cubicBezTo>
                    <a:pt x="296058" y="81889"/>
                    <a:pt x="296058" y="81889"/>
                    <a:pt x="296058" y="80629"/>
                  </a:cubicBezTo>
                  <a:close/>
                </a:path>
              </a:pathLst>
            </a:custGeom>
            <a:solidFill>
              <a:srgbClr val="021021"/>
            </a:solidFill>
            <a:ln w="12584" cap="flat">
              <a:noFill/>
              <a:prstDash val="solid"/>
              <a:miter/>
            </a:ln>
          </p:spPr>
          <p:txBody>
            <a:bodyPr rtlCol="0" anchor="ctr"/>
            <a:lstStyle/>
            <a:p>
              <a:endParaRPr lang="zh-CN" altLang="en-US"/>
            </a:p>
          </p:txBody>
        </p:sp>
        <p:sp>
          <p:nvSpPr>
            <p:cNvPr id="173" name="任意多边形: 形状 172"/>
            <p:cNvSpPr/>
            <p:nvPr/>
          </p:nvSpPr>
          <p:spPr>
            <a:xfrm>
              <a:off x="8503983" y="4806926"/>
              <a:ext cx="188768" cy="120125"/>
            </a:xfrm>
            <a:custGeom>
              <a:avLst/>
              <a:gdLst>
                <a:gd name="connsiteX0" fmla="*/ 279681 w 277161"/>
                <a:gd name="connsiteY0" fmla="*/ 167556 h 176375"/>
                <a:gd name="connsiteX1" fmla="*/ 278421 w 277161"/>
                <a:gd name="connsiteY1" fmla="*/ 163777 h 176375"/>
                <a:gd name="connsiteX2" fmla="*/ 274642 w 277161"/>
                <a:gd name="connsiteY2" fmla="*/ 158737 h 176375"/>
                <a:gd name="connsiteX3" fmla="*/ 270862 w 277161"/>
                <a:gd name="connsiteY3" fmla="*/ 153698 h 176375"/>
                <a:gd name="connsiteX4" fmla="*/ 262043 w 277161"/>
                <a:gd name="connsiteY4" fmla="*/ 143620 h 176375"/>
                <a:gd name="connsiteX5" fmla="*/ 243146 w 277161"/>
                <a:gd name="connsiteY5" fmla="*/ 125982 h 176375"/>
                <a:gd name="connsiteX6" fmla="*/ 234327 w 277161"/>
                <a:gd name="connsiteY6" fmla="*/ 118423 h 176375"/>
                <a:gd name="connsiteX7" fmla="*/ 224249 w 277161"/>
                <a:gd name="connsiteY7" fmla="*/ 109604 h 176375"/>
                <a:gd name="connsiteX8" fmla="*/ 214170 w 277161"/>
                <a:gd name="connsiteY8" fmla="*/ 102045 h 176375"/>
                <a:gd name="connsiteX9" fmla="*/ 212910 w 277161"/>
                <a:gd name="connsiteY9" fmla="*/ 100786 h 176375"/>
                <a:gd name="connsiteX10" fmla="*/ 201572 w 277161"/>
                <a:gd name="connsiteY10" fmla="*/ 89447 h 176375"/>
                <a:gd name="connsiteX11" fmla="*/ 190233 w 277161"/>
                <a:gd name="connsiteY11" fmla="*/ 78109 h 176375"/>
                <a:gd name="connsiteX12" fmla="*/ 178895 w 277161"/>
                <a:gd name="connsiteY12" fmla="*/ 68030 h 176375"/>
                <a:gd name="connsiteX13" fmla="*/ 172596 w 277161"/>
                <a:gd name="connsiteY13" fmla="*/ 62991 h 176375"/>
                <a:gd name="connsiteX14" fmla="*/ 166297 w 277161"/>
                <a:gd name="connsiteY14" fmla="*/ 57952 h 176375"/>
                <a:gd name="connsiteX15" fmla="*/ 159998 w 277161"/>
                <a:gd name="connsiteY15" fmla="*/ 52912 h 176375"/>
                <a:gd name="connsiteX16" fmla="*/ 153698 w 277161"/>
                <a:gd name="connsiteY16" fmla="*/ 49133 h 176375"/>
                <a:gd name="connsiteX17" fmla="*/ 147399 w 277161"/>
                <a:gd name="connsiteY17" fmla="*/ 44094 h 176375"/>
                <a:gd name="connsiteX18" fmla="*/ 141100 w 277161"/>
                <a:gd name="connsiteY18" fmla="*/ 39054 h 176375"/>
                <a:gd name="connsiteX19" fmla="*/ 134801 w 277161"/>
                <a:gd name="connsiteY19" fmla="*/ 35275 h 176375"/>
                <a:gd name="connsiteX20" fmla="*/ 131022 w 277161"/>
                <a:gd name="connsiteY20" fmla="*/ 32755 h 176375"/>
                <a:gd name="connsiteX21" fmla="*/ 128502 w 277161"/>
                <a:gd name="connsiteY21" fmla="*/ 31496 h 176375"/>
                <a:gd name="connsiteX22" fmla="*/ 120943 w 277161"/>
                <a:gd name="connsiteY22" fmla="*/ 28976 h 176375"/>
                <a:gd name="connsiteX23" fmla="*/ 115904 w 277161"/>
                <a:gd name="connsiteY23" fmla="*/ 27716 h 176375"/>
                <a:gd name="connsiteX24" fmla="*/ 107085 w 277161"/>
                <a:gd name="connsiteY24" fmla="*/ 23937 h 176375"/>
                <a:gd name="connsiteX25" fmla="*/ 97006 w 277161"/>
                <a:gd name="connsiteY25" fmla="*/ 20157 h 176375"/>
                <a:gd name="connsiteX26" fmla="*/ 74329 w 277161"/>
                <a:gd name="connsiteY26" fmla="*/ 12598 h 176375"/>
                <a:gd name="connsiteX27" fmla="*/ 66771 w 277161"/>
                <a:gd name="connsiteY27" fmla="*/ 10078 h 176375"/>
                <a:gd name="connsiteX28" fmla="*/ 59212 w 277161"/>
                <a:gd name="connsiteY28" fmla="*/ 7559 h 176375"/>
                <a:gd name="connsiteX29" fmla="*/ 51653 w 277161"/>
                <a:gd name="connsiteY29" fmla="*/ 5039 h 176375"/>
                <a:gd name="connsiteX30" fmla="*/ 49133 w 277161"/>
                <a:gd name="connsiteY30" fmla="*/ 3779 h 176375"/>
                <a:gd name="connsiteX31" fmla="*/ 45354 w 277161"/>
                <a:gd name="connsiteY31" fmla="*/ 2519 h 176375"/>
                <a:gd name="connsiteX32" fmla="*/ 39055 w 277161"/>
                <a:gd name="connsiteY32" fmla="*/ 1260 h 176375"/>
                <a:gd name="connsiteX33" fmla="*/ 31496 w 277161"/>
                <a:gd name="connsiteY33" fmla="*/ 0 h 176375"/>
                <a:gd name="connsiteX34" fmla="*/ 27716 w 277161"/>
                <a:gd name="connsiteY34" fmla="*/ 0 h 176375"/>
                <a:gd name="connsiteX35" fmla="*/ 27716 w 277161"/>
                <a:gd name="connsiteY35" fmla="*/ 0 h 176375"/>
                <a:gd name="connsiteX36" fmla="*/ 25196 w 277161"/>
                <a:gd name="connsiteY36" fmla="*/ 1260 h 176375"/>
                <a:gd name="connsiteX37" fmla="*/ 10079 w 277161"/>
                <a:gd name="connsiteY37" fmla="*/ 44094 h 176375"/>
                <a:gd name="connsiteX38" fmla="*/ 7559 w 277161"/>
                <a:gd name="connsiteY38" fmla="*/ 51652 h 176375"/>
                <a:gd name="connsiteX39" fmla="*/ 6299 w 277161"/>
                <a:gd name="connsiteY39" fmla="*/ 54172 h 176375"/>
                <a:gd name="connsiteX40" fmla="*/ 5039 w 277161"/>
                <a:gd name="connsiteY40" fmla="*/ 59211 h 176375"/>
                <a:gd name="connsiteX41" fmla="*/ 3780 w 277161"/>
                <a:gd name="connsiteY41" fmla="*/ 62991 h 176375"/>
                <a:gd name="connsiteX42" fmla="*/ 3780 w 277161"/>
                <a:gd name="connsiteY42" fmla="*/ 62991 h 176375"/>
                <a:gd name="connsiteX43" fmla="*/ 0 w 277161"/>
                <a:gd name="connsiteY43" fmla="*/ 74330 h 176375"/>
                <a:gd name="connsiteX44" fmla="*/ 3780 w 277161"/>
                <a:gd name="connsiteY44" fmla="*/ 74330 h 176375"/>
                <a:gd name="connsiteX45" fmla="*/ 3780 w 277161"/>
                <a:gd name="connsiteY45" fmla="*/ 74330 h 176375"/>
                <a:gd name="connsiteX46" fmla="*/ 8819 w 277161"/>
                <a:gd name="connsiteY46" fmla="*/ 79369 h 176375"/>
                <a:gd name="connsiteX47" fmla="*/ 13858 w 277161"/>
                <a:gd name="connsiteY47" fmla="*/ 81889 h 176375"/>
                <a:gd name="connsiteX48" fmla="*/ 15118 w 277161"/>
                <a:gd name="connsiteY48" fmla="*/ 83148 h 176375"/>
                <a:gd name="connsiteX49" fmla="*/ 27716 w 277161"/>
                <a:gd name="connsiteY49" fmla="*/ 89447 h 176375"/>
                <a:gd name="connsiteX50" fmla="*/ 28976 w 277161"/>
                <a:gd name="connsiteY50" fmla="*/ 89447 h 176375"/>
                <a:gd name="connsiteX51" fmla="*/ 34015 w 277161"/>
                <a:gd name="connsiteY51" fmla="*/ 90707 h 176375"/>
                <a:gd name="connsiteX52" fmla="*/ 39055 w 277161"/>
                <a:gd name="connsiteY52" fmla="*/ 89447 h 176375"/>
                <a:gd name="connsiteX53" fmla="*/ 45354 w 277161"/>
                <a:gd name="connsiteY53" fmla="*/ 88188 h 176375"/>
                <a:gd name="connsiteX54" fmla="*/ 45354 w 277161"/>
                <a:gd name="connsiteY54" fmla="*/ 89447 h 176375"/>
                <a:gd name="connsiteX55" fmla="*/ 47873 w 277161"/>
                <a:gd name="connsiteY55" fmla="*/ 91967 h 176375"/>
                <a:gd name="connsiteX56" fmla="*/ 50393 w 277161"/>
                <a:gd name="connsiteY56" fmla="*/ 94487 h 176375"/>
                <a:gd name="connsiteX57" fmla="*/ 52913 w 277161"/>
                <a:gd name="connsiteY57" fmla="*/ 95746 h 176375"/>
                <a:gd name="connsiteX58" fmla="*/ 57952 w 277161"/>
                <a:gd name="connsiteY58" fmla="*/ 98266 h 176375"/>
                <a:gd name="connsiteX59" fmla="*/ 70550 w 277161"/>
                <a:gd name="connsiteY59" fmla="*/ 103305 h 176375"/>
                <a:gd name="connsiteX60" fmla="*/ 81889 w 277161"/>
                <a:gd name="connsiteY60" fmla="*/ 108344 h 176375"/>
                <a:gd name="connsiteX61" fmla="*/ 105825 w 277161"/>
                <a:gd name="connsiteY61" fmla="*/ 115904 h 176375"/>
                <a:gd name="connsiteX62" fmla="*/ 110864 w 277161"/>
                <a:gd name="connsiteY62" fmla="*/ 117163 h 176375"/>
                <a:gd name="connsiteX63" fmla="*/ 117164 w 277161"/>
                <a:gd name="connsiteY63" fmla="*/ 119683 h 176375"/>
                <a:gd name="connsiteX64" fmla="*/ 128502 w 277161"/>
                <a:gd name="connsiteY64" fmla="*/ 123463 h 176375"/>
                <a:gd name="connsiteX65" fmla="*/ 138581 w 277161"/>
                <a:gd name="connsiteY65" fmla="*/ 127242 h 176375"/>
                <a:gd name="connsiteX66" fmla="*/ 148659 w 277161"/>
                <a:gd name="connsiteY66" fmla="*/ 132281 h 176375"/>
                <a:gd name="connsiteX67" fmla="*/ 158738 w 277161"/>
                <a:gd name="connsiteY67" fmla="*/ 136061 h 176375"/>
                <a:gd name="connsiteX68" fmla="*/ 168816 w 277161"/>
                <a:gd name="connsiteY68" fmla="*/ 139840 h 176375"/>
                <a:gd name="connsiteX69" fmla="*/ 167557 w 277161"/>
                <a:gd name="connsiteY69" fmla="*/ 139840 h 176375"/>
                <a:gd name="connsiteX70" fmla="*/ 178895 w 277161"/>
                <a:gd name="connsiteY70" fmla="*/ 143620 h 176375"/>
                <a:gd name="connsiteX71" fmla="*/ 186454 w 277161"/>
                <a:gd name="connsiteY71" fmla="*/ 146139 h 176375"/>
                <a:gd name="connsiteX72" fmla="*/ 187714 w 277161"/>
                <a:gd name="connsiteY72" fmla="*/ 147399 h 176375"/>
                <a:gd name="connsiteX73" fmla="*/ 187714 w 277161"/>
                <a:gd name="connsiteY73" fmla="*/ 147399 h 176375"/>
                <a:gd name="connsiteX74" fmla="*/ 201572 w 277161"/>
                <a:gd name="connsiteY74" fmla="*/ 153698 h 176375"/>
                <a:gd name="connsiteX75" fmla="*/ 215430 w 277161"/>
                <a:gd name="connsiteY75" fmla="*/ 158737 h 176375"/>
                <a:gd name="connsiteX76" fmla="*/ 215430 w 277161"/>
                <a:gd name="connsiteY76" fmla="*/ 158737 h 176375"/>
                <a:gd name="connsiteX77" fmla="*/ 221729 w 277161"/>
                <a:gd name="connsiteY77" fmla="*/ 161257 h 176375"/>
                <a:gd name="connsiteX78" fmla="*/ 222989 w 277161"/>
                <a:gd name="connsiteY78" fmla="*/ 161257 h 176375"/>
                <a:gd name="connsiteX79" fmla="*/ 228028 w 277161"/>
                <a:gd name="connsiteY79" fmla="*/ 162517 h 176375"/>
                <a:gd name="connsiteX80" fmla="*/ 234327 w 277161"/>
                <a:gd name="connsiteY80" fmla="*/ 165037 h 176375"/>
                <a:gd name="connsiteX81" fmla="*/ 244406 w 277161"/>
                <a:gd name="connsiteY81" fmla="*/ 168816 h 176375"/>
                <a:gd name="connsiteX82" fmla="*/ 254484 w 277161"/>
                <a:gd name="connsiteY82" fmla="*/ 172596 h 176375"/>
                <a:gd name="connsiteX83" fmla="*/ 253225 w 277161"/>
                <a:gd name="connsiteY83" fmla="*/ 172596 h 176375"/>
                <a:gd name="connsiteX84" fmla="*/ 265823 w 277161"/>
                <a:gd name="connsiteY84" fmla="*/ 176375 h 176375"/>
                <a:gd name="connsiteX85" fmla="*/ 272122 w 277161"/>
                <a:gd name="connsiteY85" fmla="*/ 177635 h 176375"/>
                <a:gd name="connsiteX86" fmla="*/ 278421 w 277161"/>
                <a:gd name="connsiteY86" fmla="*/ 176375 h 176375"/>
                <a:gd name="connsiteX87" fmla="*/ 279681 w 277161"/>
                <a:gd name="connsiteY87" fmla="*/ 175115 h 176375"/>
                <a:gd name="connsiteX88" fmla="*/ 279681 w 277161"/>
                <a:gd name="connsiteY88" fmla="*/ 167556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77161" h="176375">
                  <a:moveTo>
                    <a:pt x="279681" y="167556"/>
                  </a:moveTo>
                  <a:cubicBezTo>
                    <a:pt x="279681" y="166296"/>
                    <a:pt x="278421" y="165037"/>
                    <a:pt x="278421" y="163777"/>
                  </a:cubicBezTo>
                  <a:cubicBezTo>
                    <a:pt x="277161" y="161257"/>
                    <a:pt x="275901" y="159997"/>
                    <a:pt x="274642" y="158737"/>
                  </a:cubicBezTo>
                  <a:cubicBezTo>
                    <a:pt x="273382" y="157478"/>
                    <a:pt x="272122" y="154958"/>
                    <a:pt x="270862" y="153698"/>
                  </a:cubicBezTo>
                  <a:cubicBezTo>
                    <a:pt x="268342" y="149919"/>
                    <a:pt x="264563" y="147399"/>
                    <a:pt x="262043" y="143620"/>
                  </a:cubicBezTo>
                  <a:cubicBezTo>
                    <a:pt x="255744" y="137321"/>
                    <a:pt x="249445" y="131022"/>
                    <a:pt x="243146" y="125982"/>
                  </a:cubicBezTo>
                  <a:cubicBezTo>
                    <a:pt x="240626" y="123463"/>
                    <a:pt x="236847" y="120943"/>
                    <a:pt x="234327" y="118423"/>
                  </a:cubicBezTo>
                  <a:cubicBezTo>
                    <a:pt x="230548" y="115904"/>
                    <a:pt x="228028" y="113384"/>
                    <a:pt x="224249" y="109604"/>
                  </a:cubicBezTo>
                  <a:cubicBezTo>
                    <a:pt x="220469" y="107085"/>
                    <a:pt x="217949" y="104565"/>
                    <a:pt x="214170" y="102045"/>
                  </a:cubicBezTo>
                  <a:cubicBezTo>
                    <a:pt x="214170" y="102045"/>
                    <a:pt x="212910" y="100786"/>
                    <a:pt x="212910" y="100786"/>
                  </a:cubicBezTo>
                  <a:cubicBezTo>
                    <a:pt x="209131" y="97006"/>
                    <a:pt x="205351" y="93227"/>
                    <a:pt x="201572" y="89447"/>
                  </a:cubicBezTo>
                  <a:cubicBezTo>
                    <a:pt x="197792" y="85668"/>
                    <a:pt x="194013" y="81889"/>
                    <a:pt x="190233" y="78109"/>
                  </a:cubicBezTo>
                  <a:cubicBezTo>
                    <a:pt x="186454" y="74330"/>
                    <a:pt x="182674" y="70550"/>
                    <a:pt x="178895" y="68030"/>
                  </a:cubicBezTo>
                  <a:cubicBezTo>
                    <a:pt x="176375" y="66770"/>
                    <a:pt x="175115" y="64251"/>
                    <a:pt x="172596" y="62991"/>
                  </a:cubicBezTo>
                  <a:cubicBezTo>
                    <a:pt x="170076" y="61731"/>
                    <a:pt x="168816" y="59211"/>
                    <a:pt x="166297" y="57952"/>
                  </a:cubicBezTo>
                  <a:cubicBezTo>
                    <a:pt x="163777" y="56692"/>
                    <a:pt x="162517" y="54172"/>
                    <a:pt x="159998" y="52912"/>
                  </a:cubicBezTo>
                  <a:cubicBezTo>
                    <a:pt x="157478" y="51652"/>
                    <a:pt x="156218" y="50393"/>
                    <a:pt x="153698" y="49133"/>
                  </a:cubicBezTo>
                  <a:cubicBezTo>
                    <a:pt x="151179" y="47873"/>
                    <a:pt x="149919" y="45353"/>
                    <a:pt x="147399" y="44094"/>
                  </a:cubicBezTo>
                  <a:cubicBezTo>
                    <a:pt x="144880" y="42834"/>
                    <a:pt x="143620" y="41574"/>
                    <a:pt x="141100" y="39054"/>
                  </a:cubicBezTo>
                  <a:cubicBezTo>
                    <a:pt x="138581" y="37795"/>
                    <a:pt x="137321" y="36535"/>
                    <a:pt x="134801" y="35275"/>
                  </a:cubicBezTo>
                  <a:cubicBezTo>
                    <a:pt x="133541" y="34015"/>
                    <a:pt x="132281" y="34015"/>
                    <a:pt x="131022" y="32755"/>
                  </a:cubicBezTo>
                  <a:cubicBezTo>
                    <a:pt x="129762" y="32755"/>
                    <a:pt x="129762" y="31496"/>
                    <a:pt x="128502" y="31496"/>
                  </a:cubicBezTo>
                  <a:cubicBezTo>
                    <a:pt x="125982" y="30236"/>
                    <a:pt x="123463" y="30236"/>
                    <a:pt x="120943" y="28976"/>
                  </a:cubicBezTo>
                  <a:cubicBezTo>
                    <a:pt x="119683" y="28976"/>
                    <a:pt x="117164" y="27716"/>
                    <a:pt x="115904" y="27716"/>
                  </a:cubicBezTo>
                  <a:cubicBezTo>
                    <a:pt x="113384" y="26456"/>
                    <a:pt x="109605" y="25196"/>
                    <a:pt x="107085" y="23937"/>
                  </a:cubicBezTo>
                  <a:cubicBezTo>
                    <a:pt x="103305" y="22677"/>
                    <a:pt x="99526" y="21417"/>
                    <a:pt x="97006" y="20157"/>
                  </a:cubicBezTo>
                  <a:cubicBezTo>
                    <a:pt x="89448" y="17637"/>
                    <a:pt x="81889" y="15118"/>
                    <a:pt x="74329" y="12598"/>
                  </a:cubicBezTo>
                  <a:cubicBezTo>
                    <a:pt x="71810" y="11338"/>
                    <a:pt x="69290" y="10078"/>
                    <a:pt x="66771" y="10078"/>
                  </a:cubicBezTo>
                  <a:cubicBezTo>
                    <a:pt x="64251" y="8819"/>
                    <a:pt x="61731" y="8819"/>
                    <a:pt x="59212" y="7559"/>
                  </a:cubicBezTo>
                  <a:cubicBezTo>
                    <a:pt x="56692" y="6299"/>
                    <a:pt x="54172" y="6299"/>
                    <a:pt x="51653" y="5039"/>
                  </a:cubicBezTo>
                  <a:cubicBezTo>
                    <a:pt x="50393" y="5039"/>
                    <a:pt x="49133" y="3779"/>
                    <a:pt x="49133" y="3779"/>
                  </a:cubicBezTo>
                  <a:cubicBezTo>
                    <a:pt x="47873" y="3779"/>
                    <a:pt x="46613" y="2519"/>
                    <a:pt x="45354" y="2519"/>
                  </a:cubicBezTo>
                  <a:cubicBezTo>
                    <a:pt x="42834" y="2519"/>
                    <a:pt x="40314" y="1260"/>
                    <a:pt x="39055" y="1260"/>
                  </a:cubicBezTo>
                  <a:cubicBezTo>
                    <a:pt x="36535" y="1260"/>
                    <a:pt x="34015" y="0"/>
                    <a:pt x="31496" y="0"/>
                  </a:cubicBezTo>
                  <a:cubicBezTo>
                    <a:pt x="30236" y="0"/>
                    <a:pt x="28976" y="0"/>
                    <a:pt x="27716" y="0"/>
                  </a:cubicBezTo>
                  <a:cubicBezTo>
                    <a:pt x="27716" y="0"/>
                    <a:pt x="27716" y="0"/>
                    <a:pt x="27716" y="0"/>
                  </a:cubicBezTo>
                  <a:cubicBezTo>
                    <a:pt x="26456" y="0"/>
                    <a:pt x="26456" y="1260"/>
                    <a:pt x="25196" y="1260"/>
                  </a:cubicBezTo>
                  <a:lnTo>
                    <a:pt x="10079" y="44094"/>
                  </a:lnTo>
                  <a:cubicBezTo>
                    <a:pt x="8819" y="46613"/>
                    <a:pt x="8819" y="49133"/>
                    <a:pt x="7559" y="51652"/>
                  </a:cubicBezTo>
                  <a:cubicBezTo>
                    <a:pt x="7559" y="52912"/>
                    <a:pt x="7559" y="52912"/>
                    <a:pt x="6299" y="54172"/>
                  </a:cubicBezTo>
                  <a:cubicBezTo>
                    <a:pt x="6299" y="55432"/>
                    <a:pt x="5039" y="56692"/>
                    <a:pt x="5039" y="59211"/>
                  </a:cubicBezTo>
                  <a:cubicBezTo>
                    <a:pt x="5039" y="60471"/>
                    <a:pt x="3780" y="61731"/>
                    <a:pt x="3780" y="62991"/>
                  </a:cubicBezTo>
                  <a:cubicBezTo>
                    <a:pt x="3780" y="62991"/>
                    <a:pt x="3780" y="62991"/>
                    <a:pt x="3780" y="62991"/>
                  </a:cubicBezTo>
                  <a:lnTo>
                    <a:pt x="0" y="74330"/>
                  </a:lnTo>
                  <a:cubicBezTo>
                    <a:pt x="1260" y="74330"/>
                    <a:pt x="2520" y="74330"/>
                    <a:pt x="3780" y="74330"/>
                  </a:cubicBezTo>
                  <a:cubicBezTo>
                    <a:pt x="3780" y="74330"/>
                    <a:pt x="3780" y="74330"/>
                    <a:pt x="3780" y="74330"/>
                  </a:cubicBezTo>
                  <a:cubicBezTo>
                    <a:pt x="5039" y="76849"/>
                    <a:pt x="7559" y="79369"/>
                    <a:pt x="8819" y="79369"/>
                  </a:cubicBezTo>
                  <a:cubicBezTo>
                    <a:pt x="10079" y="80629"/>
                    <a:pt x="12598" y="81889"/>
                    <a:pt x="13858" y="81889"/>
                  </a:cubicBezTo>
                  <a:lnTo>
                    <a:pt x="15118" y="83148"/>
                  </a:lnTo>
                  <a:cubicBezTo>
                    <a:pt x="18897" y="85668"/>
                    <a:pt x="23937" y="88188"/>
                    <a:pt x="27716" y="89447"/>
                  </a:cubicBezTo>
                  <a:cubicBezTo>
                    <a:pt x="27716" y="89447"/>
                    <a:pt x="27716" y="89447"/>
                    <a:pt x="28976" y="89447"/>
                  </a:cubicBezTo>
                  <a:cubicBezTo>
                    <a:pt x="30236" y="89447"/>
                    <a:pt x="31496" y="90707"/>
                    <a:pt x="34015" y="90707"/>
                  </a:cubicBezTo>
                  <a:cubicBezTo>
                    <a:pt x="36535" y="90707"/>
                    <a:pt x="37795" y="90707"/>
                    <a:pt x="39055" y="89447"/>
                  </a:cubicBezTo>
                  <a:cubicBezTo>
                    <a:pt x="41574" y="89447"/>
                    <a:pt x="42834" y="88188"/>
                    <a:pt x="45354" y="88188"/>
                  </a:cubicBezTo>
                  <a:cubicBezTo>
                    <a:pt x="45354" y="88188"/>
                    <a:pt x="45354" y="89447"/>
                    <a:pt x="45354" y="89447"/>
                  </a:cubicBezTo>
                  <a:cubicBezTo>
                    <a:pt x="45354" y="90707"/>
                    <a:pt x="46613" y="90707"/>
                    <a:pt x="47873" y="91967"/>
                  </a:cubicBezTo>
                  <a:cubicBezTo>
                    <a:pt x="49133" y="93227"/>
                    <a:pt x="49133" y="93227"/>
                    <a:pt x="50393" y="94487"/>
                  </a:cubicBezTo>
                  <a:cubicBezTo>
                    <a:pt x="51653" y="94487"/>
                    <a:pt x="51653" y="95746"/>
                    <a:pt x="52913" y="95746"/>
                  </a:cubicBezTo>
                  <a:cubicBezTo>
                    <a:pt x="54172" y="97006"/>
                    <a:pt x="56692" y="97006"/>
                    <a:pt x="57952" y="98266"/>
                  </a:cubicBezTo>
                  <a:cubicBezTo>
                    <a:pt x="61731" y="99526"/>
                    <a:pt x="66771" y="102045"/>
                    <a:pt x="70550" y="103305"/>
                  </a:cubicBezTo>
                  <a:cubicBezTo>
                    <a:pt x="74329" y="104565"/>
                    <a:pt x="78109" y="107085"/>
                    <a:pt x="81889" y="108344"/>
                  </a:cubicBezTo>
                  <a:cubicBezTo>
                    <a:pt x="89448" y="110864"/>
                    <a:pt x="98266" y="113384"/>
                    <a:pt x="105825" y="115904"/>
                  </a:cubicBezTo>
                  <a:cubicBezTo>
                    <a:pt x="107085" y="115904"/>
                    <a:pt x="109605" y="117163"/>
                    <a:pt x="110864" y="117163"/>
                  </a:cubicBezTo>
                  <a:cubicBezTo>
                    <a:pt x="113384" y="117163"/>
                    <a:pt x="114644" y="118423"/>
                    <a:pt x="117164" y="119683"/>
                  </a:cubicBezTo>
                  <a:cubicBezTo>
                    <a:pt x="120943" y="120943"/>
                    <a:pt x="124722" y="122203"/>
                    <a:pt x="128502" y="123463"/>
                  </a:cubicBezTo>
                  <a:cubicBezTo>
                    <a:pt x="132281" y="124722"/>
                    <a:pt x="134801" y="125982"/>
                    <a:pt x="138581" y="127242"/>
                  </a:cubicBezTo>
                  <a:cubicBezTo>
                    <a:pt x="142360" y="128502"/>
                    <a:pt x="144880" y="129762"/>
                    <a:pt x="148659" y="132281"/>
                  </a:cubicBezTo>
                  <a:cubicBezTo>
                    <a:pt x="152439" y="133541"/>
                    <a:pt x="156218" y="134801"/>
                    <a:pt x="158738" y="136061"/>
                  </a:cubicBezTo>
                  <a:cubicBezTo>
                    <a:pt x="162517" y="137321"/>
                    <a:pt x="165037" y="138581"/>
                    <a:pt x="168816" y="139840"/>
                  </a:cubicBezTo>
                  <a:lnTo>
                    <a:pt x="167557" y="139840"/>
                  </a:lnTo>
                  <a:cubicBezTo>
                    <a:pt x="171336" y="141100"/>
                    <a:pt x="175115" y="142360"/>
                    <a:pt x="178895" y="143620"/>
                  </a:cubicBezTo>
                  <a:cubicBezTo>
                    <a:pt x="181414" y="144880"/>
                    <a:pt x="183934" y="144880"/>
                    <a:pt x="186454" y="146139"/>
                  </a:cubicBezTo>
                  <a:cubicBezTo>
                    <a:pt x="186454" y="146139"/>
                    <a:pt x="187714" y="146139"/>
                    <a:pt x="187714" y="147399"/>
                  </a:cubicBezTo>
                  <a:lnTo>
                    <a:pt x="187714" y="147399"/>
                  </a:lnTo>
                  <a:cubicBezTo>
                    <a:pt x="192753" y="149919"/>
                    <a:pt x="196533" y="151179"/>
                    <a:pt x="201572" y="153698"/>
                  </a:cubicBezTo>
                  <a:cubicBezTo>
                    <a:pt x="206611" y="156218"/>
                    <a:pt x="210390" y="157478"/>
                    <a:pt x="215430" y="158737"/>
                  </a:cubicBezTo>
                  <a:lnTo>
                    <a:pt x="215430" y="158737"/>
                  </a:lnTo>
                  <a:cubicBezTo>
                    <a:pt x="217949" y="159997"/>
                    <a:pt x="219209" y="159997"/>
                    <a:pt x="221729" y="161257"/>
                  </a:cubicBezTo>
                  <a:lnTo>
                    <a:pt x="222989" y="161257"/>
                  </a:lnTo>
                  <a:cubicBezTo>
                    <a:pt x="224249" y="161257"/>
                    <a:pt x="225508" y="162517"/>
                    <a:pt x="228028" y="162517"/>
                  </a:cubicBezTo>
                  <a:cubicBezTo>
                    <a:pt x="230548" y="163777"/>
                    <a:pt x="231807" y="163777"/>
                    <a:pt x="234327" y="165037"/>
                  </a:cubicBezTo>
                  <a:cubicBezTo>
                    <a:pt x="238107" y="166296"/>
                    <a:pt x="241886" y="167556"/>
                    <a:pt x="244406" y="168816"/>
                  </a:cubicBezTo>
                  <a:cubicBezTo>
                    <a:pt x="248185" y="170076"/>
                    <a:pt x="250705" y="171336"/>
                    <a:pt x="254484" y="172596"/>
                  </a:cubicBezTo>
                  <a:cubicBezTo>
                    <a:pt x="254484" y="172596"/>
                    <a:pt x="253225" y="172596"/>
                    <a:pt x="253225" y="172596"/>
                  </a:cubicBezTo>
                  <a:cubicBezTo>
                    <a:pt x="257004" y="173855"/>
                    <a:pt x="262043" y="175115"/>
                    <a:pt x="265823" y="176375"/>
                  </a:cubicBezTo>
                  <a:cubicBezTo>
                    <a:pt x="268342" y="176375"/>
                    <a:pt x="269602" y="177635"/>
                    <a:pt x="272122" y="177635"/>
                  </a:cubicBezTo>
                  <a:cubicBezTo>
                    <a:pt x="274642" y="177635"/>
                    <a:pt x="275901" y="177635"/>
                    <a:pt x="278421" y="176375"/>
                  </a:cubicBezTo>
                  <a:cubicBezTo>
                    <a:pt x="278421" y="176375"/>
                    <a:pt x="279681" y="175115"/>
                    <a:pt x="279681" y="175115"/>
                  </a:cubicBezTo>
                  <a:cubicBezTo>
                    <a:pt x="279681" y="168816"/>
                    <a:pt x="279681" y="167556"/>
                    <a:pt x="279681" y="167556"/>
                  </a:cubicBezTo>
                  <a:close/>
                </a:path>
              </a:pathLst>
            </a:custGeom>
            <a:solidFill>
              <a:srgbClr val="021021"/>
            </a:solidFill>
            <a:ln w="12584" cap="flat">
              <a:noFill/>
              <a:prstDash val="solid"/>
              <a:miter/>
            </a:ln>
          </p:spPr>
          <p:txBody>
            <a:bodyPr rtlCol="0" anchor="ctr"/>
            <a:lstStyle/>
            <a:p>
              <a:endParaRPr lang="zh-CN" altLang="en-US"/>
            </a:p>
          </p:txBody>
        </p:sp>
        <p:sp>
          <p:nvSpPr>
            <p:cNvPr id="174" name="任意多边形: 形状 173"/>
            <p:cNvSpPr/>
            <p:nvPr/>
          </p:nvSpPr>
          <p:spPr>
            <a:xfrm>
              <a:off x="8219924" y="2286652"/>
              <a:ext cx="1638846" cy="1115445"/>
            </a:xfrm>
            <a:custGeom>
              <a:avLst/>
              <a:gdLst>
                <a:gd name="connsiteX0" fmla="*/ 2397516 w 2406262"/>
                <a:gd name="connsiteY0" fmla="*/ 131354 h 1637770"/>
                <a:gd name="connsiteX1" fmla="*/ 2397516 w 2406262"/>
                <a:gd name="connsiteY1" fmla="*/ 131354 h 1637770"/>
                <a:gd name="connsiteX2" fmla="*/ 2349643 w 2406262"/>
                <a:gd name="connsiteY2" fmla="*/ 70882 h 1637770"/>
                <a:gd name="connsiteX3" fmla="*/ 1622725 w 2406262"/>
                <a:gd name="connsiteY3" fmla="*/ 46946 h 1637770"/>
                <a:gd name="connsiteX4" fmla="*/ 1200684 w 2406262"/>
                <a:gd name="connsiteY4" fmla="*/ 301430 h 1637770"/>
                <a:gd name="connsiteX5" fmla="*/ 773604 w 2406262"/>
                <a:gd name="connsiteY5" fmla="*/ 54505 h 1637770"/>
                <a:gd name="connsiteX6" fmla="*/ 46686 w 2406262"/>
                <a:gd name="connsiteY6" fmla="*/ 92299 h 1637770"/>
                <a:gd name="connsiteX7" fmla="*/ 73 w 2406262"/>
                <a:gd name="connsiteY7" fmla="*/ 160330 h 1637770"/>
                <a:gd name="connsiteX8" fmla="*/ 12671 w 2406262"/>
                <a:gd name="connsiteY8" fmla="*/ 1282833 h 1637770"/>
                <a:gd name="connsiteX9" fmla="*/ 12671 w 2406262"/>
                <a:gd name="connsiteY9" fmla="*/ 1290391 h 1637770"/>
                <a:gd name="connsiteX10" fmla="*/ 12671 w 2406262"/>
                <a:gd name="connsiteY10" fmla="*/ 1291651 h 1637770"/>
                <a:gd name="connsiteX11" fmla="*/ 12671 w 2406262"/>
                <a:gd name="connsiteY11" fmla="*/ 1291651 h 1637770"/>
                <a:gd name="connsiteX12" fmla="*/ 24009 w 2406262"/>
                <a:gd name="connsiteY12" fmla="*/ 1321887 h 1637770"/>
                <a:gd name="connsiteX13" fmla="*/ 151251 w 2406262"/>
                <a:gd name="connsiteY13" fmla="*/ 1349603 h 1637770"/>
                <a:gd name="connsiteX14" fmla="*/ 734550 w 2406262"/>
                <a:gd name="connsiteY14" fmla="*/ 1325666 h 1637770"/>
                <a:gd name="connsiteX15" fmla="*/ 1135173 w 2406262"/>
                <a:gd name="connsiteY15" fmla="*/ 1607867 h 1637770"/>
                <a:gd name="connsiteX16" fmla="*/ 1215802 w 2406262"/>
                <a:gd name="connsiteY16" fmla="*/ 1644402 h 1637770"/>
                <a:gd name="connsiteX17" fmla="*/ 1295171 w 2406262"/>
                <a:gd name="connsiteY17" fmla="*/ 1606607 h 1637770"/>
                <a:gd name="connsiteX18" fmla="*/ 1690756 w 2406262"/>
                <a:gd name="connsiteY18" fmla="*/ 1316848 h 1637770"/>
                <a:gd name="connsiteX19" fmla="*/ 2274054 w 2406262"/>
                <a:gd name="connsiteY19" fmla="*/ 1330706 h 1637770"/>
                <a:gd name="connsiteX20" fmla="*/ 2400036 w 2406262"/>
                <a:gd name="connsiteY20" fmla="*/ 1300470 h 1637770"/>
                <a:gd name="connsiteX21" fmla="*/ 2410115 w 2406262"/>
                <a:gd name="connsiteY21" fmla="*/ 1261415 h 1637770"/>
                <a:gd name="connsiteX22" fmla="*/ 2410115 w 2406262"/>
                <a:gd name="connsiteY22" fmla="*/ 1261415 h 1637770"/>
                <a:gd name="connsiteX23" fmla="*/ 2397516 w 2406262"/>
                <a:gd name="connsiteY23" fmla="*/ 131354 h 163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6262" h="1637770">
                  <a:moveTo>
                    <a:pt x="2397516" y="131354"/>
                  </a:moveTo>
                  <a:lnTo>
                    <a:pt x="2397516" y="131354"/>
                  </a:lnTo>
                  <a:cubicBezTo>
                    <a:pt x="2394997" y="106157"/>
                    <a:pt x="2378619" y="82221"/>
                    <a:pt x="2349643" y="70882"/>
                  </a:cubicBezTo>
                  <a:cubicBezTo>
                    <a:pt x="2124135" y="-12266"/>
                    <a:pt x="1857052" y="-24864"/>
                    <a:pt x="1622725" y="46946"/>
                  </a:cubicBezTo>
                  <a:cubicBezTo>
                    <a:pt x="1453909" y="98599"/>
                    <a:pt x="1306509" y="186786"/>
                    <a:pt x="1200684" y="301430"/>
                  </a:cubicBezTo>
                  <a:cubicBezTo>
                    <a:pt x="1092339" y="189306"/>
                    <a:pt x="942420" y="102378"/>
                    <a:pt x="773604" y="54505"/>
                  </a:cubicBezTo>
                  <a:cubicBezTo>
                    <a:pt x="538017" y="-12266"/>
                    <a:pt x="270935" y="5372"/>
                    <a:pt x="46686" y="92299"/>
                  </a:cubicBezTo>
                  <a:cubicBezTo>
                    <a:pt x="13931" y="104898"/>
                    <a:pt x="-1187" y="133874"/>
                    <a:pt x="73" y="160330"/>
                  </a:cubicBezTo>
                  <a:lnTo>
                    <a:pt x="12671" y="1282833"/>
                  </a:lnTo>
                  <a:cubicBezTo>
                    <a:pt x="12671" y="1285352"/>
                    <a:pt x="12671" y="1287872"/>
                    <a:pt x="12671" y="1290391"/>
                  </a:cubicBezTo>
                  <a:lnTo>
                    <a:pt x="12671" y="1291651"/>
                  </a:lnTo>
                  <a:lnTo>
                    <a:pt x="12671" y="1291651"/>
                  </a:lnTo>
                  <a:cubicBezTo>
                    <a:pt x="13931" y="1301730"/>
                    <a:pt x="17710" y="1313068"/>
                    <a:pt x="24009" y="1321887"/>
                  </a:cubicBezTo>
                  <a:cubicBezTo>
                    <a:pt x="50466" y="1358422"/>
                    <a:pt x="105898" y="1367241"/>
                    <a:pt x="151251" y="1349603"/>
                  </a:cubicBezTo>
                  <a:cubicBezTo>
                    <a:pt x="332666" y="1279053"/>
                    <a:pt x="545576" y="1271494"/>
                    <a:pt x="734550" y="1325666"/>
                  </a:cubicBezTo>
                  <a:cubicBezTo>
                    <a:pt x="908405" y="1374800"/>
                    <a:pt x="1050765" y="1479365"/>
                    <a:pt x="1135173" y="1607867"/>
                  </a:cubicBezTo>
                  <a:cubicBezTo>
                    <a:pt x="1154071" y="1636843"/>
                    <a:pt x="1185566" y="1646921"/>
                    <a:pt x="1215802" y="1644402"/>
                  </a:cubicBezTo>
                  <a:cubicBezTo>
                    <a:pt x="1246038" y="1645662"/>
                    <a:pt x="1277533" y="1634323"/>
                    <a:pt x="1295171" y="1606607"/>
                  </a:cubicBezTo>
                  <a:cubicBezTo>
                    <a:pt x="1377059" y="1476845"/>
                    <a:pt x="1516900" y="1369760"/>
                    <a:pt x="1690756" y="1316848"/>
                  </a:cubicBezTo>
                  <a:cubicBezTo>
                    <a:pt x="1878469" y="1260156"/>
                    <a:pt x="2091379" y="1263935"/>
                    <a:pt x="2274054" y="1330706"/>
                  </a:cubicBezTo>
                  <a:cubicBezTo>
                    <a:pt x="2319407" y="1347083"/>
                    <a:pt x="2374839" y="1337005"/>
                    <a:pt x="2400036" y="1300470"/>
                  </a:cubicBezTo>
                  <a:cubicBezTo>
                    <a:pt x="2407595" y="1289132"/>
                    <a:pt x="2411374" y="1275274"/>
                    <a:pt x="2410115" y="1261415"/>
                  </a:cubicBezTo>
                  <a:lnTo>
                    <a:pt x="2410115" y="1261415"/>
                  </a:lnTo>
                  <a:lnTo>
                    <a:pt x="2397516" y="131354"/>
                  </a:lnTo>
                  <a:close/>
                </a:path>
              </a:pathLst>
            </a:custGeom>
            <a:solidFill>
              <a:srgbClr val="0066F1"/>
            </a:solidFill>
            <a:ln w="12584" cap="flat">
              <a:noFill/>
              <a:prstDash val="solid"/>
              <a:miter/>
            </a:ln>
          </p:spPr>
          <p:txBody>
            <a:bodyPr rtlCol="0" anchor="ctr"/>
            <a:lstStyle/>
            <a:p>
              <a:endParaRPr lang="zh-CN" altLang="en-US"/>
            </a:p>
          </p:txBody>
        </p:sp>
        <p:sp>
          <p:nvSpPr>
            <p:cNvPr id="175" name="任意多边形: 形状 174"/>
            <p:cNvSpPr/>
            <p:nvPr/>
          </p:nvSpPr>
          <p:spPr>
            <a:xfrm>
              <a:off x="8277277" y="2477816"/>
              <a:ext cx="1527302" cy="815133"/>
            </a:xfrm>
            <a:custGeom>
              <a:avLst/>
              <a:gdLst>
                <a:gd name="connsiteX0" fmla="*/ 2235197 w 2242485"/>
                <a:gd name="connsiteY0" fmla="*/ 101379 h 1196832"/>
                <a:gd name="connsiteX1" fmla="*/ 2235197 w 2242485"/>
                <a:gd name="connsiteY1" fmla="*/ 101379 h 1196832"/>
                <a:gd name="connsiteX2" fmla="*/ 2191104 w 2242485"/>
                <a:gd name="connsiteY2" fmla="*/ 54765 h 1196832"/>
                <a:gd name="connsiteX3" fmla="*/ 1513319 w 2242485"/>
                <a:gd name="connsiteY3" fmla="*/ 37128 h 1196832"/>
                <a:gd name="connsiteX4" fmla="*/ 1118994 w 2242485"/>
                <a:gd name="connsiteY4" fmla="*/ 237440 h 1196832"/>
                <a:gd name="connsiteX5" fmla="*/ 720890 w 2242485"/>
                <a:gd name="connsiteY5" fmla="*/ 44687 h 1196832"/>
                <a:gd name="connsiteX6" fmla="*/ 43105 w 2242485"/>
                <a:gd name="connsiteY6" fmla="*/ 74923 h 1196832"/>
                <a:gd name="connsiteX7" fmla="*/ 271 w 2242485"/>
                <a:gd name="connsiteY7" fmla="*/ 129095 h 1196832"/>
                <a:gd name="connsiteX8" fmla="*/ 9090 w 2242485"/>
                <a:gd name="connsiteY8" fmla="*/ 915225 h 1196832"/>
                <a:gd name="connsiteX9" fmla="*/ 9090 w 2242485"/>
                <a:gd name="connsiteY9" fmla="*/ 921524 h 1196832"/>
                <a:gd name="connsiteX10" fmla="*/ 9090 w 2242485"/>
                <a:gd name="connsiteY10" fmla="*/ 922784 h 1196832"/>
                <a:gd name="connsiteX11" fmla="*/ 9090 w 2242485"/>
                <a:gd name="connsiteY11" fmla="*/ 922784 h 1196832"/>
                <a:gd name="connsiteX12" fmla="*/ 19168 w 2242485"/>
                <a:gd name="connsiteY12" fmla="*/ 946720 h 1196832"/>
                <a:gd name="connsiteX13" fmla="*/ 137592 w 2242485"/>
                <a:gd name="connsiteY13" fmla="*/ 968137 h 1196832"/>
                <a:gd name="connsiteX14" fmla="*/ 680575 w 2242485"/>
                <a:gd name="connsiteY14" fmla="*/ 947980 h 1196832"/>
                <a:gd name="connsiteX15" fmla="*/ 1129072 w 2242485"/>
                <a:gd name="connsiteY15" fmla="*/ 1197425 h 1196832"/>
                <a:gd name="connsiteX16" fmla="*/ 1572530 w 2242485"/>
                <a:gd name="connsiteY16" fmla="*/ 939162 h 1196832"/>
                <a:gd name="connsiteX17" fmla="*/ 2116774 w 2242485"/>
                <a:gd name="connsiteY17" fmla="*/ 949240 h 1196832"/>
                <a:gd name="connsiteX18" fmla="*/ 2233937 w 2242485"/>
                <a:gd name="connsiteY18" fmla="*/ 925303 h 1196832"/>
                <a:gd name="connsiteX19" fmla="*/ 2244016 w 2242485"/>
                <a:gd name="connsiteY19" fmla="*/ 893808 h 1196832"/>
                <a:gd name="connsiteX20" fmla="*/ 2244016 w 2242485"/>
                <a:gd name="connsiteY20" fmla="*/ 893808 h 1196832"/>
                <a:gd name="connsiteX21" fmla="*/ 2235197 w 2242485"/>
                <a:gd name="connsiteY21" fmla="*/ 101379 h 119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42485" h="1196832">
                  <a:moveTo>
                    <a:pt x="2235197" y="101379"/>
                  </a:moveTo>
                  <a:lnTo>
                    <a:pt x="2235197" y="101379"/>
                  </a:lnTo>
                  <a:cubicBezTo>
                    <a:pt x="2233937" y="81222"/>
                    <a:pt x="2217560" y="62324"/>
                    <a:pt x="2191104" y="54765"/>
                  </a:cubicBezTo>
                  <a:cubicBezTo>
                    <a:pt x="1980713" y="-9485"/>
                    <a:pt x="1732528" y="-19564"/>
                    <a:pt x="1513319" y="37128"/>
                  </a:cubicBezTo>
                  <a:cubicBezTo>
                    <a:pt x="1355841" y="77442"/>
                    <a:pt x="1218520" y="147992"/>
                    <a:pt x="1118994" y="237440"/>
                  </a:cubicBezTo>
                  <a:cubicBezTo>
                    <a:pt x="1018208" y="149252"/>
                    <a:pt x="878368" y="82482"/>
                    <a:pt x="720890" y="44687"/>
                  </a:cubicBezTo>
                  <a:cubicBezTo>
                    <a:pt x="500421" y="-8226"/>
                    <a:pt x="252236" y="6892"/>
                    <a:pt x="43105" y="74923"/>
                  </a:cubicBezTo>
                  <a:cubicBezTo>
                    <a:pt x="12869" y="85001"/>
                    <a:pt x="-2249" y="107678"/>
                    <a:pt x="271" y="129095"/>
                  </a:cubicBezTo>
                  <a:lnTo>
                    <a:pt x="9090" y="915225"/>
                  </a:lnTo>
                  <a:cubicBezTo>
                    <a:pt x="9090" y="917744"/>
                    <a:pt x="9090" y="919004"/>
                    <a:pt x="9090" y="921524"/>
                  </a:cubicBezTo>
                  <a:lnTo>
                    <a:pt x="9090" y="922784"/>
                  </a:lnTo>
                  <a:lnTo>
                    <a:pt x="9090" y="922784"/>
                  </a:lnTo>
                  <a:cubicBezTo>
                    <a:pt x="10349" y="931603"/>
                    <a:pt x="12869" y="939162"/>
                    <a:pt x="19168" y="946720"/>
                  </a:cubicBezTo>
                  <a:cubicBezTo>
                    <a:pt x="43105" y="974437"/>
                    <a:pt x="94758" y="981995"/>
                    <a:pt x="137592" y="968137"/>
                  </a:cubicBezTo>
                  <a:cubicBezTo>
                    <a:pt x="306408" y="912705"/>
                    <a:pt x="506720" y="903886"/>
                    <a:pt x="680575" y="947980"/>
                  </a:cubicBezTo>
                  <a:cubicBezTo>
                    <a:pt x="964036" y="1019790"/>
                    <a:pt x="1100096" y="1199945"/>
                    <a:pt x="1129072" y="1197425"/>
                  </a:cubicBezTo>
                  <a:cubicBezTo>
                    <a:pt x="1158048" y="1198685"/>
                    <a:pt x="1297889" y="1008452"/>
                    <a:pt x="1572530" y="939162"/>
                  </a:cubicBezTo>
                  <a:cubicBezTo>
                    <a:pt x="1747646" y="895068"/>
                    <a:pt x="1946698" y="896328"/>
                    <a:pt x="2116774" y="949240"/>
                  </a:cubicBezTo>
                  <a:cubicBezTo>
                    <a:pt x="2159608" y="961838"/>
                    <a:pt x="2211261" y="954279"/>
                    <a:pt x="2233937" y="925303"/>
                  </a:cubicBezTo>
                  <a:cubicBezTo>
                    <a:pt x="2241496" y="916485"/>
                    <a:pt x="2245276" y="905146"/>
                    <a:pt x="2244016" y="893808"/>
                  </a:cubicBezTo>
                  <a:lnTo>
                    <a:pt x="2244016" y="893808"/>
                  </a:lnTo>
                  <a:lnTo>
                    <a:pt x="2235197" y="101379"/>
                  </a:lnTo>
                  <a:close/>
                </a:path>
              </a:pathLst>
            </a:custGeom>
            <a:solidFill>
              <a:srgbClr val="001675"/>
            </a:solidFill>
            <a:ln w="12584" cap="flat">
              <a:noFill/>
              <a:prstDash val="solid"/>
              <a:miter/>
            </a:ln>
          </p:spPr>
          <p:txBody>
            <a:bodyPr rtlCol="0" anchor="ctr"/>
            <a:lstStyle/>
            <a:p>
              <a:endParaRPr lang="zh-CN" altLang="en-US"/>
            </a:p>
          </p:txBody>
        </p:sp>
        <p:sp>
          <p:nvSpPr>
            <p:cNvPr id="176" name="任意多边形: 形状 175"/>
            <p:cNvSpPr/>
            <p:nvPr/>
          </p:nvSpPr>
          <p:spPr>
            <a:xfrm>
              <a:off x="8273844" y="2214010"/>
              <a:ext cx="1527302" cy="1072543"/>
            </a:xfrm>
            <a:custGeom>
              <a:avLst/>
              <a:gdLst>
                <a:gd name="connsiteX0" fmla="*/ 2236457 w 2242485"/>
                <a:gd name="connsiteY0" fmla="*/ 137226 h 1574779"/>
                <a:gd name="connsiteX1" fmla="*/ 2236457 w 2242485"/>
                <a:gd name="connsiteY1" fmla="*/ 137226 h 1574779"/>
                <a:gd name="connsiteX2" fmla="*/ 2191104 w 2242485"/>
                <a:gd name="connsiteY2" fmla="*/ 74235 h 1574779"/>
                <a:gd name="connsiteX3" fmla="*/ 1513319 w 2242485"/>
                <a:gd name="connsiteY3" fmla="*/ 47779 h 1574779"/>
                <a:gd name="connsiteX4" fmla="*/ 1120254 w 2242485"/>
                <a:gd name="connsiteY4" fmla="*/ 312341 h 1574779"/>
                <a:gd name="connsiteX5" fmla="*/ 720890 w 2242485"/>
                <a:gd name="connsiteY5" fmla="*/ 55338 h 1574779"/>
                <a:gd name="connsiteX6" fmla="*/ 43105 w 2242485"/>
                <a:gd name="connsiteY6" fmla="*/ 94392 h 1574779"/>
                <a:gd name="connsiteX7" fmla="*/ 271 w 2242485"/>
                <a:gd name="connsiteY7" fmla="*/ 166202 h 1574779"/>
                <a:gd name="connsiteX8" fmla="*/ 11609 w 2242485"/>
                <a:gd name="connsiteY8" fmla="*/ 1208076 h 1574779"/>
                <a:gd name="connsiteX9" fmla="*/ 11609 w 2242485"/>
                <a:gd name="connsiteY9" fmla="*/ 1216895 h 1574779"/>
                <a:gd name="connsiteX10" fmla="*/ 11609 w 2242485"/>
                <a:gd name="connsiteY10" fmla="*/ 1218154 h 1574779"/>
                <a:gd name="connsiteX11" fmla="*/ 11609 w 2242485"/>
                <a:gd name="connsiteY11" fmla="*/ 1218154 h 1574779"/>
                <a:gd name="connsiteX12" fmla="*/ 21688 w 2242485"/>
                <a:gd name="connsiteY12" fmla="*/ 1249650 h 1574779"/>
                <a:gd name="connsiteX13" fmla="*/ 140111 w 2242485"/>
                <a:gd name="connsiteY13" fmla="*/ 1278626 h 1574779"/>
                <a:gd name="connsiteX14" fmla="*/ 683095 w 2242485"/>
                <a:gd name="connsiteY14" fmla="*/ 1253430 h 1574779"/>
                <a:gd name="connsiteX15" fmla="*/ 1132852 w 2242485"/>
                <a:gd name="connsiteY15" fmla="*/ 1586023 h 1574779"/>
                <a:gd name="connsiteX16" fmla="*/ 1575050 w 2242485"/>
                <a:gd name="connsiteY16" fmla="*/ 1244611 h 1574779"/>
                <a:gd name="connsiteX17" fmla="*/ 2119294 w 2242485"/>
                <a:gd name="connsiteY17" fmla="*/ 1259729 h 1574779"/>
                <a:gd name="connsiteX18" fmla="*/ 2236457 w 2242485"/>
                <a:gd name="connsiteY18" fmla="*/ 1229493 h 1574779"/>
                <a:gd name="connsiteX19" fmla="*/ 2246536 w 2242485"/>
                <a:gd name="connsiteY19" fmla="*/ 1187919 h 1574779"/>
                <a:gd name="connsiteX20" fmla="*/ 2246536 w 2242485"/>
                <a:gd name="connsiteY20" fmla="*/ 1187919 h 1574779"/>
                <a:gd name="connsiteX21" fmla="*/ 2236457 w 2242485"/>
                <a:gd name="connsiteY21" fmla="*/ 137226 h 1574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42485" h="1574779">
                  <a:moveTo>
                    <a:pt x="2236457" y="137226"/>
                  </a:moveTo>
                  <a:lnTo>
                    <a:pt x="2236457" y="137226"/>
                  </a:lnTo>
                  <a:cubicBezTo>
                    <a:pt x="2235198" y="110770"/>
                    <a:pt x="2218820" y="85573"/>
                    <a:pt x="2191104" y="74235"/>
                  </a:cubicBezTo>
                  <a:cubicBezTo>
                    <a:pt x="1980713" y="-11433"/>
                    <a:pt x="1731268" y="-26551"/>
                    <a:pt x="1513319" y="47779"/>
                  </a:cubicBezTo>
                  <a:cubicBezTo>
                    <a:pt x="1355841" y="100691"/>
                    <a:pt x="1218520" y="193918"/>
                    <a:pt x="1120254" y="312341"/>
                  </a:cubicBezTo>
                  <a:cubicBezTo>
                    <a:pt x="1019468" y="195178"/>
                    <a:pt x="879628" y="105730"/>
                    <a:pt x="720890" y="55338"/>
                  </a:cubicBezTo>
                  <a:cubicBezTo>
                    <a:pt x="500421" y="-15213"/>
                    <a:pt x="252236" y="3685"/>
                    <a:pt x="43105" y="94392"/>
                  </a:cubicBezTo>
                  <a:cubicBezTo>
                    <a:pt x="12869" y="106990"/>
                    <a:pt x="-2249" y="137226"/>
                    <a:pt x="271" y="166202"/>
                  </a:cubicBezTo>
                  <a:lnTo>
                    <a:pt x="11609" y="1208076"/>
                  </a:lnTo>
                  <a:cubicBezTo>
                    <a:pt x="11609" y="1210596"/>
                    <a:pt x="11609" y="1213115"/>
                    <a:pt x="11609" y="1216895"/>
                  </a:cubicBezTo>
                  <a:lnTo>
                    <a:pt x="11609" y="1218154"/>
                  </a:lnTo>
                  <a:lnTo>
                    <a:pt x="11609" y="1218154"/>
                  </a:lnTo>
                  <a:cubicBezTo>
                    <a:pt x="12869" y="1229493"/>
                    <a:pt x="15389" y="1239571"/>
                    <a:pt x="21688" y="1249650"/>
                  </a:cubicBezTo>
                  <a:cubicBezTo>
                    <a:pt x="45625" y="1287445"/>
                    <a:pt x="97277" y="1296264"/>
                    <a:pt x="140111" y="1278626"/>
                  </a:cubicBezTo>
                  <a:cubicBezTo>
                    <a:pt x="308928" y="1205556"/>
                    <a:pt x="507980" y="1194218"/>
                    <a:pt x="683095" y="1253430"/>
                  </a:cubicBezTo>
                  <a:cubicBezTo>
                    <a:pt x="966555" y="1349176"/>
                    <a:pt x="1103876" y="1588543"/>
                    <a:pt x="1132852" y="1586023"/>
                  </a:cubicBezTo>
                  <a:cubicBezTo>
                    <a:pt x="1161828" y="1587283"/>
                    <a:pt x="1300408" y="1336578"/>
                    <a:pt x="1575050" y="1244611"/>
                  </a:cubicBezTo>
                  <a:cubicBezTo>
                    <a:pt x="1750166" y="1186659"/>
                    <a:pt x="1949217" y="1189179"/>
                    <a:pt x="2119294" y="1259729"/>
                  </a:cubicBezTo>
                  <a:cubicBezTo>
                    <a:pt x="2162128" y="1277366"/>
                    <a:pt x="2213780" y="1267288"/>
                    <a:pt x="2236457" y="1229493"/>
                  </a:cubicBezTo>
                  <a:cubicBezTo>
                    <a:pt x="2244016" y="1216895"/>
                    <a:pt x="2246536" y="1203037"/>
                    <a:pt x="2246536" y="1187919"/>
                  </a:cubicBezTo>
                  <a:lnTo>
                    <a:pt x="2246536" y="1187919"/>
                  </a:lnTo>
                  <a:lnTo>
                    <a:pt x="2236457" y="137226"/>
                  </a:lnTo>
                  <a:close/>
                </a:path>
              </a:pathLst>
            </a:custGeom>
            <a:solidFill>
              <a:srgbClr val="FFFFFF"/>
            </a:solidFill>
            <a:ln w="12584" cap="flat">
              <a:noFill/>
              <a:prstDash val="solid"/>
              <a:miter/>
            </a:ln>
          </p:spPr>
          <p:txBody>
            <a:bodyPr rtlCol="0" anchor="ctr"/>
            <a:lstStyle/>
            <a:p>
              <a:endParaRPr lang="zh-CN" altLang="en-US"/>
            </a:p>
          </p:txBody>
        </p:sp>
        <p:sp>
          <p:nvSpPr>
            <p:cNvPr id="177" name="任意多边形: 形状 176"/>
            <p:cNvSpPr/>
            <p:nvPr/>
          </p:nvSpPr>
          <p:spPr>
            <a:xfrm>
              <a:off x="8274703" y="2222491"/>
              <a:ext cx="763651" cy="1063963"/>
            </a:xfrm>
            <a:custGeom>
              <a:avLst/>
              <a:gdLst>
                <a:gd name="connsiteX0" fmla="*/ 1115215 w 1121242"/>
                <a:gd name="connsiteY0" fmla="*/ 294849 h 1562180"/>
                <a:gd name="connsiteX1" fmla="*/ 720890 w 1121242"/>
                <a:gd name="connsiteY1" fmla="*/ 42884 h 1562180"/>
                <a:gd name="connsiteX2" fmla="*/ 43105 w 1121242"/>
                <a:gd name="connsiteY2" fmla="*/ 81939 h 1562180"/>
                <a:gd name="connsiteX3" fmla="*/ 271 w 1121242"/>
                <a:gd name="connsiteY3" fmla="*/ 153749 h 1562180"/>
                <a:gd name="connsiteX4" fmla="*/ 11609 w 1121242"/>
                <a:gd name="connsiteY4" fmla="*/ 1195623 h 1562180"/>
                <a:gd name="connsiteX5" fmla="*/ 11609 w 1121242"/>
                <a:gd name="connsiteY5" fmla="*/ 1204441 h 1562180"/>
                <a:gd name="connsiteX6" fmla="*/ 11609 w 1121242"/>
                <a:gd name="connsiteY6" fmla="*/ 1205701 h 1562180"/>
                <a:gd name="connsiteX7" fmla="*/ 11609 w 1121242"/>
                <a:gd name="connsiteY7" fmla="*/ 1205701 h 1562180"/>
                <a:gd name="connsiteX8" fmla="*/ 21688 w 1121242"/>
                <a:gd name="connsiteY8" fmla="*/ 1237197 h 1562180"/>
                <a:gd name="connsiteX9" fmla="*/ 140111 w 1121242"/>
                <a:gd name="connsiteY9" fmla="*/ 1266173 h 1562180"/>
                <a:gd name="connsiteX10" fmla="*/ 683095 w 1121242"/>
                <a:gd name="connsiteY10" fmla="*/ 1240976 h 1562180"/>
                <a:gd name="connsiteX11" fmla="*/ 1127813 w 1121242"/>
                <a:gd name="connsiteY11" fmla="*/ 1572310 h 1562180"/>
                <a:gd name="connsiteX12" fmla="*/ 1115215 w 1121242"/>
                <a:gd name="connsiteY12" fmla="*/ 294849 h 1562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1242" h="1562180">
                  <a:moveTo>
                    <a:pt x="1115215" y="294849"/>
                  </a:moveTo>
                  <a:cubicBezTo>
                    <a:pt x="1014429" y="180205"/>
                    <a:pt x="877108" y="92017"/>
                    <a:pt x="720890" y="42884"/>
                  </a:cubicBezTo>
                  <a:cubicBezTo>
                    <a:pt x="500421" y="-27666"/>
                    <a:pt x="252236" y="-8769"/>
                    <a:pt x="43105" y="81939"/>
                  </a:cubicBezTo>
                  <a:cubicBezTo>
                    <a:pt x="12869" y="94537"/>
                    <a:pt x="-2249" y="124773"/>
                    <a:pt x="271" y="153749"/>
                  </a:cubicBezTo>
                  <a:lnTo>
                    <a:pt x="11609" y="1195623"/>
                  </a:lnTo>
                  <a:cubicBezTo>
                    <a:pt x="11609" y="1198142"/>
                    <a:pt x="11609" y="1200662"/>
                    <a:pt x="11609" y="1204441"/>
                  </a:cubicBezTo>
                  <a:lnTo>
                    <a:pt x="11609" y="1205701"/>
                  </a:lnTo>
                  <a:lnTo>
                    <a:pt x="11609" y="1205701"/>
                  </a:lnTo>
                  <a:cubicBezTo>
                    <a:pt x="12869" y="1217039"/>
                    <a:pt x="15389" y="1227118"/>
                    <a:pt x="21688" y="1237197"/>
                  </a:cubicBezTo>
                  <a:cubicBezTo>
                    <a:pt x="45624" y="1274991"/>
                    <a:pt x="97277" y="1283810"/>
                    <a:pt x="140111" y="1266173"/>
                  </a:cubicBezTo>
                  <a:cubicBezTo>
                    <a:pt x="308928" y="1193103"/>
                    <a:pt x="507980" y="1181764"/>
                    <a:pt x="683095" y="1240976"/>
                  </a:cubicBezTo>
                  <a:cubicBezTo>
                    <a:pt x="953957" y="1331683"/>
                    <a:pt x="1091278" y="1554672"/>
                    <a:pt x="1127813" y="1572310"/>
                  </a:cubicBezTo>
                  <a:lnTo>
                    <a:pt x="1115215" y="294849"/>
                  </a:lnTo>
                  <a:close/>
                </a:path>
              </a:pathLst>
            </a:custGeom>
            <a:solidFill>
              <a:srgbClr val="FFFFFF"/>
            </a:solidFill>
            <a:ln w="12584" cap="flat">
              <a:noFill/>
              <a:prstDash val="solid"/>
              <a:miter/>
            </a:ln>
          </p:spPr>
          <p:txBody>
            <a:bodyPr rtlCol="0" anchor="ctr"/>
            <a:lstStyle/>
            <a:p>
              <a:endParaRPr lang="zh-CN" altLang="en-US"/>
            </a:p>
          </p:txBody>
        </p:sp>
        <p:sp>
          <p:nvSpPr>
            <p:cNvPr id="178" name="任意多边形: 形状 177"/>
            <p:cNvSpPr/>
            <p:nvPr/>
          </p:nvSpPr>
          <p:spPr>
            <a:xfrm>
              <a:off x="9088544" y="2333110"/>
              <a:ext cx="652107" cy="188768"/>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3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79" y="-56541"/>
                    <a:pt x="255391" y="21568"/>
                    <a:pt x="2167" y="267233"/>
                  </a:cubicBezTo>
                  <a:cubicBezTo>
                    <a:pt x="-4132" y="273532"/>
                    <a:pt x="4687" y="282351"/>
                    <a:pt x="10986" y="277312"/>
                  </a:cubicBezTo>
                  <a:cubicBezTo>
                    <a:pt x="261691" y="34166"/>
                    <a:pt x="627039" y="-42683"/>
                    <a:pt x="954593"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79" name="任意多边形: 形状 178"/>
            <p:cNvSpPr/>
            <p:nvPr/>
          </p:nvSpPr>
          <p:spPr>
            <a:xfrm>
              <a:off x="9089403" y="2414623"/>
              <a:ext cx="652107" cy="188768"/>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80" name="任意多边形: 形状 179"/>
            <p:cNvSpPr/>
            <p:nvPr/>
          </p:nvSpPr>
          <p:spPr>
            <a:xfrm>
              <a:off x="9090261" y="2496136"/>
              <a:ext cx="652107" cy="188768"/>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81" name="任意多边形: 形状 180"/>
            <p:cNvSpPr/>
            <p:nvPr/>
          </p:nvSpPr>
          <p:spPr>
            <a:xfrm>
              <a:off x="9091119" y="2577649"/>
              <a:ext cx="652107" cy="188768"/>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1"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82" name="任意多边形: 形状 181"/>
            <p:cNvSpPr/>
            <p:nvPr/>
          </p:nvSpPr>
          <p:spPr>
            <a:xfrm>
              <a:off x="9091976" y="2660020"/>
              <a:ext cx="652107" cy="188768"/>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3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3" y="53063"/>
                  </a:cubicBezTo>
                  <a:cubicBezTo>
                    <a:pt x="963412" y="55583"/>
                    <a:pt x="967192" y="4172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83" name="任意多边形: 形状 182"/>
            <p:cNvSpPr/>
            <p:nvPr/>
          </p:nvSpPr>
          <p:spPr>
            <a:xfrm>
              <a:off x="9093693" y="2741290"/>
              <a:ext cx="652107" cy="188768"/>
            </a:xfrm>
            <a:custGeom>
              <a:avLst/>
              <a:gdLst>
                <a:gd name="connsiteX0" fmla="*/ 411610 w 957465"/>
                <a:gd name="connsiteY0" fmla="*/ 35784 h 277161"/>
                <a:gd name="connsiteX1" fmla="*/ 2167 w 957465"/>
                <a:gd name="connsiteY1" fmla="*/ 268851 h 277161"/>
                <a:gd name="connsiteX2" fmla="*/ 10986 w 957465"/>
                <a:gd name="connsiteY2" fmla="*/ 278930 h 277161"/>
                <a:gd name="connsiteX3" fmla="*/ 954594 w 957465"/>
                <a:gd name="connsiteY3" fmla="*/ 53421 h 277161"/>
                <a:gd name="connsiteX4" fmla="*/ 958373 w 957465"/>
                <a:gd name="connsiteY4" fmla="*/ 40823 h 277161"/>
                <a:gd name="connsiteX5" fmla="*/ 411610 w 957465"/>
                <a:gd name="connsiteY5" fmla="*/ 35784 h 27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7465" h="277161">
                  <a:moveTo>
                    <a:pt x="411610" y="35784"/>
                  </a:moveTo>
                  <a:cubicBezTo>
                    <a:pt x="260431" y="77358"/>
                    <a:pt x="118071" y="155467"/>
                    <a:pt x="2167" y="268851"/>
                  </a:cubicBezTo>
                  <a:cubicBezTo>
                    <a:pt x="-4132" y="275150"/>
                    <a:pt x="4687" y="283969"/>
                    <a:pt x="10986" y="278930"/>
                  </a:cubicBezTo>
                  <a:cubicBezTo>
                    <a:pt x="260431" y="34524"/>
                    <a:pt x="627039" y="-42325"/>
                    <a:pt x="954594" y="53421"/>
                  </a:cubicBezTo>
                  <a:cubicBezTo>
                    <a:pt x="962153" y="55941"/>
                    <a:pt x="965932" y="43343"/>
                    <a:pt x="958373" y="40823"/>
                  </a:cubicBezTo>
                  <a:cubicBezTo>
                    <a:pt x="778218" y="-12089"/>
                    <a:pt x="587985" y="-13349"/>
                    <a:pt x="411610" y="35784"/>
                  </a:cubicBezTo>
                </a:path>
              </a:pathLst>
            </a:custGeom>
            <a:solidFill>
              <a:srgbClr val="DAE8F3"/>
            </a:solidFill>
            <a:ln w="12584" cap="flat">
              <a:noFill/>
              <a:prstDash val="solid"/>
              <a:miter/>
            </a:ln>
          </p:spPr>
          <p:txBody>
            <a:bodyPr rtlCol="0" anchor="ctr"/>
            <a:lstStyle/>
            <a:p>
              <a:endParaRPr lang="zh-CN" altLang="en-US"/>
            </a:p>
          </p:txBody>
        </p:sp>
        <p:sp>
          <p:nvSpPr>
            <p:cNvPr id="184" name="任意多边形: 形状 183"/>
            <p:cNvSpPr/>
            <p:nvPr/>
          </p:nvSpPr>
          <p:spPr>
            <a:xfrm>
              <a:off x="9093693" y="2823047"/>
              <a:ext cx="652107" cy="188768"/>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85" name="任意多边形: 形状 184"/>
            <p:cNvSpPr/>
            <p:nvPr/>
          </p:nvSpPr>
          <p:spPr>
            <a:xfrm>
              <a:off x="9094551" y="2904561"/>
              <a:ext cx="652107" cy="188768"/>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86" name="任意多边形: 形状 185"/>
            <p:cNvSpPr/>
            <p:nvPr/>
          </p:nvSpPr>
          <p:spPr>
            <a:xfrm>
              <a:off x="8328711" y="2342139"/>
              <a:ext cx="652107" cy="180187"/>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2"/>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87" name="任意多边形: 形状 186"/>
            <p:cNvSpPr/>
            <p:nvPr/>
          </p:nvSpPr>
          <p:spPr>
            <a:xfrm>
              <a:off x="8329569" y="2423652"/>
              <a:ext cx="652107" cy="180187"/>
            </a:xfrm>
            <a:custGeom>
              <a:avLst/>
              <a:gdLst>
                <a:gd name="connsiteX0" fmla="*/ 4120 w 957465"/>
                <a:gd name="connsiteY0" fmla="*/ 46105 h 264562"/>
                <a:gd name="connsiteX1" fmla="*/ 965366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6" y="255235"/>
                  </a:cubicBezTo>
                  <a:cubicBezTo>
                    <a:pt x="971665" y="261534"/>
                    <a:pt x="962846" y="270353"/>
                    <a:pt x="956547" y="265314"/>
                  </a:cubicBezTo>
                  <a:cubicBezTo>
                    <a:pt x="700803" y="27207"/>
                    <a:pt x="332934" y="-43343"/>
                    <a:pt x="7900" y="58703"/>
                  </a:cubicBezTo>
                  <a:cubicBezTo>
                    <a:pt x="341" y="61222"/>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88" name="任意多边形: 形状 187"/>
            <p:cNvSpPr/>
            <p:nvPr/>
          </p:nvSpPr>
          <p:spPr>
            <a:xfrm>
              <a:off x="8330428" y="2506024"/>
              <a:ext cx="652107" cy="180187"/>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89" name="任意多边形: 形状 188"/>
            <p:cNvSpPr/>
            <p:nvPr/>
          </p:nvSpPr>
          <p:spPr>
            <a:xfrm>
              <a:off x="8331286" y="2587537"/>
              <a:ext cx="652107" cy="180187"/>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5" y="261534"/>
                    <a:pt x="962846" y="270353"/>
                    <a:pt x="956547" y="265314"/>
                  </a:cubicBezTo>
                  <a:cubicBezTo>
                    <a:pt x="700803" y="25947"/>
                    <a:pt x="33419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90" name="任意多边形: 形状 189"/>
            <p:cNvSpPr/>
            <p:nvPr/>
          </p:nvSpPr>
          <p:spPr>
            <a:xfrm>
              <a:off x="8332143" y="2669050"/>
              <a:ext cx="652107" cy="180187"/>
            </a:xfrm>
            <a:custGeom>
              <a:avLst/>
              <a:gdLst>
                <a:gd name="connsiteX0" fmla="*/ 4120 w 957465"/>
                <a:gd name="connsiteY0" fmla="*/ 46105 h 264562"/>
                <a:gd name="connsiteX1" fmla="*/ 965366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6" y="255235"/>
                  </a:cubicBezTo>
                  <a:cubicBezTo>
                    <a:pt x="971665" y="261534"/>
                    <a:pt x="962846" y="270353"/>
                    <a:pt x="956547" y="265314"/>
                  </a:cubicBezTo>
                  <a:cubicBezTo>
                    <a:pt x="700803"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91" name="任意多边形: 形状 190"/>
            <p:cNvSpPr/>
            <p:nvPr/>
          </p:nvSpPr>
          <p:spPr>
            <a:xfrm>
              <a:off x="8333001" y="2750563"/>
              <a:ext cx="652107" cy="180187"/>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92" name="任意多边形: 形状 191"/>
            <p:cNvSpPr/>
            <p:nvPr/>
          </p:nvSpPr>
          <p:spPr>
            <a:xfrm>
              <a:off x="8333859" y="2832077"/>
              <a:ext cx="652107" cy="180187"/>
            </a:xfrm>
            <a:custGeom>
              <a:avLst/>
              <a:gdLst>
                <a:gd name="connsiteX0" fmla="*/ 4120 w 957465"/>
                <a:gd name="connsiteY0" fmla="*/ 46105 h 264562"/>
                <a:gd name="connsiteX1" fmla="*/ 965366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6" y="255235"/>
                  </a:cubicBezTo>
                  <a:cubicBezTo>
                    <a:pt x="971665" y="261534"/>
                    <a:pt x="962846" y="270353"/>
                    <a:pt x="956547" y="265314"/>
                  </a:cubicBezTo>
                  <a:cubicBezTo>
                    <a:pt x="700803"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93" name="任意多边形: 形状 192"/>
            <p:cNvSpPr/>
            <p:nvPr/>
          </p:nvSpPr>
          <p:spPr>
            <a:xfrm>
              <a:off x="8334718" y="2913590"/>
              <a:ext cx="652107" cy="180187"/>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201" name="任意多边形: 形状 200"/>
            <p:cNvSpPr/>
            <p:nvPr/>
          </p:nvSpPr>
          <p:spPr>
            <a:xfrm>
              <a:off x="9717244" y="3993509"/>
              <a:ext cx="248830" cy="892356"/>
            </a:xfrm>
            <a:custGeom>
              <a:avLst/>
              <a:gdLst>
                <a:gd name="connsiteX0" fmla="*/ 365349 w 365348"/>
                <a:gd name="connsiteY0" fmla="*/ 88188 h 1310216"/>
                <a:gd name="connsiteX1" fmla="*/ 365349 w 365348"/>
                <a:gd name="connsiteY1" fmla="*/ 0 h 1310216"/>
                <a:gd name="connsiteX2" fmla="*/ 357790 w 365348"/>
                <a:gd name="connsiteY2" fmla="*/ 7559 h 1310216"/>
                <a:gd name="connsiteX3" fmla="*/ 355270 w 365348"/>
                <a:gd name="connsiteY3" fmla="*/ 10079 h 1310216"/>
                <a:gd name="connsiteX4" fmla="*/ 352751 w 365348"/>
                <a:gd name="connsiteY4" fmla="*/ 12598 h 1310216"/>
                <a:gd name="connsiteX5" fmla="*/ 352751 w 365348"/>
                <a:gd name="connsiteY5" fmla="*/ 13858 h 1310216"/>
                <a:gd name="connsiteX6" fmla="*/ 352751 w 365348"/>
                <a:gd name="connsiteY6" fmla="*/ 12598 h 1310216"/>
                <a:gd name="connsiteX7" fmla="*/ 336373 w 365348"/>
                <a:gd name="connsiteY7" fmla="*/ 32755 h 1310216"/>
                <a:gd name="connsiteX8" fmla="*/ 325035 w 365348"/>
                <a:gd name="connsiteY8" fmla="*/ 47873 h 1310216"/>
                <a:gd name="connsiteX9" fmla="*/ 314956 w 365348"/>
                <a:gd name="connsiteY9" fmla="*/ 62991 h 1310216"/>
                <a:gd name="connsiteX10" fmla="*/ 307397 w 365348"/>
                <a:gd name="connsiteY10" fmla="*/ 76849 h 1310216"/>
                <a:gd name="connsiteX11" fmla="*/ 307397 w 365348"/>
                <a:gd name="connsiteY11" fmla="*/ 76849 h 1310216"/>
                <a:gd name="connsiteX12" fmla="*/ 302358 w 365348"/>
                <a:gd name="connsiteY12" fmla="*/ 85668 h 1310216"/>
                <a:gd name="connsiteX13" fmla="*/ 299838 w 365348"/>
                <a:gd name="connsiteY13" fmla="*/ 90707 h 1310216"/>
                <a:gd name="connsiteX14" fmla="*/ 299838 w 365348"/>
                <a:gd name="connsiteY14" fmla="*/ 90707 h 1310216"/>
                <a:gd name="connsiteX15" fmla="*/ 298578 w 365348"/>
                <a:gd name="connsiteY15" fmla="*/ 93227 h 1310216"/>
                <a:gd name="connsiteX16" fmla="*/ 292279 w 365348"/>
                <a:gd name="connsiteY16" fmla="*/ 107085 h 1310216"/>
                <a:gd name="connsiteX17" fmla="*/ 292279 w 365348"/>
                <a:gd name="connsiteY17" fmla="*/ 107085 h 1310216"/>
                <a:gd name="connsiteX18" fmla="*/ 292279 w 365348"/>
                <a:gd name="connsiteY18" fmla="*/ 108345 h 1310216"/>
                <a:gd name="connsiteX19" fmla="*/ 289759 w 365348"/>
                <a:gd name="connsiteY19" fmla="*/ 117164 h 1310216"/>
                <a:gd name="connsiteX20" fmla="*/ 289759 w 365348"/>
                <a:gd name="connsiteY20" fmla="*/ 118424 h 1310216"/>
                <a:gd name="connsiteX21" fmla="*/ 289759 w 365348"/>
                <a:gd name="connsiteY21" fmla="*/ 118424 h 1310216"/>
                <a:gd name="connsiteX22" fmla="*/ 287240 w 365348"/>
                <a:gd name="connsiteY22" fmla="*/ 125982 h 1310216"/>
                <a:gd name="connsiteX23" fmla="*/ 287240 w 365348"/>
                <a:gd name="connsiteY23" fmla="*/ 131022 h 1310216"/>
                <a:gd name="connsiteX24" fmla="*/ 287240 w 365348"/>
                <a:gd name="connsiteY24" fmla="*/ 133541 h 1310216"/>
                <a:gd name="connsiteX25" fmla="*/ 287240 w 365348"/>
                <a:gd name="connsiteY25" fmla="*/ 136061 h 1310216"/>
                <a:gd name="connsiteX26" fmla="*/ 287240 w 365348"/>
                <a:gd name="connsiteY26" fmla="*/ 141100 h 1310216"/>
                <a:gd name="connsiteX27" fmla="*/ 287240 w 365348"/>
                <a:gd name="connsiteY27" fmla="*/ 141100 h 1310216"/>
                <a:gd name="connsiteX28" fmla="*/ 287240 w 365348"/>
                <a:gd name="connsiteY28" fmla="*/ 141100 h 1310216"/>
                <a:gd name="connsiteX29" fmla="*/ 287240 w 365348"/>
                <a:gd name="connsiteY29" fmla="*/ 143620 h 1310216"/>
                <a:gd name="connsiteX30" fmla="*/ 287240 w 365348"/>
                <a:gd name="connsiteY30" fmla="*/ 149919 h 1310216"/>
                <a:gd name="connsiteX31" fmla="*/ 287240 w 365348"/>
                <a:gd name="connsiteY31" fmla="*/ 152439 h 1310216"/>
                <a:gd name="connsiteX32" fmla="*/ 287240 w 365348"/>
                <a:gd name="connsiteY32" fmla="*/ 159998 h 1310216"/>
                <a:gd name="connsiteX33" fmla="*/ 291019 w 365348"/>
                <a:gd name="connsiteY33" fmla="*/ 177635 h 1310216"/>
                <a:gd name="connsiteX34" fmla="*/ 291019 w 365348"/>
                <a:gd name="connsiteY34" fmla="*/ 178895 h 1310216"/>
                <a:gd name="connsiteX35" fmla="*/ 294799 w 365348"/>
                <a:gd name="connsiteY35" fmla="*/ 188974 h 1310216"/>
                <a:gd name="connsiteX36" fmla="*/ 298578 w 365348"/>
                <a:gd name="connsiteY36" fmla="*/ 197792 h 1310216"/>
                <a:gd name="connsiteX37" fmla="*/ 301098 w 365348"/>
                <a:gd name="connsiteY37" fmla="*/ 201572 h 1310216"/>
                <a:gd name="connsiteX38" fmla="*/ 302358 w 365348"/>
                <a:gd name="connsiteY38" fmla="*/ 204092 h 1310216"/>
                <a:gd name="connsiteX39" fmla="*/ 302358 w 365348"/>
                <a:gd name="connsiteY39" fmla="*/ 205351 h 1310216"/>
                <a:gd name="connsiteX40" fmla="*/ 308657 w 365348"/>
                <a:gd name="connsiteY40" fmla="*/ 212910 h 1310216"/>
                <a:gd name="connsiteX41" fmla="*/ 308657 w 365348"/>
                <a:gd name="connsiteY41" fmla="*/ 212910 h 1310216"/>
                <a:gd name="connsiteX42" fmla="*/ 311177 w 365348"/>
                <a:gd name="connsiteY42" fmla="*/ 215430 h 1310216"/>
                <a:gd name="connsiteX43" fmla="*/ 314956 w 365348"/>
                <a:gd name="connsiteY43" fmla="*/ 217949 h 1310216"/>
                <a:gd name="connsiteX44" fmla="*/ 316216 w 365348"/>
                <a:gd name="connsiteY44" fmla="*/ 217949 h 1310216"/>
                <a:gd name="connsiteX45" fmla="*/ 318736 w 365348"/>
                <a:gd name="connsiteY45" fmla="*/ 219209 h 1310216"/>
                <a:gd name="connsiteX46" fmla="*/ 326294 w 365348"/>
                <a:gd name="connsiteY46" fmla="*/ 222989 h 1310216"/>
                <a:gd name="connsiteX47" fmla="*/ 326294 w 365348"/>
                <a:gd name="connsiteY47" fmla="*/ 222989 h 1310216"/>
                <a:gd name="connsiteX48" fmla="*/ 335113 w 365348"/>
                <a:gd name="connsiteY48" fmla="*/ 225508 h 1310216"/>
                <a:gd name="connsiteX49" fmla="*/ 335113 w 365348"/>
                <a:gd name="connsiteY49" fmla="*/ 225508 h 1310216"/>
                <a:gd name="connsiteX50" fmla="*/ 335113 w 365348"/>
                <a:gd name="connsiteY50" fmla="*/ 225508 h 1310216"/>
                <a:gd name="connsiteX51" fmla="*/ 335113 w 365348"/>
                <a:gd name="connsiteY51" fmla="*/ 225508 h 1310216"/>
                <a:gd name="connsiteX52" fmla="*/ 335113 w 365348"/>
                <a:gd name="connsiteY52" fmla="*/ 225508 h 1310216"/>
                <a:gd name="connsiteX53" fmla="*/ 335113 w 365348"/>
                <a:gd name="connsiteY53" fmla="*/ 225508 h 1310216"/>
                <a:gd name="connsiteX54" fmla="*/ 335113 w 365348"/>
                <a:gd name="connsiteY54" fmla="*/ 225508 h 1310216"/>
                <a:gd name="connsiteX55" fmla="*/ 335113 w 365348"/>
                <a:gd name="connsiteY55" fmla="*/ 225508 h 1310216"/>
                <a:gd name="connsiteX56" fmla="*/ 335113 w 365348"/>
                <a:gd name="connsiteY56" fmla="*/ 225508 h 1310216"/>
                <a:gd name="connsiteX57" fmla="*/ 335113 w 365348"/>
                <a:gd name="connsiteY57" fmla="*/ 225508 h 1310216"/>
                <a:gd name="connsiteX58" fmla="*/ 333853 w 365348"/>
                <a:gd name="connsiteY58" fmla="*/ 225508 h 1310216"/>
                <a:gd name="connsiteX59" fmla="*/ 332593 w 365348"/>
                <a:gd name="connsiteY59" fmla="*/ 225508 h 1310216"/>
                <a:gd name="connsiteX60" fmla="*/ 328814 w 365348"/>
                <a:gd name="connsiteY60" fmla="*/ 225508 h 1310216"/>
                <a:gd name="connsiteX61" fmla="*/ 323775 w 365348"/>
                <a:gd name="connsiteY61" fmla="*/ 225508 h 1310216"/>
                <a:gd name="connsiteX62" fmla="*/ 303617 w 365348"/>
                <a:gd name="connsiteY62" fmla="*/ 226768 h 1310216"/>
                <a:gd name="connsiteX63" fmla="*/ 275901 w 365348"/>
                <a:gd name="connsiteY63" fmla="*/ 226768 h 1310216"/>
                <a:gd name="connsiteX64" fmla="*/ 268343 w 365348"/>
                <a:gd name="connsiteY64" fmla="*/ 226768 h 1310216"/>
                <a:gd name="connsiteX65" fmla="*/ 265823 w 365348"/>
                <a:gd name="connsiteY65" fmla="*/ 226768 h 1310216"/>
                <a:gd name="connsiteX66" fmla="*/ 265823 w 365348"/>
                <a:gd name="connsiteY66" fmla="*/ 226768 h 1310216"/>
                <a:gd name="connsiteX67" fmla="*/ 259524 w 365348"/>
                <a:gd name="connsiteY67" fmla="*/ 226768 h 1310216"/>
                <a:gd name="connsiteX68" fmla="*/ 250705 w 365348"/>
                <a:gd name="connsiteY68" fmla="*/ 226768 h 1310216"/>
                <a:gd name="connsiteX69" fmla="*/ 245666 w 365348"/>
                <a:gd name="connsiteY69" fmla="*/ 226768 h 1310216"/>
                <a:gd name="connsiteX70" fmla="*/ 245666 w 365348"/>
                <a:gd name="connsiteY70" fmla="*/ 226768 h 1310216"/>
                <a:gd name="connsiteX71" fmla="*/ 245666 w 365348"/>
                <a:gd name="connsiteY71" fmla="*/ 226768 h 1310216"/>
                <a:gd name="connsiteX72" fmla="*/ 233067 w 365348"/>
                <a:gd name="connsiteY72" fmla="*/ 226768 h 1310216"/>
                <a:gd name="connsiteX73" fmla="*/ 226768 w 365348"/>
                <a:gd name="connsiteY73" fmla="*/ 226768 h 1310216"/>
                <a:gd name="connsiteX74" fmla="*/ 225508 w 365348"/>
                <a:gd name="connsiteY74" fmla="*/ 226768 h 1310216"/>
                <a:gd name="connsiteX75" fmla="*/ 214170 w 365348"/>
                <a:gd name="connsiteY75" fmla="*/ 226768 h 1310216"/>
                <a:gd name="connsiteX76" fmla="*/ 209131 w 365348"/>
                <a:gd name="connsiteY76" fmla="*/ 226768 h 1310216"/>
                <a:gd name="connsiteX77" fmla="*/ 207871 w 365348"/>
                <a:gd name="connsiteY77" fmla="*/ 226768 h 1310216"/>
                <a:gd name="connsiteX78" fmla="*/ 207871 w 365348"/>
                <a:gd name="connsiteY78" fmla="*/ 226768 h 1310216"/>
                <a:gd name="connsiteX79" fmla="*/ 207871 w 365348"/>
                <a:gd name="connsiteY79" fmla="*/ 226768 h 1310216"/>
                <a:gd name="connsiteX80" fmla="*/ 196533 w 365348"/>
                <a:gd name="connsiteY80" fmla="*/ 226768 h 1310216"/>
                <a:gd name="connsiteX81" fmla="*/ 188973 w 365348"/>
                <a:gd name="connsiteY81" fmla="*/ 226768 h 1310216"/>
                <a:gd name="connsiteX82" fmla="*/ 178895 w 365348"/>
                <a:gd name="connsiteY82" fmla="*/ 226768 h 1310216"/>
                <a:gd name="connsiteX83" fmla="*/ 161258 w 365348"/>
                <a:gd name="connsiteY83" fmla="*/ 225508 h 1310216"/>
                <a:gd name="connsiteX84" fmla="*/ 159998 w 365348"/>
                <a:gd name="connsiteY84" fmla="*/ 225508 h 1310216"/>
                <a:gd name="connsiteX85" fmla="*/ 151179 w 365348"/>
                <a:gd name="connsiteY85" fmla="*/ 224249 h 1310216"/>
                <a:gd name="connsiteX86" fmla="*/ 149919 w 365348"/>
                <a:gd name="connsiteY86" fmla="*/ 224249 h 1310216"/>
                <a:gd name="connsiteX87" fmla="*/ 149919 w 365348"/>
                <a:gd name="connsiteY87" fmla="*/ 224249 h 1310216"/>
                <a:gd name="connsiteX88" fmla="*/ 143620 w 365348"/>
                <a:gd name="connsiteY88" fmla="*/ 222989 h 1310216"/>
                <a:gd name="connsiteX89" fmla="*/ 141100 w 365348"/>
                <a:gd name="connsiteY89" fmla="*/ 222989 h 1310216"/>
                <a:gd name="connsiteX90" fmla="*/ 133541 w 365348"/>
                <a:gd name="connsiteY90" fmla="*/ 222989 h 1310216"/>
                <a:gd name="connsiteX91" fmla="*/ 127242 w 365348"/>
                <a:gd name="connsiteY91" fmla="*/ 222989 h 1310216"/>
                <a:gd name="connsiteX92" fmla="*/ 125982 w 365348"/>
                <a:gd name="connsiteY92" fmla="*/ 222989 h 1310216"/>
                <a:gd name="connsiteX93" fmla="*/ 124722 w 365348"/>
                <a:gd name="connsiteY93" fmla="*/ 222989 h 1310216"/>
                <a:gd name="connsiteX94" fmla="*/ 120943 w 365348"/>
                <a:gd name="connsiteY94" fmla="*/ 222989 h 1310216"/>
                <a:gd name="connsiteX95" fmla="*/ 120943 w 365348"/>
                <a:gd name="connsiteY95" fmla="*/ 222989 h 1310216"/>
                <a:gd name="connsiteX96" fmla="*/ 115904 w 365348"/>
                <a:gd name="connsiteY96" fmla="*/ 222989 h 1310216"/>
                <a:gd name="connsiteX97" fmla="*/ 109605 w 365348"/>
                <a:gd name="connsiteY97" fmla="*/ 222989 h 1310216"/>
                <a:gd name="connsiteX98" fmla="*/ 107085 w 365348"/>
                <a:gd name="connsiteY98" fmla="*/ 222989 h 1310216"/>
                <a:gd name="connsiteX99" fmla="*/ 107085 w 365348"/>
                <a:gd name="connsiteY99" fmla="*/ 222989 h 1310216"/>
                <a:gd name="connsiteX100" fmla="*/ 105825 w 365348"/>
                <a:gd name="connsiteY100" fmla="*/ 222989 h 1310216"/>
                <a:gd name="connsiteX101" fmla="*/ 95747 w 365348"/>
                <a:gd name="connsiteY101" fmla="*/ 222989 h 1310216"/>
                <a:gd name="connsiteX102" fmla="*/ 86928 w 365348"/>
                <a:gd name="connsiteY102" fmla="*/ 222989 h 1310216"/>
                <a:gd name="connsiteX103" fmla="*/ 86928 w 365348"/>
                <a:gd name="connsiteY103" fmla="*/ 222989 h 1310216"/>
                <a:gd name="connsiteX104" fmla="*/ 85668 w 365348"/>
                <a:gd name="connsiteY104" fmla="*/ 222989 h 1310216"/>
                <a:gd name="connsiteX105" fmla="*/ 78109 w 365348"/>
                <a:gd name="connsiteY105" fmla="*/ 222989 h 1310216"/>
                <a:gd name="connsiteX106" fmla="*/ 78109 w 365348"/>
                <a:gd name="connsiteY106" fmla="*/ 222989 h 1310216"/>
                <a:gd name="connsiteX107" fmla="*/ 78109 w 365348"/>
                <a:gd name="connsiteY107" fmla="*/ 222989 h 1310216"/>
                <a:gd name="connsiteX108" fmla="*/ 49133 w 365348"/>
                <a:gd name="connsiteY108" fmla="*/ 224249 h 1310216"/>
                <a:gd name="connsiteX109" fmla="*/ 31496 w 365348"/>
                <a:gd name="connsiteY109" fmla="*/ 224249 h 1310216"/>
                <a:gd name="connsiteX110" fmla="*/ 30236 w 365348"/>
                <a:gd name="connsiteY110" fmla="*/ 224249 h 1310216"/>
                <a:gd name="connsiteX111" fmla="*/ 28976 w 365348"/>
                <a:gd name="connsiteY111" fmla="*/ 224249 h 1310216"/>
                <a:gd name="connsiteX112" fmla="*/ 28976 w 365348"/>
                <a:gd name="connsiteY112" fmla="*/ 224249 h 1310216"/>
                <a:gd name="connsiteX113" fmla="*/ 27716 w 365348"/>
                <a:gd name="connsiteY113" fmla="*/ 224249 h 1310216"/>
                <a:gd name="connsiteX114" fmla="*/ 22677 w 365348"/>
                <a:gd name="connsiteY114" fmla="*/ 224249 h 1310216"/>
                <a:gd name="connsiteX115" fmla="*/ 18897 w 365348"/>
                <a:gd name="connsiteY115" fmla="*/ 224249 h 1310216"/>
                <a:gd name="connsiteX116" fmla="*/ 15118 w 365348"/>
                <a:gd name="connsiteY116" fmla="*/ 224249 h 1310216"/>
                <a:gd name="connsiteX117" fmla="*/ 15118 w 365348"/>
                <a:gd name="connsiteY117" fmla="*/ 224249 h 1310216"/>
                <a:gd name="connsiteX118" fmla="*/ 12598 w 365348"/>
                <a:gd name="connsiteY118" fmla="*/ 222989 h 1310216"/>
                <a:gd name="connsiteX119" fmla="*/ 10079 w 365348"/>
                <a:gd name="connsiteY119" fmla="*/ 221729 h 1310216"/>
                <a:gd name="connsiteX120" fmla="*/ 7559 w 365348"/>
                <a:gd name="connsiteY120" fmla="*/ 219209 h 1310216"/>
                <a:gd name="connsiteX121" fmla="*/ 7559 w 365348"/>
                <a:gd name="connsiteY121" fmla="*/ 248185 h 1310216"/>
                <a:gd name="connsiteX122" fmla="*/ 7559 w 365348"/>
                <a:gd name="connsiteY122" fmla="*/ 275901 h 1310216"/>
                <a:gd name="connsiteX123" fmla="*/ 7559 w 365348"/>
                <a:gd name="connsiteY123" fmla="*/ 288500 h 1310216"/>
                <a:gd name="connsiteX124" fmla="*/ 7559 w 365348"/>
                <a:gd name="connsiteY124" fmla="*/ 328814 h 1310216"/>
                <a:gd name="connsiteX125" fmla="*/ 7559 w 365348"/>
                <a:gd name="connsiteY125" fmla="*/ 369128 h 1310216"/>
                <a:gd name="connsiteX126" fmla="*/ 7559 w 365348"/>
                <a:gd name="connsiteY126" fmla="*/ 385506 h 1310216"/>
                <a:gd name="connsiteX127" fmla="*/ 7559 w 365348"/>
                <a:gd name="connsiteY127" fmla="*/ 411962 h 1310216"/>
                <a:gd name="connsiteX128" fmla="*/ 7559 w 365348"/>
                <a:gd name="connsiteY128" fmla="*/ 414482 h 1310216"/>
                <a:gd name="connsiteX129" fmla="*/ 7559 w 365348"/>
                <a:gd name="connsiteY129" fmla="*/ 432119 h 1310216"/>
                <a:gd name="connsiteX130" fmla="*/ 6299 w 365348"/>
                <a:gd name="connsiteY130" fmla="*/ 454796 h 1310216"/>
                <a:gd name="connsiteX131" fmla="*/ 6299 w 365348"/>
                <a:gd name="connsiteY131" fmla="*/ 459836 h 1310216"/>
                <a:gd name="connsiteX132" fmla="*/ 6299 w 365348"/>
                <a:gd name="connsiteY132" fmla="*/ 473694 h 1310216"/>
                <a:gd name="connsiteX133" fmla="*/ 6299 w 365348"/>
                <a:gd name="connsiteY133" fmla="*/ 482512 h 1310216"/>
                <a:gd name="connsiteX134" fmla="*/ 6299 w 365348"/>
                <a:gd name="connsiteY134" fmla="*/ 495111 h 1310216"/>
                <a:gd name="connsiteX135" fmla="*/ 5039 w 365348"/>
                <a:gd name="connsiteY135" fmla="*/ 536685 h 1310216"/>
                <a:gd name="connsiteX136" fmla="*/ 3780 w 365348"/>
                <a:gd name="connsiteY136" fmla="*/ 569440 h 1310216"/>
                <a:gd name="connsiteX137" fmla="*/ 3780 w 365348"/>
                <a:gd name="connsiteY137" fmla="*/ 578259 h 1310216"/>
                <a:gd name="connsiteX138" fmla="*/ 2520 w 365348"/>
                <a:gd name="connsiteY138" fmla="*/ 599676 h 1310216"/>
                <a:gd name="connsiteX139" fmla="*/ 1260 w 365348"/>
                <a:gd name="connsiteY139" fmla="*/ 621093 h 1310216"/>
                <a:gd name="connsiteX140" fmla="*/ 1260 w 365348"/>
                <a:gd name="connsiteY140" fmla="*/ 637471 h 1310216"/>
                <a:gd name="connsiteX141" fmla="*/ 0 w 365348"/>
                <a:gd name="connsiteY141" fmla="*/ 660147 h 1310216"/>
                <a:gd name="connsiteX142" fmla="*/ 0 w 365348"/>
                <a:gd name="connsiteY142" fmla="*/ 702982 h 1310216"/>
                <a:gd name="connsiteX143" fmla="*/ 0 w 365348"/>
                <a:gd name="connsiteY143" fmla="*/ 735737 h 1310216"/>
                <a:gd name="connsiteX144" fmla="*/ 0 w 365348"/>
                <a:gd name="connsiteY144" fmla="*/ 745816 h 1310216"/>
                <a:gd name="connsiteX145" fmla="*/ 1260 w 365348"/>
                <a:gd name="connsiteY145" fmla="*/ 825184 h 1310216"/>
                <a:gd name="connsiteX146" fmla="*/ 1260 w 365348"/>
                <a:gd name="connsiteY146" fmla="*/ 832743 h 1310216"/>
                <a:gd name="connsiteX147" fmla="*/ 1260 w 365348"/>
                <a:gd name="connsiteY147" fmla="*/ 846601 h 1310216"/>
                <a:gd name="connsiteX148" fmla="*/ 1260 w 365348"/>
                <a:gd name="connsiteY148" fmla="*/ 850381 h 1310216"/>
                <a:gd name="connsiteX149" fmla="*/ 1260 w 365348"/>
                <a:gd name="connsiteY149" fmla="*/ 865499 h 1310216"/>
                <a:gd name="connsiteX150" fmla="*/ 1260 w 365348"/>
                <a:gd name="connsiteY150" fmla="*/ 870538 h 1310216"/>
                <a:gd name="connsiteX151" fmla="*/ 0 w 365348"/>
                <a:gd name="connsiteY151" fmla="*/ 908333 h 1310216"/>
                <a:gd name="connsiteX152" fmla="*/ 0 w 365348"/>
                <a:gd name="connsiteY152" fmla="*/ 942348 h 1310216"/>
                <a:gd name="connsiteX153" fmla="*/ 0 w 365348"/>
                <a:gd name="connsiteY153" fmla="*/ 947387 h 1310216"/>
                <a:gd name="connsiteX154" fmla="*/ 0 w 365348"/>
                <a:gd name="connsiteY154" fmla="*/ 987701 h 1310216"/>
                <a:gd name="connsiteX155" fmla="*/ 1260 w 365348"/>
                <a:gd name="connsiteY155" fmla="*/ 1021717 h 1310216"/>
                <a:gd name="connsiteX156" fmla="*/ 2520 w 365348"/>
                <a:gd name="connsiteY156" fmla="*/ 1068330 h 1310216"/>
                <a:gd name="connsiteX157" fmla="*/ 3780 w 365348"/>
                <a:gd name="connsiteY157" fmla="*/ 1159037 h 1310216"/>
                <a:gd name="connsiteX158" fmla="*/ 5039 w 365348"/>
                <a:gd name="connsiteY158" fmla="*/ 1227068 h 1310216"/>
                <a:gd name="connsiteX159" fmla="*/ 6299 w 365348"/>
                <a:gd name="connsiteY159" fmla="*/ 1245965 h 1310216"/>
                <a:gd name="connsiteX160" fmla="*/ 7559 w 365348"/>
                <a:gd name="connsiteY160" fmla="*/ 1256044 h 1310216"/>
                <a:gd name="connsiteX161" fmla="*/ 8819 w 365348"/>
                <a:gd name="connsiteY161" fmla="*/ 1264863 h 1310216"/>
                <a:gd name="connsiteX162" fmla="*/ 11338 w 365348"/>
                <a:gd name="connsiteY162" fmla="*/ 1283760 h 1310216"/>
                <a:gd name="connsiteX163" fmla="*/ 11338 w 365348"/>
                <a:gd name="connsiteY163" fmla="*/ 1283760 h 1310216"/>
                <a:gd name="connsiteX164" fmla="*/ 11338 w 365348"/>
                <a:gd name="connsiteY164" fmla="*/ 1287540 h 1310216"/>
                <a:gd name="connsiteX165" fmla="*/ 12598 w 365348"/>
                <a:gd name="connsiteY165" fmla="*/ 1291319 h 1310216"/>
                <a:gd name="connsiteX166" fmla="*/ 12598 w 365348"/>
                <a:gd name="connsiteY166" fmla="*/ 1292579 h 1310216"/>
                <a:gd name="connsiteX167" fmla="*/ 12598 w 365348"/>
                <a:gd name="connsiteY167" fmla="*/ 1293839 h 1310216"/>
                <a:gd name="connsiteX168" fmla="*/ 15118 w 365348"/>
                <a:gd name="connsiteY168" fmla="*/ 1297618 h 1310216"/>
                <a:gd name="connsiteX169" fmla="*/ 15118 w 365348"/>
                <a:gd name="connsiteY169" fmla="*/ 1298878 h 1310216"/>
                <a:gd name="connsiteX170" fmla="*/ 15118 w 365348"/>
                <a:gd name="connsiteY170" fmla="*/ 1300138 h 1310216"/>
                <a:gd name="connsiteX171" fmla="*/ 17637 w 365348"/>
                <a:gd name="connsiteY171" fmla="*/ 1302657 h 1310216"/>
                <a:gd name="connsiteX172" fmla="*/ 18897 w 365348"/>
                <a:gd name="connsiteY172" fmla="*/ 1303917 h 1310216"/>
                <a:gd name="connsiteX173" fmla="*/ 20157 w 365348"/>
                <a:gd name="connsiteY173" fmla="*/ 1303917 h 1310216"/>
                <a:gd name="connsiteX174" fmla="*/ 22677 w 365348"/>
                <a:gd name="connsiteY174" fmla="*/ 1305177 h 1310216"/>
                <a:gd name="connsiteX175" fmla="*/ 22677 w 365348"/>
                <a:gd name="connsiteY175" fmla="*/ 1305177 h 1310216"/>
                <a:gd name="connsiteX176" fmla="*/ 23937 w 365348"/>
                <a:gd name="connsiteY176" fmla="*/ 1305177 h 1310216"/>
                <a:gd name="connsiteX177" fmla="*/ 27716 w 365348"/>
                <a:gd name="connsiteY177" fmla="*/ 1306437 h 1310216"/>
                <a:gd name="connsiteX178" fmla="*/ 28976 w 365348"/>
                <a:gd name="connsiteY178" fmla="*/ 1306437 h 1310216"/>
                <a:gd name="connsiteX179" fmla="*/ 32755 w 365348"/>
                <a:gd name="connsiteY179" fmla="*/ 1306437 h 1310216"/>
                <a:gd name="connsiteX180" fmla="*/ 42834 w 365348"/>
                <a:gd name="connsiteY180" fmla="*/ 1307697 h 1310216"/>
                <a:gd name="connsiteX181" fmla="*/ 49133 w 365348"/>
                <a:gd name="connsiteY181" fmla="*/ 1307697 h 1310216"/>
                <a:gd name="connsiteX182" fmla="*/ 51653 w 365348"/>
                <a:gd name="connsiteY182" fmla="*/ 1307697 h 1310216"/>
                <a:gd name="connsiteX183" fmla="*/ 68030 w 365348"/>
                <a:gd name="connsiteY183" fmla="*/ 1307697 h 1310216"/>
                <a:gd name="connsiteX184" fmla="*/ 84408 w 365348"/>
                <a:gd name="connsiteY184" fmla="*/ 1306437 h 1310216"/>
                <a:gd name="connsiteX185" fmla="*/ 86928 w 365348"/>
                <a:gd name="connsiteY185" fmla="*/ 1306437 h 1310216"/>
                <a:gd name="connsiteX186" fmla="*/ 86928 w 365348"/>
                <a:gd name="connsiteY186" fmla="*/ 1306437 h 1310216"/>
                <a:gd name="connsiteX187" fmla="*/ 90707 w 365348"/>
                <a:gd name="connsiteY187" fmla="*/ 1305177 h 1310216"/>
                <a:gd name="connsiteX188" fmla="*/ 93227 w 365348"/>
                <a:gd name="connsiteY188" fmla="*/ 1303917 h 1310216"/>
                <a:gd name="connsiteX189" fmla="*/ 94487 w 365348"/>
                <a:gd name="connsiteY189" fmla="*/ 1302657 h 1310216"/>
                <a:gd name="connsiteX190" fmla="*/ 98266 w 365348"/>
                <a:gd name="connsiteY190" fmla="*/ 1298878 h 1310216"/>
                <a:gd name="connsiteX191" fmla="*/ 100786 w 365348"/>
                <a:gd name="connsiteY191" fmla="*/ 1295099 h 1310216"/>
                <a:gd name="connsiteX192" fmla="*/ 102046 w 365348"/>
                <a:gd name="connsiteY192" fmla="*/ 1290059 h 1310216"/>
                <a:gd name="connsiteX193" fmla="*/ 102046 w 365348"/>
                <a:gd name="connsiteY193" fmla="*/ 1288800 h 1310216"/>
                <a:gd name="connsiteX194" fmla="*/ 103306 w 365348"/>
                <a:gd name="connsiteY194" fmla="*/ 1283760 h 1310216"/>
                <a:gd name="connsiteX195" fmla="*/ 104566 w 365348"/>
                <a:gd name="connsiteY195" fmla="*/ 1272422 h 1310216"/>
                <a:gd name="connsiteX196" fmla="*/ 104566 w 365348"/>
                <a:gd name="connsiteY196" fmla="*/ 1269902 h 1310216"/>
                <a:gd name="connsiteX197" fmla="*/ 105825 w 365348"/>
                <a:gd name="connsiteY197" fmla="*/ 1261083 h 1310216"/>
                <a:gd name="connsiteX198" fmla="*/ 108345 w 365348"/>
                <a:gd name="connsiteY198" fmla="*/ 1238407 h 1310216"/>
                <a:gd name="connsiteX199" fmla="*/ 108345 w 365348"/>
                <a:gd name="connsiteY199" fmla="*/ 1230848 h 1310216"/>
                <a:gd name="connsiteX200" fmla="*/ 109605 w 365348"/>
                <a:gd name="connsiteY200" fmla="*/ 1219509 h 1310216"/>
                <a:gd name="connsiteX201" fmla="*/ 109605 w 365348"/>
                <a:gd name="connsiteY201" fmla="*/ 1211950 h 1310216"/>
                <a:gd name="connsiteX202" fmla="*/ 110865 w 365348"/>
                <a:gd name="connsiteY202" fmla="*/ 1200612 h 1310216"/>
                <a:gd name="connsiteX203" fmla="*/ 110865 w 365348"/>
                <a:gd name="connsiteY203" fmla="*/ 1198092 h 1310216"/>
                <a:gd name="connsiteX204" fmla="*/ 112124 w 365348"/>
                <a:gd name="connsiteY204" fmla="*/ 1180455 h 1310216"/>
                <a:gd name="connsiteX205" fmla="*/ 113384 w 365348"/>
                <a:gd name="connsiteY205" fmla="*/ 1170376 h 1310216"/>
                <a:gd name="connsiteX206" fmla="*/ 114644 w 365348"/>
                <a:gd name="connsiteY206" fmla="*/ 1161557 h 1310216"/>
                <a:gd name="connsiteX207" fmla="*/ 115904 w 365348"/>
                <a:gd name="connsiteY207" fmla="*/ 1148959 h 1310216"/>
                <a:gd name="connsiteX208" fmla="*/ 118423 w 365348"/>
                <a:gd name="connsiteY208" fmla="*/ 1123763 h 1310216"/>
                <a:gd name="connsiteX209" fmla="*/ 120943 w 365348"/>
                <a:gd name="connsiteY209" fmla="*/ 1107385 h 1310216"/>
                <a:gd name="connsiteX210" fmla="*/ 122203 w 365348"/>
                <a:gd name="connsiteY210" fmla="*/ 1094786 h 1310216"/>
                <a:gd name="connsiteX211" fmla="*/ 122203 w 365348"/>
                <a:gd name="connsiteY211" fmla="*/ 1091007 h 1310216"/>
                <a:gd name="connsiteX212" fmla="*/ 123463 w 365348"/>
                <a:gd name="connsiteY212" fmla="*/ 1079669 h 1310216"/>
                <a:gd name="connsiteX213" fmla="*/ 124722 w 365348"/>
                <a:gd name="connsiteY213" fmla="*/ 1072110 h 1310216"/>
                <a:gd name="connsiteX214" fmla="*/ 125982 w 365348"/>
                <a:gd name="connsiteY214" fmla="*/ 1064551 h 1310216"/>
                <a:gd name="connsiteX215" fmla="*/ 128502 w 365348"/>
                <a:gd name="connsiteY215" fmla="*/ 1044393 h 1310216"/>
                <a:gd name="connsiteX216" fmla="*/ 129762 w 365348"/>
                <a:gd name="connsiteY216" fmla="*/ 1035575 h 1310216"/>
                <a:gd name="connsiteX217" fmla="*/ 129762 w 365348"/>
                <a:gd name="connsiteY217" fmla="*/ 1033055 h 1310216"/>
                <a:gd name="connsiteX218" fmla="*/ 132281 w 365348"/>
                <a:gd name="connsiteY218" fmla="*/ 1004079 h 1310216"/>
                <a:gd name="connsiteX219" fmla="*/ 133541 w 365348"/>
                <a:gd name="connsiteY219" fmla="*/ 992741 h 1310216"/>
                <a:gd name="connsiteX220" fmla="*/ 133541 w 365348"/>
                <a:gd name="connsiteY220" fmla="*/ 985182 h 1310216"/>
                <a:gd name="connsiteX221" fmla="*/ 134801 w 365348"/>
                <a:gd name="connsiteY221" fmla="*/ 973844 h 1310216"/>
                <a:gd name="connsiteX222" fmla="*/ 136061 w 365348"/>
                <a:gd name="connsiteY222" fmla="*/ 966285 h 1310216"/>
                <a:gd name="connsiteX223" fmla="*/ 137321 w 365348"/>
                <a:gd name="connsiteY223" fmla="*/ 957466 h 1310216"/>
                <a:gd name="connsiteX224" fmla="*/ 138581 w 365348"/>
                <a:gd name="connsiteY224" fmla="*/ 944868 h 1310216"/>
                <a:gd name="connsiteX225" fmla="*/ 138581 w 365348"/>
                <a:gd name="connsiteY225" fmla="*/ 938568 h 1310216"/>
                <a:gd name="connsiteX226" fmla="*/ 139840 w 365348"/>
                <a:gd name="connsiteY226" fmla="*/ 927230 h 1310216"/>
                <a:gd name="connsiteX227" fmla="*/ 141100 w 365348"/>
                <a:gd name="connsiteY227" fmla="*/ 914632 h 1310216"/>
                <a:gd name="connsiteX228" fmla="*/ 141100 w 365348"/>
                <a:gd name="connsiteY228" fmla="*/ 907073 h 1310216"/>
                <a:gd name="connsiteX229" fmla="*/ 142360 w 365348"/>
                <a:gd name="connsiteY229" fmla="*/ 888175 h 1310216"/>
                <a:gd name="connsiteX230" fmla="*/ 143620 w 365348"/>
                <a:gd name="connsiteY230" fmla="*/ 871798 h 1310216"/>
                <a:gd name="connsiteX231" fmla="*/ 146140 w 365348"/>
                <a:gd name="connsiteY231" fmla="*/ 849121 h 1310216"/>
                <a:gd name="connsiteX232" fmla="*/ 149919 w 365348"/>
                <a:gd name="connsiteY232" fmla="*/ 808807 h 1310216"/>
                <a:gd name="connsiteX233" fmla="*/ 151179 w 365348"/>
                <a:gd name="connsiteY233" fmla="*/ 796209 h 1310216"/>
                <a:gd name="connsiteX234" fmla="*/ 153699 w 365348"/>
                <a:gd name="connsiteY234" fmla="*/ 769752 h 1310216"/>
                <a:gd name="connsiteX235" fmla="*/ 153699 w 365348"/>
                <a:gd name="connsiteY235" fmla="*/ 760933 h 1310216"/>
                <a:gd name="connsiteX236" fmla="*/ 154958 w 365348"/>
                <a:gd name="connsiteY236" fmla="*/ 750855 h 1310216"/>
                <a:gd name="connsiteX237" fmla="*/ 156218 w 365348"/>
                <a:gd name="connsiteY237" fmla="*/ 730698 h 1310216"/>
                <a:gd name="connsiteX238" fmla="*/ 158738 w 365348"/>
                <a:gd name="connsiteY238" fmla="*/ 706761 h 1310216"/>
                <a:gd name="connsiteX239" fmla="*/ 159998 w 365348"/>
                <a:gd name="connsiteY239" fmla="*/ 690383 h 1310216"/>
                <a:gd name="connsiteX240" fmla="*/ 161258 w 365348"/>
                <a:gd name="connsiteY240" fmla="*/ 672746 h 1310216"/>
                <a:gd name="connsiteX241" fmla="*/ 162517 w 365348"/>
                <a:gd name="connsiteY241" fmla="*/ 652589 h 1310216"/>
                <a:gd name="connsiteX242" fmla="*/ 163777 w 365348"/>
                <a:gd name="connsiteY242" fmla="*/ 631172 h 1310216"/>
                <a:gd name="connsiteX243" fmla="*/ 165037 w 365348"/>
                <a:gd name="connsiteY243" fmla="*/ 613534 h 1310216"/>
                <a:gd name="connsiteX244" fmla="*/ 166297 w 365348"/>
                <a:gd name="connsiteY244" fmla="*/ 594637 h 1310216"/>
                <a:gd name="connsiteX245" fmla="*/ 167557 w 365348"/>
                <a:gd name="connsiteY245" fmla="*/ 573220 h 1310216"/>
                <a:gd name="connsiteX246" fmla="*/ 171336 w 365348"/>
                <a:gd name="connsiteY246" fmla="*/ 534165 h 1310216"/>
                <a:gd name="connsiteX247" fmla="*/ 172596 w 365348"/>
                <a:gd name="connsiteY247" fmla="*/ 517787 h 1310216"/>
                <a:gd name="connsiteX248" fmla="*/ 172596 w 365348"/>
                <a:gd name="connsiteY248" fmla="*/ 517787 h 1310216"/>
                <a:gd name="connsiteX249" fmla="*/ 176375 w 365348"/>
                <a:gd name="connsiteY249" fmla="*/ 479993 h 1310216"/>
                <a:gd name="connsiteX250" fmla="*/ 176375 w 365348"/>
                <a:gd name="connsiteY250" fmla="*/ 479993 h 1310216"/>
                <a:gd name="connsiteX251" fmla="*/ 176375 w 365348"/>
                <a:gd name="connsiteY251" fmla="*/ 477473 h 1310216"/>
                <a:gd name="connsiteX252" fmla="*/ 176375 w 365348"/>
                <a:gd name="connsiteY252" fmla="*/ 471174 h 1310216"/>
                <a:gd name="connsiteX253" fmla="*/ 176375 w 365348"/>
                <a:gd name="connsiteY253" fmla="*/ 467395 h 1310216"/>
                <a:gd name="connsiteX254" fmla="*/ 176375 w 365348"/>
                <a:gd name="connsiteY254" fmla="*/ 471174 h 1310216"/>
                <a:gd name="connsiteX255" fmla="*/ 177635 w 365348"/>
                <a:gd name="connsiteY255" fmla="*/ 481253 h 1310216"/>
                <a:gd name="connsiteX256" fmla="*/ 180155 w 365348"/>
                <a:gd name="connsiteY256" fmla="*/ 503929 h 1310216"/>
                <a:gd name="connsiteX257" fmla="*/ 181414 w 365348"/>
                <a:gd name="connsiteY257" fmla="*/ 522827 h 1310216"/>
                <a:gd name="connsiteX258" fmla="*/ 181414 w 365348"/>
                <a:gd name="connsiteY258" fmla="*/ 525346 h 1310216"/>
                <a:gd name="connsiteX259" fmla="*/ 181414 w 365348"/>
                <a:gd name="connsiteY259" fmla="*/ 529126 h 1310216"/>
                <a:gd name="connsiteX260" fmla="*/ 182674 w 365348"/>
                <a:gd name="connsiteY260" fmla="*/ 545504 h 1310216"/>
                <a:gd name="connsiteX261" fmla="*/ 183934 w 365348"/>
                <a:gd name="connsiteY261" fmla="*/ 568180 h 1310216"/>
                <a:gd name="connsiteX262" fmla="*/ 185194 w 365348"/>
                <a:gd name="connsiteY262" fmla="*/ 582039 h 1310216"/>
                <a:gd name="connsiteX263" fmla="*/ 185194 w 365348"/>
                <a:gd name="connsiteY263" fmla="*/ 588338 h 1310216"/>
                <a:gd name="connsiteX264" fmla="*/ 186454 w 365348"/>
                <a:gd name="connsiteY264" fmla="*/ 599676 h 1310216"/>
                <a:gd name="connsiteX265" fmla="*/ 186454 w 365348"/>
                <a:gd name="connsiteY265" fmla="*/ 608495 h 1310216"/>
                <a:gd name="connsiteX266" fmla="*/ 187714 w 365348"/>
                <a:gd name="connsiteY266" fmla="*/ 628652 h 1310216"/>
                <a:gd name="connsiteX267" fmla="*/ 187714 w 365348"/>
                <a:gd name="connsiteY267" fmla="*/ 629912 h 1310216"/>
                <a:gd name="connsiteX268" fmla="*/ 188973 w 365348"/>
                <a:gd name="connsiteY268" fmla="*/ 648809 h 1310216"/>
                <a:gd name="connsiteX269" fmla="*/ 188973 w 365348"/>
                <a:gd name="connsiteY269" fmla="*/ 653848 h 1310216"/>
                <a:gd name="connsiteX270" fmla="*/ 190233 w 365348"/>
                <a:gd name="connsiteY270" fmla="*/ 668966 h 1310216"/>
                <a:gd name="connsiteX271" fmla="*/ 192753 w 365348"/>
                <a:gd name="connsiteY271" fmla="*/ 696683 h 1310216"/>
                <a:gd name="connsiteX272" fmla="*/ 194013 w 365348"/>
                <a:gd name="connsiteY272" fmla="*/ 710540 h 1310216"/>
                <a:gd name="connsiteX273" fmla="*/ 195273 w 365348"/>
                <a:gd name="connsiteY273" fmla="*/ 720619 h 1310216"/>
                <a:gd name="connsiteX274" fmla="*/ 196533 w 365348"/>
                <a:gd name="connsiteY274" fmla="*/ 730698 h 1310216"/>
                <a:gd name="connsiteX275" fmla="*/ 196533 w 365348"/>
                <a:gd name="connsiteY275" fmla="*/ 731957 h 1310216"/>
                <a:gd name="connsiteX276" fmla="*/ 197792 w 365348"/>
                <a:gd name="connsiteY276" fmla="*/ 750855 h 1310216"/>
                <a:gd name="connsiteX277" fmla="*/ 199052 w 365348"/>
                <a:gd name="connsiteY277" fmla="*/ 759674 h 1310216"/>
                <a:gd name="connsiteX278" fmla="*/ 200312 w 365348"/>
                <a:gd name="connsiteY278" fmla="*/ 772272 h 1310216"/>
                <a:gd name="connsiteX279" fmla="*/ 201572 w 365348"/>
                <a:gd name="connsiteY279" fmla="*/ 783610 h 1310216"/>
                <a:gd name="connsiteX280" fmla="*/ 202832 w 365348"/>
                <a:gd name="connsiteY280" fmla="*/ 793689 h 1310216"/>
                <a:gd name="connsiteX281" fmla="*/ 204092 w 365348"/>
                <a:gd name="connsiteY281" fmla="*/ 805027 h 1310216"/>
                <a:gd name="connsiteX282" fmla="*/ 205351 w 365348"/>
                <a:gd name="connsiteY282" fmla="*/ 813846 h 1310216"/>
                <a:gd name="connsiteX283" fmla="*/ 207871 w 365348"/>
                <a:gd name="connsiteY283" fmla="*/ 834003 h 1310216"/>
                <a:gd name="connsiteX284" fmla="*/ 207871 w 365348"/>
                <a:gd name="connsiteY284" fmla="*/ 834003 h 1310216"/>
                <a:gd name="connsiteX285" fmla="*/ 209131 w 365348"/>
                <a:gd name="connsiteY285" fmla="*/ 844082 h 1310216"/>
                <a:gd name="connsiteX286" fmla="*/ 210391 w 365348"/>
                <a:gd name="connsiteY286" fmla="*/ 854160 h 1310216"/>
                <a:gd name="connsiteX287" fmla="*/ 210391 w 365348"/>
                <a:gd name="connsiteY287" fmla="*/ 854160 h 1310216"/>
                <a:gd name="connsiteX288" fmla="*/ 212910 w 365348"/>
                <a:gd name="connsiteY288" fmla="*/ 875577 h 1310216"/>
                <a:gd name="connsiteX289" fmla="*/ 215430 w 365348"/>
                <a:gd name="connsiteY289" fmla="*/ 898254 h 1310216"/>
                <a:gd name="connsiteX290" fmla="*/ 215430 w 365348"/>
                <a:gd name="connsiteY290" fmla="*/ 902034 h 1310216"/>
                <a:gd name="connsiteX291" fmla="*/ 215430 w 365348"/>
                <a:gd name="connsiteY291" fmla="*/ 907073 h 1310216"/>
                <a:gd name="connsiteX292" fmla="*/ 215430 w 365348"/>
                <a:gd name="connsiteY292" fmla="*/ 910853 h 1310216"/>
                <a:gd name="connsiteX293" fmla="*/ 216690 w 365348"/>
                <a:gd name="connsiteY293" fmla="*/ 918411 h 1310216"/>
                <a:gd name="connsiteX294" fmla="*/ 219209 w 365348"/>
                <a:gd name="connsiteY294" fmla="*/ 938568 h 1310216"/>
                <a:gd name="connsiteX295" fmla="*/ 220469 w 365348"/>
                <a:gd name="connsiteY295" fmla="*/ 947387 h 1310216"/>
                <a:gd name="connsiteX296" fmla="*/ 221729 w 365348"/>
                <a:gd name="connsiteY296" fmla="*/ 958726 h 1310216"/>
                <a:gd name="connsiteX297" fmla="*/ 222989 w 365348"/>
                <a:gd name="connsiteY297" fmla="*/ 970064 h 1310216"/>
                <a:gd name="connsiteX298" fmla="*/ 224249 w 365348"/>
                <a:gd name="connsiteY298" fmla="*/ 980143 h 1310216"/>
                <a:gd name="connsiteX299" fmla="*/ 225508 w 365348"/>
                <a:gd name="connsiteY299" fmla="*/ 990221 h 1310216"/>
                <a:gd name="connsiteX300" fmla="*/ 225508 w 365348"/>
                <a:gd name="connsiteY300" fmla="*/ 991481 h 1310216"/>
                <a:gd name="connsiteX301" fmla="*/ 225508 w 365348"/>
                <a:gd name="connsiteY301" fmla="*/ 996520 h 1310216"/>
                <a:gd name="connsiteX302" fmla="*/ 225508 w 365348"/>
                <a:gd name="connsiteY302" fmla="*/ 1000300 h 1310216"/>
                <a:gd name="connsiteX303" fmla="*/ 226768 w 365348"/>
                <a:gd name="connsiteY303" fmla="*/ 1009119 h 1310216"/>
                <a:gd name="connsiteX304" fmla="*/ 228028 w 365348"/>
                <a:gd name="connsiteY304" fmla="*/ 1020457 h 1310216"/>
                <a:gd name="connsiteX305" fmla="*/ 229288 w 365348"/>
                <a:gd name="connsiteY305" fmla="*/ 1033055 h 1310216"/>
                <a:gd name="connsiteX306" fmla="*/ 230548 w 365348"/>
                <a:gd name="connsiteY306" fmla="*/ 1040614 h 1310216"/>
                <a:gd name="connsiteX307" fmla="*/ 235587 w 365348"/>
                <a:gd name="connsiteY307" fmla="*/ 1082188 h 1310216"/>
                <a:gd name="connsiteX308" fmla="*/ 235587 w 365348"/>
                <a:gd name="connsiteY308" fmla="*/ 1087228 h 1310216"/>
                <a:gd name="connsiteX309" fmla="*/ 236847 w 365348"/>
                <a:gd name="connsiteY309" fmla="*/ 1099826 h 1310216"/>
                <a:gd name="connsiteX310" fmla="*/ 239366 w 365348"/>
                <a:gd name="connsiteY310" fmla="*/ 1117463 h 1310216"/>
                <a:gd name="connsiteX311" fmla="*/ 240626 w 365348"/>
                <a:gd name="connsiteY311" fmla="*/ 1125022 h 1310216"/>
                <a:gd name="connsiteX312" fmla="*/ 244406 w 365348"/>
                <a:gd name="connsiteY312" fmla="*/ 1152738 h 1310216"/>
                <a:gd name="connsiteX313" fmla="*/ 245666 w 365348"/>
                <a:gd name="connsiteY313" fmla="*/ 1159037 h 1310216"/>
                <a:gd name="connsiteX314" fmla="*/ 246925 w 365348"/>
                <a:gd name="connsiteY314" fmla="*/ 1170376 h 1310216"/>
                <a:gd name="connsiteX315" fmla="*/ 249445 w 365348"/>
                <a:gd name="connsiteY315" fmla="*/ 1188014 h 1310216"/>
                <a:gd name="connsiteX316" fmla="*/ 254484 w 365348"/>
                <a:gd name="connsiteY316" fmla="*/ 1220769 h 1310216"/>
                <a:gd name="connsiteX317" fmla="*/ 255744 w 365348"/>
                <a:gd name="connsiteY317" fmla="*/ 1233367 h 1310216"/>
                <a:gd name="connsiteX318" fmla="*/ 258264 w 365348"/>
                <a:gd name="connsiteY318" fmla="*/ 1247225 h 1310216"/>
                <a:gd name="connsiteX319" fmla="*/ 260784 w 365348"/>
                <a:gd name="connsiteY319" fmla="*/ 1258563 h 1310216"/>
                <a:gd name="connsiteX320" fmla="*/ 260784 w 365348"/>
                <a:gd name="connsiteY320" fmla="*/ 1261083 h 1310216"/>
                <a:gd name="connsiteX321" fmla="*/ 264563 w 365348"/>
                <a:gd name="connsiteY321" fmla="*/ 1285020 h 1310216"/>
                <a:gd name="connsiteX322" fmla="*/ 264563 w 365348"/>
                <a:gd name="connsiteY322" fmla="*/ 1290059 h 1310216"/>
                <a:gd name="connsiteX323" fmla="*/ 265823 w 365348"/>
                <a:gd name="connsiteY323" fmla="*/ 1298878 h 1310216"/>
                <a:gd name="connsiteX324" fmla="*/ 267083 w 365348"/>
                <a:gd name="connsiteY324" fmla="*/ 1305177 h 1310216"/>
                <a:gd name="connsiteX325" fmla="*/ 267083 w 365348"/>
                <a:gd name="connsiteY325" fmla="*/ 1305177 h 1310216"/>
                <a:gd name="connsiteX326" fmla="*/ 268343 w 365348"/>
                <a:gd name="connsiteY326" fmla="*/ 1312736 h 1310216"/>
                <a:gd name="connsiteX327" fmla="*/ 269602 w 365348"/>
                <a:gd name="connsiteY327" fmla="*/ 1315256 h 1310216"/>
                <a:gd name="connsiteX328" fmla="*/ 270862 w 365348"/>
                <a:gd name="connsiteY328" fmla="*/ 1317775 h 1310216"/>
                <a:gd name="connsiteX329" fmla="*/ 279681 w 365348"/>
                <a:gd name="connsiteY329" fmla="*/ 1320295 h 1310216"/>
                <a:gd name="connsiteX330" fmla="*/ 280941 w 365348"/>
                <a:gd name="connsiteY330" fmla="*/ 1320295 h 1310216"/>
                <a:gd name="connsiteX331" fmla="*/ 285980 w 365348"/>
                <a:gd name="connsiteY331" fmla="*/ 1320295 h 1310216"/>
                <a:gd name="connsiteX332" fmla="*/ 289759 w 365348"/>
                <a:gd name="connsiteY332" fmla="*/ 1320295 h 1310216"/>
                <a:gd name="connsiteX333" fmla="*/ 298578 w 365348"/>
                <a:gd name="connsiteY333" fmla="*/ 1320295 h 1310216"/>
                <a:gd name="connsiteX334" fmla="*/ 301098 w 365348"/>
                <a:gd name="connsiteY334" fmla="*/ 1320295 h 1310216"/>
                <a:gd name="connsiteX335" fmla="*/ 306137 w 365348"/>
                <a:gd name="connsiteY335" fmla="*/ 1320295 h 1310216"/>
                <a:gd name="connsiteX336" fmla="*/ 312436 w 365348"/>
                <a:gd name="connsiteY336" fmla="*/ 1320295 h 1310216"/>
                <a:gd name="connsiteX337" fmla="*/ 318736 w 365348"/>
                <a:gd name="connsiteY337" fmla="*/ 1320295 h 1310216"/>
                <a:gd name="connsiteX338" fmla="*/ 325035 w 365348"/>
                <a:gd name="connsiteY338" fmla="*/ 1320295 h 1310216"/>
                <a:gd name="connsiteX339" fmla="*/ 327554 w 365348"/>
                <a:gd name="connsiteY339" fmla="*/ 1320295 h 1310216"/>
                <a:gd name="connsiteX340" fmla="*/ 332593 w 365348"/>
                <a:gd name="connsiteY340" fmla="*/ 1320295 h 1310216"/>
                <a:gd name="connsiteX341" fmla="*/ 337633 w 365348"/>
                <a:gd name="connsiteY341" fmla="*/ 1320295 h 1310216"/>
                <a:gd name="connsiteX342" fmla="*/ 342672 w 365348"/>
                <a:gd name="connsiteY342" fmla="*/ 1320295 h 1310216"/>
                <a:gd name="connsiteX343" fmla="*/ 347711 w 365348"/>
                <a:gd name="connsiteY343" fmla="*/ 1320295 h 1310216"/>
                <a:gd name="connsiteX344" fmla="*/ 348971 w 365348"/>
                <a:gd name="connsiteY344" fmla="*/ 1320295 h 1310216"/>
                <a:gd name="connsiteX345" fmla="*/ 357790 w 365348"/>
                <a:gd name="connsiteY345" fmla="*/ 1320295 h 1310216"/>
                <a:gd name="connsiteX346" fmla="*/ 365349 w 365348"/>
                <a:gd name="connsiteY346" fmla="*/ 1319035 h 1310216"/>
                <a:gd name="connsiteX347" fmla="*/ 367869 w 365348"/>
                <a:gd name="connsiteY347" fmla="*/ 1317775 h 1310216"/>
                <a:gd name="connsiteX348" fmla="*/ 369128 w 365348"/>
                <a:gd name="connsiteY348" fmla="*/ 1316515 h 1310216"/>
                <a:gd name="connsiteX349" fmla="*/ 370388 w 365348"/>
                <a:gd name="connsiteY349" fmla="*/ 1315256 h 1310216"/>
                <a:gd name="connsiteX350" fmla="*/ 371648 w 365348"/>
                <a:gd name="connsiteY350" fmla="*/ 1311476 h 1310216"/>
                <a:gd name="connsiteX351" fmla="*/ 371648 w 365348"/>
                <a:gd name="connsiteY351" fmla="*/ 1307697 h 1310216"/>
                <a:gd name="connsiteX352" fmla="*/ 371648 w 365348"/>
                <a:gd name="connsiteY352" fmla="*/ 1307697 h 1310216"/>
                <a:gd name="connsiteX353" fmla="*/ 371648 w 365348"/>
                <a:gd name="connsiteY353" fmla="*/ 1302657 h 1310216"/>
                <a:gd name="connsiteX354" fmla="*/ 371648 w 365348"/>
                <a:gd name="connsiteY354" fmla="*/ 1287540 h 1310216"/>
                <a:gd name="connsiteX355" fmla="*/ 371648 w 365348"/>
                <a:gd name="connsiteY355" fmla="*/ 1283760 h 1310216"/>
                <a:gd name="connsiteX356" fmla="*/ 371648 w 365348"/>
                <a:gd name="connsiteY356" fmla="*/ 1263603 h 1310216"/>
                <a:gd name="connsiteX357" fmla="*/ 371648 w 365348"/>
                <a:gd name="connsiteY357" fmla="*/ 1258563 h 1310216"/>
                <a:gd name="connsiteX358" fmla="*/ 371648 w 365348"/>
                <a:gd name="connsiteY358" fmla="*/ 1244706 h 1310216"/>
                <a:gd name="connsiteX359" fmla="*/ 372908 w 365348"/>
                <a:gd name="connsiteY359" fmla="*/ 1224548 h 1310216"/>
                <a:gd name="connsiteX360" fmla="*/ 372908 w 365348"/>
                <a:gd name="connsiteY360" fmla="*/ 1219509 h 1310216"/>
                <a:gd name="connsiteX361" fmla="*/ 374168 w 365348"/>
                <a:gd name="connsiteY361" fmla="*/ 1203131 h 1310216"/>
                <a:gd name="connsiteX362" fmla="*/ 375428 w 365348"/>
                <a:gd name="connsiteY362" fmla="*/ 1182974 h 1310216"/>
                <a:gd name="connsiteX363" fmla="*/ 375428 w 365348"/>
                <a:gd name="connsiteY363" fmla="*/ 1167856 h 1310216"/>
                <a:gd name="connsiteX364" fmla="*/ 375428 w 365348"/>
                <a:gd name="connsiteY364" fmla="*/ 1162817 h 1310216"/>
                <a:gd name="connsiteX365" fmla="*/ 375428 w 365348"/>
                <a:gd name="connsiteY365" fmla="*/ 1159037 h 1310216"/>
                <a:gd name="connsiteX366" fmla="*/ 375428 w 365348"/>
                <a:gd name="connsiteY366" fmla="*/ 1142660 h 1310216"/>
                <a:gd name="connsiteX367" fmla="*/ 375428 w 365348"/>
                <a:gd name="connsiteY367" fmla="*/ 1123763 h 1310216"/>
                <a:gd name="connsiteX368" fmla="*/ 375428 w 365348"/>
                <a:gd name="connsiteY368" fmla="*/ 1098566 h 1310216"/>
                <a:gd name="connsiteX369" fmla="*/ 375428 w 365348"/>
                <a:gd name="connsiteY369" fmla="*/ 1084708 h 1310216"/>
                <a:gd name="connsiteX370" fmla="*/ 374168 w 365348"/>
                <a:gd name="connsiteY370" fmla="*/ 1016678 h 1310216"/>
                <a:gd name="connsiteX371" fmla="*/ 372908 w 365348"/>
                <a:gd name="connsiteY371" fmla="*/ 973844 h 1310216"/>
                <a:gd name="connsiteX372" fmla="*/ 371648 w 365348"/>
                <a:gd name="connsiteY372" fmla="*/ 933529 h 1310216"/>
                <a:gd name="connsiteX373" fmla="*/ 370388 w 365348"/>
                <a:gd name="connsiteY373" fmla="*/ 912112 h 1310216"/>
                <a:gd name="connsiteX374" fmla="*/ 369128 w 365348"/>
                <a:gd name="connsiteY374" fmla="*/ 890695 h 1310216"/>
                <a:gd name="connsiteX375" fmla="*/ 369128 w 365348"/>
                <a:gd name="connsiteY375" fmla="*/ 879357 h 1310216"/>
                <a:gd name="connsiteX376" fmla="*/ 367869 w 365348"/>
                <a:gd name="connsiteY376" fmla="*/ 849121 h 1310216"/>
                <a:gd name="connsiteX377" fmla="*/ 365349 w 365348"/>
                <a:gd name="connsiteY377" fmla="*/ 806287 h 1310216"/>
                <a:gd name="connsiteX378" fmla="*/ 364089 w 365348"/>
                <a:gd name="connsiteY378" fmla="*/ 769752 h 1310216"/>
                <a:gd name="connsiteX379" fmla="*/ 364089 w 365348"/>
                <a:gd name="connsiteY379" fmla="*/ 764713 h 1310216"/>
                <a:gd name="connsiteX380" fmla="*/ 364089 w 365348"/>
                <a:gd name="connsiteY380" fmla="*/ 744556 h 1310216"/>
                <a:gd name="connsiteX381" fmla="*/ 362829 w 365348"/>
                <a:gd name="connsiteY381" fmla="*/ 681565 h 1310216"/>
                <a:gd name="connsiteX382" fmla="*/ 362829 w 365348"/>
                <a:gd name="connsiteY382" fmla="*/ 639990 h 1310216"/>
                <a:gd name="connsiteX383" fmla="*/ 362829 w 365348"/>
                <a:gd name="connsiteY383" fmla="*/ 613534 h 1310216"/>
                <a:gd name="connsiteX384" fmla="*/ 362829 w 365348"/>
                <a:gd name="connsiteY384" fmla="*/ 599676 h 1310216"/>
                <a:gd name="connsiteX385" fmla="*/ 361569 w 365348"/>
                <a:gd name="connsiteY385" fmla="*/ 515268 h 1310216"/>
                <a:gd name="connsiteX386" fmla="*/ 361569 w 365348"/>
                <a:gd name="connsiteY386" fmla="*/ 482512 h 1310216"/>
                <a:gd name="connsiteX387" fmla="*/ 361569 w 365348"/>
                <a:gd name="connsiteY387" fmla="*/ 430860 h 1310216"/>
                <a:gd name="connsiteX388" fmla="*/ 361569 w 365348"/>
                <a:gd name="connsiteY388" fmla="*/ 420781 h 1310216"/>
                <a:gd name="connsiteX389" fmla="*/ 361569 w 365348"/>
                <a:gd name="connsiteY389" fmla="*/ 386766 h 1310216"/>
                <a:gd name="connsiteX390" fmla="*/ 361569 w 365348"/>
                <a:gd name="connsiteY390" fmla="*/ 384246 h 1310216"/>
                <a:gd name="connsiteX391" fmla="*/ 362829 w 365348"/>
                <a:gd name="connsiteY391" fmla="*/ 345192 h 1310216"/>
                <a:gd name="connsiteX392" fmla="*/ 362829 w 365348"/>
                <a:gd name="connsiteY392" fmla="*/ 335113 h 1310216"/>
                <a:gd name="connsiteX393" fmla="*/ 362829 w 365348"/>
                <a:gd name="connsiteY393" fmla="*/ 331334 h 1310216"/>
                <a:gd name="connsiteX394" fmla="*/ 362829 w 365348"/>
                <a:gd name="connsiteY394" fmla="*/ 323775 h 1310216"/>
                <a:gd name="connsiteX395" fmla="*/ 362829 w 365348"/>
                <a:gd name="connsiteY395" fmla="*/ 301098 h 1310216"/>
                <a:gd name="connsiteX396" fmla="*/ 362829 w 365348"/>
                <a:gd name="connsiteY396" fmla="*/ 262043 h 1310216"/>
                <a:gd name="connsiteX397" fmla="*/ 362829 w 365348"/>
                <a:gd name="connsiteY397" fmla="*/ 259524 h 1310216"/>
                <a:gd name="connsiteX398" fmla="*/ 362829 w 365348"/>
                <a:gd name="connsiteY398" fmla="*/ 240626 h 1310216"/>
                <a:gd name="connsiteX399" fmla="*/ 362829 w 365348"/>
                <a:gd name="connsiteY399" fmla="*/ 217949 h 1310216"/>
                <a:gd name="connsiteX400" fmla="*/ 362829 w 365348"/>
                <a:gd name="connsiteY400" fmla="*/ 212910 h 1310216"/>
                <a:gd name="connsiteX401" fmla="*/ 362829 w 365348"/>
                <a:gd name="connsiteY401" fmla="*/ 197792 h 1310216"/>
                <a:gd name="connsiteX402" fmla="*/ 362829 w 365348"/>
                <a:gd name="connsiteY402" fmla="*/ 192753 h 1310216"/>
                <a:gd name="connsiteX403" fmla="*/ 362829 w 365348"/>
                <a:gd name="connsiteY403" fmla="*/ 176375 h 1310216"/>
                <a:gd name="connsiteX404" fmla="*/ 362829 w 365348"/>
                <a:gd name="connsiteY404" fmla="*/ 132281 h 1310216"/>
                <a:gd name="connsiteX405" fmla="*/ 365349 w 365348"/>
                <a:gd name="connsiteY405" fmla="*/ 88188 h 1310216"/>
                <a:gd name="connsiteX406" fmla="*/ 88188 w 365348"/>
                <a:gd name="connsiteY406" fmla="*/ 1286280 h 1310216"/>
                <a:gd name="connsiteX407" fmla="*/ 88188 w 365348"/>
                <a:gd name="connsiteY407" fmla="*/ 1286280 h 1310216"/>
                <a:gd name="connsiteX408" fmla="*/ 88188 w 365348"/>
                <a:gd name="connsiteY408" fmla="*/ 1286280 h 131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Lst>
              <a:rect l="l" t="t" r="r" b="b"/>
              <a:pathLst>
                <a:path w="365348" h="1310216">
                  <a:moveTo>
                    <a:pt x="365349" y="88188"/>
                  </a:moveTo>
                  <a:cubicBezTo>
                    <a:pt x="365349" y="59212"/>
                    <a:pt x="365349" y="28976"/>
                    <a:pt x="365349" y="0"/>
                  </a:cubicBezTo>
                  <a:cubicBezTo>
                    <a:pt x="362829" y="2520"/>
                    <a:pt x="360310" y="5039"/>
                    <a:pt x="357790" y="7559"/>
                  </a:cubicBezTo>
                  <a:lnTo>
                    <a:pt x="355270" y="10079"/>
                  </a:lnTo>
                  <a:cubicBezTo>
                    <a:pt x="354010" y="11339"/>
                    <a:pt x="354010" y="12598"/>
                    <a:pt x="352751" y="12598"/>
                  </a:cubicBezTo>
                  <a:cubicBezTo>
                    <a:pt x="352751" y="12598"/>
                    <a:pt x="352751" y="13858"/>
                    <a:pt x="352751" y="13858"/>
                  </a:cubicBezTo>
                  <a:cubicBezTo>
                    <a:pt x="352751" y="13858"/>
                    <a:pt x="352751" y="13858"/>
                    <a:pt x="352751" y="12598"/>
                  </a:cubicBezTo>
                  <a:cubicBezTo>
                    <a:pt x="347711" y="18897"/>
                    <a:pt x="341412" y="25196"/>
                    <a:pt x="336373" y="32755"/>
                  </a:cubicBezTo>
                  <a:cubicBezTo>
                    <a:pt x="333853" y="36535"/>
                    <a:pt x="328814" y="42834"/>
                    <a:pt x="325035" y="47873"/>
                  </a:cubicBezTo>
                  <a:cubicBezTo>
                    <a:pt x="321255" y="52913"/>
                    <a:pt x="318736" y="59212"/>
                    <a:pt x="314956" y="62991"/>
                  </a:cubicBezTo>
                  <a:cubicBezTo>
                    <a:pt x="312436" y="68031"/>
                    <a:pt x="309917" y="71810"/>
                    <a:pt x="307397" y="76849"/>
                  </a:cubicBezTo>
                  <a:lnTo>
                    <a:pt x="307397" y="76849"/>
                  </a:lnTo>
                  <a:cubicBezTo>
                    <a:pt x="306137" y="79369"/>
                    <a:pt x="304877" y="81889"/>
                    <a:pt x="302358" y="85668"/>
                  </a:cubicBezTo>
                  <a:cubicBezTo>
                    <a:pt x="301098" y="86928"/>
                    <a:pt x="301098" y="89448"/>
                    <a:pt x="299838" y="90707"/>
                  </a:cubicBezTo>
                  <a:lnTo>
                    <a:pt x="299838" y="90707"/>
                  </a:lnTo>
                  <a:cubicBezTo>
                    <a:pt x="299838" y="91967"/>
                    <a:pt x="298578" y="91967"/>
                    <a:pt x="298578" y="93227"/>
                  </a:cubicBezTo>
                  <a:cubicBezTo>
                    <a:pt x="296058" y="98266"/>
                    <a:pt x="294799" y="103306"/>
                    <a:pt x="292279" y="107085"/>
                  </a:cubicBezTo>
                  <a:lnTo>
                    <a:pt x="292279" y="107085"/>
                  </a:lnTo>
                  <a:lnTo>
                    <a:pt x="292279" y="108345"/>
                  </a:lnTo>
                  <a:cubicBezTo>
                    <a:pt x="291019" y="110864"/>
                    <a:pt x="289759" y="114644"/>
                    <a:pt x="289759" y="117164"/>
                  </a:cubicBezTo>
                  <a:lnTo>
                    <a:pt x="289759" y="118424"/>
                  </a:lnTo>
                  <a:lnTo>
                    <a:pt x="289759" y="118424"/>
                  </a:lnTo>
                  <a:cubicBezTo>
                    <a:pt x="288499" y="120943"/>
                    <a:pt x="288499" y="123463"/>
                    <a:pt x="287240" y="125982"/>
                  </a:cubicBezTo>
                  <a:cubicBezTo>
                    <a:pt x="287240" y="127242"/>
                    <a:pt x="287240" y="128502"/>
                    <a:pt x="287240" y="131022"/>
                  </a:cubicBezTo>
                  <a:lnTo>
                    <a:pt x="287240" y="133541"/>
                  </a:lnTo>
                  <a:lnTo>
                    <a:pt x="287240" y="136061"/>
                  </a:lnTo>
                  <a:cubicBezTo>
                    <a:pt x="287240" y="137321"/>
                    <a:pt x="287240" y="139840"/>
                    <a:pt x="287240" y="141100"/>
                  </a:cubicBezTo>
                  <a:lnTo>
                    <a:pt x="287240" y="141100"/>
                  </a:lnTo>
                  <a:lnTo>
                    <a:pt x="287240" y="141100"/>
                  </a:lnTo>
                  <a:lnTo>
                    <a:pt x="287240" y="143620"/>
                  </a:lnTo>
                  <a:cubicBezTo>
                    <a:pt x="287240" y="146140"/>
                    <a:pt x="287240" y="147399"/>
                    <a:pt x="287240" y="149919"/>
                  </a:cubicBezTo>
                  <a:lnTo>
                    <a:pt x="287240" y="152439"/>
                  </a:lnTo>
                  <a:cubicBezTo>
                    <a:pt x="287240" y="154958"/>
                    <a:pt x="287240" y="157478"/>
                    <a:pt x="287240" y="159998"/>
                  </a:cubicBezTo>
                  <a:cubicBezTo>
                    <a:pt x="288499" y="167557"/>
                    <a:pt x="288499" y="172596"/>
                    <a:pt x="291019" y="177635"/>
                  </a:cubicBezTo>
                  <a:lnTo>
                    <a:pt x="291019" y="178895"/>
                  </a:lnTo>
                  <a:cubicBezTo>
                    <a:pt x="292279" y="182674"/>
                    <a:pt x="292279" y="185194"/>
                    <a:pt x="294799" y="188974"/>
                  </a:cubicBezTo>
                  <a:cubicBezTo>
                    <a:pt x="296058" y="191493"/>
                    <a:pt x="297318" y="195273"/>
                    <a:pt x="298578" y="197792"/>
                  </a:cubicBezTo>
                  <a:cubicBezTo>
                    <a:pt x="298578" y="199052"/>
                    <a:pt x="299838" y="200312"/>
                    <a:pt x="301098" y="201572"/>
                  </a:cubicBezTo>
                  <a:cubicBezTo>
                    <a:pt x="301098" y="202832"/>
                    <a:pt x="302358" y="202832"/>
                    <a:pt x="302358" y="204092"/>
                  </a:cubicBezTo>
                  <a:lnTo>
                    <a:pt x="302358" y="205351"/>
                  </a:lnTo>
                  <a:cubicBezTo>
                    <a:pt x="304877" y="207871"/>
                    <a:pt x="306137" y="210391"/>
                    <a:pt x="308657" y="212910"/>
                  </a:cubicBezTo>
                  <a:lnTo>
                    <a:pt x="308657" y="212910"/>
                  </a:lnTo>
                  <a:cubicBezTo>
                    <a:pt x="309917" y="214170"/>
                    <a:pt x="309917" y="214170"/>
                    <a:pt x="311177" y="215430"/>
                  </a:cubicBezTo>
                  <a:cubicBezTo>
                    <a:pt x="312436" y="216690"/>
                    <a:pt x="313696" y="217949"/>
                    <a:pt x="314956" y="217949"/>
                  </a:cubicBezTo>
                  <a:lnTo>
                    <a:pt x="316216" y="217949"/>
                  </a:lnTo>
                  <a:cubicBezTo>
                    <a:pt x="317476" y="217949"/>
                    <a:pt x="318736" y="219209"/>
                    <a:pt x="318736" y="219209"/>
                  </a:cubicBezTo>
                  <a:cubicBezTo>
                    <a:pt x="321255" y="220469"/>
                    <a:pt x="323775" y="221729"/>
                    <a:pt x="326294" y="222989"/>
                  </a:cubicBezTo>
                  <a:lnTo>
                    <a:pt x="326294" y="222989"/>
                  </a:lnTo>
                  <a:cubicBezTo>
                    <a:pt x="328814" y="224249"/>
                    <a:pt x="332593" y="225508"/>
                    <a:pt x="335113" y="225508"/>
                  </a:cubicBezTo>
                  <a:cubicBezTo>
                    <a:pt x="335113" y="225508"/>
                    <a:pt x="335113" y="225508"/>
                    <a:pt x="335113" y="225508"/>
                  </a:cubicBezTo>
                  <a:lnTo>
                    <a:pt x="335113" y="225508"/>
                  </a:lnTo>
                  <a:lnTo>
                    <a:pt x="335113" y="225508"/>
                  </a:lnTo>
                  <a:cubicBezTo>
                    <a:pt x="335113" y="225508"/>
                    <a:pt x="335113" y="225508"/>
                    <a:pt x="335113" y="225508"/>
                  </a:cubicBezTo>
                  <a:cubicBezTo>
                    <a:pt x="335113" y="225508"/>
                    <a:pt x="335113" y="225508"/>
                    <a:pt x="335113" y="225508"/>
                  </a:cubicBezTo>
                  <a:cubicBezTo>
                    <a:pt x="335113" y="225508"/>
                    <a:pt x="335113" y="225508"/>
                    <a:pt x="335113" y="225508"/>
                  </a:cubicBezTo>
                  <a:lnTo>
                    <a:pt x="335113" y="225508"/>
                  </a:lnTo>
                  <a:lnTo>
                    <a:pt x="335113" y="225508"/>
                  </a:lnTo>
                  <a:lnTo>
                    <a:pt x="335113" y="225508"/>
                  </a:lnTo>
                  <a:cubicBezTo>
                    <a:pt x="335113" y="225508"/>
                    <a:pt x="333853" y="225508"/>
                    <a:pt x="333853" y="225508"/>
                  </a:cubicBezTo>
                  <a:lnTo>
                    <a:pt x="332593" y="225508"/>
                  </a:lnTo>
                  <a:cubicBezTo>
                    <a:pt x="331334" y="225508"/>
                    <a:pt x="330074" y="225508"/>
                    <a:pt x="328814" y="225508"/>
                  </a:cubicBezTo>
                  <a:cubicBezTo>
                    <a:pt x="327554" y="225508"/>
                    <a:pt x="325035" y="225508"/>
                    <a:pt x="323775" y="225508"/>
                  </a:cubicBezTo>
                  <a:cubicBezTo>
                    <a:pt x="317476" y="225508"/>
                    <a:pt x="311177" y="226768"/>
                    <a:pt x="303617" y="226768"/>
                  </a:cubicBezTo>
                  <a:cubicBezTo>
                    <a:pt x="294799" y="226768"/>
                    <a:pt x="284720" y="226768"/>
                    <a:pt x="275901" y="226768"/>
                  </a:cubicBezTo>
                  <a:cubicBezTo>
                    <a:pt x="273382" y="226768"/>
                    <a:pt x="270862" y="226768"/>
                    <a:pt x="268343" y="226768"/>
                  </a:cubicBezTo>
                  <a:lnTo>
                    <a:pt x="265823" y="226768"/>
                  </a:lnTo>
                  <a:lnTo>
                    <a:pt x="265823" y="226768"/>
                  </a:lnTo>
                  <a:cubicBezTo>
                    <a:pt x="263303" y="226768"/>
                    <a:pt x="262043" y="226768"/>
                    <a:pt x="259524" y="226768"/>
                  </a:cubicBezTo>
                  <a:cubicBezTo>
                    <a:pt x="257004" y="226768"/>
                    <a:pt x="253225" y="226768"/>
                    <a:pt x="250705" y="226768"/>
                  </a:cubicBezTo>
                  <a:cubicBezTo>
                    <a:pt x="249445" y="226768"/>
                    <a:pt x="248185" y="226768"/>
                    <a:pt x="245666" y="226768"/>
                  </a:cubicBezTo>
                  <a:lnTo>
                    <a:pt x="245666" y="226768"/>
                  </a:lnTo>
                  <a:lnTo>
                    <a:pt x="245666" y="226768"/>
                  </a:lnTo>
                  <a:cubicBezTo>
                    <a:pt x="241886" y="226768"/>
                    <a:pt x="236847" y="226768"/>
                    <a:pt x="233067" y="226768"/>
                  </a:cubicBezTo>
                  <a:cubicBezTo>
                    <a:pt x="230548" y="226768"/>
                    <a:pt x="229288" y="226768"/>
                    <a:pt x="226768" y="226768"/>
                  </a:cubicBezTo>
                  <a:lnTo>
                    <a:pt x="225508" y="226768"/>
                  </a:lnTo>
                  <a:cubicBezTo>
                    <a:pt x="222989" y="226768"/>
                    <a:pt x="217950" y="226768"/>
                    <a:pt x="214170" y="226768"/>
                  </a:cubicBezTo>
                  <a:lnTo>
                    <a:pt x="209131" y="226768"/>
                  </a:lnTo>
                  <a:lnTo>
                    <a:pt x="207871" y="226768"/>
                  </a:lnTo>
                  <a:lnTo>
                    <a:pt x="207871" y="226768"/>
                  </a:lnTo>
                  <a:lnTo>
                    <a:pt x="207871" y="226768"/>
                  </a:lnTo>
                  <a:cubicBezTo>
                    <a:pt x="204092" y="226768"/>
                    <a:pt x="200312" y="226768"/>
                    <a:pt x="196533" y="226768"/>
                  </a:cubicBezTo>
                  <a:cubicBezTo>
                    <a:pt x="194013" y="226768"/>
                    <a:pt x="191493" y="226768"/>
                    <a:pt x="188973" y="226768"/>
                  </a:cubicBezTo>
                  <a:cubicBezTo>
                    <a:pt x="185194" y="226768"/>
                    <a:pt x="182674" y="226768"/>
                    <a:pt x="178895" y="226768"/>
                  </a:cubicBezTo>
                  <a:cubicBezTo>
                    <a:pt x="173856" y="226768"/>
                    <a:pt x="167557" y="226768"/>
                    <a:pt x="161258" y="225508"/>
                  </a:cubicBezTo>
                  <a:cubicBezTo>
                    <a:pt x="161258" y="225508"/>
                    <a:pt x="159998" y="225508"/>
                    <a:pt x="159998" y="225508"/>
                  </a:cubicBezTo>
                  <a:cubicBezTo>
                    <a:pt x="157478" y="225508"/>
                    <a:pt x="153699" y="225508"/>
                    <a:pt x="151179" y="224249"/>
                  </a:cubicBezTo>
                  <a:lnTo>
                    <a:pt x="149919" y="224249"/>
                  </a:lnTo>
                  <a:lnTo>
                    <a:pt x="149919" y="224249"/>
                  </a:lnTo>
                  <a:cubicBezTo>
                    <a:pt x="147399" y="224249"/>
                    <a:pt x="144880" y="224249"/>
                    <a:pt x="143620" y="222989"/>
                  </a:cubicBezTo>
                  <a:cubicBezTo>
                    <a:pt x="142360" y="222989"/>
                    <a:pt x="142360" y="222989"/>
                    <a:pt x="141100" y="222989"/>
                  </a:cubicBezTo>
                  <a:cubicBezTo>
                    <a:pt x="138581" y="222989"/>
                    <a:pt x="136061" y="222989"/>
                    <a:pt x="133541" y="222989"/>
                  </a:cubicBezTo>
                  <a:cubicBezTo>
                    <a:pt x="131022" y="222989"/>
                    <a:pt x="128502" y="222989"/>
                    <a:pt x="127242" y="222989"/>
                  </a:cubicBezTo>
                  <a:lnTo>
                    <a:pt x="125982" y="222989"/>
                  </a:lnTo>
                  <a:lnTo>
                    <a:pt x="124722" y="222989"/>
                  </a:lnTo>
                  <a:cubicBezTo>
                    <a:pt x="123463" y="222989"/>
                    <a:pt x="122203" y="222989"/>
                    <a:pt x="120943" y="222989"/>
                  </a:cubicBezTo>
                  <a:lnTo>
                    <a:pt x="120943" y="222989"/>
                  </a:lnTo>
                  <a:cubicBezTo>
                    <a:pt x="119683" y="222989"/>
                    <a:pt x="117164" y="222989"/>
                    <a:pt x="115904" y="222989"/>
                  </a:cubicBezTo>
                  <a:cubicBezTo>
                    <a:pt x="113384" y="222989"/>
                    <a:pt x="112124" y="222989"/>
                    <a:pt x="109605" y="222989"/>
                  </a:cubicBezTo>
                  <a:cubicBezTo>
                    <a:pt x="108345" y="222989"/>
                    <a:pt x="108345" y="222989"/>
                    <a:pt x="107085" y="222989"/>
                  </a:cubicBezTo>
                  <a:lnTo>
                    <a:pt x="107085" y="222989"/>
                  </a:lnTo>
                  <a:cubicBezTo>
                    <a:pt x="107085" y="222989"/>
                    <a:pt x="105825" y="222989"/>
                    <a:pt x="105825" y="222989"/>
                  </a:cubicBezTo>
                  <a:cubicBezTo>
                    <a:pt x="103306" y="222989"/>
                    <a:pt x="99526" y="222989"/>
                    <a:pt x="95747" y="222989"/>
                  </a:cubicBezTo>
                  <a:cubicBezTo>
                    <a:pt x="93227" y="222989"/>
                    <a:pt x="89448" y="222989"/>
                    <a:pt x="86928" y="222989"/>
                  </a:cubicBezTo>
                  <a:lnTo>
                    <a:pt x="86928" y="222989"/>
                  </a:lnTo>
                  <a:lnTo>
                    <a:pt x="85668" y="222989"/>
                  </a:lnTo>
                  <a:cubicBezTo>
                    <a:pt x="83148" y="222989"/>
                    <a:pt x="80629" y="222989"/>
                    <a:pt x="78109" y="222989"/>
                  </a:cubicBezTo>
                  <a:lnTo>
                    <a:pt x="78109" y="222989"/>
                  </a:lnTo>
                  <a:lnTo>
                    <a:pt x="78109" y="222989"/>
                  </a:lnTo>
                  <a:cubicBezTo>
                    <a:pt x="69290" y="224249"/>
                    <a:pt x="59212" y="224249"/>
                    <a:pt x="49133" y="224249"/>
                  </a:cubicBezTo>
                  <a:cubicBezTo>
                    <a:pt x="42834" y="224249"/>
                    <a:pt x="36535" y="224249"/>
                    <a:pt x="31496" y="224249"/>
                  </a:cubicBezTo>
                  <a:cubicBezTo>
                    <a:pt x="31496" y="224249"/>
                    <a:pt x="30236" y="224249"/>
                    <a:pt x="30236" y="224249"/>
                  </a:cubicBezTo>
                  <a:lnTo>
                    <a:pt x="28976" y="224249"/>
                  </a:lnTo>
                  <a:lnTo>
                    <a:pt x="28976" y="224249"/>
                  </a:lnTo>
                  <a:lnTo>
                    <a:pt x="27716" y="224249"/>
                  </a:lnTo>
                  <a:cubicBezTo>
                    <a:pt x="26456" y="224249"/>
                    <a:pt x="23937" y="224249"/>
                    <a:pt x="22677" y="224249"/>
                  </a:cubicBezTo>
                  <a:cubicBezTo>
                    <a:pt x="21417" y="224249"/>
                    <a:pt x="20157" y="224249"/>
                    <a:pt x="18897" y="224249"/>
                  </a:cubicBezTo>
                  <a:cubicBezTo>
                    <a:pt x="17637" y="224249"/>
                    <a:pt x="16378" y="224249"/>
                    <a:pt x="15118" y="224249"/>
                  </a:cubicBezTo>
                  <a:lnTo>
                    <a:pt x="15118" y="224249"/>
                  </a:lnTo>
                  <a:cubicBezTo>
                    <a:pt x="13858" y="224249"/>
                    <a:pt x="12598" y="224249"/>
                    <a:pt x="12598" y="222989"/>
                  </a:cubicBezTo>
                  <a:cubicBezTo>
                    <a:pt x="11338" y="222989"/>
                    <a:pt x="11338" y="221729"/>
                    <a:pt x="10079" y="221729"/>
                  </a:cubicBezTo>
                  <a:cubicBezTo>
                    <a:pt x="8819" y="221729"/>
                    <a:pt x="8819" y="220469"/>
                    <a:pt x="7559" y="219209"/>
                  </a:cubicBezTo>
                  <a:cubicBezTo>
                    <a:pt x="7559" y="229288"/>
                    <a:pt x="7559" y="238107"/>
                    <a:pt x="7559" y="248185"/>
                  </a:cubicBezTo>
                  <a:cubicBezTo>
                    <a:pt x="7559" y="257004"/>
                    <a:pt x="7559" y="267083"/>
                    <a:pt x="7559" y="275901"/>
                  </a:cubicBezTo>
                  <a:cubicBezTo>
                    <a:pt x="7559" y="279681"/>
                    <a:pt x="7559" y="284720"/>
                    <a:pt x="7559" y="288500"/>
                  </a:cubicBezTo>
                  <a:cubicBezTo>
                    <a:pt x="7559" y="299838"/>
                    <a:pt x="7559" y="313696"/>
                    <a:pt x="7559" y="328814"/>
                  </a:cubicBezTo>
                  <a:cubicBezTo>
                    <a:pt x="7559" y="341412"/>
                    <a:pt x="7559" y="355270"/>
                    <a:pt x="7559" y="369128"/>
                  </a:cubicBezTo>
                  <a:cubicBezTo>
                    <a:pt x="7559" y="374168"/>
                    <a:pt x="7559" y="379207"/>
                    <a:pt x="7559" y="385506"/>
                  </a:cubicBezTo>
                  <a:cubicBezTo>
                    <a:pt x="7559" y="394325"/>
                    <a:pt x="7559" y="403143"/>
                    <a:pt x="7559" y="411962"/>
                  </a:cubicBezTo>
                  <a:lnTo>
                    <a:pt x="7559" y="414482"/>
                  </a:lnTo>
                  <a:cubicBezTo>
                    <a:pt x="7559" y="420781"/>
                    <a:pt x="7559" y="427080"/>
                    <a:pt x="7559" y="432119"/>
                  </a:cubicBezTo>
                  <a:cubicBezTo>
                    <a:pt x="7559" y="439678"/>
                    <a:pt x="7559" y="447237"/>
                    <a:pt x="6299" y="454796"/>
                  </a:cubicBezTo>
                  <a:lnTo>
                    <a:pt x="6299" y="459836"/>
                  </a:lnTo>
                  <a:cubicBezTo>
                    <a:pt x="6299" y="464875"/>
                    <a:pt x="6299" y="468654"/>
                    <a:pt x="6299" y="473694"/>
                  </a:cubicBezTo>
                  <a:cubicBezTo>
                    <a:pt x="6299" y="476213"/>
                    <a:pt x="6299" y="478733"/>
                    <a:pt x="6299" y="482512"/>
                  </a:cubicBezTo>
                  <a:cubicBezTo>
                    <a:pt x="6299" y="486292"/>
                    <a:pt x="6299" y="490071"/>
                    <a:pt x="6299" y="495111"/>
                  </a:cubicBezTo>
                  <a:cubicBezTo>
                    <a:pt x="5039" y="511488"/>
                    <a:pt x="5039" y="524087"/>
                    <a:pt x="5039" y="536685"/>
                  </a:cubicBezTo>
                  <a:cubicBezTo>
                    <a:pt x="5039" y="548023"/>
                    <a:pt x="5039" y="558102"/>
                    <a:pt x="3780" y="569440"/>
                  </a:cubicBezTo>
                  <a:lnTo>
                    <a:pt x="3780" y="578259"/>
                  </a:lnTo>
                  <a:cubicBezTo>
                    <a:pt x="3780" y="585818"/>
                    <a:pt x="3780" y="593377"/>
                    <a:pt x="2520" y="599676"/>
                  </a:cubicBezTo>
                  <a:cubicBezTo>
                    <a:pt x="2520" y="605975"/>
                    <a:pt x="2520" y="613534"/>
                    <a:pt x="1260" y="621093"/>
                  </a:cubicBezTo>
                  <a:cubicBezTo>
                    <a:pt x="1260" y="626132"/>
                    <a:pt x="1260" y="632431"/>
                    <a:pt x="1260" y="637471"/>
                  </a:cubicBezTo>
                  <a:cubicBezTo>
                    <a:pt x="1260" y="645030"/>
                    <a:pt x="0" y="652589"/>
                    <a:pt x="0" y="660147"/>
                  </a:cubicBezTo>
                  <a:cubicBezTo>
                    <a:pt x="0" y="674005"/>
                    <a:pt x="0" y="687864"/>
                    <a:pt x="0" y="702982"/>
                  </a:cubicBezTo>
                  <a:cubicBezTo>
                    <a:pt x="0" y="714320"/>
                    <a:pt x="0" y="724398"/>
                    <a:pt x="0" y="735737"/>
                  </a:cubicBezTo>
                  <a:lnTo>
                    <a:pt x="0" y="745816"/>
                  </a:lnTo>
                  <a:cubicBezTo>
                    <a:pt x="0" y="768492"/>
                    <a:pt x="1260" y="793689"/>
                    <a:pt x="1260" y="825184"/>
                  </a:cubicBezTo>
                  <a:lnTo>
                    <a:pt x="1260" y="832743"/>
                  </a:lnTo>
                  <a:cubicBezTo>
                    <a:pt x="1260" y="837783"/>
                    <a:pt x="1260" y="841562"/>
                    <a:pt x="1260" y="846601"/>
                  </a:cubicBezTo>
                  <a:lnTo>
                    <a:pt x="1260" y="850381"/>
                  </a:lnTo>
                  <a:cubicBezTo>
                    <a:pt x="1260" y="855420"/>
                    <a:pt x="1260" y="860460"/>
                    <a:pt x="1260" y="865499"/>
                  </a:cubicBezTo>
                  <a:lnTo>
                    <a:pt x="1260" y="870538"/>
                  </a:lnTo>
                  <a:cubicBezTo>
                    <a:pt x="1260" y="883136"/>
                    <a:pt x="1260" y="895734"/>
                    <a:pt x="0" y="908333"/>
                  </a:cubicBezTo>
                  <a:cubicBezTo>
                    <a:pt x="0" y="919671"/>
                    <a:pt x="0" y="931009"/>
                    <a:pt x="0" y="942348"/>
                  </a:cubicBezTo>
                  <a:lnTo>
                    <a:pt x="0" y="947387"/>
                  </a:lnTo>
                  <a:cubicBezTo>
                    <a:pt x="0" y="959986"/>
                    <a:pt x="0" y="973844"/>
                    <a:pt x="0" y="987701"/>
                  </a:cubicBezTo>
                  <a:cubicBezTo>
                    <a:pt x="0" y="999040"/>
                    <a:pt x="0" y="1010378"/>
                    <a:pt x="1260" y="1021717"/>
                  </a:cubicBezTo>
                  <a:cubicBezTo>
                    <a:pt x="1260" y="1036835"/>
                    <a:pt x="1260" y="1053212"/>
                    <a:pt x="2520" y="1068330"/>
                  </a:cubicBezTo>
                  <a:cubicBezTo>
                    <a:pt x="2520" y="1098566"/>
                    <a:pt x="3780" y="1128802"/>
                    <a:pt x="3780" y="1159037"/>
                  </a:cubicBezTo>
                  <a:cubicBezTo>
                    <a:pt x="3780" y="1181715"/>
                    <a:pt x="3780" y="1204391"/>
                    <a:pt x="5039" y="1227068"/>
                  </a:cubicBezTo>
                  <a:cubicBezTo>
                    <a:pt x="5039" y="1233367"/>
                    <a:pt x="5039" y="1239666"/>
                    <a:pt x="6299" y="1245965"/>
                  </a:cubicBezTo>
                  <a:cubicBezTo>
                    <a:pt x="6299" y="1249745"/>
                    <a:pt x="7559" y="1253524"/>
                    <a:pt x="7559" y="1256044"/>
                  </a:cubicBezTo>
                  <a:cubicBezTo>
                    <a:pt x="7559" y="1258563"/>
                    <a:pt x="8819" y="1262343"/>
                    <a:pt x="8819" y="1264863"/>
                  </a:cubicBezTo>
                  <a:cubicBezTo>
                    <a:pt x="8819" y="1269902"/>
                    <a:pt x="10079" y="1276201"/>
                    <a:pt x="11338" y="1283760"/>
                  </a:cubicBezTo>
                  <a:lnTo>
                    <a:pt x="11338" y="1283760"/>
                  </a:lnTo>
                  <a:cubicBezTo>
                    <a:pt x="11338" y="1285020"/>
                    <a:pt x="11338" y="1286280"/>
                    <a:pt x="11338" y="1287540"/>
                  </a:cubicBezTo>
                  <a:cubicBezTo>
                    <a:pt x="11338" y="1288800"/>
                    <a:pt x="11338" y="1290059"/>
                    <a:pt x="12598" y="1291319"/>
                  </a:cubicBezTo>
                  <a:lnTo>
                    <a:pt x="12598" y="1292579"/>
                  </a:lnTo>
                  <a:lnTo>
                    <a:pt x="12598" y="1293839"/>
                  </a:lnTo>
                  <a:cubicBezTo>
                    <a:pt x="13858" y="1295099"/>
                    <a:pt x="13858" y="1296358"/>
                    <a:pt x="15118" y="1297618"/>
                  </a:cubicBezTo>
                  <a:lnTo>
                    <a:pt x="15118" y="1298878"/>
                  </a:lnTo>
                  <a:lnTo>
                    <a:pt x="15118" y="1300138"/>
                  </a:lnTo>
                  <a:cubicBezTo>
                    <a:pt x="16378" y="1301398"/>
                    <a:pt x="16378" y="1301398"/>
                    <a:pt x="17637" y="1302657"/>
                  </a:cubicBezTo>
                  <a:lnTo>
                    <a:pt x="18897" y="1303917"/>
                  </a:lnTo>
                  <a:lnTo>
                    <a:pt x="20157" y="1303917"/>
                  </a:lnTo>
                  <a:lnTo>
                    <a:pt x="22677" y="1305177"/>
                  </a:lnTo>
                  <a:lnTo>
                    <a:pt x="22677" y="1305177"/>
                  </a:lnTo>
                  <a:lnTo>
                    <a:pt x="23937" y="1305177"/>
                  </a:lnTo>
                  <a:cubicBezTo>
                    <a:pt x="25196" y="1305177"/>
                    <a:pt x="26456" y="1306437"/>
                    <a:pt x="27716" y="1306437"/>
                  </a:cubicBezTo>
                  <a:lnTo>
                    <a:pt x="28976" y="1306437"/>
                  </a:lnTo>
                  <a:cubicBezTo>
                    <a:pt x="30236" y="1306437"/>
                    <a:pt x="31496" y="1306437"/>
                    <a:pt x="32755" y="1306437"/>
                  </a:cubicBezTo>
                  <a:cubicBezTo>
                    <a:pt x="36535" y="1306437"/>
                    <a:pt x="39055" y="1307697"/>
                    <a:pt x="42834" y="1307697"/>
                  </a:cubicBezTo>
                  <a:cubicBezTo>
                    <a:pt x="45354" y="1307697"/>
                    <a:pt x="46614" y="1307697"/>
                    <a:pt x="49133" y="1307697"/>
                  </a:cubicBezTo>
                  <a:lnTo>
                    <a:pt x="51653" y="1307697"/>
                  </a:lnTo>
                  <a:cubicBezTo>
                    <a:pt x="57952" y="1307697"/>
                    <a:pt x="62991" y="1307697"/>
                    <a:pt x="68030" y="1307697"/>
                  </a:cubicBezTo>
                  <a:cubicBezTo>
                    <a:pt x="73070" y="1307697"/>
                    <a:pt x="78109" y="1307697"/>
                    <a:pt x="84408" y="1306437"/>
                  </a:cubicBezTo>
                  <a:cubicBezTo>
                    <a:pt x="85668" y="1306437"/>
                    <a:pt x="86928" y="1306437"/>
                    <a:pt x="86928" y="1306437"/>
                  </a:cubicBezTo>
                  <a:lnTo>
                    <a:pt x="86928" y="1306437"/>
                  </a:lnTo>
                  <a:cubicBezTo>
                    <a:pt x="88188" y="1306437"/>
                    <a:pt x="89448" y="1306437"/>
                    <a:pt x="90707" y="1305177"/>
                  </a:cubicBezTo>
                  <a:cubicBezTo>
                    <a:pt x="91967" y="1305177"/>
                    <a:pt x="93227" y="1305177"/>
                    <a:pt x="93227" y="1303917"/>
                  </a:cubicBezTo>
                  <a:lnTo>
                    <a:pt x="94487" y="1302657"/>
                  </a:lnTo>
                  <a:cubicBezTo>
                    <a:pt x="95747" y="1301398"/>
                    <a:pt x="97007" y="1300138"/>
                    <a:pt x="98266" y="1298878"/>
                  </a:cubicBezTo>
                  <a:cubicBezTo>
                    <a:pt x="99526" y="1297618"/>
                    <a:pt x="99526" y="1296358"/>
                    <a:pt x="100786" y="1295099"/>
                  </a:cubicBezTo>
                  <a:cubicBezTo>
                    <a:pt x="100786" y="1293839"/>
                    <a:pt x="102046" y="1291319"/>
                    <a:pt x="102046" y="1290059"/>
                  </a:cubicBezTo>
                  <a:cubicBezTo>
                    <a:pt x="102046" y="1290059"/>
                    <a:pt x="102046" y="1288800"/>
                    <a:pt x="102046" y="1288800"/>
                  </a:cubicBezTo>
                  <a:cubicBezTo>
                    <a:pt x="102046" y="1287540"/>
                    <a:pt x="103306" y="1286280"/>
                    <a:pt x="103306" y="1283760"/>
                  </a:cubicBezTo>
                  <a:cubicBezTo>
                    <a:pt x="104566" y="1279981"/>
                    <a:pt x="104566" y="1276201"/>
                    <a:pt x="104566" y="1272422"/>
                  </a:cubicBezTo>
                  <a:lnTo>
                    <a:pt x="104566" y="1269902"/>
                  </a:lnTo>
                  <a:cubicBezTo>
                    <a:pt x="104566" y="1267382"/>
                    <a:pt x="105825" y="1263603"/>
                    <a:pt x="105825" y="1261083"/>
                  </a:cubicBezTo>
                  <a:cubicBezTo>
                    <a:pt x="107085" y="1253524"/>
                    <a:pt x="107085" y="1244706"/>
                    <a:pt x="108345" y="1238407"/>
                  </a:cubicBezTo>
                  <a:cubicBezTo>
                    <a:pt x="108345" y="1235887"/>
                    <a:pt x="108345" y="1233367"/>
                    <a:pt x="108345" y="1230848"/>
                  </a:cubicBezTo>
                  <a:cubicBezTo>
                    <a:pt x="108345" y="1227068"/>
                    <a:pt x="109605" y="1223289"/>
                    <a:pt x="109605" y="1219509"/>
                  </a:cubicBezTo>
                  <a:cubicBezTo>
                    <a:pt x="109605" y="1216989"/>
                    <a:pt x="109605" y="1214470"/>
                    <a:pt x="109605" y="1211950"/>
                  </a:cubicBezTo>
                  <a:cubicBezTo>
                    <a:pt x="109605" y="1208171"/>
                    <a:pt x="109605" y="1204391"/>
                    <a:pt x="110865" y="1200612"/>
                  </a:cubicBezTo>
                  <a:lnTo>
                    <a:pt x="110865" y="1198092"/>
                  </a:lnTo>
                  <a:cubicBezTo>
                    <a:pt x="110865" y="1191793"/>
                    <a:pt x="112124" y="1186754"/>
                    <a:pt x="112124" y="1180455"/>
                  </a:cubicBezTo>
                  <a:cubicBezTo>
                    <a:pt x="112124" y="1176675"/>
                    <a:pt x="112124" y="1174156"/>
                    <a:pt x="113384" y="1170376"/>
                  </a:cubicBezTo>
                  <a:cubicBezTo>
                    <a:pt x="113384" y="1167856"/>
                    <a:pt x="113384" y="1164077"/>
                    <a:pt x="114644" y="1161557"/>
                  </a:cubicBezTo>
                  <a:cubicBezTo>
                    <a:pt x="114644" y="1157778"/>
                    <a:pt x="115904" y="1152738"/>
                    <a:pt x="115904" y="1148959"/>
                  </a:cubicBezTo>
                  <a:cubicBezTo>
                    <a:pt x="115904" y="1140140"/>
                    <a:pt x="117164" y="1131322"/>
                    <a:pt x="118423" y="1123763"/>
                  </a:cubicBezTo>
                  <a:cubicBezTo>
                    <a:pt x="119683" y="1117463"/>
                    <a:pt x="119683" y="1112424"/>
                    <a:pt x="120943" y="1107385"/>
                  </a:cubicBezTo>
                  <a:cubicBezTo>
                    <a:pt x="120943" y="1103605"/>
                    <a:pt x="122203" y="1098566"/>
                    <a:pt x="122203" y="1094786"/>
                  </a:cubicBezTo>
                  <a:lnTo>
                    <a:pt x="122203" y="1091007"/>
                  </a:lnTo>
                  <a:cubicBezTo>
                    <a:pt x="122203" y="1087228"/>
                    <a:pt x="123463" y="1083448"/>
                    <a:pt x="123463" y="1079669"/>
                  </a:cubicBezTo>
                  <a:cubicBezTo>
                    <a:pt x="123463" y="1077149"/>
                    <a:pt x="124722" y="1074630"/>
                    <a:pt x="124722" y="1072110"/>
                  </a:cubicBezTo>
                  <a:cubicBezTo>
                    <a:pt x="124722" y="1069590"/>
                    <a:pt x="124722" y="1067071"/>
                    <a:pt x="125982" y="1064551"/>
                  </a:cubicBezTo>
                  <a:cubicBezTo>
                    <a:pt x="127242" y="1058252"/>
                    <a:pt x="127242" y="1050693"/>
                    <a:pt x="128502" y="1044393"/>
                  </a:cubicBezTo>
                  <a:lnTo>
                    <a:pt x="129762" y="1035575"/>
                  </a:lnTo>
                  <a:lnTo>
                    <a:pt x="129762" y="1033055"/>
                  </a:lnTo>
                  <a:cubicBezTo>
                    <a:pt x="131022" y="1024237"/>
                    <a:pt x="132281" y="1014158"/>
                    <a:pt x="132281" y="1004079"/>
                  </a:cubicBezTo>
                  <a:cubicBezTo>
                    <a:pt x="132281" y="1000300"/>
                    <a:pt x="133541" y="996520"/>
                    <a:pt x="133541" y="992741"/>
                  </a:cubicBezTo>
                  <a:cubicBezTo>
                    <a:pt x="133541" y="990221"/>
                    <a:pt x="133541" y="987701"/>
                    <a:pt x="133541" y="985182"/>
                  </a:cubicBezTo>
                  <a:cubicBezTo>
                    <a:pt x="133541" y="981402"/>
                    <a:pt x="133541" y="977623"/>
                    <a:pt x="134801" y="973844"/>
                  </a:cubicBezTo>
                  <a:cubicBezTo>
                    <a:pt x="134801" y="971324"/>
                    <a:pt x="134801" y="968804"/>
                    <a:pt x="136061" y="966285"/>
                  </a:cubicBezTo>
                  <a:cubicBezTo>
                    <a:pt x="136061" y="963765"/>
                    <a:pt x="136061" y="959986"/>
                    <a:pt x="137321" y="957466"/>
                  </a:cubicBezTo>
                  <a:cubicBezTo>
                    <a:pt x="137321" y="953686"/>
                    <a:pt x="138581" y="949907"/>
                    <a:pt x="138581" y="944868"/>
                  </a:cubicBezTo>
                  <a:cubicBezTo>
                    <a:pt x="138581" y="942348"/>
                    <a:pt x="138581" y="939828"/>
                    <a:pt x="138581" y="938568"/>
                  </a:cubicBezTo>
                  <a:cubicBezTo>
                    <a:pt x="138581" y="934789"/>
                    <a:pt x="139840" y="931009"/>
                    <a:pt x="139840" y="927230"/>
                  </a:cubicBezTo>
                  <a:cubicBezTo>
                    <a:pt x="139840" y="923451"/>
                    <a:pt x="139840" y="918411"/>
                    <a:pt x="141100" y="914632"/>
                  </a:cubicBezTo>
                  <a:cubicBezTo>
                    <a:pt x="141100" y="912112"/>
                    <a:pt x="141100" y="909593"/>
                    <a:pt x="141100" y="907073"/>
                  </a:cubicBezTo>
                  <a:cubicBezTo>
                    <a:pt x="141100" y="900774"/>
                    <a:pt x="142360" y="894475"/>
                    <a:pt x="142360" y="888175"/>
                  </a:cubicBezTo>
                  <a:cubicBezTo>
                    <a:pt x="142360" y="883136"/>
                    <a:pt x="143620" y="876837"/>
                    <a:pt x="143620" y="871798"/>
                  </a:cubicBezTo>
                  <a:cubicBezTo>
                    <a:pt x="144880" y="864239"/>
                    <a:pt x="144880" y="856680"/>
                    <a:pt x="146140" y="849121"/>
                  </a:cubicBezTo>
                  <a:cubicBezTo>
                    <a:pt x="147399" y="835263"/>
                    <a:pt x="148659" y="821405"/>
                    <a:pt x="149919" y="808807"/>
                  </a:cubicBezTo>
                  <a:cubicBezTo>
                    <a:pt x="149919" y="805027"/>
                    <a:pt x="151179" y="799988"/>
                    <a:pt x="151179" y="796209"/>
                  </a:cubicBezTo>
                  <a:cubicBezTo>
                    <a:pt x="152439" y="787390"/>
                    <a:pt x="152439" y="778571"/>
                    <a:pt x="153699" y="769752"/>
                  </a:cubicBezTo>
                  <a:cubicBezTo>
                    <a:pt x="153699" y="767232"/>
                    <a:pt x="153699" y="763453"/>
                    <a:pt x="153699" y="760933"/>
                  </a:cubicBezTo>
                  <a:cubicBezTo>
                    <a:pt x="153699" y="757154"/>
                    <a:pt x="153699" y="754634"/>
                    <a:pt x="154958" y="750855"/>
                  </a:cubicBezTo>
                  <a:cubicBezTo>
                    <a:pt x="154958" y="744556"/>
                    <a:pt x="156218" y="738257"/>
                    <a:pt x="156218" y="730698"/>
                  </a:cubicBezTo>
                  <a:cubicBezTo>
                    <a:pt x="156218" y="723139"/>
                    <a:pt x="157478" y="714320"/>
                    <a:pt x="158738" y="706761"/>
                  </a:cubicBezTo>
                  <a:cubicBezTo>
                    <a:pt x="158738" y="701722"/>
                    <a:pt x="159998" y="695423"/>
                    <a:pt x="159998" y="690383"/>
                  </a:cubicBezTo>
                  <a:cubicBezTo>
                    <a:pt x="159998" y="684084"/>
                    <a:pt x="161258" y="677785"/>
                    <a:pt x="161258" y="672746"/>
                  </a:cubicBezTo>
                  <a:cubicBezTo>
                    <a:pt x="161258" y="666446"/>
                    <a:pt x="162517" y="658888"/>
                    <a:pt x="162517" y="652589"/>
                  </a:cubicBezTo>
                  <a:cubicBezTo>
                    <a:pt x="162517" y="645030"/>
                    <a:pt x="163777" y="638731"/>
                    <a:pt x="163777" y="631172"/>
                  </a:cubicBezTo>
                  <a:cubicBezTo>
                    <a:pt x="163777" y="624872"/>
                    <a:pt x="165037" y="618573"/>
                    <a:pt x="165037" y="613534"/>
                  </a:cubicBezTo>
                  <a:cubicBezTo>
                    <a:pt x="165037" y="607235"/>
                    <a:pt x="166297" y="600936"/>
                    <a:pt x="166297" y="594637"/>
                  </a:cubicBezTo>
                  <a:cubicBezTo>
                    <a:pt x="167557" y="587078"/>
                    <a:pt x="167557" y="580779"/>
                    <a:pt x="167557" y="573220"/>
                  </a:cubicBezTo>
                  <a:cubicBezTo>
                    <a:pt x="168816" y="560621"/>
                    <a:pt x="170076" y="548023"/>
                    <a:pt x="171336" y="534165"/>
                  </a:cubicBezTo>
                  <a:cubicBezTo>
                    <a:pt x="171336" y="529126"/>
                    <a:pt x="172596" y="522827"/>
                    <a:pt x="172596" y="517787"/>
                  </a:cubicBezTo>
                  <a:cubicBezTo>
                    <a:pt x="172596" y="517787"/>
                    <a:pt x="172596" y="517787"/>
                    <a:pt x="172596" y="517787"/>
                  </a:cubicBezTo>
                  <a:cubicBezTo>
                    <a:pt x="173856" y="505189"/>
                    <a:pt x="175115" y="492591"/>
                    <a:pt x="176375" y="479993"/>
                  </a:cubicBezTo>
                  <a:lnTo>
                    <a:pt x="176375" y="479993"/>
                  </a:lnTo>
                  <a:cubicBezTo>
                    <a:pt x="176375" y="478733"/>
                    <a:pt x="176375" y="477473"/>
                    <a:pt x="176375" y="477473"/>
                  </a:cubicBezTo>
                  <a:lnTo>
                    <a:pt x="176375" y="471174"/>
                  </a:lnTo>
                  <a:cubicBezTo>
                    <a:pt x="176375" y="469914"/>
                    <a:pt x="176375" y="468654"/>
                    <a:pt x="176375" y="467395"/>
                  </a:cubicBezTo>
                  <a:lnTo>
                    <a:pt x="176375" y="471174"/>
                  </a:lnTo>
                  <a:cubicBezTo>
                    <a:pt x="176375" y="474954"/>
                    <a:pt x="176375" y="477473"/>
                    <a:pt x="177635" y="481253"/>
                  </a:cubicBezTo>
                  <a:cubicBezTo>
                    <a:pt x="178895" y="488811"/>
                    <a:pt x="178895" y="496371"/>
                    <a:pt x="180155" y="503929"/>
                  </a:cubicBezTo>
                  <a:cubicBezTo>
                    <a:pt x="180155" y="510228"/>
                    <a:pt x="181414" y="516528"/>
                    <a:pt x="181414" y="522827"/>
                  </a:cubicBezTo>
                  <a:lnTo>
                    <a:pt x="181414" y="525346"/>
                  </a:lnTo>
                  <a:lnTo>
                    <a:pt x="181414" y="529126"/>
                  </a:lnTo>
                  <a:cubicBezTo>
                    <a:pt x="181414" y="534165"/>
                    <a:pt x="182674" y="540464"/>
                    <a:pt x="182674" y="545504"/>
                  </a:cubicBezTo>
                  <a:cubicBezTo>
                    <a:pt x="182674" y="553063"/>
                    <a:pt x="183934" y="560621"/>
                    <a:pt x="183934" y="568180"/>
                  </a:cubicBezTo>
                  <a:cubicBezTo>
                    <a:pt x="183934" y="573220"/>
                    <a:pt x="185194" y="578259"/>
                    <a:pt x="185194" y="582039"/>
                  </a:cubicBezTo>
                  <a:cubicBezTo>
                    <a:pt x="185194" y="584558"/>
                    <a:pt x="185194" y="585818"/>
                    <a:pt x="185194" y="588338"/>
                  </a:cubicBezTo>
                  <a:cubicBezTo>
                    <a:pt x="185194" y="592117"/>
                    <a:pt x="185194" y="595896"/>
                    <a:pt x="186454" y="599676"/>
                  </a:cubicBezTo>
                  <a:cubicBezTo>
                    <a:pt x="186454" y="602196"/>
                    <a:pt x="186454" y="604715"/>
                    <a:pt x="186454" y="608495"/>
                  </a:cubicBezTo>
                  <a:cubicBezTo>
                    <a:pt x="186454" y="614794"/>
                    <a:pt x="187714" y="619833"/>
                    <a:pt x="187714" y="628652"/>
                  </a:cubicBezTo>
                  <a:lnTo>
                    <a:pt x="187714" y="629912"/>
                  </a:lnTo>
                  <a:cubicBezTo>
                    <a:pt x="187714" y="636211"/>
                    <a:pt x="188973" y="642510"/>
                    <a:pt x="188973" y="648809"/>
                  </a:cubicBezTo>
                  <a:lnTo>
                    <a:pt x="188973" y="653848"/>
                  </a:lnTo>
                  <a:cubicBezTo>
                    <a:pt x="188973" y="658888"/>
                    <a:pt x="190233" y="663927"/>
                    <a:pt x="190233" y="668966"/>
                  </a:cubicBezTo>
                  <a:cubicBezTo>
                    <a:pt x="191493" y="677785"/>
                    <a:pt x="191493" y="687864"/>
                    <a:pt x="192753" y="696683"/>
                  </a:cubicBezTo>
                  <a:cubicBezTo>
                    <a:pt x="192753" y="700462"/>
                    <a:pt x="194013" y="705501"/>
                    <a:pt x="194013" y="710540"/>
                  </a:cubicBezTo>
                  <a:cubicBezTo>
                    <a:pt x="194013" y="714320"/>
                    <a:pt x="194013" y="716839"/>
                    <a:pt x="195273" y="720619"/>
                  </a:cubicBezTo>
                  <a:cubicBezTo>
                    <a:pt x="195273" y="724398"/>
                    <a:pt x="195273" y="726918"/>
                    <a:pt x="196533" y="730698"/>
                  </a:cubicBezTo>
                  <a:lnTo>
                    <a:pt x="196533" y="731957"/>
                  </a:lnTo>
                  <a:cubicBezTo>
                    <a:pt x="196533" y="738257"/>
                    <a:pt x="197792" y="744556"/>
                    <a:pt x="197792" y="750855"/>
                  </a:cubicBezTo>
                  <a:cubicBezTo>
                    <a:pt x="197792" y="753375"/>
                    <a:pt x="197792" y="757154"/>
                    <a:pt x="199052" y="759674"/>
                  </a:cubicBezTo>
                  <a:cubicBezTo>
                    <a:pt x="199052" y="763453"/>
                    <a:pt x="200312" y="768492"/>
                    <a:pt x="200312" y="772272"/>
                  </a:cubicBezTo>
                  <a:cubicBezTo>
                    <a:pt x="200312" y="776051"/>
                    <a:pt x="201572" y="779831"/>
                    <a:pt x="201572" y="783610"/>
                  </a:cubicBezTo>
                  <a:cubicBezTo>
                    <a:pt x="201572" y="787390"/>
                    <a:pt x="202832" y="789909"/>
                    <a:pt x="202832" y="793689"/>
                  </a:cubicBezTo>
                  <a:cubicBezTo>
                    <a:pt x="202832" y="797468"/>
                    <a:pt x="204092" y="801248"/>
                    <a:pt x="204092" y="805027"/>
                  </a:cubicBezTo>
                  <a:cubicBezTo>
                    <a:pt x="204092" y="807547"/>
                    <a:pt x="204092" y="810067"/>
                    <a:pt x="205351" y="813846"/>
                  </a:cubicBezTo>
                  <a:cubicBezTo>
                    <a:pt x="206611" y="820145"/>
                    <a:pt x="206611" y="827704"/>
                    <a:pt x="207871" y="834003"/>
                  </a:cubicBezTo>
                  <a:lnTo>
                    <a:pt x="207871" y="834003"/>
                  </a:lnTo>
                  <a:cubicBezTo>
                    <a:pt x="207871" y="837783"/>
                    <a:pt x="209131" y="840302"/>
                    <a:pt x="209131" y="844082"/>
                  </a:cubicBezTo>
                  <a:cubicBezTo>
                    <a:pt x="209131" y="847861"/>
                    <a:pt x="210391" y="850381"/>
                    <a:pt x="210391" y="854160"/>
                  </a:cubicBezTo>
                  <a:lnTo>
                    <a:pt x="210391" y="854160"/>
                  </a:lnTo>
                  <a:cubicBezTo>
                    <a:pt x="211651" y="861719"/>
                    <a:pt x="211651" y="869278"/>
                    <a:pt x="212910" y="875577"/>
                  </a:cubicBezTo>
                  <a:cubicBezTo>
                    <a:pt x="214170" y="883136"/>
                    <a:pt x="214170" y="890695"/>
                    <a:pt x="215430" y="898254"/>
                  </a:cubicBezTo>
                  <a:lnTo>
                    <a:pt x="215430" y="902034"/>
                  </a:lnTo>
                  <a:cubicBezTo>
                    <a:pt x="215430" y="903293"/>
                    <a:pt x="215430" y="905813"/>
                    <a:pt x="215430" y="907073"/>
                  </a:cubicBezTo>
                  <a:cubicBezTo>
                    <a:pt x="215430" y="908333"/>
                    <a:pt x="215430" y="909593"/>
                    <a:pt x="215430" y="910853"/>
                  </a:cubicBezTo>
                  <a:cubicBezTo>
                    <a:pt x="215430" y="913372"/>
                    <a:pt x="215430" y="915892"/>
                    <a:pt x="216690" y="918411"/>
                  </a:cubicBezTo>
                  <a:cubicBezTo>
                    <a:pt x="217950" y="924710"/>
                    <a:pt x="217950" y="932269"/>
                    <a:pt x="219209" y="938568"/>
                  </a:cubicBezTo>
                  <a:cubicBezTo>
                    <a:pt x="219209" y="941088"/>
                    <a:pt x="220469" y="943608"/>
                    <a:pt x="220469" y="947387"/>
                  </a:cubicBezTo>
                  <a:cubicBezTo>
                    <a:pt x="220469" y="951167"/>
                    <a:pt x="221729" y="954946"/>
                    <a:pt x="221729" y="958726"/>
                  </a:cubicBezTo>
                  <a:cubicBezTo>
                    <a:pt x="221729" y="962505"/>
                    <a:pt x="222989" y="966285"/>
                    <a:pt x="222989" y="970064"/>
                  </a:cubicBezTo>
                  <a:cubicBezTo>
                    <a:pt x="222989" y="973844"/>
                    <a:pt x="224249" y="977623"/>
                    <a:pt x="224249" y="980143"/>
                  </a:cubicBezTo>
                  <a:cubicBezTo>
                    <a:pt x="224249" y="983922"/>
                    <a:pt x="225508" y="986442"/>
                    <a:pt x="225508" y="990221"/>
                  </a:cubicBezTo>
                  <a:lnTo>
                    <a:pt x="225508" y="991481"/>
                  </a:lnTo>
                  <a:cubicBezTo>
                    <a:pt x="225508" y="992741"/>
                    <a:pt x="225508" y="995260"/>
                    <a:pt x="225508" y="996520"/>
                  </a:cubicBezTo>
                  <a:cubicBezTo>
                    <a:pt x="225508" y="997780"/>
                    <a:pt x="225508" y="999040"/>
                    <a:pt x="225508" y="1000300"/>
                  </a:cubicBezTo>
                  <a:cubicBezTo>
                    <a:pt x="225508" y="1002819"/>
                    <a:pt x="225508" y="1005339"/>
                    <a:pt x="226768" y="1009119"/>
                  </a:cubicBezTo>
                  <a:cubicBezTo>
                    <a:pt x="226768" y="1012898"/>
                    <a:pt x="228028" y="1016678"/>
                    <a:pt x="228028" y="1020457"/>
                  </a:cubicBezTo>
                  <a:cubicBezTo>
                    <a:pt x="228028" y="1024237"/>
                    <a:pt x="229288" y="1029276"/>
                    <a:pt x="229288" y="1033055"/>
                  </a:cubicBezTo>
                  <a:cubicBezTo>
                    <a:pt x="229288" y="1035575"/>
                    <a:pt x="230548" y="1038094"/>
                    <a:pt x="230548" y="1040614"/>
                  </a:cubicBezTo>
                  <a:cubicBezTo>
                    <a:pt x="233067" y="1056992"/>
                    <a:pt x="234327" y="1069590"/>
                    <a:pt x="235587" y="1082188"/>
                  </a:cubicBezTo>
                  <a:lnTo>
                    <a:pt x="235587" y="1087228"/>
                  </a:lnTo>
                  <a:cubicBezTo>
                    <a:pt x="235587" y="1091007"/>
                    <a:pt x="236847" y="1096046"/>
                    <a:pt x="236847" y="1099826"/>
                  </a:cubicBezTo>
                  <a:cubicBezTo>
                    <a:pt x="238107" y="1106125"/>
                    <a:pt x="238107" y="1111164"/>
                    <a:pt x="239366" y="1117463"/>
                  </a:cubicBezTo>
                  <a:lnTo>
                    <a:pt x="240626" y="1125022"/>
                  </a:lnTo>
                  <a:cubicBezTo>
                    <a:pt x="241886" y="1133841"/>
                    <a:pt x="243146" y="1143920"/>
                    <a:pt x="244406" y="1152738"/>
                  </a:cubicBezTo>
                  <a:cubicBezTo>
                    <a:pt x="244406" y="1155258"/>
                    <a:pt x="244406" y="1156518"/>
                    <a:pt x="245666" y="1159037"/>
                  </a:cubicBezTo>
                  <a:cubicBezTo>
                    <a:pt x="245666" y="1162817"/>
                    <a:pt x="246925" y="1166597"/>
                    <a:pt x="246925" y="1170376"/>
                  </a:cubicBezTo>
                  <a:cubicBezTo>
                    <a:pt x="248185" y="1176675"/>
                    <a:pt x="248185" y="1181715"/>
                    <a:pt x="249445" y="1188014"/>
                  </a:cubicBezTo>
                  <a:cubicBezTo>
                    <a:pt x="250705" y="1199352"/>
                    <a:pt x="253225" y="1210690"/>
                    <a:pt x="254484" y="1220769"/>
                  </a:cubicBezTo>
                  <a:cubicBezTo>
                    <a:pt x="254484" y="1224548"/>
                    <a:pt x="255744" y="1229588"/>
                    <a:pt x="255744" y="1233367"/>
                  </a:cubicBezTo>
                  <a:cubicBezTo>
                    <a:pt x="255744" y="1237147"/>
                    <a:pt x="257004" y="1242186"/>
                    <a:pt x="258264" y="1247225"/>
                  </a:cubicBezTo>
                  <a:cubicBezTo>
                    <a:pt x="258264" y="1251005"/>
                    <a:pt x="259524" y="1254784"/>
                    <a:pt x="260784" y="1258563"/>
                  </a:cubicBezTo>
                  <a:lnTo>
                    <a:pt x="260784" y="1261083"/>
                  </a:lnTo>
                  <a:cubicBezTo>
                    <a:pt x="262043" y="1268642"/>
                    <a:pt x="263303" y="1276201"/>
                    <a:pt x="264563" y="1285020"/>
                  </a:cubicBezTo>
                  <a:cubicBezTo>
                    <a:pt x="264563" y="1286280"/>
                    <a:pt x="264563" y="1288800"/>
                    <a:pt x="264563" y="1290059"/>
                  </a:cubicBezTo>
                  <a:cubicBezTo>
                    <a:pt x="264563" y="1292579"/>
                    <a:pt x="265823" y="1295099"/>
                    <a:pt x="265823" y="1298878"/>
                  </a:cubicBezTo>
                  <a:cubicBezTo>
                    <a:pt x="265823" y="1301398"/>
                    <a:pt x="265823" y="1303917"/>
                    <a:pt x="267083" y="1305177"/>
                  </a:cubicBezTo>
                  <a:lnTo>
                    <a:pt x="267083" y="1305177"/>
                  </a:lnTo>
                  <a:cubicBezTo>
                    <a:pt x="267083" y="1307697"/>
                    <a:pt x="268343" y="1311476"/>
                    <a:pt x="268343" y="1312736"/>
                  </a:cubicBezTo>
                  <a:cubicBezTo>
                    <a:pt x="268343" y="1313996"/>
                    <a:pt x="269602" y="1313996"/>
                    <a:pt x="269602" y="1315256"/>
                  </a:cubicBezTo>
                  <a:cubicBezTo>
                    <a:pt x="269602" y="1316515"/>
                    <a:pt x="270862" y="1316515"/>
                    <a:pt x="270862" y="1317775"/>
                  </a:cubicBezTo>
                  <a:cubicBezTo>
                    <a:pt x="273382" y="1320295"/>
                    <a:pt x="275901" y="1320295"/>
                    <a:pt x="279681" y="1320295"/>
                  </a:cubicBezTo>
                  <a:lnTo>
                    <a:pt x="280941" y="1320295"/>
                  </a:lnTo>
                  <a:cubicBezTo>
                    <a:pt x="282200" y="1320295"/>
                    <a:pt x="284720" y="1320295"/>
                    <a:pt x="285980" y="1320295"/>
                  </a:cubicBezTo>
                  <a:cubicBezTo>
                    <a:pt x="287240" y="1320295"/>
                    <a:pt x="288499" y="1320295"/>
                    <a:pt x="289759" y="1320295"/>
                  </a:cubicBezTo>
                  <a:cubicBezTo>
                    <a:pt x="292279" y="1320295"/>
                    <a:pt x="294799" y="1320295"/>
                    <a:pt x="298578" y="1320295"/>
                  </a:cubicBezTo>
                  <a:lnTo>
                    <a:pt x="301098" y="1320295"/>
                  </a:lnTo>
                  <a:cubicBezTo>
                    <a:pt x="302358" y="1320295"/>
                    <a:pt x="303617" y="1320295"/>
                    <a:pt x="306137" y="1320295"/>
                  </a:cubicBezTo>
                  <a:cubicBezTo>
                    <a:pt x="308657" y="1320295"/>
                    <a:pt x="309917" y="1320295"/>
                    <a:pt x="312436" y="1320295"/>
                  </a:cubicBezTo>
                  <a:cubicBezTo>
                    <a:pt x="314956" y="1320295"/>
                    <a:pt x="316216" y="1320295"/>
                    <a:pt x="318736" y="1320295"/>
                  </a:cubicBezTo>
                  <a:cubicBezTo>
                    <a:pt x="321255" y="1320295"/>
                    <a:pt x="322515" y="1320295"/>
                    <a:pt x="325035" y="1320295"/>
                  </a:cubicBezTo>
                  <a:cubicBezTo>
                    <a:pt x="326294" y="1320295"/>
                    <a:pt x="326294" y="1320295"/>
                    <a:pt x="327554" y="1320295"/>
                  </a:cubicBezTo>
                  <a:cubicBezTo>
                    <a:pt x="328814" y="1320295"/>
                    <a:pt x="331334" y="1320295"/>
                    <a:pt x="332593" y="1320295"/>
                  </a:cubicBezTo>
                  <a:cubicBezTo>
                    <a:pt x="333853" y="1320295"/>
                    <a:pt x="336373" y="1320295"/>
                    <a:pt x="337633" y="1320295"/>
                  </a:cubicBezTo>
                  <a:cubicBezTo>
                    <a:pt x="338892" y="1320295"/>
                    <a:pt x="340152" y="1320295"/>
                    <a:pt x="342672" y="1320295"/>
                  </a:cubicBezTo>
                  <a:cubicBezTo>
                    <a:pt x="343932" y="1320295"/>
                    <a:pt x="345192" y="1320295"/>
                    <a:pt x="347711" y="1320295"/>
                  </a:cubicBezTo>
                  <a:cubicBezTo>
                    <a:pt x="348971" y="1320295"/>
                    <a:pt x="348971" y="1320295"/>
                    <a:pt x="348971" y="1320295"/>
                  </a:cubicBezTo>
                  <a:cubicBezTo>
                    <a:pt x="351491" y="1320295"/>
                    <a:pt x="354010" y="1320295"/>
                    <a:pt x="357790" y="1320295"/>
                  </a:cubicBezTo>
                  <a:cubicBezTo>
                    <a:pt x="360310" y="1320295"/>
                    <a:pt x="362829" y="1320295"/>
                    <a:pt x="365349" y="1319035"/>
                  </a:cubicBezTo>
                  <a:cubicBezTo>
                    <a:pt x="366609" y="1319035"/>
                    <a:pt x="366609" y="1319035"/>
                    <a:pt x="367869" y="1317775"/>
                  </a:cubicBezTo>
                  <a:cubicBezTo>
                    <a:pt x="367869" y="1317775"/>
                    <a:pt x="369128" y="1317775"/>
                    <a:pt x="369128" y="1316515"/>
                  </a:cubicBezTo>
                  <a:cubicBezTo>
                    <a:pt x="369128" y="1316515"/>
                    <a:pt x="370388" y="1315256"/>
                    <a:pt x="370388" y="1315256"/>
                  </a:cubicBezTo>
                  <a:cubicBezTo>
                    <a:pt x="371648" y="1313996"/>
                    <a:pt x="371648" y="1312736"/>
                    <a:pt x="371648" y="1311476"/>
                  </a:cubicBezTo>
                  <a:cubicBezTo>
                    <a:pt x="371648" y="1310216"/>
                    <a:pt x="371648" y="1308956"/>
                    <a:pt x="371648" y="1307697"/>
                  </a:cubicBezTo>
                  <a:lnTo>
                    <a:pt x="371648" y="1307697"/>
                  </a:lnTo>
                  <a:cubicBezTo>
                    <a:pt x="371648" y="1306437"/>
                    <a:pt x="371648" y="1305177"/>
                    <a:pt x="371648" y="1302657"/>
                  </a:cubicBezTo>
                  <a:cubicBezTo>
                    <a:pt x="371648" y="1297618"/>
                    <a:pt x="371648" y="1292579"/>
                    <a:pt x="371648" y="1287540"/>
                  </a:cubicBezTo>
                  <a:cubicBezTo>
                    <a:pt x="371648" y="1286280"/>
                    <a:pt x="371648" y="1285020"/>
                    <a:pt x="371648" y="1283760"/>
                  </a:cubicBezTo>
                  <a:cubicBezTo>
                    <a:pt x="371648" y="1276201"/>
                    <a:pt x="371648" y="1269902"/>
                    <a:pt x="371648" y="1263603"/>
                  </a:cubicBezTo>
                  <a:cubicBezTo>
                    <a:pt x="371648" y="1262343"/>
                    <a:pt x="371648" y="1259823"/>
                    <a:pt x="371648" y="1258563"/>
                  </a:cubicBezTo>
                  <a:cubicBezTo>
                    <a:pt x="371648" y="1253524"/>
                    <a:pt x="371648" y="1248485"/>
                    <a:pt x="371648" y="1244706"/>
                  </a:cubicBezTo>
                  <a:cubicBezTo>
                    <a:pt x="371648" y="1237147"/>
                    <a:pt x="371648" y="1230848"/>
                    <a:pt x="372908" y="1224548"/>
                  </a:cubicBezTo>
                  <a:lnTo>
                    <a:pt x="372908" y="1219509"/>
                  </a:lnTo>
                  <a:cubicBezTo>
                    <a:pt x="372908" y="1214470"/>
                    <a:pt x="372908" y="1208171"/>
                    <a:pt x="374168" y="1203131"/>
                  </a:cubicBezTo>
                  <a:cubicBezTo>
                    <a:pt x="374168" y="1195572"/>
                    <a:pt x="374168" y="1188014"/>
                    <a:pt x="375428" y="1182974"/>
                  </a:cubicBezTo>
                  <a:cubicBezTo>
                    <a:pt x="375428" y="1177935"/>
                    <a:pt x="375428" y="1172896"/>
                    <a:pt x="375428" y="1167856"/>
                  </a:cubicBezTo>
                  <a:lnTo>
                    <a:pt x="375428" y="1162817"/>
                  </a:lnTo>
                  <a:lnTo>
                    <a:pt x="375428" y="1159037"/>
                  </a:lnTo>
                  <a:cubicBezTo>
                    <a:pt x="375428" y="1153998"/>
                    <a:pt x="375428" y="1147699"/>
                    <a:pt x="375428" y="1142660"/>
                  </a:cubicBezTo>
                  <a:cubicBezTo>
                    <a:pt x="375428" y="1136361"/>
                    <a:pt x="375428" y="1130062"/>
                    <a:pt x="375428" y="1123763"/>
                  </a:cubicBezTo>
                  <a:cubicBezTo>
                    <a:pt x="375428" y="1114944"/>
                    <a:pt x="375428" y="1107385"/>
                    <a:pt x="375428" y="1098566"/>
                  </a:cubicBezTo>
                  <a:lnTo>
                    <a:pt x="375428" y="1084708"/>
                  </a:lnTo>
                  <a:cubicBezTo>
                    <a:pt x="375428" y="1062031"/>
                    <a:pt x="375428" y="1039354"/>
                    <a:pt x="374168" y="1016678"/>
                  </a:cubicBezTo>
                  <a:cubicBezTo>
                    <a:pt x="374168" y="1002819"/>
                    <a:pt x="374168" y="987701"/>
                    <a:pt x="372908" y="973844"/>
                  </a:cubicBezTo>
                  <a:cubicBezTo>
                    <a:pt x="372908" y="961245"/>
                    <a:pt x="372908" y="947387"/>
                    <a:pt x="371648" y="933529"/>
                  </a:cubicBezTo>
                  <a:cubicBezTo>
                    <a:pt x="371648" y="927230"/>
                    <a:pt x="371648" y="920931"/>
                    <a:pt x="370388" y="912112"/>
                  </a:cubicBezTo>
                  <a:cubicBezTo>
                    <a:pt x="370388" y="904553"/>
                    <a:pt x="369128" y="896994"/>
                    <a:pt x="369128" y="890695"/>
                  </a:cubicBezTo>
                  <a:cubicBezTo>
                    <a:pt x="369128" y="886916"/>
                    <a:pt x="369128" y="883136"/>
                    <a:pt x="369128" y="879357"/>
                  </a:cubicBezTo>
                  <a:cubicBezTo>
                    <a:pt x="369128" y="869278"/>
                    <a:pt x="369128" y="859200"/>
                    <a:pt x="367869" y="849121"/>
                  </a:cubicBezTo>
                  <a:cubicBezTo>
                    <a:pt x="367869" y="834003"/>
                    <a:pt x="366609" y="820145"/>
                    <a:pt x="365349" y="806287"/>
                  </a:cubicBezTo>
                  <a:cubicBezTo>
                    <a:pt x="364089" y="793689"/>
                    <a:pt x="364089" y="782350"/>
                    <a:pt x="364089" y="769752"/>
                  </a:cubicBezTo>
                  <a:lnTo>
                    <a:pt x="364089" y="764713"/>
                  </a:lnTo>
                  <a:lnTo>
                    <a:pt x="364089" y="744556"/>
                  </a:lnTo>
                  <a:cubicBezTo>
                    <a:pt x="364089" y="723139"/>
                    <a:pt x="364089" y="701722"/>
                    <a:pt x="362829" y="681565"/>
                  </a:cubicBezTo>
                  <a:cubicBezTo>
                    <a:pt x="362829" y="666446"/>
                    <a:pt x="362829" y="652589"/>
                    <a:pt x="362829" y="639990"/>
                  </a:cubicBezTo>
                  <a:cubicBezTo>
                    <a:pt x="362829" y="631172"/>
                    <a:pt x="362829" y="622353"/>
                    <a:pt x="362829" y="613534"/>
                  </a:cubicBezTo>
                  <a:cubicBezTo>
                    <a:pt x="362829" y="608495"/>
                    <a:pt x="362829" y="604715"/>
                    <a:pt x="362829" y="599676"/>
                  </a:cubicBezTo>
                  <a:cubicBezTo>
                    <a:pt x="362829" y="571960"/>
                    <a:pt x="362829" y="544244"/>
                    <a:pt x="361569" y="515268"/>
                  </a:cubicBezTo>
                  <a:cubicBezTo>
                    <a:pt x="361569" y="503929"/>
                    <a:pt x="361569" y="493851"/>
                    <a:pt x="361569" y="482512"/>
                  </a:cubicBezTo>
                  <a:cubicBezTo>
                    <a:pt x="361569" y="464875"/>
                    <a:pt x="361569" y="448497"/>
                    <a:pt x="361569" y="430860"/>
                  </a:cubicBezTo>
                  <a:cubicBezTo>
                    <a:pt x="361569" y="427080"/>
                    <a:pt x="361569" y="424561"/>
                    <a:pt x="361569" y="420781"/>
                  </a:cubicBezTo>
                  <a:cubicBezTo>
                    <a:pt x="361569" y="409443"/>
                    <a:pt x="361569" y="398104"/>
                    <a:pt x="361569" y="386766"/>
                  </a:cubicBezTo>
                  <a:lnTo>
                    <a:pt x="361569" y="384246"/>
                  </a:lnTo>
                  <a:cubicBezTo>
                    <a:pt x="361569" y="371648"/>
                    <a:pt x="361569" y="357790"/>
                    <a:pt x="362829" y="345192"/>
                  </a:cubicBezTo>
                  <a:cubicBezTo>
                    <a:pt x="362829" y="341412"/>
                    <a:pt x="362829" y="337633"/>
                    <a:pt x="362829" y="335113"/>
                  </a:cubicBezTo>
                  <a:cubicBezTo>
                    <a:pt x="362829" y="333853"/>
                    <a:pt x="362829" y="332593"/>
                    <a:pt x="362829" y="331334"/>
                  </a:cubicBezTo>
                  <a:cubicBezTo>
                    <a:pt x="362829" y="328814"/>
                    <a:pt x="362829" y="326294"/>
                    <a:pt x="362829" y="323775"/>
                  </a:cubicBezTo>
                  <a:cubicBezTo>
                    <a:pt x="362829" y="316216"/>
                    <a:pt x="362829" y="308657"/>
                    <a:pt x="362829" y="301098"/>
                  </a:cubicBezTo>
                  <a:cubicBezTo>
                    <a:pt x="362829" y="288500"/>
                    <a:pt x="362829" y="274642"/>
                    <a:pt x="362829" y="262043"/>
                  </a:cubicBezTo>
                  <a:lnTo>
                    <a:pt x="362829" y="259524"/>
                  </a:lnTo>
                  <a:cubicBezTo>
                    <a:pt x="362829" y="253225"/>
                    <a:pt x="362829" y="246925"/>
                    <a:pt x="362829" y="240626"/>
                  </a:cubicBezTo>
                  <a:cubicBezTo>
                    <a:pt x="362829" y="231808"/>
                    <a:pt x="362829" y="224249"/>
                    <a:pt x="362829" y="217949"/>
                  </a:cubicBezTo>
                  <a:lnTo>
                    <a:pt x="362829" y="212910"/>
                  </a:lnTo>
                  <a:cubicBezTo>
                    <a:pt x="362829" y="207871"/>
                    <a:pt x="362829" y="202832"/>
                    <a:pt x="362829" y="197792"/>
                  </a:cubicBezTo>
                  <a:lnTo>
                    <a:pt x="362829" y="192753"/>
                  </a:lnTo>
                  <a:cubicBezTo>
                    <a:pt x="362829" y="187714"/>
                    <a:pt x="362829" y="181415"/>
                    <a:pt x="362829" y="176375"/>
                  </a:cubicBezTo>
                  <a:cubicBezTo>
                    <a:pt x="362829" y="161257"/>
                    <a:pt x="362829" y="147399"/>
                    <a:pt x="362829" y="132281"/>
                  </a:cubicBezTo>
                  <a:cubicBezTo>
                    <a:pt x="366609" y="113384"/>
                    <a:pt x="365349" y="100786"/>
                    <a:pt x="365349" y="88188"/>
                  </a:cubicBezTo>
                  <a:moveTo>
                    <a:pt x="88188" y="1286280"/>
                  </a:moveTo>
                  <a:cubicBezTo>
                    <a:pt x="88188" y="1286280"/>
                    <a:pt x="88188" y="1286280"/>
                    <a:pt x="88188" y="1286280"/>
                  </a:cubicBezTo>
                  <a:cubicBezTo>
                    <a:pt x="88188" y="1286280"/>
                    <a:pt x="88188" y="1286280"/>
                    <a:pt x="88188" y="1286280"/>
                  </a:cubicBezTo>
                </a:path>
              </a:pathLst>
            </a:custGeom>
            <a:solidFill>
              <a:srgbClr val="779AF8"/>
            </a:solidFill>
            <a:ln w="12584" cap="flat">
              <a:noFill/>
              <a:prstDash val="solid"/>
              <a:miter/>
            </a:ln>
          </p:spPr>
          <p:txBody>
            <a:bodyPr rtlCol="0" anchor="ctr"/>
            <a:lstStyle/>
            <a:p>
              <a:endParaRPr lang="zh-CN" altLang="en-US"/>
            </a:p>
          </p:txBody>
        </p:sp>
        <p:sp>
          <p:nvSpPr>
            <p:cNvPr id="202" name="任意多边形: 形状 201"/>
            <p:cNvSpPr/>
            <p:nvPr/>
          </p:nvSpPr>
          <p:spPr>
            <a:xfrm>
              <a:off x="9719818" y="4721980"/>
              <a:ext cx="8580" cy="163026"/>
            </a:xfrm>
            <a:custGeom>
              <a:avLst/>
              <a:gdLst>
                <a:gd name="connsiteX0" fmla="*/ 12598 w 12598"/>
                <a:gd name="connsiteY0" fmla="*/ 5040 h 239366"/>
                <a:gd name="connsiteX1" fmla="*/ 12598 w 12598"/>
                <a:gd name="connsiteY1" fmla="*/ 30236 h 239366"/>
                <a:gd name="connsiteX2" fmla="*/ 11338 w 12598"/>
                <a:gd name="connsiteY2" fmla="*/ 55433 h 239366"/>
                <a:gd name="connsiteX3" fmla="*/ 10078 w 12598"/>
                <a:gd name="connsiteY3" fmla="*/ 68031 h 239366"/>
                <a:gd name="connsiteX4" fmla="*/ 10078 w 12598"/>
                <a:gd name="connsiteY4" fmla="*/ 80629 h 239366"/>
                <a:gd name="connsiteX5" fmla="*/ 10078 w 12598"/>
                <a:gd name="connsiteY5" fmla="*/ 105825 h 239366"/>
                <a:gd name="connsiteX6" fmla="*/ 10078 w 12598"/>
                <a:gd name="connsiteY6" fmla="*/ 118424 h 239366"/>
                <a:gd name="connsiteX7" fmla="*/ 10078 w 12598"/>
                <a:gd name="connsiteY7" fmla="*/ 124723 h 239366"/>
                <a:gd name="connsiteX8" fmla="*/ 10078 w 12598"/>
                <a:gd name="connsiteY8" fmla="*/ 131022 h 239366"/>
                <a:gd name="connsiteX9" fmla="*/ 10078 w 12598"/>
                <a:gd name="connsiteY9" fmla="*/ 156218 h 239366"/>
                <a:gd name="connsiteX10" fmla="*/ 10078 w 12598"/>
                <a:gd name="connsiteY10" fmla="*/ 168817 h 239366"/>
                <a:gd name="connsiteX11" fmla="*/ 10078 w 12598"/>
                <a:gd name="connsiteY11" fmla="*/ 181415 h 239366"/>
                <a:gd name="connsiteX12" fmla="*/ 10078 w 12598"/>
                <a:gd name="connsiteY12" fmla="*/ 194013 h 239366"/>
                <a:gd name="connsiteX13" fmla="*/ 8819 w 12598"/>
                <a:gd name="connsiteY13" fmla="*/ 206611 h 239366"/>
                <a:gd name="connsiteX14" fmla="*/ 7559 w 12598"/>
                <a:gd name="connsiteY14" fmla="*/ 216690 h 239366"/>
                <a:gd name="connsiteX15" fmla="*/ 7559 w 12598"/>
                <a:gd name="connsiteY15" fmla="*/ 226768 h 239366"/>
                <a:gd name="connsiteX16" fmla="*/ 7559 w 12598"/>
                <a:gd name="connsiteY16" fmla="*/ 235587 h 239366"/>
                <a:gd name="connsiteX17" fmla="*/ 7559 w 12598"/>
                <a:gd name="connsiteY17" fmla="*/ 246925 h 239366"/>
                <a:gd name="connsiteX18" fmla="*/ 3779 w 12598"/>
                <a:gd name="connsiteY18" fmla="*/ 250705 h 239366"/>
                <a:gd name="connsiteX19" fmla="*/ 0 w 12598"/>
                <a:gd name="connsiteY19" fmla="*/ 246925 h 239366"/>
                <a:gd name="connsiteX20" fmla="*/ 0 w 12598"/>
                <a:gd name="connsiteY20" fmla="*/ 239366 h 239366"/>
                <a:gd name="connsiteX21" fmla="*/ 0 w 12598"/>
                <a:gd name="connsiteY21" fmla="*/ 233067 h 239366"/>
                <a:gd name="connsiteX22" fmla="*/ 0 w 12598"/>
                <a:gd name="connsiteY22" fmla="*/ 220469 h 239366"/>
                <a:gd name="connsiteX23" fmla="*/ 0 w 12598"/>
                <a:gd name="connsiteY23" fmla="*/ 214170 h 239366"/>
                <a:gd name="connsiteX24" fmla="*/ 0 w 12598"/>
                <a:gd name="connsiteY24" fmla="*/ 207871 h 239366"/>
                <a:gd name="connsiteX25" fmla="*/ 1260 w 12598"/>
                <a:gd name="connsiteY25" fmla="*/ 195273 h 239366"/>
                <a:gd name="connsiteX26" fmla="*/ 2519 w 12598"/>
                <a:gd name="connsiteY26" fmla="*/ 170076 h 239366"/>
                <a:gd name="connsiteX27" fmla="*/ 3779 w 12598"/>
                <a:gd name="connsiteY27" fmla="*/ 143620 h 239366"/>
                <a:gd name="connsiteX28" fmla="*/ 3779 w 12598"/>
                <a:gd name="connsiteY28" fmla="*/ 131022 h 239366"/>
                <a:gd name="connsiteX29" fmla="*/ 3779 w 12598"/>
                <a:gd name="connsiteY29" fmla="*/ 118424 h 239366"/>
                <a:gd name="connsiteX30" fmla="*/ 3779 w 12598"/>
                <a:gd name="connsiteY30" fmla="*/ 105825 h 239366"/>
                <a:gd name="connsiteX31" fmla="*/ 3779 w 12598"/>
                <a:gd name="connsiteY31" fmla="*/ 93227 h 239366"/>
                <a:gd name="connsiteX32" fmla="*/ 3779 w 12598"/>
                <a:gd name="connsiteY32" fmla="*/ 68031 h 239366"/>
                <a:gd name="connsiteX33" fmla="*/ 5039 w 12598"/>
                <a:gd name="connsiteY33" fmla="*/ 42834 h 239366"/>
                <a:gd name="connsiteX34" fmla="*/ 5039 w 12598"/>
                <a:gd name="connsiteY34" fmla="*/ 23937 h 239366"/>
                <a:gd name="connsiteX35" fmla="*/ 6299 w 12598"/>
                <a:gd name="connsiteY35" fmla="*/ 3780 h 239366"/>
                <a:gd name="connsiteX36" fmla="*/ 10078 w 12598"/>
                <a:gd name="connsiteY36" fmla="*/ 0 h 239366"/>
                <a:gd name="connsiteX37" fmla="*/ 10078 w 12598"/>
                <a:gd name="connsiteY37" fmla="*/ 0 h 239366"/>
                <a:gd name="connsiteX38" fmla="*/ 12598 w 12598"/>
                <a:gd name="connsiteY38" fmla="*/ 5040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598" h="239366">
                  <a:moveTo>
                    <a:pt x="12598" y="5040"/>
                  </a:moveTo>
                  <a:cubicBezTo>
                    <a:pt x="12598" y="13858"/>
                    <a:pt x="12598" y="21417"/>
                    <a:pt x="12598" y="30236"/>
                  </a:cubicBezTo>
                  <a:cubicBezTo>
                    <a:pt x="12598" y="39055"/>
                    <a:pt x="12598" y="46614"/>
                    <a:pt x="11338" y="55433"/>
                  </a:cubicBezTo>
                  <a:cubicBezTo>
                    <a:pt x="11338" y="59212"/>
                    <a:pt x="11338" y="64251"/>
                    <a:pt x="10078" y="68031"/>
                  </a:cubicBezTo>
                  <a:cubicBezTo>
                    <a:pt x="10078" y="71810"/>
                    <a:pt x="10078" y="75589"/>
                    <a:pt x="10078" y="80629"/>
                  </a:cubicBezTo>
                  <a:cubicBezTo>
                    <a:pt x="10078" y="89448"/>
                    <a:pt x="10078" y="97007"/>
                    <a:pt x="10078" y="105825"/>
                  </a:cubicBezTo>
                  <a:cubicBezTo>
                    <a:pt x="10078" y="109605"/>
                    <a:pt x="10078" y="114644"/>
                    <a:pt x="10078" y="118424"/>
                  </a:cubicBezTo>
                  <a:cubicBezTo>
                    <a:pt x="10078" y="120943"/>
                    <a:pt x="10078" y="122203"/>
                    <a:pt x="10078" y="124723"/>
                  </a:cubicBezTo>
                  <a:cubicBezTo>
                    <a:pt x="10078" y="127242"/>
                    <a:pt x="10078" y="128502"/>
                    <a:pt x="10078" y="131022"/>
                  </a:cubicBezTo>
                  <a:cubicBezTo>
                    <a:pt x="10078" y="139840"/>
                    <a:pt x="10078" y="147399"/>
                    <a:pt x="10078" y="156218"/>
                  </a:cubicBezTo>
                  <a:cubicBezTo>
                    <a:pt x="10078" y="159998"/>
                    <a:pt x="10078" y="165037"/>
                    <a:pt x="10078" y="168817"/>
                  </a:cubicBezTo>
                  <a:cubicBezTo>
                    <a:pt x="10078" y="172596"/>
                    <a:pt x="10078" y="177635"/>
                    <a:pt x="10078" y="181415"/>
                  </a:cubicBezTo>
                  <a:cubicBezTo>
                    <a:pt x="10078" y="185194"/>
                    <a:pt x="10078" y="190233"/>
                    <a:pt x="10078" y="194013"/>
                  </a:cubicBezTo>
                  <a:cubicBezTo>
                    <a:pt x="10078" y="197792"/>
                    <a:pt x="10078" y="202832"/>
                    <a:pt x="8819" y="206611"/>
                  </a:cubicBezTo>
                  <a:cubicBezTo>
                    <a:pt x="8819" y="210391"/>
                    <a:pt x="8819" y="212910"/>
                    <a:pt x="7559" y="216690"/>
                  </a:cubicBezTo>
                  <a:cubicBezTo>
                    <a:pt x="7559" y="220469"/>
                    <a:pt x="7559" y="222989"/>
                    <a:pt x="7559" y="226768"/>
                  </a:cubicBezTo>
                  <a:cubicBezTo>
                    <a:pt x="7559" y="229288"/>
                    <a:pt x="7559" y="233067"/>
                    <a:pt x="7559" y="235587"/>
                  </a:cubicBezTo>
                  <a:cubicBezTo>
                    <a:pt x="7559" y="239366"/>
                    <a:pt x="7559" y="243146"/>
                    <a:pt x="7559" y="246925"/>
                  </a:cubicBezTo>
                  <a:cubicBezTo>
                    <a:pt x="7559" y="249445"/>
                    <a:pt x="5039" y="250705"/>
                    <a:pt x="3779" y="250705"/>
                  </a:cubicBezTo>
                  <a:cubicBezTo>
                    <a:pt x="1260" y="250705"/>
                    <a:pt x="0" y="248185"/>
                    <a:pt x="0" y="246925"/>
                  </a:cubicBezTo>
                  <a:cubicBezTo>
                    <a:pt x="0" y="244406"/>
                    <a:pt x="0" y="241886"/>
                    <a:pt x="0" y="239366"/>
                  </a:cubicBezTo>
                  <a:cubicBezTo>
                    <a:pt x="0" y="236847"/>
                    <a:pt x="0" y="235587"/>
                    <a:pt x="0" y="233067"/>
                  </a:cubicBezTo>
                  <a:cubicBezTo>
                    <a:pt x="0" y="229288"/>
                    <a:pt x="0" y="224249"/>
                    <a:pt x="0" y="220469"/>
                  </a:cubicBezTo>
                  <a:cubicBezTo>
                    <a:pt x="0" y="217950"/>
                    <a:pt x="0" y="216690"/>
                    <a:pt x="0" y="214170"/>
                  </a:cubicBezTo>
                  <a:cubicBezTo>
                    <a:pt x="0" y="211651"/>
                    <a:pt x="0" y="210391"/>
                    <a:pt x="0" y="207871"/>
                  </a:cubicBezTo>
                  <a:cubicBezTo>
                    <a:pt x="0" y="204092"/>
                    <a:pt x="1260" y="199052"/>
                    <a:pt x="1260" y="195273"/>
                  </a:cubicBezTo>
                  <a:cubicBezTo>
                    <a:pt x="1260" y="186454"/>
                    <a:pt x="2519" y="178895"/>
                    <a:pt x="2519" y="170076"/>
                  </a:cubicBezTo>
                  <a:cubicBezTo>
                    <a:pt x="3779" y="161258"/>
                    <a:pt x="3779" y="152439"/>
                    <a:pt x="3779" y="143620"/>
                  </a:cubicBezTo>
                  <a:cubicBezTo>
                    <a:pt x="3779" y="139840"/>
                    <a:pt x="3779" y="136061"/>
                    <a:pt x="3779" y="131022"/>
                  </a:cubicBezTo>
                  <a:cubicBezTo>
                    <a:pt x="3779" y="127242"/>
                    <a:pt x="3779" y="123463"/>
                    <a:pt x="3779" y="118424"/>
                  </a:cubicBezTo>
                  <a:cubicBezTo>
                    <a:pt x="3779" y="114644"/>
                    <a:pt x="3779" y="109605"/>
                    <a:pt x="3779" y="105825"/>
                  </a:cubicBezTo>
                  <a:cubicBezTo>
                    <a:pt x="3779" y="102046"/>
                    <a:pt x="3779" y="97007"/>
                    <a:pt x="3779" y="93227"/>
                  </a:cubicBezTo>
                  <a:cubicBezTo>
                    <a:pt x="3779" y="84408"/>
                    <a:pt x="3779" y="76849"/>
                    <a:pt x="3779" y="68031"/>
                  </a:cubicBezTo>
                  <a:cubicBezTo>
                    <a:pt x="3779" y="59212"/>
                    <a:pt x="5039" y="51653"/>
                    <a:pt x="5039" y="42834"/>
                  </a:cubicBezTo>
                  <a:cubicBezTo>
                    <a:pt x="5039" y="36535"/>
                    <a:pt x="5039" y="30236"/>
                    <a:pt x="5039" y="23937"/>
                  </a:cubicBezTo>
                  <a:cubicBezTo>
                    <a:pt x="5039" y="17638"/>
                    <a:pt x="6299" y="10079"/>
                    <a:pt x="6299" y="3780"/>
                  </a:cubicBezTo>
                  <a:cubicBezTo>
                    <a:pt x="6299" y="2520"/>
                    <a:pt x="7559" y="0"/>
                    <a:pt x="10078" y="0"/>
                  </a:cubicBezTo>
                  <a:cubicBezTo>
                    <a:pt x="10078" y="0"/>
                    <a:pt x="10078" y="0"/>
                    <a:pt x="10078" y="0"/>
                  </a:cubicBezTo>
                  <a:cubicBezTo>
                    <a:pt x="11338" y="2520"/>
                    <a:pt x="12598" y="3780"/>
                    <a:pt x="12598" y="5040"/>
                  </a:cubicBezTo>
                </a:path>
              </a:pathLst>
            </a:custGeom>
            <a:solidFill>
              <a:srgbClr val="779AF8"/>
            </a:solidFill>
            <a:ln w="12584" cap="flat">
              <a:noFill/>
              <a:prstDash val="solid"/>
              <a:miter/>
            </a:ln>
          </p:spPr>
          <p:txBody>
            <a:bodyPr rtlCol="0" anchor="ctr"/>
            <a:lstStyle/>
            <a:p>
              <a:endParaRPr lang="zh-CN" altLang="en-US"/>
            </a:p>
          </p:txBody>
        </p:sp>
        <p:sp>
          <p:nvSpPr>
            <p:cNvPr id="203" name="任意多边形: 形状 202"/>
            <p:cNvSpPr/>
            <p:nvPr/>
          </p:nvSpPr>
          <p:spPr>
            <a:xfrm>
              <a:off x="9718960" y="4797488"/>
              <a:ext cx="8580" cy="94384"/>
            </a:xfrm>
            <a:custGeom>
              <a:avLst/>
              <a:gdLst>
                <a:gd name="connsiteX0" fmla="*/ 10078 w 0"/>
                <a:gd name="connsiteY0" fmla="*/ 1260 h 138580"/>
                <a:gd name="connsiteX1" fmla="*/ 8819 w 0"/>
                <a:gd name="connsiteY1" fmla="*/ 25196 h 138580"/>
                <a:gd name="connsiteX2" fmla="*/ 7559 w 0"/>
                <a:gd name="connsiteY2" fmla="*/ 46613 h 138580"/>
                <a:gd name="connsiteX3" fmla="*/ 7559 w 0"/>
                <a:gd name="connsiteY3" fmla="*/ 93227 h 138580"/>
                <a:gd name="connsiteX4" fmla="*/ 8819 w 0"/>
                <a:gd name="connsiteY4" fmla="*/ 109604 h 138580"/>
                <a:gd name="connsiteX5" fmla="*/ 10078 w 0"/>
                <a:gd name="connsiteY5" fmla="*/ 124722 h 138580"/>
                <a:gd name="connsiteX6" fmla="*/ 10078 w 0"/>
                <a:gd name="connsiteY6" fmla="*/ 128502 h 138580"/>
                <a:gd name="connsiteX7" fmla="*/ 10078 w 0"/>
                <a:gd name="connsiteY7" fmla="*/ 131022 h 138580"/>
                <a:gd name="connsiteX8" fmla="*/ 10078 w 0"/>
                <a:gd name="connsiteY8" fmla="*/ 134801 h 138580"/>
                <a:gd name="connsiteX9" fmla="*/ 8819 w 0"/>
                <a:gd name="connsiteY9" fmla="*/ 137321 h 138580"/>
                <a:gd name="connsiteX10" fmla="*/ 6299 w 0"/>
                <a:gd name="connsiteY10" fmla="*/ 139840 h 138580"/>
                <a:gd name="connsiteX11" fmla="*/ 3779 w 0"/>
                <a:gd name="connsiteY11" fmla="*/ 139840 h 138580"/>
                <a:gd name="connsiteX12" fmla="*/ 1260 w 0"/>
                <a:gd name="connsiteY12" fmla="*/ 137321 h 138580"/>
                <a:gd name="connsiteX13" fmla="*/ 0 w 0"/>
                <a:gd name="connsiteY13" fmla="*/ 134801 h 138580"/>
                <a:gd name="connsiteX14" fmla="*/ 0 w 0"/>
                <a:gd name="connsiteY14" fmla="*/ 133541 h 138580"/>
                <a:gd name="connsiteX15" fmla="*/ 0 w 0"/>
                <a:gd name="connsiteY15" fmla="*/ 132281 h 138580"/>
                <a:gd name="connsiteX16" fmla="*/ 0 w 0"/>
                <a:gd name="connsiteY16" fmla="*/ 129762 h 138580"/>
                <a:gd name="connsiteX17" fmla="*/ 0 w 0"/>
                <a:gd name="connsiteY17" fmla="*/ 124722 h 138580"/>
                <a:gd name="connsiteX18" fmla="*/ 0 w 0"/>
                <a:gd name="connsiteY18" fmla="*/ 113384 h 138580"/>
                <a:gd name="connsiteX19" fmla="*/ 0 w 0"/>
                <a:gd name="connsiteY19" fmla="*/ 90707 h 138580"/>
                <a:gd name="connsiteX20" fmla="*/ 0 w 0"/>
                <a:gd name="connsiteY20" fmla="*/ 85668 h 138580"/>
                <a:gd name="connsiteX21" fmla="*/ 0 w 0"/>
                <a:gd name="connsiteY21" fmla="*/ 80629 h 138580"/>
                <a:gd name="connsiteX22" fmla="*/ 0 w 0"/>
                <a:gd name="connsiteY22" fmla="*/ 69290 h 138580"/>
                <a:gd name="connsiteX23" fmla="*/ 1260 w 0"/>
                <a:gd name="connsiteY23" fmla="*/ 45354 h 138580"/>
                <a:gd name="connsiteX24" fmla="*/ 2519 w 0"/>
                <a:gd name="connsiteY24" fmla="*/ 23937 h 138580"/>
                <a:gd name="connsiteX25" fmla="*/ 3779 w 0"/>
                <a:gd name="connsiteY25" fmla="*/ 1260 h 138580"/>
                <a:gd name="connsiteX26" fmla="*/ 5039 w 0"/>
                <a:gd name="connsiteY26" fmla="*/ 0 h 138580"/>
                <a:gd name="connsiteX27" fmla="*/ 5039 w 0"/>
                <a:gd name="connsiteY27" fmla="*/ 0 h 138580"/>
                <a:gd name="connsiteX28" fmla="*/ 10078 w 0"/>
                <a:gd name="connsiteY28" fmla="*/ 126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h="138580">
                  <a:moveTo>
                    <a:pt x="10078" y="1260"/>
                  </a:moveTo>
                  <a:cubicBezTo>
                    <a:pt x="10078" y="8819"/>
                    <a:pt x="8819" y="17637"/>
                    <a:pt x="8819" y="25196"/>
                  </a:cubicBezTo>
                  <a:cubicBezTo>
                    <a:pt x="8819" y="32755"/>
                    <a:pt x="7559" y="39055"/>
                    <a:pt x="7559" y="46613"/>
                  </a:cubicBezTo>
                  <a:cubicBezTo>
                    <a:pt x="7559" y="61731"/>
                    <a:pt x="7559" y="76849"/>
                    <a:pt x="7559" y="93227"/>
                  </a:cubicBezTo>
                  <a:cubicBezTo>
                    <a:pt x="7559" y="98266"/>
                    <a:pt x="8819" y="104565"/>
                    <a:pt x="8819" y="109604"/>
                  </a:cubicBezTo>
                  <a:cubicBezTo>
                    <a:pt x="8819" y="114644"/>
                    <a:pt x="10078" y="119683"/>
                    <a:pt x="10078" y="124722"/>
                  </a:cubicBezTo>
                  <a:cubicBezTo>
                    <a:pt x="10078" y="125982"/>
                    <a:pt x="10078" y="127242"/>
                    <a:pt x="10078" y="128502"/>
                  </a:cubicBezTo>
                  <a:cubicBezTo>
                    <a:pt x="10078" y="129762"/>
                    <a:pt x="10078" y="129762"/>
                    <a:pt x="10078" y="131022"/>
                  </a:cubicBezTo>
                  <a:cubicBezTo>
                    <a:pt x="10078" y="132281"/>
                    <a:pt x="10078" y="133541"/>
                    <a:pt x="10078" y="134801"/>
                  </a:cubicBezTo>
                  <a:cubicBezTo>
                    <a:pt x="10078" y="136061"/>
                    <a:pt x="10078" y="136061"/>
                    <a:pt x="8819" y="137321"/>
                  </a:cubicBezTo>
                  <a:cubicBezTo>
                    <a:pt x="7559" y="138581"/>
                    <a:pt x="7559" y="139840"/>
                    <a:pt x="6299" y="139840"/>
                  </a:cubicBezTo>
                  <a:cubicBezTo>
                    <a:pt x="5039" y="139840"/>
                    <a:pt x="5039" y="139840"/>
                    <a:pt x="3779" y="139840"/>
                  </a:cubicBezTo>
                  <a:cubicBezTo>
                    <a:pt x="2519" y="139840"/>
                    <a:pt x="1260" y="138581"/>
                    <a:pt x="1260" y="137321"/>
                  </a:cubicBezTo>
                  <a:cubicBezTo>
                    <a:pt x="1260" y="136061"/>
                    <a:pt x="0" y="136061"/>
                    <a:pt x="0" y="134801"/>
                  </a:cubicBezTo>
                  <a:cubicBezTo>
                    <a:pt x="0" y="134801"/>
                    <a:pt x="0" y="134801"/>
                    <a:pt x="0" y="133541"/>
                  </a:cubicBezTo>
                  <a:cubicBezTo>
                    <a:pt x="0" y="133541"/>
                    <a:pt x="0" y="132281"/>
                    <a:pt x="0" y="132281"/>
                  </a:cubicBezTo>
                  <a:cubicBezTo>
                    <a:pt x="0" y="131022"/>
                    <a:pt x="0" y="129762"/>
                    <a:pt x="0" y="129762"/>
                  </a:cubicBezTo>
                  <a:cubicBezTo>
                    <a:pt x="0" y="128502"/>
                    <a:pt x="0" y="125982"/>
                    <a:pt x="0" y="124722"/>
                  </a:cubicBezTo>
                  <a:cubicBezTo>
                    <a:pt x="0" y="120943"/>
                    <a:pt x="0" y="117163"/>
                    <a:pt x="0" y="113384"/>
                  </a:cubicBezTo>
                  <a:cubicBezTo>
                    <a:pt x="0" y="105825"/>
                    <a:pt x="0" y="98266"/>
                    <a:pt x="0" y="90707"/>
                  </a:cubicBezTo>
                  <a:cubicBezTo>
                    <a:pt x="0" y="89448"/>
                    <a:pt x="0" y="88188"/>
                    <a:pt x="0" y="85668"/>
                  </a:cubicBezTo>
                  <a:cubicBezTo>
                    <a:pt x="0" y="84408"/>
                    <a:pt x="0" y="81889"/>
                    <a:pt x="0" y="80629"/>
                  </a:cubicBezTo>
                  <a:cubicBezTo>
                    <a:pt x="0" y="76849"/>
                    <a:pt x="0" y="73070"/>
                    <a:pt x="0" y="69290"/>
                  </a:cubicBezTo>
                  <a:cubicBezTo>
                    <a:pt x="0" y="61731"/>
                    <a:pt x="1260" y="52912"/>
                    <a:pt x="1260" y="45354"/>
                  </a:cubicBezTo>
                  <a:cubicBezTo>
                    <a:pt x="1260" y="37795"/>
                    <a:pt x="2519" y="31496"/>
                    <a:pt x="2519" y="23937"/>
                  </a:cubicBezTo>
                  <a:cubicBezTo>
                    <a:pt x="2519" y="16378"/>
                    <a:pt x="3779" y="8819"/>
                    <a:pt x="3779" y="1260"/>
                  </a:cubicBezTo>
                  <a:cubicBezTo>
                    <a:pt x="3779" y="0"/>
                    <a:pt x="5039" y="0"/>
                    <a:pt x="5039" y="0"/>
                  </a:cubicBezTo>
                  <a:cubicBezTo>
                    <a:pt x="5039" y="0"/>
                    <a:pt x="5039" y="0"/>
                    <a:pt x="5039" y="0"/>
                  </a:cubicBezTo>
                  <a:cubicBezTo>
                    <a:pt x="10078" y="0"/>
                    <a:pt x="10078" y="1260"/>
                    <a:pt x="10078" y="1260"/>
                  </a:cubicBezTo>
                </a:path>
              </a:pathLst>
            </a:custGeom>
            <a:solidFill>
              <a:srgbClr val="779AF8"/>
            </a:solidFill>
            <a:ln w="12584" cap="flat">
              <a:noFill/>
              <a:prstDash val="solid"/>
              <a:miter/>
            </a:ln>
          </p:spPr>
          <p:txBody>
            <a:bodyPr rtlCol="0" anchor="ctr"/>
            <a:lstStyle/>
            <a:p>
              <a:endParaRPr lang="zh-CN" altLang="en-US"/>
            </a:p>
          </p:txBody>
        </p:sp>
        <p:sp>
          <p:nvSpPr>
            <p:cNvPr id="204" name="任意多边形: 形状 203"/>
            <p:cNvSpPr/>
            <p:nvPr/>
          </p:nvSpPr>
          <p:spPr>
            <a:xfrm>
              <a:off x="9716386" y="4788737"/>
              <a:ext cx="8580" cy="102964"/>
            </a:xfrm>
            <a:custGeom>
              <a:avLst/>
              <a:gdLst>
                <a:gd name="connsiteX0" fmla="*/ 18897 w 12598"/>
                <a:gd name="connsiteY0" fmla="*/ 5289 h 151178"/>
                <a:gd name="connsiteX1" fmla="*/ 17638 w 12598"/>
                <a:gd name="connsiteY1" fmla="*/ 25447 h 151178"/>
                <a:gd name="connsiteX2" fmla="*/ 16378 w 12598"/>
                <a:gd name="connsiteY2" fmla="*/ 44344 h 151178"/>
                <a:gd name="connsiteX3" fmla="*/ 15118 w 12598"/>
                <a:gd name="connsiteY3" fmla="*/ 84658 h 151178"/>
                <a:gd name="connsiteX4" fmla="*/ 15118 w 12598"/>
                <a:gd name="connsiteY4" fmla="*/ 111115 h 151178"/>
                <a:gd name="connsiteX5" fmla="*/ 15118 w 12598"/>
                <a:gd name="connsiteY5" fmla="*/ 123713 h 151178"/>
                <a:gd name="connsiteX6" fmla="*/ 16378 w 12598"/>
                <a:gd name="connsiteY6" fmla="*/ 136311 h 151178"/>
                <a:gd name="connsiteX7" fmla="*/ 17638 w 12598"/>
                <a:gd name="connsiteY7" fmla="*/ 147649 h 151178"/>
                <a:gd name="connsiteX8" fmla="*/ 16378 w 12598"/>
                <a:gd name="connsiteY8" fmla="*/ 151429 h 151178"/>
                <a:gd name="connsiteX9" fmla="*/ 12598 w 12598"/>
                <a:gd name="connsiteY9" fmla="*/ 153948 h 151178"/>
                <a:gd name="connsiteX10" fmla="*/ 5040 w 12598"/>
                <a:gd name="connsiteY10" fmla="*/ 150169 h 151178"/>
                <a:gd name="connsiteX11" fmla="*/ 1260 w 12598"/>
                <a:gd name="connsiteY11" fmla="*/ 108595 h 151178"/>
                <a:gd name="connsiteX12" fmla="*/ 0 w 12598"/>
                <a:gd name="connsiteY12" fmla="*/ 67021 h 151178"/>
                <a:gd name="connsiteX13" fmla="*/ 0 w 12598"/>
                <a:gd name="connsiteY13" fmla="*/ 35525 h 151178"/>
                <a:gd name="connsiteX14" fmla="*/ 1260 w 12598"/>
                <a:gd name="connsiteY14" fmla="*/ 20408 h 151178"/>
                <a:gd name="connsiteX15" fmla="*/ 2520 w 12598"/>
                <a:gd name="connsiteY15" fmla="*/ 11589 h 151178"/>
                <a:gd name="connsiteX16" fmla="*/ 3780 w 12598"/>
                <a:gd name="connsiteY16" fmla="*/ 4030 h 151178"/>
                <a:gd name="connsiteX17" fmla="*/ 5040 w 12598"/>
                <a:gd name="connsiteY17" fmla="*/ 1510 h 151178"/>
                <a:gd name="connsiteX18" fmla="*/ 8819 w 12598"/>
                <a:gd name="connsiteY18" fmla="*/ 250 h 151178"/>
                <a:gd name="connsiteX19" fmla="*/ 8819 w 12598"/>
                <a:gd name="connsiteY19" fmla="*/ 250 h 151178"/>
                <a:gd name="connsiteX20" fmla="*/ 18897 w 12598"/>
                <a:gd name="connsiteY20" fmla="*/ 528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598" h="151178">
                  <a:moveTo>
                    <a:pt x="18897" y="5289"/>
                  </a:moveTo>
                  <a:cubicBezTo>
                    <a:pt x="18897" y="11589"/>
                    <a:pt x="18897" y="19148"/>
                    <a:pt x="17638" y="25447"/>
                  </a:cubicBezTo>
                  <a:cubicBezTo>
                    <a:pt x="17638" y="31746"/>
                    <a:pt x="17638" y="38045"/>
                    <a:pt x="16378" y="44344"/>
                  </a:cubicBezTo>
                  <a:cubicBezTo>
                    <a:pt x="16378" y="58202"/>
                    <a:pt x="15118" y="70800"/>
                    <a:pt x="15118" y="84658"/>
                  </a:cubicBezTo>
                  <a:cubicBezTo>
                    <a:pt x="15118" y="93477"/>
                    <a:pt x="15118" y="102296"/>
                    <a:pt x="15118" y="111115"/>
                  </a:cubicBezTo>
                  <a:cubicBezTo>
                    <a:pt x="15118" y="114894"/>
                    <a:pt x="15118" y="119933"/>
                    <a:pt x="15118" y="123713"/>
                  </a:cubicBezTo>
                  <a:cubicBezTo>
                    <a:pt x="15118" y="127493"/>
                    <a:pt x="15118" y="131272"/>
                    <a:pt x="16378" y="136311"/>
                  </a:cubicBezTo>
                  <a:cubicBezTo>
                    <a:pt x="16378" y="140091"/>
                    <a:pt x="17638" y="143870"/>
                    <a:pt x="17638" y="147649"/>
                  </a:cubicBezTo>
                  <a:cubicBezTo>
                    <a:pt x="17638" y="148909"/>
                    <a:pt x="17638" y="150169"/>
                    <a:pt x="16378" y="151429"/>
                  </a:cubicBezTo>
                  <a:cubicBezTo>
                    <a:pt x="15118" y="152689"/>
                    <a:pt x="13858" y="153948"/>
                    <a:pt x="12598" y="153948"/>
                  </a:cubicBezTo>
                  <a:cubicBezTo>
                    <a:pt x="10079" y="155208"/>
                    <a:pt x="6299" y="152689"/>
                    <a:pt x="5040" y="150169"/>
                  </a:cubicBezTo>
                  <a:cubicBezTo>
                    <a:pt x="2520" y="136311"/>
                    <a:pt x="1260" y="122453"/>
                    <a:pt x="1260" y="108595"/>
                  </a:cubicBezTo>
                  <a:cubicBezTo>
                    <a:pt x="1260" y="94737"/>
                    <a:pt x="0" y="80879"/>
                    <a:pt x="0" y="67021"/>
                  </a:cubicBezTo>
                  <a:cubicBezTo>
                    <a:pt x="0" y="56942"/>
                    <a:pt x="0" y="45604"/>
                    <a:pt x="0" y="35525"/>
                  </a:cubicBezTo>
                  <a:cubicBezTo>
                    <a:pt x="0" y="30486"/>
                    <a:pt x="0" y="25447"/>
                    <a:pt x="1260" y="20408"/>
                  </a:cubicBezTo>
                  <a:cubicBezTo>
                    <a:pt x="1260" y="17888"/>
                    <a:pt x="2520" y="14108"/>
                    <a:pt x="2520" y="11589"/>
                  </a:cubicBezTo>
                  <a:cubicBezTo>
                    <a:pt x="2520" y="9069"/>
                    <a:pt x="3780" y="6549"/>
                    <a:pt x="3780" y="4030"/>
                  </a:cubicBezTo>
                  <a:cubicBezTo>
                    <a:pt x="3780" y="2770"/>
                    <a:pt x="5040" y="2770"/>
                    <a:pt x="5040" y="1510"/>
                  </a:cubicBezTo>
                  <a:cubicBezTo>
                    <a:pt x="6299" y="250"/>
                    <a:pt x="7559" y="250"/>
                    <a:pt x="8819" y="250"/>
                  </a:cubicBezTo>
                  <a:cubicBezTo>
                    <a:pt x="8819" y="250"/>
                    <a:pt x="8819" y="250"/>
                    <a:pt x="8819" y="250"/>
                  </a:cubicBezTo>
                  <a:cubicBezTo>
                    <a:pt x="16378" y="-1010"/>
                    <a:pt x="18897" y="2770"/>
                    <a:pt x="18897" y="5289"/>
                  </a:cubicBezTo>
                </a:path>
              </a:pathLst>
            </a:custGeom>
            <a:solidFill>
              <a:srgbClr val="779AF8"/>
            </a:solidFill>
            <a:ln w="12584" cap="flat">
              <a:noFill/>
              <a:prstDash val="solid"/>
              <a:miter/>
            </a:ln>
          </p:spPr>
          <p:txBody>
            <a:bodyPr rtlCol="0" anchor="ctr"/>
            <a:lstStyle/>
            <a:p>
              <a:endParaRPr lang="zh-CN" altLang="en-US"/>
            </a:p>
          </p:txBody>
        </p:sp>
        <p:sp>
          <p:nvSpPr>
            <p:cNvPr id="205" name="任意多边形: 形状 204"/>
            <p:cNvSpPr/>
            <p:nvPr/>
          </p:nvSpPr>
          <p:spPr>
            <a:xfrm>
              <a:off x="9779022" y="4757160"/>
              <a:ext cx="8580" cy="128705"/>
            </a:xfrm>
            <a:custGeom>
              <a:avLst/>
              <a:gdLst>
                <a:gd name="connsiteX0" fmla="*/ 21417 w 12598"/>
                <a:gd name="connsiteY0" fmla="*/ 3780 h 188973"/>
                <a:gd name="connsiteX1" fmla="*/ 21417 w 12598"/>
                <a:gd name="connsiteY1" fmla="*/ 18897 h 188973"/>
                <a:gd name="connsiteX2" fmla="*/ 21417 w 12598"/>
                <a:gd name="connsiteY2" fmla="*/ 34015 h 188973"/>
                <a:gd name="connsiteX3" fmla="*/ 20157 w 12598"/>
                <a:gd name="connsiteY3" fmla="*/ 62991 h 188973"/>
                <a:gd name="connsiteX4" fmla="*/ 17637 w 12598"/>
                <a:gd name="connsiteY4" fmla="*/ 91967 h 188973"/>
                <a:gd name="connsiteX5" fmla="*/ 15118 w 12598"/>
                <a:gd name="connsiteY5" fmla="*/ 122203 h 188973"/>
                <a:gd name="connsiteX6" fmla="*/ 12598 w 12598"/>
                <a:gd name="connsiteY6" fmla="*/ 151179 h 188973"/>
                <a:gd name="connsiteX7" fmla="*/ 10078 w 12598"/>
                <a:gd name="connsiteY7" fmla="*/ 180155 h 188973"/>
                <a:gd name="connsiteX8" fmla="*/ 10078 w 12598"/>
                <a:gd name="connsiteY8" fmla="*/ 194013 h 188973"/>
                <a:gd name="connsiteX9" fmla="*/ 5039 w 12598"/>
                <a:gd name="connsiteY9" fmla="*/ 199052 h 188973"/>
                <a:gd name="connsiteX10" fmla="*/ 0 w 12598"/>
                <a:gd name="connsiteY10" fmla="*/ 194013 h 188973"/>
                <a:gd name="connsiteX11" fmla="*/ 0 w 12598"/>
                <a:gd name="connsiteY11" fmla="*/ 176375 h 188973"/>
                <a:gd name="connsiteX12" fmla="*/ 1260 w 12598"/>
                <a:gd name="connsiteY12" fmla="*/ 161258 h 188973"/>
                <a:gd name="connsiteX13" fmla="*/ 3779 w 12598"/>
                <a:gd name="connsiteY13" fmla="*/ 132281 h 188973"/>
                <a:gd name="connsiteX14" fmla="*/ 5039 w 12598"/>
                <a:gd name="connsiteY14" fmla="*/ 103306 h 188973"/>
                <a:gd name="connsiteX15" fmla="*/ 7559 w 12598"/>
                <a:gd name="connsiteY15" fmla="*/ 73070 h 188973"/>
                <a:gd name="connsiteX16" fmla="*/ 10078 w 12598"/>
                <a:gd name="connsiteY16" fmla="*/ 44094 h 188973"/>
                <a:gd name="connsiteX17" fmla="*/ 11338 w 12598"/>
                <a:gd name="connsiteY17" fmla="*/ 28976 h 188973"/>
                <a:gd name="connsiteX18" fmla="*/ 12598 w 12598"/>
                <a:gd name="connsiteY18" fmla="*/ 13858 h 188973"/>
                <a:gd name="connsiteX19" fmla="*/ 13858 w 12598"/>
                <a:gd name="connsiteY19" fmla="*/ 3780 h 188973"/>
                <a:gd name="connsiteX20" fmla="*/ 15118 w 12598"/>
                <a:gd name="connsiteY20" fmla="*/ 1260 h 188973"/>
                <a:gd name="connsiteX21" fmla="*/ 17637 w 12598"/>
                <a:gd name="connsiteY21" fmla="*/ 0 h 188973"/>
                <a:gd name="connsiteX22" fmla="*/ 17637 w 12598"/>
                <a:gd name="connsiteY22" fmla="*/ 0 h 188973"/>
                <a:gd name="connsiteX23" fmla="*/ 21417 w 12598"/>
                <a:gd name="connsiteY23" fmla="*/ 378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598" h="188973">
                  <a:moveTo>
                    <a:pt x="21417" y="3780"/>
                  </a:moveTo>
                  <a:cubicBezTo>
                    <a:pt x="21417" y="8819"/>
                    <a:pt x="21417" y="13858"/>
                    <a:pt x="21417" y="18897"/>
                  </a:cubicBezTo>
                  <a:cubicBezTo>
                    <a:pt x="21417" y="23937"/>
                    <a:pt x="21417" y="28976"/>
                    <a:pt x="21417" y="34015"/>
                  </a:cubicBezTo>
                  <a:cubicBezTo>
                    <a:pt x="21417" y="44094"/>
                    <a:pt x="20157" y="54173"/>
                    <a:pt x="20157" y="62991"/>
                  </a:cubicBezTo>
                  <a:cubicBezTo>
                    <a:pt x="18897" y="73070"/>
                    <a:pt x="18897" y="81889"/>
                    <a:pt x="17637" y="91967"/>
                  </a:cubicBezTo>
                  <a:cubicBezTo>
                    <a:pt x="16378" y="102046"/>
                    <a:pt x="16378" y="112124"/>
                    <a:pt x="15118" y="122203"/>
                  </a:cubicBezTo>
                  <a:cubicBezTo>
                    <a:pt x="15118" y="132281"/>
                    <a:pt x="13858" y="142360"/>
                    <a:pt x="12598" y="151179"/>
                  </a:cubicBezTo>
                  <a:cubicBezTo>
                    <a:pt x="11338" y="161258"/>
                    <a:pt x="11338" y="170076"/>
                    <a:pt x="10078" y="180155"/>
                  </a:cubicBezTo>
                  <a:cubicBezTo>
                    <a:pt x="10078" y="185194"/>
                    <a:pt x="10078" y="188974"/>
                    <a:pt x="10078" y="194013"/>
                  </a:cubicBezTo>
                  <a:cubicBezTo>
                    <a:pt x="10078" y="196533"/>
                    <a:pt x="7559" y="199052"/>
                    <a:pt x="5039" y="199052"/>
                  </a:cubicBezTo>
                  <a:cubicBezTo>
                    <a:pt x="2519" y="199052"/>
                    <a:pt x="0" y="196533"/>
                    <a:pt x="0" y="194013"/>
                  </a:cubicBezTo>
                  <a:cubicBezTo>
                    <a:pt x="0" y="187714"/>
                    <a:pt x="0" y="182674"/>
                    <a:pt x="0" y="176375"/>
                  </a:cubicBezTo>
                  <a:cubicBezTo>
                    <a:pt x="0" y="171336"/>
                    <a:pt x="0" y="166297"/>
                    <a:pt x="1260" y="161258"/>
                  </a:cubicBezTo>
                  <a:cubicBezTo>
                    <a:pt x="1260" y="151179"/>
                    <a:pt x="2519" y="141100"/>
                    <a:pt x="3779" y="132281"/>
                  </a:cubicBezTo>
                  <a:cubicBezTo>
                    <a:pt x="3779" y="122203"/>
                    <a:pt x="5039" y="112124"/>
                    <a:pt x="5039" y="103306"/>
                  </a:cubicBezTo>
                  <a:cubicBezTo>
                    <a:pt x="6299" y="93227"/>
                    <a:pt x="6299" y="83148"/>
                    <a:pt x="7559" y="73070"/>
                  </a:cubicBezTo>
                  <a:cubicBezTo>
                    <a:pt x="8819" y="62991"/>
                    <a:pt x="8819" y="54173"/>
                    <a:pt x="10078" y="44094"/>
                  </a:cubicBezTo>
                  <a:cubicBezTo>
                    <a:pt x="10078" y="39055"/>
                    <a:pt x="11338" y="34015"/>
                    <a:pt x="11338" y="28976"/>
                  </a:cubicBezTo>
                  <a:cubicBezTo>
                    <a:pt x="11338" y="23937"/>
                    <a:pt x="12598" y="18897"/>
                    <a:pt x="12598" y="13858"/>
                  </a:cubicBezTo>
                  <a:cubicBezTo>
                    <a:pt x="12598" y="10079"/>
                    <a:pt x="13858" y="7559"/>
                    <a:pt x="13858" y="3780"/>
                  </a:cubicBezTo>
                  <a:cubicBezTo>
                    <a:pt x="13858" y="2520"/>
                    <a:pt x="13858" y="2520"/>
                    <a:pt x="15118" y="1260"/>
                  </a:cubicBezTo>
                  <a:cubicBezTo>
                    <a:pt x="16378" y="1260"/>
                    <a:pt x="16378" y="0"/>
                    <a:pt x="17637" y="0"/>
                  </a:cubicBezTo>
                  <a:cubicBezTo>
                    <a:pt x="17637" y="0"/>
                    <a:pt x="17637" y="0"/>
                    <a:pt x="17637" y="0"/>
                  </a:cubicBezTo>
                  <a:cubicBezTo>
                    <a:pt x="20157" y="0"/>
                    <a:pt x="21417" y="1260"/>
                    <a:pt x="21417" y="3780"/>
                  </a:cubicBezTo>
                </a:path>
              </a:pathLst>
            </a:custGeom>
            <a:solidFill>
              <a:srgbClr val="779AF8"/>
            </a:solidFill>
            <a:ln w="12584" cap="flat">
              <a:noFill/>
              <a:prstDash val="solid"/>
              <a:miter/>
            </a:ln>
          </p:spPr>
          <p:txBody>
            <a:bodyPr rtlCol="0" anchor="ctr"/>
            <a:lstStyle/>
            <a:p>
              <a:endParaRPr lang="zh-CN" altLang="en-US"/>
            </a:p>
          </p:txBody>
        </p:sp>
        <p:sp>
          <p:nvSpPr>
            <p:cNvPr id="206" name="任意多边形: 形状 205"/>
            <p:cNvSpPr/>
            <p:nvPr/>
          </p:nvSpPr>
          <p:spPr>
            <a:xfrm>
              <a:off x="9820208" y="3646005"/>
              <a:ext cx="77223" cy="34321"/>
            </a:xfrm>
            <a:custGeom>
              <a:avLst/>
              <a:gdLst>
                <a:gd name="connsiteX0" fmla="*/ 122203 w 113384"/>
                <a:gd name="connsiteY0" fmla="*/ 0 h 50392"/>
                <a:gd name="connsiteX1" fmla="*/ 122203 w 113384"/>
                <a:gd name="connsiteY1" fmla="*/ 0 h 50392"/>
                <a:gd name="connsiteX2" fmla="*/ 122203 w 113384"/>
                <a:gd name="connsiteY2" fmla="*/ 3780 h 50392"/>
                <a:gd name="connsiteX3" fmla="*/ 122203 w 113384"/>
                <a:gd name="connsiteY3" fmla="*/ 7559 h 50392"/>
                <a:gd name="connsiteX4" fmla="*/ 122203 w 113384"/>
                <a:gd name="connsiteY4" fmla="*/ 8819 h 50392"/>
                <a:gd name="connsiteX5" fmla="*/ 120943 w 113384"/>
                <a:gd name="connsiteY5" fmla="*/ 12598 h 50392"/>
                <a:gd name="connsiteX6" fmla="*/ 117164 w 113384"/>
                <a:gd name="connsiteY6" fmla="*/ 21417 h 50392"/>
                <a:gd name="connsiteX7" fmla="*/ 112124 w 113384"/>
                <a:gd name="connsiteY7" fmla="*/ 27716 h 50392"/>
                <a:gd name="connsiteX8" fmla="*/ 99526 w 113384"/>
                <a:gd name="connsiteY8" fmla="*/ 40315 h 50392"/>
                <a:gd name="connsiteX9" fmla="*/ 90707 w 113384"/>
                <a:gd name="connsiteY9" fmla="*/ 45354 h 50392"/>
                <a:gd name="connsiteX10" fmla="*/ 89448 w 113384"/>
                <a:gd name="connsiteY10" fmla="*/ 46614 h 50392"/>
                <a:gd name="connsiteX11" fmla="*/ 83148 w 113384"/>
                <a:gd name="connsiteY11" fmla="*/ 50393 h 50392"/>
                <a:gd name="connsiteX12" fmla="*/ 65511 w 113384"/>
                <a:gd name="connsiteY12" fmla="*/ 55432 h 50392"/>
                <a:gd name="connsiteX13" fmla="*/ 55432 w 113384"/>
                <a:gd name="connsiteY13" fmla="*/ 55432 h 50392"/>
                <a:gd name="connsiteX14" fmla="*/ 46614 w 113384"/>
                <a:gd name="connsiteY14" fmla="*/ 55432 h 50392"/>
                <a:gd name="connsiteX15" fmla="*/ 45354 w 113384"/>
                <a:gd name="connsiteY15" fmla="*/ 55432 h 50392"/>
                <a:gd name="connsiteX16" fmla="*/ 37795 w 113384"/>
                <a:gd name="connsiteY16" fmla="*/ 54172 h 50392"/>
                <a:gd name="connsiteX17" fmla="*/ 30236 w 113384"/>
                <a:gd name="connsiteY17" fmla="*/ 51653 h 50392"/>
                <a:gd name="connsiteX18" fmla="*/ 17637 w 113384"/>
                <a:gd name="connsiteY18" fmla="*/ 45354 h 50392"/>
                <a:gd name="connsiteX19" fmla="*/ 11338 w 113384"/>
                <a:gd name="connsiteY19" fmla="*/ 40315 h 50392"/>
                <a:gd name="connsiteX20" fmla="*/ 6299 w 113384"/>
                <a:gd name="connsiteY20" fmla="*/ 34015 h 50392"/>
                <a:gd name="connsiteX21" fmla="*/ 3780 w 113384"/>
                <a:gd name="connsiteY21" fmla="*/ 27716 h 50392"/>
                <a:gd name="connsiteX22" fmla="*/ 1260 w 113384"/>
                <a:gd name="connsiteY22" fmla="*/ 20157 h 50392"/>
                <a:gd name="connsiteX23" fmla="*/ 0 w 113384"/>
                <a:gd name="connsiteY23" fmla="*/ 12598 h 50392"/>
                <a:gd name="connsiteX24" fmla="*/ 0 w 113384"/>
                <a:gd name="connsiteY24" fmla="*/ 12598 h 50392"/>
                <a:gd name="connsiteX25" fmla="*/ 0 w 113384"/>
                <a:gd name="connsiteY25" fmla="*/ 12598 h 50392"/>
                <a:gd name="connsiteX26" fmla="*/ 0 w 113384"/>
                <a:gd name="connsiteY26" fmla="*/ 12598 h 50392"/>
                <a:gd name="connsiteX27" fmla="*/ 6299 w 113384"/>
                <a:gd name="connsiteY27" fmla="*/ 7559 h 50392"/>
                <a:gd name="connsiteX28" fmla="*/ 6299 w 113384"/>
                <a:gd name="connsiteY28" fmla="*/ 7559 h 50392"/>
                <a:gd name="connsiteX29" fmla="*/ 13858 w 113384"/>
                <a:gd name="connsiteY29" fmla="*/ 6299 h 50392"/>
                <a:gd name="connsiteX30" fmla="*/ 34015 w 113384"/>
                <a:gd name="connsiteY30" fmla="*/ 3780 h 50392"/>
                <a:gd name="connsiteX31" fmla="*/ 45354 w 113384"/>
                <a:gd name="connsiteY31" fmla="*/ 2520 h 50392"/>
                <a:gd name="connsiteX32" fmla="*/ 56692 w 113384"/>
                <a:gd name="connsiteY32" fmla="*/ 1260 h 50392"/>
                <a:gd name="connsiteX33" fmla="*/ 76849 w 113384"/>
                <a:gd name="connsiteY33" fmla="*/ 0 h 50392"/>
                <a:gd name="connsiteX34" fmla="*/ 97007 w 113384"/>
                <a:gd name="connsiteY34" fmla="*/ 0 h 50392"/>
                <a:gd name="connsiteX35" fmla="*/ 118423 w 113384"/>
                <a:gd name="connsiteY35" fmla="*/ 0 h 50392"/>
                <a:gd name="connsiteX36" fmla="*/ 122203 w 113384"/>
                <a:gd name="connsiteY36" fmla="*/ 0 h 50392"/>
                <a:gd name="connsiteX37" fmla="*/ 122203 w 113384"/>
                <a:gd name="connsiteY37" fmla="*/ 0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3384" h="50392">
                  <a:moveTo>
                    <a:pt x="122203" y="0"/>
                  </a:moveTo>
                  <a:lnTo>
                    <a:pt x="122203" y="0"/>
                  </a:lnTo>
                  <a:cubicBezTo>
                    <a:pt x="122203" y="1260"/>
                    <a:pt x="122203" y="2520"/>
                    <a:pt x="122203" y="3780"/>
                  </a:cubicBezTo>
                  <a:cubicBezTo>
                    <a:pt x="122203" y="5039"/>
                    <a:pt x="122203" y="6299"/>
                    <a:pt x="122203" y="7559"/>
                  </a:cubicBezTo>
                  <a:lnTo>
                    <a:pt x="122203" y="8819"/>
                  </a:lnTo>
                  <a:cubicBezTo>
                    <a:pt x="122203" y="10079"/>
                    <a:pt x="122203" y="11339"/>
                    <a:pt x="120943" y="12598"/>
                  </a:cubicBezTo>
                  <a:cubicBezTo>
                    <a:pt x="119683" y="15118"/>
                    <a:pt x="118423" y="18897"/>
                    <a:pt x="117164" y="21417"/>
                  </a:cubicBezTo>
                  <a:cubicBezTo>
                    <a:pt x="115904" y="23937"/>
                    <a:pt x="114644" y="25196"/>
                    <a:pt x="112124" y="27716"/>
                  </a:cubicBezTo>
                  <a:cubicBezTo>
                    <a:pt x="108345" y="31496"/>
                    <a:pt x="104566" y="36535"/>
                    <a:pt x="99526" y="40315"/>
                  </a:cubicBezTo>
                  <a:cubicBezTo>
                    <a:pt x="97007" y="41574"/>
                    <a:pt x="94487" y="44094"/>
                    <a:pt x="90707" y="45354"/>
                  </a:cubicBezTo>
                  <a:lnTo>
                    <a:pt x="89448" y="46614"/>
                  </a:lnTo>
                  <a:cubicBezTo>
                    <a:pt x="88188" y="47873"/>
                    <a:pt x="85668" y="49133"/>
                    <a:pt x="83148" y="50393"/>
                  </a:cubicBezTo>
                  <a:cubicBezTo>
                    <a:pt x="78109" y="52913"/>
                    <a:pt x="71810" y="54172"/>
                    <a:pt x="65511" y="55432"/>
                  </a:cubicBezTo>
                  <a:cubicBezTo>
                    <a:pt x="61731" y="55432"/>
                    <a:pt x="59212" y="55432"/>
                    <a:pt x="55432" y="55432"/>
                  </a:cubicBezTo>
                  <a:cubicBezTo>
                    <a:pt x="52913" y="55432"/>
                    <a:pt x="49133" y="55432"/>
                    <a:pt x="46614" y="55432"/>
                  </a:cubicBezTo>
                  <a:cubicBezTo>
                    <a:pt x="46614" y="55432"/>
                    <a:pt x="45354" y="55432"/>
                    <a:pt x="45354" y="55432"/>
                  </a:cubicBezTo>
                  <a:cubicBezTo>
                    <a:pt x="42834" y="55432"/>
                    <a:pt x="40314" y="55432"/>
                    <a:pt x="37795" y="54172"/>
                  </a:cubicBezTo>
                  <a:cubicBezTo>
                    <a:pt x="35275" y="54172"/>
                    <a:pt x="32755" y="52913"/>
                    <a:pt x="30236" y="51653"/>
                  </a:cubicBezTo>
                  <a:cubicBezTo>
                    <a:pt x="26456" y="50393"/>
                    <a:pt x="22677" y="47873"/>
                    <a:pt x="17637" y="45354"/>
                  </a:cubicBezTo>
                  <a:cubicBezTo>
                    <a:pt x="15118" y="44094"/>
                    <a:pt x="12598" y="42834"/>
                    <a:pt x="11338" y="40315"/>
                  </a:cubicBezTo>
                  <a:cubicBezTo>
                    <a:pt x="8819" y="39055"/>
                    <a:pt x="7559" y="36535"/>
                    <a:pt x="6299" y="34015"/>
                  </a:cubicBezTo>
                  <a:cubicBezTo>
                    <a:pt x="5039" y="31496"/>
                    <a:pt x="3780" y="28976"/>
                    <a:pt x="3780" y="27716"/>
                  </a:cubicBezTo>
                  <a:cubicBezTo>
                    <a:pt x="2520" y="25196"/>
                    <a:pt x="2520" y="22677"/>
                    <a:pt x="1260" y="20157"/>
                  </a:cubicBezTo>
                  <a:cubicBezTo>
                    <a:pt x="1260" y="17638"/>
                    <a:pt x="0" y="15118"/>
                    <a:pt x="0" y="12598"/>
                  </a:cubicBezTo>
                  <a:lnTo>
                    <a:pt x="0" y="12598"/>
                  </a:lnTo>
                  <a:cubicBezTo>
                    <a:pt x="0" y="12598"/>
                    <a:pt x="0" y="12598"/>
                    <a:pt x="0" y="12598"/>
                  </a:cubicBezTo>
                  <a:cubicBezTo>
                    <a:pt x="0" y="12598"/>
                    <a:pt x="0" y="12598"/>
                    <a:pt x="0" y="12598"/>
                  </a:cubicBezTo>
                  <a:cubicBezTo>
                    <a:pt x="2520" y="11339"/>
                    <a:pt x="3780" y="10079"/>
                    <a:pt x="6299" y="7559"/>
                  </a:cubicBezTo>
                  <a:cubicBezTo>
                    <a:pt x="6299" y="7559"/>
                    <a:pt x="6299" y="7559"/>
                    <a:pt x="6299" y="7559"/>
                  </a:cubicBezTo>
                  <a:cubicBezTo>
                    <a:pt x="8819" y="7559"/>
                    <a:pt x="11338" y="6299"/>
                    <a:pt x="13858" y="6299"/>
                  </a:cubicBezTo>
                  <a:cubicBezTo>
                    <a:pt x="20157" y="5039"/>
                    <a:pt x="26456" y="5039"/>
                    <a:pt x="34015" y="3780"/>
                  </a:cubicBezTo>
                  <a:cubicBezTo>
                    <a:pt x="37795" y="3780"/>
                    <a:pt x="41574" y="2520"/>
                    <a:pt x="45354" y="2520"/>
                  </a:cubicBezTo>
                  <a:cubicBezTo>
                    <a:pt x="49133" y="2520"/>
                    <a:pt x="52913" y="1260"/>
                    <a:pt x="56692" y="1260"/>
                  </a:cubicBezTo>
                  <a:cubicBezTo>
                    <a:pt x="62991" y="0"/>
                    <a:pt x="69290" y="0"/>
                    <a:pt x="76849" y="0"/>
                  </a:cubicBezTo>
                  <a:cubicBezTo>
                    <a:pt x="83148" y="0"/>
                    <a:pt x="90707" y="0"/>
                    <a:pt x="97007" y="0"/>
                  </a:cubicBezTo>
                  <a:cubicBezTo>
                    <a:pt x="104566" y="0"/>
                    <a:pt x="112124" y="0"/>
                    <a:pt x="118423" y="0"/>
                  </a:cubicBezTo>
                  <a:cubicBezTo>
                    <a:pt x="122203" y="0"/>
                    <a:pt x="122203" y="0"/>
                    <a:pt x="122203" y="0"/>
                  </a:cubicBezTo>
                  <a:lnTo>
                    <a:pt x="122203" y="0"/>
                  </a:lnTo>
                  <a:close/>
                </a:path>
              </a:pathLst>
            </a:custGeom>
            <a:solidFill>
              <a:srgbClr val="FFD671"/>
            </a:solidFill>
            <a:ln w="12584" cap="flat">
              <a:noFill/>
              <a:prstDash val="solid"/>
              <a:miter/>
            </a:ln>
          </p:spPr>
          <p:txBody>
            <a:bodyPr rtlCol="0" anchor="ctr"/>
            <a:lstStyle/>
            <a:p>
              <a:endParaRPr lang="zh-CN" altLang="en-US"/>
            </a:p>
          </p:txBody>
        </p:sp>
        <p:sp>
          <p:nvSpPr>
            <p:cNvPr id="207" name="任意多边形: 形状 206"/>
            <p:cNvSpPr/>
            <p:nvPr/>
          </p:nvSpPr>
          <p:spPr>
            <a:xfrm>
              <a:off x="10049304" y="3882822"/>
              <a:ext cx="94384" cy="60063"/>
            </a:xfrm>
            <a:custGeom>
              <a:avLst/>
              <a:gdLst>
                <a:gd name="connsiteX0" fmla="*/ 108345 w 138580"/>
                <a:gd name="connsiteY0" fmla="*/ 0 h 88187"/>
                <a:gd name="connsiteX1" fmla="*/ 114644 w 138580"/>
                <a:gd name="connsiteY1" fmla="*/ 1260 h 88187"/>
                <a:gd name="connsiteX2" fmla="*/ 122203 w 138580"/>
                <a:gd name="connsiteY2" fmla="*/ 5039 h 88187"/>
                <a:gd name="connsiteX3" fmla="*/ 123463 w 138580"/>
                <a:gd name="connsiteY3" fmla="*/ 6299 h 88187"/>
                <a:gd name="connsiteX4" fmla="*/ 131022 w 138580"/>
                <a:gd name="connsiteY4" fmla="*/ 10079 h 88187"/>
                <a:gd name="connsiteX5" fmla="*/ 134801 w 138580"/>
                <a:gd name="connsiteY5" fmla="*/ 13858 h 88187"/>
                <a:gd name="connsiteX6" fmla="*/ 139840 w 138580"/>
                <a:gd name="connsiteY6" fmla="*/ 25196 h 88187"/>
                <a:gd name="connsiteX7" fmla="*/ 142360 w 138580"/>
                <a:gd name="connsiteY7" fmla="*/ 35275 h 88187"/>
                <a:gd name="connsiteX8" fmla="*/ 142360 w 138580"/>
                <a:gd name="connsiteY8" fmla="*/ 35275 h 88187"/>
                <a:gd name="connsiteX9" fmla="*/ 142360 w 138580"/>
                <a:gd name="connsiteY9" fmla="*/ 35275 h 88187"/>
                <a:gd name="connsiteX10" fmla="*/ 143620 w 138580"/>
                <a:gd name="connsiteY10" fmla="*/ 42834 h 88187"/>
                <a:gd name="connsiteX11" fmla="*/ 143620 w 138580"/>
                <a:gd name="connsiteY11" fmla="*/ 61731 h 88187"/>
                <a:gd name="connsiteX12" fmla="*/ 142360 w 138580"/>
                <a:gd name="connsiteY12" fmla="*/ 80629 h 88187"/>
                <a:gd name="connsiteX13" fmla="*/ 142360 w 138580"/>
                <a:gd name="connsiteY13" fmla="*/ 80629 h 88187"/>
                <a:gd name="connsiteX14" fmla="*/ 142360 w 138580"/>
                <a:gd name="connsiteY14" fmla="*/ 80629 h 88187"/>
                <a:gd name="connsiteX15" fmla="*/ 142360 w 138580"/>
                <a:gd name="connsiteY15" fmla="*/ 80629 h 88187"/>
                <a:gd name="connsiteX16" fmla="*/ 142360 w 138580"/>
                <a:gd name="connsiteY16" fmla="*/ 80629 h 88187"/>
                <a:gd name="connsiteX17" fmla="*/ 142360 w 138580"/>
                <a:gd name="connsiteY17" fmla="*/ 80629 h 88187"/>
                <a:gd name="connsiteX18" fmla="*/ 142360 w 138580"/>
                <a:gd name="connsiteY18" fmla="*/ 80629 h 88187"/>
                <a:gd name="connsiteX19" fmla="*/ 141100 w 138580"/>
                <a:gd name="connsiteY19" fmla="*/ 83148 h 88187"/>
                <a:gd name="connsiteX20" fmla="*/ 137321 w 138580"/>
                <a:gd name="connsiteY20" fmla="*/ 86928 h 88187"/>
                <a:gd name="connsiteX21" fmla="*/ 129762 w 138580"/>
                <a:gd name="connsiteY21" fmla="*/ 91967 h 88187"/>
                <a:gd name="connsiteX22" fmla="*/ 118423 w 138580"/>
                <a:gd name="connsiteY22" fmla="*/ 94487 h 88187"/>
                <a:gd name="connsiteX23" fmla="*/ 107085 w 138580"/>
                <a:gd name="connsiteY23" fmla="*/ 95747 h 88187"/>
                <a:gd name="connsiteX24" fmla="*/ 97006 w 138580"/>
                <a:gd name="connsiteY24" fmla="*/ 95747 h 88187"/>
                <a:gd name="connsiteX25" fmla="*/ 97006 w 138580"/>
                <a:gd name="connsiteY25" fmla="*/ 95747 h 88187"/>
                <a:gd name="connsiteX26" fmla="*/ 90707 w 138580"/>
                <a:gd name="connsiteY26" fmla="*/ 95747 h 88187"/>
                <a:gd name="connsiteX27" fmla="*/ 85668 w 138580"/>
                <a:gd name="connsiteY27" fmla="*/ 95747 h 88187"/>
                <a:gd name="connsiteX28" fmla="*/ 75589 w 138580"/>
                <a:gd name="connsiteY28" fmla="*/ 93227 h 88187"/>
                <a:gd name="connsiteX29" fmla="*/ 74329 w 138580"/>
                <a:gd name="connsiteY29" fmla="*/ 93227 h 88187"/>
                <a:gd name="connsiteX30" fmla="*/ 64251 w 138580"/>
                <a:gd name="connsiteY30" fmla="*/ 90707 h 88187"/>
                <a:gd name="connsiteX31" fmla="*/ 54172 w 138580"/>
                <a:gd name="connsiteY31" fmla="*/ 88188 h 88187"/>
                <a:gd name="connsiteX32" fmla="*/ 40314 w 138580"/>
                <a:gd name="connsiteY32" fmla="*/ 80629 h 88187"/>
                <a:gd name="connsiteX33" fmla="*/ 37795 w 138580"/>
                <a:gd name="connsiteY33" fmla="*/ 79369 h 88187"/>
                <a:gd name="connsiteX34" fmla="*/ 31496 w 138580"/>
                <a:gd name="connsiteY34" fmla="*/ 75589 h 88187"/>
                <a:gd name="connsiteX35" fmla="*/ 27716 w 138580"/>
                <a:gd name="connsiteY35" fmla="*/ 73070 h 88187"/>
                <a:gd name="connsiteX36" fmla="*/ 23937 w 138580"/>
                <a:gd name="connsiteY36" fmla="*/ 70550 h 88187"/>
                <a:gd name="connsiteX37" fmla="*/ 20157 w 138580"/>
                <a:gd name="connsiteY37" fmla="*/ 69290 h 88187"/>
                <a:gd name="connsiteX38" fmla="*/ 15118 w 138580"/>
                <a:gd name="connsiteY38" fmla="*/ 66771 h 88187"/>
                <a:gd name="connsiteX39" fmla="*/ 13858 w 138580"/>
                <a:gd name="connsiteY39" fmla="*/ 65511 h 88187"/>
                <a:gd name="connsiteX40" fmla="*/ 13858 w 138580"/>
                <a:gd name="connsiteY40" fmla="*/ 65511 h 88187"/>
                <a:gd name="connsiteX41" fmla="*/ 11338 w 138580"/>
                <a:gd name="connsiteY41" fmla="*/ 61731 h 88187"/>
                <a:gd name="connsiteX42" fmla="*/ 10078 w 138580"/>
                <a:gd name="connsiteY42" fmla="*/ 60472 h 88187"/>
                <a:gd name="connsiteX43" fmla="*/ 5039 w 138580"/>
                <a:gd name="connsiteY43" fmla="*/ 54172 h 88187"/>
                <a:gd name="connsiteX44" fmla="*/ 0 w 138580"/>
                <a:gd name="connsiteY44" fmla="*/ 47873 h 88187"/>
                <a:gd name="connsiteX45" fmla="*/ 0 w 138580"/>
                <a:gd name="connsiteY45" fmla="*/ 47873 h 88187"/>
                <a:gd name="connsiteX46" fmla="*/ 0 w 138580"/>
                <a:gd name="connsiteY46" fmla="*/ 47873 h 88187"/>
                <a:gd name="connsiteX47" fmla="*/ 0 w 138580"/>
                <a:gd name="connsiteY47" fmla="*/ 47873 h 88187"/>
                <a:gd name="connsiteX48" fmla="*/ 0 w 138580"/>
                <a:gd name="connsiteY48" fmla="*/ 47873 h 88187"/>
                <a:gd name="connsiteX49" fmla="*/ 0 w 138580"/>
                <a:gd name="connsiteY49" fmla="*/ 47873 h 88187"/>
                <a:gd name="connsiteX50" fmla="*/ 0 w 138580"/>
                <a:gd name="connsiteY50" fmla="*/ 47873 h 88187"/>
                <a:gd name="connsiteX51" fmla="*/ 3779 w 138580"/>
                <a:gd name="connsiteY51" fmla="*/ 45354 h 88187"/>
                <a:gd name="connsiteX52" fmla="*/ 3779 w 138580"/>
                <a:gd name="connsiteY52" fmla="*/ 45354 h 88187"/>
                <a:gd name="connsiteX53" fmla="*/ 3779 w 138580"/>
                <a:gd name="connsiteY53" fmla="*/ 45354 h 88187"/>
                <a:gd name="connsiteX54" fmla="*/ 3779 w 138580"/>
                <a:gd name="connsiteY54" fmla="*/ 45354 h 88187"/>
                <a:gd name="connsiteX55" fmla="*/ 3779 w 138580"/>
                <a:gd name="connsiteY55" fmla="*/ 45354 h 88187"/>
                <a:gd name="connsiteX56" fmla="*/ 3779 w 138580"/>
                <a:gd name="connsiteY56" fmla="*/ 45354 h 88187"/>
                <a:gd name="connsiteX57" fmla="*/ 3779 w 138580"/>
                <a:gd name="connsiteY57" fmla="*/ 45354 h 88187"/>
                <a:gd name="connsiteX58" fmla="*/ 3779 w 138580"/>
                <a:gd name="connsiteY58" fmla="*/ 45354 h 88187"/>
                <a:gd name="connsiteX59" fmla="*/ 3779 w 138580"/>
                <a:gd name="connsiteY59" fmla="*/ 45354 h 88187"/>
                <a:gd name="connsiteX60" fmla="*/ 3779 w 138580"/>
                <a:gd name="connsiteY60" fmla="*/ 45354 h 88187"/>
                <a:gd name="connsiteX61" fmla="*/ 3779 w 138580"/>
                <a:gd name="connsiteY61" fmla="*/ 45354 h 88187"/>
                <a:gd name="connsiteX62" fmla="*/ 3779 w 138580"/>
                <a:gd name="connsiteY62" fmla="*/ 45354 h 88187"/>
                <a:gd name="connsiteX63" fmla="*/ 3779 w 138580"/>
                <a:gd name="connsiteY63" fmla="*/ 45354 h 88187"/>
                <a:gd name="connsiteX64" fmla="*/ 3779 w 138580"/>
                <a:gd name="connsiteY64" fmla="*/ 45354 h 88187"/>
                <a:gd name="connsiteX65" fmla="*/ 3779 w 138580"/>
                <a:gd name="connsiteY65" fmla="*/ 45354 h 88187"/>
                <a:gd name="connsiteX66" fmla="*/ 15118 w 138580"/>
                <a:gd name="connsiteY66" fmla="*/ 36535 h 88187"/>
                <a:gd name="connsiteX67" fmla="*/ 20157 w 138580"/>
                <a:gd name="connsiteY67" fmla="*/ 32755 h 88187"/>
                <a:gd name="connsiteX68" fmla="*/ 25196 w 138580"/>
                <a:gd name="connsiteY68" fmla="*/ 28976 h 88187"/>
                <a:gd name="connsiteX69" fmla="*/ 34015 w 138580"/>
                <a:gd name="connsiteY69" fmla="*/ 23937 h 88187"/>
                <a:gd name="connsiteX70" fmla="*/ 37795 w 138580"/>
                <a:gd name="connsiteY70" fmla="*/ 21417 h 88187"/>
                <a:gd name="connsiteX71" fmla="*/ 37795 w 138580"/>
                <a:gd name="connsiteY71" fmla="*/ 21417 h 88187"/>
                <a:gd name="connsiteX72" fmla="*/ 44094 w 138580"/>
                <a:gd name="connsiteY72" fmla="*/ 17637 h 88187"/>
                <a:gd name="connsiteX73" fmla="*/ 61731 w 138580"/>
                <a:gd name="connsiteY73" fmla="*/ 8819 h 88187"/>
                <a:gd name="connsiteX74" fmla="*/ 83148 w 138580"/>
                <a:gd name="connsiteY74" fmla="*/ 2520 h 88187"/>
                <a:gd name="connsiteX75" fmla="*/ 95747 w 138580"/>
                <a:gd name="connsiteY75" fmla="*/ 1260 h 88187"/>
                <a:gd name="connsiteX76" fmla="*/ 108345 w 138580"/>
                <a:gd name="connsiteY76" fmla="*/ 0 h 88187"/>
                <a:gd name="connsiteX77" fmla="*/ 108345 w 138580"/>
                <a:gd name="connsiteY77" fmla="*/ 0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38580" h="88187">
                  <a:moveTo>
                    <a:pt x="108345" y="0"/>
                  </a:moveTo>
                  <a:cubicBezTo>
                    <a:pt x="109604" y="0"/>
                    <a:pt x="112124" y="1260"/>
                    <a:pt x="114644" y="1260"/>
                  </a:cubicBezTo>
                  <a:cubicBezTo>
                    <a:pt x="117163" y="2520"/>
                    <a:pt x="119683" y="3780"/>
                    <a:pt x="122203" y="5039"/>
                  </a:cubicBezTo>
                  <a:lnTo>
                    <a:pt x="123463" y="6299"/>
                  </a:lnTo>
                  <a:cubicBezTo>
                    <a:pt x="125982" y="7559"/>
                    <a:pt x="128502" y="8819"/>
                    <a:pt x="131022" y="10079"/>
                  </a:cubicBezTo>
                  <a:cubicBezTo>
                    <a:pt x="132281" y="11338"/>
                    <a:pt x="133541" y="12598"/>
                    <a:pt x="134801" y="13858"/>
                  </a:cubicBezTo>
                  <a:cubicBezTo>
                    <a:pt x="137321" y="17637"/>
                    <a:pt x="138581" y="21417"/>
                    <a:pt x="139840" y="25196"/>
                  </a:cubicBezTo>
                  <a:cubicBezTo>
                    <a:pt x="141100" y="28976"/>
                    <a:pt x="142360" y="31496"/>
                    <a:pt x="142360" y="35275"/>
                  </a:cubicBezTo>
                  <a:lnTo>
                    <a:pt x="142360" y="35275"/>
                  </a:lnTo>
                  <a:lnTo>
                    <a:pt x="142360" y="35275"/>
                  </a:lnTo>
                  <a:cubicBezTo>
                    <a:pt x="143620" y="37795"/>
                    <a:pt x="143620" y="40314"/>
                    <a:pt x="143620" y="42834"/>
                  </a:cubicBezTo>
                  <a:cubicBezTo>
                    <a:pt x="143620" y="49133"/>
                    <a:pt x="143620" y="56692"/>
                    <a:pt x="143620" y="61731"/>
                  </a:cubicBezTo>
                  <a:cubicBezTo>
                    <a:pt x="143620" y="68030"/>
                    <a:pt x="142360" y="74330"/>
                    <a:pt x="142360" y="80629"/>
                  </a:cubicBezTo>
                  <a:lnTo>
                    <a:pt x="142360" y="80629"/>
                  </a:lnTo>
                  <a:lnTo>
                    <a:pt x="142360" y="80629"/>
                  </a:lnTo>
                  <a:lnTo>
                    <a:pt x="142360" y="80629"/>
                  </a:lnTo>
                  <a:lnTo>
                    <a:pt x="142360" y="80629"/>
                  </a:lnTo>
                  <a:cubicBezTo>
                    <a:pt x="142360" y="80629"/>
                    <a:pt x="142360" y="80629"/>
                    <a:pt x="142360" y="80629"/>
                  </a:cubicBezTo>
                  <a:lnTo>
                    <a:pt x="142360" y="80629"/>
                  </a:lnTo>
                  <a:cubicBezTo>
                    <a:pt x="142360" y="81889"/>
                    <a:pt x="141100" y="81889"/>
                    <a:pt x="141100" y="83148"/>
                  </a:cubicBezTo>
                  <a:cubicBezTo>
                    <a:pt x="139840" y="84408"/>
                    <a:pt x="138581" y="85668"/>
                    <a:pt x="137321" y="86928"/>
                  </a:cubicBezTo>
                  <a:cubicBezTo>
                    <a:pt x="134801" y="89448"/>
                    <a:pt x="132281" y="90707"/>
                    <a:pt x="129762" y="91967"/>
                  </a:cubicBezTo>
                  <a:cubicBezTo>
                    <a:pt x="125982" y="93227"/>
                    <a:pt x="122203" y="94487"/>
                    <a:pt x="118423" y="94487"/>
                  </a:cubicBezTo>
                  <a:cubicBezTo>
                    <a:pt x="114644" y="94487"/>
                    <a:pt x="110864" y="94487"/>
                    <a:pt x="107085" y="95747"/>
                  </a:cubicBezTo>
                  <a:cubicBezTo>
                    <a:pt x="103305" y="95747"/>
                    <a:pt x="99526" y="95747"/>
                    <a:pt x="97006" y="95747"/>
                  </a:cubicBezTo>
                  <a:lnTo>
                    <a:pt x="97006" y="95747"/>
                  </a:lnTo>
                  <a:cubicBezTo>
                    <a:pt x="94487" y="95747"/>
                    <a:pt x="93227" y="95747"/>
                    <a:pt x="90707" y="95747"/>
                  </a:cubicBezTo>
                  <a:cubicBezTo>
                    <a:pt x="89448" y="95747"/>
                    <a:pt x="88188" y="95747"/>
                    <a:pt x="85668" y="95747"/>
                  </a:cubicBezTo>
                  <a:cubicBezTo>
                    <a:pt x="81889" y="95747"/>
                    <a:pt x="79369" y="94487"/>
                    <a:pt x="75589" y="93227"/>
                  </a:cubicBezTo>
                  <a:lnTo>
                    <a:pt x="74329" y="93227"/>
                  </a:lnTo>
                  <a:cubicBezTo>
                    <a:pt x="70550" y="91967"/>
                    <a:pt x="66770" y="91967"/>
                    <a:pt x="64251" y="90707"/>
                  </a:cubicBezTo>
                  <a:cubicBezTo>
                    <a:pt x="61731" y="89448"/>
                    <a:pt x="57952" y="89448"/>
                    <a:pt x="54172" y="88188"/>
                  </a:cubicBezTo>
                  <a:cubicBezTo>
                    <a:pt x="49133" y="85668"/>
                    <a:pt x="45354" y="83148"/>
                    <a:pt x="40314" y="80629"/>
                  </a:cubicBezTo>
                  <a:cubicBezTo>
                    <a:pt x="39055" y="80629"/>
                    <a:pt x="37795" y="79369"/>
                    <a:pt x="37795" y="79369"/>
                  </a:cubicBezTo>
                  <a:cubicBezTo>
                    <a:pt x="35275" y="78109"/>
                    <a:pt x="32755" y="76849"/>
                    <a:pt x="31496" y="75589"/>
                  </a:cubicBezTo>
                  <a:cubicBezTo>
                    <a:pt x="30236" y="75589"/>
                    <a:pt x="28976" y="74330"/>
                    <a:pt x="27716" y="73070"/>
                  </a:cubicBezTo>
                  <a:cubicBezTo>
                    <a:pt x="26456" y="71810"/>
                    <a:pt x="25196" y="71810"/>
                    <a:pt x="23937" y="70550"/>
                  </a:cubicBezTo>
                  <a:cubicBezTo>
                    <a:pt x="22677" y="70550"/>
                    <a:pt x="21417" y="69290"/>
                    <a:pt x="20157" y="69290"/>
                  </a:cubicBezTo>
                  <a:cubicBezTo>
                    <a:pt x="18897" y="68030"/>
                    <a:pt x="16378" y="68030"/>
                    <a:pt x="15118" y="66771"/>
                  </a:cubicBezTo>
                  <a:cubicBezTo>
                    <a:pt x="15118" y="66771"/>
                    <a:pt x="13858" y="65511"/>
                    <a:pt x="13858" y="65511"/>
                  </a:cubicBezTo>
                  <a:lnTo>
                    <a:pt x="13858" y="65511"/>
                  </a:lnTo>
                  <a:cubicBezTo>
                    <a:pt x="12598" y="64251"/>
                    <a:pt x="11338" y="62991"/>
                    <a:pt x="11338" y="61731"/>
                  </a:cubicBezTo>
                  <a:cubicBezTo>
                    <a:pt x="11338" y="61731"/>
                    <a:pt x="10078" y="60472"/>
                    <a:pt x="10078" y="60472"/>
                  </a:cubicBezTo>
                  <a:cubicBezTo>
                    <a:pt x="8819" y="57952"/>
                    <a:pt x="7559" y="56692"/>
                    <a:pt x="5039" y="54172"/>
                  </a:cubicBezTo>
                  <a:cubicBezTo>
                    <a:pt x="3779" y="51653"/>
                    <a:pt x="1260" y="49133"/>
                    <a:pt x="0" y="47873"/>
                  </a:cubicBezTo>
                  <a:lnTo>
                    <a:pt x="0" y="47873"/>
                  </a:lnTo>
                  <a:lnTo>
                    <a:pt x="0" y="47873"/>
                  </a:lnTo>
                  <a:lnTo>
                    <a:pt x="0" y="47873"/>
                  </a:lnTo>
                  <a:lnTo>
                    <a:pt x="0" y="47873"/>
                  </a:lnTo>
                  <a:lnTo>
                    <a:pt x="0" y="47873"/>
                  </a:lnTo>
                  <a:lnTo>
                    <a:pt x="0" y="47873"/>
                  </a:lnTo>
                  <a:cubicBezTo>
                    <a:pt x="1260" y="46613"/>
                    <a:pt x="2519" y="46613"/>
                    <a:pt x="3779" y="45354"/>
                  </a:cubicBezTo>
                  <a:cubicBezTo>
                    <a:pt x="3779" y="45354"/>
                    <a:pt x="3779" y="45354"/>
                    <a:pt x="3779" y="45354"/>
                  </a:cubicBezTo>
                  <a:lnTo>
                    <a:pt x="3779" y="45354"/>
                  </a:lnTo>
                  <a:lnTo>
                    <a:pt x="3779" y="45354"/>
                  </a:lnTo>
                  <a:cubicBezTo>
                    <a:pt x="3779" y="45354"/>
                    <a:pt x="3779" y="45354"/>
                    <a:pt x="3779" y="45354"/>
                  </a:cubicBezTo>
                  <a:cubicBezTo>
                    <a:pt x="3779" y="45354"/>
                    <a:pt x="3779" y="45354"/>
                    <a:pt x="3779" y="45354"/>
                  </a:cubicBezTo>
                  <a:lnTo>
                    <a:pt x="3779" y="45354"/>
                  </a:lnTo>
                  <a:lnTo>
                    <a:pt x="3779" y="45354"/>
                  </a:lnTo>
                  <a:lnTo>
                    <a:pt x="3779" y="45354"/>
                  </a:lnTo>
                  <a:lnTo>
                    <a:pt x="3779" y="45354"/>
                  </a:lnTo>
                  <a:lnTo>
                    <a:pt x="3779" y="45354"/>
                  </a:lnTo>
                  <a:lnTo>
                    <a:pt x="3779" y="45354"/>
                  </a:lnTo>
                  <a:lnTo>
                    <a:pt x="3779" y="45354"/>
                  </a:lnTo>
                  <a:lnTo>
                    <a:pt x="3779" y="45354"/>
                  </a:lnTo>
                  <a:lnTo>
                    <a:pt x="3779" y="45354"/>
                  </a:lnTo>
                  <a:cubicBezTo>
                    <a:pt x="7559" y="42834"/>
                    <a:pt x="11338" y="40314"/>
                    <a:pt x="15118" y="36535"/>
                  </a:cubicBezTo>
                  <a:cubicBezTo>
                    <a:pt x="16378" y="35275"/>
                    <a:pt x="18897" y="34015"/>
                    <a:pt x="20157" y="32755"/>
                  </a:cubicBezTo>
                  <a:cubicBezTo>
                    <a:pt x="21417" y="31496"/>
                    <a:pt x="22677" y="30236"/>
                    <a:pt x="25196" y="28976"/>
                  </a:cubicBezTo>
                  <a:cubicBezTo>
                    <a:pt x="27716" y="26456"/>
                    <a:pt x="31496" y="25196"/>
                    <a:pt x="34015" y="23937"/>
                  </a:cubicBezTo>
                  <a:cubicBezTo>
                    <a:pt x="35275" y="22677"/>
                    <a:pt x="36535" y="22677"/>
                    <a:pt x="37795" y="21417"/>
                  </a:cubicBezTo>
                  <a:lnTo>
                    <a:pt x="37795" y="21417"/>
                  </a:lnTo>
                  <a:cubicBezTo>
                    <a:pt x="40314" y="20157"/>
                    <a:pt x="41574" y="18897"/>
                    <a:pt x="44094" y="17637"/>
                  </a:cubicBezTo>
                  <a:cubicBezTo>
                    <a:pt x="49133" y="15118"/>
                    <a:pt x="55432" y="11338"/>
                    <a:pt x="61731" y="8819"/>
                  </a:cubicBezTo>
                  <a:cubicBezTo>
                    <a:pt x="68030" y="6299"/>
                    <a:pt x="75589" y="3780"/>
                    <a:pt x="83148" y="2520"/>
                  </a:cubicBezTo>
                  <a:cubicBezTo>
                    <a:pt x="88188" y="2520"/>
                    <a:pt x="91967" y="1260"/>
                    <a:pt x="95747" y="1260"/>
                  </a:cubicBezTo>
                  <a:cubicBezTo>
                    <a:pt x="99526" y="0"/>
                    <a:pt x="103305" y="0"/>
                    <a:pt x="108345" y="0"/>
                  </a:cubicBezTo>
                  <a:lnTo>
                    <a:pt x="108345" y="0"/>
                  </a:lnTo>
                  <a:close/>
                </a:path>
              </a:pathLst>
            </a:custGeom>
            <a:solidFill>
              <a:srgbClr val="FFD671"/>
            </a:solidFill>
            <a:ln w="12584" cap="flat">
              <a:noFill/>
              <a:prstDash val="solid"/>
              <a:miter/>
            </a:ln>
          </p:spPr>
          <p:txBody>
            <a:bodyPr rtlCol="0" anchor="ctr"/>
            <a:lstStyle/>
            <a:p>
              <a:endParaRPr lang="zh-CN" altLang="en-US"/>
            </a:p>
          </p:txBody>
        </p:sp>
        <p:sp>
          <p:nvSpPr>
            <p:cNvPr id="208" name="任意多边形: 形状 207"/>
            <p:cNvSpPr/>
            <p:nvPr/>
          </p:nvSpPr>
          <p:spPr>
            <a:xfrm>
              <a:off x="9914592" y="3974632"/>
              <a:ext cx="68643" cy="171607"/>
            </a:xfrm>
            <a:custGeom>
              <a:avLst/>
              <a:gdLst>
                <a:gd name="connsiteX0" fmla="*/ 99526 w 100785"/>
                <a:gd name="connsiteY0" fmla="*/ 47873 h 251964"/>
                <a:gd name="connsiteX1" fmla="*/ 99526 w 100785"/>
                <a:gd name="connsiteY1" fmla="*/ 60472 h 251964"/>
                <a:gd name="connsiteX2" fmla="*/ 98266 w 100785"/>
                <a:gd name="connsiteY2" fmla="*/ 81889 h 251964"/>
                <a:gd name="connsiteX3" fmla="*/ 98266 w 100785"/>
                <a:gd name="connsiteY3" fmla="*/ 85668 h 251964"/>
                <a:gd name="connsiteX4" fmla="*/ 97007 w 100785"/>
                <a:gd name="connsiteY4" fmla="*/ 117164 h 251964"/>
                <a:gd name="connsiteX5" fmla="*/ 97007 w 100785"/>
                <a:gd name="connsiteY5" fmla="*/ 118424 h 251964"/>
                <a:gd name="connsiteX6" fmla="*/ 95747 w 100785"/>
                <a:gd name="connsiteY6" fmla="*/ 134801 h 251964"/>
                <a:gd name="connsiteX7" fmla="*/ 95747 w 100785"/>
                <a:gd name="connsiteY7" fmla="*/ 137321 h 251964"/>
                <a:gd name="connsiteX8" fmla="*/ 94487 w 100785"/>
                <a:gd name="connsiteY8" fmla="*/ 142360 h 251964"/>
                <a:gd name="connsiteX9" fmla="*/ 93227 w 100785"/>
                <a:gd name="connsiteY9" fmla="*/ 151179 h 251964"/>
                <a:gd name="connsiteX10" fmla="*/ 91967 w 100785"/>
                <a:gd name="connsiteY10" fmla="*/ 167557 h 251964"/>
                <a:gd name="connsiteX11" fmla="*/ 91967 w 100785"/>
                <a:gd name="connsiteY11" fmla="*/ 168816 h 251964"/>
                <a:gd name="connsiteX12" fmla="*/ 89448 w 100785"/>
                <a:gd name="connsiteY12" fmla="*/ 185194 h 251964"/>
                <a:gd name="connsiteX13" fmla="*/ 89448 w 100785"/>
                <a:gd name="connsiteY13" fmla="*/ 186454 h 251964"/>
                <a:gd name="connsiteX14" fmla="*/ 86928 w 100785"/>
                <a:gd name="connsiteY14" fmla="*/ 201572 h 251964"/>
                <a:gd name="connsiteX15" fmla="*/ 84408 w 100785"/>
                <a:gd name="connsiteY15" fmla="*/ 219209 h 251964"/>
                <a:gd name="connsiteX16" fmla="*/ 80629 w 100785"/>
                <a:gd name="connsiteY16" fmla="*/ 235587 h 251964"/>
                <a:gd name="connsiteX17" fmla="*/ 78109 w 100785"/>
                <a:gd name="connsiteY17" fmla="*/ 243146 h 251964"/>
                <a:gd name="connsiteX18" fmla="*/ 76849 w 100785"/>
                <a:gd name="connsiteY18" fmla="*/ 246925 h 251964"/>
                <a:gd name="connsiteX19" fmla="*/ 73070 w 100785"/>
                <a:gd name="connsiteY19" fmla="*/ 249445 h 251964"/>
                <a:gd name="connsiteX20" fmla="*/ 68030 w 100785"/>
                <a:gd name="connsiteY20" fmla="*/ 250705 h 251964"/>
                <a:gd name="connsiteX21" fmla="*/ 64251 w 100785"/>
                <a:gd name="connsiteY21" fmla="*/ 250705 h 251964"/>
                <a:gd name="connsiteX22" fmla="*/ 64251 w 100785"/>
                <a:gd name="connsiteY22" fmla="*/ 250705 h 251964"/>
                <a:gd name="connsiteX23" fmla="*/ 54173 w 100785"/>
                <a:gd name="connsiteY23" fmla="*/ 251965 h 251964"/>
                <a:gd name="connsiteX24" fmla="*/ 52913 w 100785"/>
                <a:gd name="connsiteY24" fmla="*/ 251965 h 251964"/>
                <a:gd name="connsiteX25" fmla="*/ 47874 w 100785"/>
                <a:gd name="connsiteY25" fmla="*/ 251965 h 251964"/>
                <a:gd name="connsiteX26" fmla="*/ 47874 w 100785"/>
                <a:gd name="connsiteY26" fmla="*/ 251965 h 251964"/>
                <a:gd name="connsiteX27" fmla="*/ 47874 w 100785"/>
                <a:gd name="connsiteY27" fmla="*/ 251965 h 251964"/>
                <a:gd name="connsiteX28" fmla="*/ 47874 w 100785"/>
                <a:gd name="connsiteY28" fmla="*/ 251965 h 251964"/>
                <a:gd name="connsiteX29" fmla="*/ 47874 w 100785"/>
                <a:gd name="connsiteY29" fmla="*/ 251965 h 251964"/>
                <a:gd name="connsiteX30" fmla="*/ 47874 w 100785"/>
                <a:gd name="connsiteY30" fmla="*/ 251965 h 251964"/>
                <a:gd name="connsiteX31" fmla="*/ 47874 w 100785"/>
                <a:gd name="connsiteY31" fmla="*/ 251965 h 251964"/>
                <a:gd name="connsiteX32" fmla="*/ 47874 w 100785"/>
                <a:gd name="connsiteY32" fmla="*/ 251965 h 251964"/>
                <a:gd name="connsiteX33" fmla="*/ 39055 w 100785"/>
                <a:gd name="connsiteY33" fmla="*/ 249445 h 251964"/>
                <a:gd name="connsiteX34" fmla="*/ 39055 w 100785"/>
                <a:gd name="connsiteY34" fmla="*/ 249445 h 251964"/>
                <a:gd name="connsiteX35" fmla="*/ 31496 w 100785"/>
                <a:gd name="connsiteY35" fmla="*/ 245666 h 251964"/>
                <a:gd name="connsiteX36" fmla="*/ 28976 w 100785"/>
                <a:gd name="connsiteY36" fmla="*/ 244406 h 251964"/>
                <a:gd name="connsiteX37" fmla="*/ 27716 w 100785"/>
                <a:gd name="connsiteY37" fmla="*/ 244406 h 251964"/>
                <a:gd name="connsiteX38" fmla="*/ 23937 w 100785"/>
                <a:gd name="connsiteY38" fmla="*/ 241886 h 251964"/>
                <a:gd name="connsiteX39" fmla="*/ 21417 w 100785"/>
                <a:gd name="connsiteY39" fmla="*/ 239366 h 251964"/>
                <a:gd name="connsiteX40" fmla="*/ 21417 w 100785"/>
                <a:gd name="connsiteY40" fmla="*/ 239366 h 251964"/>
                <a:gd name="connsiteX41" fmla="*/ 15118 w 100785"/>
                <a:gd name="connsiteY41" fmla="*/ 231808 h 251964"/>
                <a:gd name="connsiteX42" fmla="*/ 15118 w 100785"/>
                <a:gd name="connsiteY42" fmla="*/ 230548 h 251964"/>
                <a:gd name="connsiteX43" fmla="*/ 13858 w 100785"/>
                <a:gd name="connsiteY43" fmla="*/ 228028 h 251964"/>
                <a:gd name="connsiteX44" fmla="*/ 11338 w 100785"/>
                <a:gd name="connsiteY44" fmla="*/ 224249 h 251964"/>
                <a:gd name="connsiteX45" fmla="*/ 7559 w 100785"/>
                <a:gd name="connsiteY45" fmla="*/ 215430 h 251964"/>
                <a:gd name="connsiteX46" fmla="*/ 3780 w 100785"/>
                <a:gd name="connsiteY46" fmla="*/ 205351 h 251964"/>
                <a:gd name="connsiteX47" fmla="*/ 3780 w 100785"/>
                <a:gd name="connsiteY47" fmla="*/ 204091 h 251964"/>
                <a:gd name="connsiteX48" fmla="*/ 0 w 100785"/>
                <a:gd name="connsiteY48" fmla="*/ 186454 h 251964"/>
                <a:gd name="connsiteX49" fmla="*/ 0 w 100785"/>
                <a:gd name="connsiteY49" fmla="*/ 178895 h 251964"/>
                <a:gd name="connsiteX50" fmla="*/ 0 w 100785"/>
                <a:gd name="connsiteY50" fmla="*/ 176375 h 251964"/>
                <a:gd name="connsiteX51" fmla="*/ 0 w 100785"/>
                <a:gd name="connsiteY51" fmla="*/ 170076 h 251964"/>
                <a:gd name="connsiteX52" fmla="*/ 0 w 100785"/>
                <a:gd name="connsiteY52" fmla="*/ 167557 h 251964"/>
                <a:gd name="connsiteX53" fmla="*/ 0 w 100785"/>
                <a:gd name="connsiteY53" fmla="*/ 167557 h 251964"/>
                <a:gd name="connsiteX54" fmla="*/ 0 w 100785"/>
                <a:gd name="connsiteY54" fmla="*/ 167557 h 251964"/>
                <a:gd name="connsiteX55" fmla="*/ 0 w 100785"/>
                <a:gd name="connsiteY55" fmla="*/ 162517 h 251964"/>
                <a:gd name="connsiteX56" fmla="*/ 0 w 100785"/>
                <a:gd name="connsiteY56" fmla="*/ 159998 h 251964"/>
                <a:gd name="connsiteX57" fmla="*/ 0 w 100785"/>
                <a:gd name="connsiteY57" fmla="*/ 157478 h 251964"/>
                <a:gd name="connsiteX58" fmla="*/ 0 w 100785"/>
                <a:gd name="connsiteY58" fmla="*/ 152439 h 251964"/>
                <a:gd name="connsiteX59" fmla="*/ 2520 w 100785"/>
                <a:gd name="connsiteY59" fmla="*/ 144880 h 251964"/>
                <a:gd name="connsiteX60" fmla="*/ 2520 w 100785"/>
                <a:gd name="connsiteY60" fmla="*/ 144880 h 251964"/>
                <a:gd name="connsiteX61" fmla="*/ 2520 w 100785"/>
                <a:gd name="connsiteY61" fmla="*/ 143620 h 251964"/>
                <a:gd name="connsiteX62" fmla="*/ 5039 w 100785"/>
                <a:gd name="connsiteY62" fmla="*/ 134801 h 251964"/>
                <a:gd name="connsiteX63" fmla="*/ 5039 w 100785"/>
                <a:gd name="connsiteY63" fmla="*/ 133541 h 251964"/>
                <a:gd name="connsiteX64" fmla="*/ 5039 w 100785"/>
                <a:gd name="connsiteY64" fmla="*/ 133541 h 251964"/>
                <a:gd name="connsiteX65" fmla="*/ 11338 w 100785"/>
                <a:gd name="connsiteY65" fmla="*/ 119683 h 251964"/>
                <a:gd name="connsiteX66" fmla="*/ 12598 w 100785"/>
                <a:gd name="connsiteY66" fmla="*/ 117164 h 251964"/>
                <a:gd name="connsiteX67" fmla="*/ 12598 w 100785"/>
                <a:gd name="connsiteY67" fmla="*/ 117164 h 251964"/>
                <a:gd name="connsiteX68" fmla="*/ 15118 w 100785"/>
                <a:gd name="connsiteY68" fmla="*/ 112124 h 251964"/>
                <a:gd name="connsiteX69" fmla="*/ 20157 w 100785"/>
                <a:gd name="connsiteY69" fmla="*/ 103305 h 251964"/>
                <a:gd name="connsiteX70" fmla="*/ 20157 w 100785"/>
                <a:gd name="connsiteY70" fmla="*/ 103305 h 251964"/>
                <a:gd name="connsiteX71" fmla="*/ 27716 w 100785"/>
                <a:gd name="connsiteY71" fmla="*/ 89448 h 251964"/>
                <a:gd name="connsiteX72" fmla="*/ 37795 w 100785"/>
                <a:gd name="connsiteY72" fmla="*/ 74330 h 251964"/>
                <a:gd name="connsiteX73" fmla="*/ 49133 w 100785"/>
                <a:gd name="connsiteY73" fmla="*/ 59212 h 251964"/>
                <a:gd name="connsiteX74" fmla="*/ 69290 w 100785"/>
                <a:gd name="connsiteY74" fmla="*/ 35275 h 251964"/>
                <a:gd name="connsiteX75" fmla="*/ 71810 w 100785"/>
                <a:gd name="connsiteY75" fmla="*/ 32755 h 251964"/>
                <a:gd name="connsiteX76" fmla="*/ 95747 w 100785"/>
                <a:gd name="connsiteY76" fmla="*/ 7559 h 251964"/>
                <a:gd name="connsiteX77" fmla="*/ 104566 w 100785"/>
                <a:gd name="connsiteY77" fmla="*/ 0 h 251964"/>
                <a:gd name="connsiteX78" fmla="*/ 104566 w 100785"/>
                <a:gd name="connsiteY78" fmla="*/ 0 h 251964"/>
                <a:gd name="connsiteX79" fmla="*/ 104566 w 100785"/>
                <a:gd name="connsiteY79" fmla="*/ 0 h 251964"/>
                <a:gd name="connsiteX80" fmla="*/ 99526 w 100785"/>
                <a:gd name="connsiteY80" fmla="*/ 47873 h 25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00785" h="251964">
                  <a:moveTo>
                    <a:pt x="99526" y="47873"/>
                  </a:moveTo>
                  <a:cubicBezTo>
                    <a:pt x="99526" y="51653"/>
                    <a:pt x="99526" y="56692"/>
                    <a:pt x="99526" y="60472"/>
                  </a:cubicBezTo>
                  <a:cubicBezTo>
                    <a:pt x="99526" y="68031"/>
                    <a:pt x="99526" y="75589"/>
                    <a:pt x="98266" y="81889"/>
                  </a:cubicBezTo>
                  <a:lnTo>
                    <a:pt x="98266" y="85668"/>
                  </a:lnTo>
                  <a:cubicBezTo>
                    <a:pt x="98266" y="95747"/>
                    <a:pt x="98266" y="107085"/>
                    <a:pt x="97007" y="117164"/>
                  </a:cubicBezTo>
                  <a:lnTo>
                    <a:pt x="97007" y="118424"/>
                  </a:lnTo>
                  <a:cubicBezTo>
                    <a:pt x="97007" y="123463"/>
                    <a:pt x="95747" y="128502"/>
                    <a:pt x="95747" y="134801"/>
                  </a:cubicBezTo>
                  <a:cubicBezTo>
                    <a:pt x="95747" y="136061"/>
                    <a:pt x="95747" y="136061"/>
                    <a:pt x="95747" y="137321"/>
                  </a:cubicBezTo>
                  <a:cubicBezTo>
                    <a:pt x="95747" y="138581"/>
                    <a:pt x="95747" y="141100"/>
                    <a:pt x="94487" y="142360"/>
                  </a:cubicBezTo>
                  <a:cubicBezTo>
                    <a:pt x="94487" y="144880"/>
                    <a:pt x="94487" y="148659"/>
                    <a:pt x="93227" y="151179"/>
                  </a:cubicBezTo>
                  <a:cubicBezTo>
                    <a:pt x="93227" y="156218"/>
                    <a:pt x="91967" y="162517"/>
                    <a:pt x="91967" y="167557"/>
                  </a:cubicBezTo>
                  <a:lnTo>
                    <a:pt x="91967" y="168816"/>
                  </a:lnTo>
                  <a:cubicBezTo>
                    <a:pt x="91967" y="173856"/>
                    <a:pt x="90707" y="180155"/>
                    <a:pt x="89448" y="185194"/>
                  </a:cubicBezTo>
                  <a:lnTo>
                    <a:pt x="89448" y="186454"/>
                  </a:lnTo>
                  <a:cubicBezTo>
                    <a:pt x="88188" y="191493"/>
                    <a:pt x="88188" y="196533"/>
                    <a:pt x="86928" y="201572"/>
                  </a:cubicBezTo>
                  <a:cubicBezTo>
                    <a:pt x="85668" y="206611"/>
                    <a:pt x="85668" y="212910"/>
                    <a:pt x="84408" y="219209"/>
                  </a:cubicBezTo>
                  <a:cubicBezTo>
                    <a:pt x="83148" y="224249"/>
                    <a:pt x="81889" y="230548"/>
                    <a:pt x="80629" y="235587"/>
                  </a:cubicBezTo>
                  <a:cubicBezTo>
                    <a:pt x="79369" y="238107"/>
                    <a:pt x="79369" y="240626"/>
                    <a:pt x="78109" y="243146"/>
                  </a:cubicBezTo>
                  <a:cubicBezTo>
                    <a:pt x="78109" y="244406"/>
                    <a:pt x="76849" y="245666"/>
                    <a:pt x="76849" y="246925"/>
                  </a:cubicBezTo>
                  <a:cubicBezTo>
                    <a:pt x="75589" y="248185"/>
                    <a:pt x="74329" y="249445"/>
                    <a:pt x="73070" y="249445"/>
                  </a:cubicBezTo>
                  <a:cubicBezTo>
                    <a:pt x="71810" y="250705"/>
                    <a:pt x="69290" y="250705"/>
                    <a:pt x="68030" y="250705"/>
                  </a:cubicBezTo>
                  <a:cubicBezTo>
                    <a:pt x="66771" y="250705"/>
                    <a:pt x="65511" y="250705"/>
                    <a:pt x="64251" y="250705"/>
                  </a:cubicBezTo>
                  <a:lnTo>
                    <a:pt x="64251" y="250705"/>
                  </a:lnTo>
                  <a:cubicBezTo>
                    <a:pt x="60472" y="250705"/>
                    <a:pt x="56692" y="251965"/>
                    <a:pt x="54173" y="251965"/>
                  </a:cubicBezTo>
                  <a:lnTo>
                    <a:pt x="52913" y="251965"/>
                  </a:lnTo>
                  <a:cubicBezTo>
                    <a:pt x="51653" y="251965"/>
                    <a:pt x="50393" y="251965"/>
                    <a:pt x="47874" y="251965"/>
                  </a:cubicBezTo>
                  <a:lnTo>
                    <a:pt x="47874" y="251965"/>
                  </a:lnTo>
                  <a:cubicBezTo>
                    <a:pt x="47874" y="251965"/>
                    <a:pt x="47874" y="251965"/>
                    <a:pt x="47874" y="251965"/>
                  </a:cubicBezTo>
                  <a:cubicBezTo>
                    <a:pt x="47874" y="251965"/>
                    <a:pt x="47874" y="251965"/>
                    <a:pt x="47874" y="251965"/>
                  </a:cubicBezTo>
                  <a:cubicBezTo>
                    <a:pt x="47874" y="251965"/>
                    <a:pt x="47874" y="251965"/>
                    <a:pt x="47874" y="251965"/>
                  </a:cubicBezTo>
                  <a:lnTo>
                    <a:pt x="47874" y="251965"/>
                  </a:lnTo>
                  <a:lnTo>
                    <a:pt x="47874" y="251965"/>
                  </a:lnTo>
                  <a:cubicBezTo>
                    <a:pt x="47874" y="251965"/>
                    <a:pt x="47874" y="251965"/>
                    <a:pt x="47874" y="251965"/>
                  </a:cubicBezTo>
                  <a:cubicBezTo>
                    <a:pt x="44094" y="250705"/>
                    <a:pt x="41574" y="249445"/>
                    <a:pt x="39055" y="249445"/>
                  </a:cubicBezTo>
                  <a:lnTo>
                    <a:pt x="39055" y="249445"/>
                  </a:lnTo>
                  <a:cubicBezTo>
                    <a:pt x="36535" y="248185"/>
                    <a:pt x="34015" y="246925"/>
                    <a:pt x="31496" y="245666"/>
                  </a:cubicBezTo>
                  <a:cubicBezTo>
                    <a:pt x="30236" y="245666"/>
                    <a:pt x="28976" y="244406"/>
                    <a:pt x="28976" y="244406"/>
                  </a:cubicBezTo>
                  <a:lnTo>
                    <a:pt x="27716" y="244406"/>
                  </a:lnTo>
                  <a:cubicBezTo>
                    <a:pt x="26456" y="243146"/>
                    <a:pt x="25196" y="243146"/>
                    <a:pt x="23937" y="241886"/>
                  </a:cubicBezTo>
                  <a:cubicBezTo>
                    <a:pt x="22677" y="240626"/>
                    <a:pt x="22677" y="240626"/>
                    <a:pt x="21417" y="239366"/>
                  </a:cubicBezTo>
                  <a:lnTo>
                    <a:pt x="21417" y="239366"/>
                  </a:lnTo>
                  <a:cubicBezTo>
                    <a:pt x="18897" y="236847"/>
                    <a:pt x="17637" y="234327"/>
                    <a:pt x="15118" y="231808"/>
                  </a:cubicBezTo>
                  <a:lnTo>
                    <a:pt x="15118" y="230548"/>
                  </a:lnTo>
                  <a:cubicBezTo>
                    <a:pt x="15118" y="230548"/>
                    <a:pt x="13858" y="229288"/>
                    <a:pt x="13858" y="228028"/>
                  </a:cubicBezTo>
                  <a:cubicBezTo>
                    <a:pt x="12598" y="226768"/>
                    <a:pt x="12598" y="225508"/>
                    <a:pt x="11338" y="224249"/>
                  </a:cubicBezTo>
                  <a:cubicBezTo>
                    <a:pt x="10079" y="221729"/>
                    <a:pt x="8819" y="217949"/>
                    <a:pt x="7559" y="215430"/>
                  </a:cubicBezTo>
                  <a:cubicBezTo>
                    <a:pt x="6299" y="211650"/>
                    <a:pt x="5039" y="209131"/>
                    <a:pt x="3780" y="205351"/>
                  </a:cubicBezTo>
                  <a:lnTo>
                    <a:pt x="3780" y="204091"/>
                  </a:lnTo>
                  <a:cubicBezTo>
                    <a:pt x="2520" y="199052"/>
                    <a:pt x="1260" y="194013"/>
                    <a:pt x="0" y="186454"/>
                  </a:cubicBezTo>
                  <a:cubicBezTo>
                    <a:pt x="0" y="183934"/>
                    <a:pt x="0" y="181415"/>
                    <a:pt x="0" y="178895"/>
                  </a:cubicBezTo>
                  <a:lnTo>
                    <a:pt x="0" y="176375"/>
                  </a:lnTo>
                  <a:cubicBezTo>
                    <a:pt x="0" y="173856"/>
                    <a:pt x="0" y="172596"/>
                    <a:pt x="0" y="170076"/>
                  </a:cubicBezTo>
                  <a:lnTo>
                    <a:pt x="0" y="167557"/>
                  </a:lnTo>
                  <a:lnTo>
                    <a:pt x="0" y="167557"/>
                  </a:lnTo>
                  <a:lnTo>
                    <a:pt x="0" y="167557"/>
                  </a:lnTo>
                  <a:cubicBezTo>
                    <a:pt x="0" y="166297"/>
                    <a:pt x="0" y="163777"/>
                    <a:pt x="0" y="162517"/>
                  </a:cubicBezTo>
                  <a:lnTo>
                    <a:pt x="0" y="159998"/>
                  </a:lnTo>
                  <a:lnTo>
                    <a:pt x="0" y="157478"/>
                  </a:lnTo>
                  <a:cubicBezTo>
                    <a:pt x="0" y="156218"/>
                    <a:pt x="0" y="153698"/>
                    <a:pt x="0" y="152439"/>
                  </a:cubicBezTo>
                  <a:cubicBezTo>
                    <a:pt x="0" y="149919"/>
                    <a:pt x="1260" y="147399"/>
                    <a:pt x="2520" y="144880"/>
                  </a:cubicBezTo>
                  <a:lnTo>
                    <a:pt x="2520" y="144880"/>
                  </a:lnTo>
                  <a:lnTo>
                    <a:pt x="2520" y="143620"/>
                  </a:lnTo>
                  <a:cubicBezTo>
                    <a:pt x="3780" y="141100"/>
                    <a:pt x="3780" y="137321"/>
                    <a:pt x="5039" y="134801"/>
                  </a:cubicBezTo>
                  <a:lnTo>
                    <a:pt x="5039" y="133541"/>
                  </a:lnTo>
                  <a:lnTo>
                    <a:pt x="5039" y="133541"/>
                  </a:lnTo>
                  <a:cubicBezTo>
                    <a:pt x="6299" y="129762"/>
                    <a:pt x="8819" y="123463"/>
                    <a:pt x="11338" y="119683"/>
                  </a:cubicBezTo>
                  <a:cubicBezTo>
                    <a:pt x="11338" y="118424"/>
                    <a:pt x="12598" y="118424"/>
                    <a:pt x="12598" y="117164"/>
                  </a:cubicBezTo>
                  <a:lnTo>
                    <a:pt x="12598" y="117164"/>
                  </a:lnTo>
                  <a:cubicBezTo>
                    <a:pt x="13858" y="115904"/>
                    <a:pt x="13858" y="113384"/>
                    <a:pt x="15118" y="112124"/>
                  </a:cubicBezTo>
                  <a:cubicBezTo>
                    <a:pt x="16378" y="109605"/>
                    <a:pt x="18897" y="105825"/>
                    <a:pt x="20157" y="103305"/>
                  </a:cubicBezTo>
                  <a:lnTo>
                    <a:pt x="20157" y="103305"/>
                  </a:lnTo>
                  <a:cubicBezTo>
                    <a:pt x="22677" y="99526"/>
                    <a:pt x="25196" y="94487"/>
                    <a:pt x="27716" y="89448"/>
                  </a:cubicBezTo>
                  <a:cubicBezTo>
                    <a:pt x="30236" y="84408"/>
                    <a:pt x="34015" y="79369"/>
                    <a:pt x="37795" y="74330"/>
                  </a:cubicBezTo>
                  <a:cubicBezTo>
                    <a:pt x="41574" y="69290"/>
                    <a:pt x="45354" y="62991"/>
                    <a:pt x="49133" y="59212"/>
                  </a:cubicBezTo>
                  <a:cubicBezTo>
                    <a:pt x="55432" y="50393"/>
                    <a:pt x="61731" y="42834"/>
                    <a:pt x="69290" y="35275"/>
                  </a:cubicBezTo>
                  <a:lnTo>
                    <a:pt x="71810" y="32755"/>
                  </a:lnTo>
                  <a:cubicBezTo>
                    <a:pt x="78109" y="25196"/>
                    <a:pt x="86928" y="16378"/>
                    <a:pt x="95747" y="7559"/>
                  </a:cubicBezTo>
                  <a:cubicBezTo>
                    <a:pt x="98266" y="5039"/>
                    <a:pt x="102046" y="2520"/>
                    <a:pt x="104566" y="0"/>
                  </a:cubicBezTo>
                  <a:lnTo>
                    <a:pt x="104566" y="0"/>
                  </a:lnTo>
                  <a:lnTo>
                    <a:pt x="104566" y="0"/>
                  </a:lnTo>
                  <a:cubicBezTo>
                    <a:pt x="100786" y="18897"/>
                    <a:pt x="100786" y="35275"/>
                    <a:pt x="99526" y="47873"/>
                  </a:cubicBezTo>
                </a:path>
              </a:pathLst>
            </a:custGeom>
            <a:solidFill>
              <a:srgbClr val="FFD671"/>
            </a:solidFill>
            <a:ln w="12584" cap="flat">
              <a:noFill/>
              <a:prstDash val="solid"/>
              <a:miter/>
            </a:ln>
          </p:spPr>
          <p:txBody>
            <a:bodyPr rtlCol="0" anchor="ctr"/>
            <a:lstStyle/>
            <a:p>
              <a:endParaRPr lang="zh-CN" altLang="en-US"/>
            </a:p>
          </p:txBody>
        </p:sp>
        <p:sp>
          <p:nvSpPr>
            <p:cNvPr id="209" name="任意多边形: 形状 208"/>
            <p:cNvSpPr/>
            <p:nvPr/>
          </p:nvSpPr>
          <p:spPr>
            <a:xfrm>
              <a:off x="9988383" y="3840779"/>
              <a:ext cx="8580" cy="42902"/>
            </a:xfrm>
            <a:custGeom>
              <a:avLst/>
              <a:gdLst>
                <a:gd name="connsiteX0" fmla="*/ 2520 w 0"/>
                <a:gd name="connsiteY0" fmla="*/ 8819 h 62991"/>
                <a:gd name="connsiteX1" fmla="*/ 1260 w 0"/>
                <a:gd name="connsiteY1" fmla="*/ 34015 h 62991"/>
                <a:gd name="connsiteX2" fmla="*/ 0 w 0"/>
                <a:gd name="connsiteY2" fmla="*/ 73070 h 62991"/>
                <a:gd name="connsiteX3" fmla="*/ 0 w 0"/>
                <a:gd name="connsiteY3" fmla="*/ 69290 h 62991"/>
                <a:gd name="connsiteX4" fmla="*/ 0 w 0"/>
                <a:gd name="connsiteY4" fmla="*/ 68030 h 62991"/>
                <a:gd name="connsiteX5" fmla="*/ 0 w 0"/>
                <a:gd name="connsiteY5" fmla="*/ 66770 h 62991"/>
                <a:gd name="connsiteX6" fmla="*/ 0 w 0"/>
                <a:gd name="connsiteY6" fmla="*/ 65511 h 62991"/>
                <a:gd name="connsiteX7" fmla="*/ 0 w 0"/>
                <a:gd name="connsiteY7" fmla="*/ 64251 h 62991"/>
                <a:gd name="connsiteX8" fmla="*/ 0 w 0"/>
                <a:gd name="connsiteY8" fmla="*/ 60471 h 62991"/>
                <a:gd name="connsiteX9" fmla="*/ 0 w 0"/>
                <a:gd name="connsiteY9" fmla="*/ 57952 h 62991"/>
                <a:gd name="connsiteX10" fmla="*/ 0 w 0"/>
                <a:gd name="connsiteY10" fmla="*/ 55432 h 62991"/>
                <a:gd name="connsiteX11" fmla="*/ 0 w 0"/>
                <a:gd name="connsiteY11" fmla="*/ 45354 h 62991"/>
                <a:gd name="connsiteX12" fmla="*/ 0 w 0"/>
                <a:gd name="connsiteY12" fmla="*/ 42834 h 62991"/>
                <a:gd name="connsiteX13" fmla="*/ 1260 w 0"/>
                <a:gd name="connsiteY13" fmla="*/ 32755 h 62991"/>
                <a:gd name="connsiteX14" fmla="*/ 1260 w 0"/>
                <a:gd name="connsiteY14" fmla="*/ 30236 h 62991"/>
                <a:gd name="connsiteX15" fmla="*/ 1260 w 0"/>
                <a:gd name="connsiteY15" fmla="*/ 27716 h 62991"/>
                <a:gd name="connsiteX16" fmla="*/ 1260 w 0"/>
                <a:gd name="connsiteY16" fmla="*/ 25196 h 62991"/>
                <a:gd name="connsiteX17" fmla="*/ 1260 w 0"/>
                <a:gd name="connsiteY17" fmla="*/ 21417 h 62991"/>
                <a:gd name="connsiteX18" fmla="*/ 1260 w 0"/>
                <a:gd name="connsiteY18" fmla="*/ 13858 h 62991"/>
                <a:gd name="connsiteX19" fmla="*/ 1260 w 0"/>
                <a:gd name="connsiteY19" fmla="*/ 10078 h 62991"/>
                <a:gd name="connsiteX20" fmla="*/ 1260 w 0"/>
                <a:gd name="connsiteY20" fmla="*/ 8819 h 62991"/>
                <a:gd name="connsiteX21" fmla="*/ 1260 w 0"/>
                <a:gd name="connsiteY21" fmla="*/ 5039 h 62991"/>
                <a:gd name="connsiteX22" fmla="*/ 1260 w 0"/>
                <a:gd name="connsiteY22" fmla="*/ 1260 h 62991"/>
                <a:gd name="connsiteX23" fmla="*/ 1260 w 0"/>
                <a:gd name="connsiteY23" fmla="*/ 2520 h 62991"/>
                <a:gd name="connsiteX24" fmla="*/ 1260 w 0"/>
                <a:gd name="connsiteY24" fmla="*/ 0 h 62991"/>
                <a:gd name="connsiteX25" fmla="*/ 2520 w 0"/>
                <a:gd name="connsiteY25" fmla="*/ 8819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h="62991">
                  <a:moveTo>
                    <a:pt x="2520" y="8819"/>
                  </a:moveTo>
                  <a:cubicBezTo>
                    <a:pt x="2520" y="16378"/>
                    <a:pt x="1260" y="25196"/>
                    <a:pt x="1260" y="34015"/>
                  </a:cubicBezTo>
                  <a:cubicBezTo>
                    <a:pt x="0" y="46613"/>
                    <a:pt x="0" y="60471"/>
                    <a:pt x="0" y="73070"/>
                  </a:cubicBezTo>
                  <a:cubicBezTo>
                    <a:pt x="0" y="71810"/>
                    <a:pt x="0" y="70550"/>
                    <a:pt x="0" y="69290"/>
                  </a:cubicBezTo>
                  <a:cubicBezTo>
                    <a:pt x="0" y="69290"/>
                    <a:pt x="0" y="68030"/>
                    <a:pt x="0" y="68030"/>
                  </a:cubicBezTo>
                  <a:lnTo>
                    <a:pt x="0" y="66770"/>
                  </a:lnTo>
                  <a:lnTo>
                    <a:pt x="0" y="65511"/>
                  </a:lnTo>
                  <a:lnTo>
                    <a:pt x="0" y="64251"/>
                  </a:lnTo>
                  <a:cubicBezTo>
                    <a:pt x="0" y="62991"/>
                    <a:pt x="0" y="61731"/>
                    <a:pt x="0" y="60471"/>
                  </a:cubicBezTo>
                  <a:cubicBezTo>
                    <a:pt x="0" y="59212"/>
                    <a:pt x="0" y="59212"/>
                    <a:pt x="0" y="57952"/>
                  </a:cubicBezTo>
                  <a:cubicBezTo>
                    <a:pt x="0" y="56692"/>
                    <a:pt x="0" y="56692"/>
                    <a:pt x="0" y="55432"/>
                  </a:cubicBezTo>
                  <a:cubicBezTo>
                    <a:pt x="0" y="51653"/>
                    <a:pt x="0" y="49133"/>
                    <a:pt x="0" y="45354"/>
                  </a:cubicBezTo>
                  <a:cubicBezTo>
                    <a:pt x="0" y="44094"/>
                    <a:pt x="0" y="44094"/>
                    <a:pt x="0" y="42834"/>
                  </a:cubicBezTo>
                  <a:cubicBezTo>
                    <a:pt x="0" y="40314"/>
                    <a:pt x="1260" y="36535"/>
                    <a:pt x="1260" y="32755"/>
                  </a:cubicBezTo>
                  <a:cubicBezTo>
                    <a:pt x="1260" y="31496"/>
                    <a:pt x="1260" y="30236"/>
                    <a:pt x="1260" y="30236"/>
                  </a:cubicBezTo>
                  <a:cubicBezTo>
                    <a:pt x="1260" y="28976"/>
                    <a:pt x="1260" y="28976"/>
                    <a:pt x="1260" y="27716"/>
                  </a:cubicBezTo>
                  <a:lnTo>
                    <a:pt x="1260" y="25196"/>
                  </a:lnTo>
                  <a:cubicBezTo>
                    <a:pt x="1260" y="23937"/>
                    <a:pt x="1260" y="22677"/>
                    <a:pt x="1260" y="21417"/>
                  </a:cubicBezTo>
                  <a:cubicBezTo>
                    <a:pt x="1260" y="18897"/>
                    <a:pt x="1260" y="16378"/>
                    <a:pt x="1260" y="13858"/>
                  </a:cubicBezTo>
                  <a:cubicBezTo>
                    <a:pt x="1260" y="12598"/>
                    <a:pt x="1260" y="11338"/>
                    <a:pt x="1260" y="10078"/>
                  </a:cubicBezTo>
                  <a:lnTo>
                    <a:pt x="1260" y="8819"/>
                  </a:lnTo>
                  <a:cubicBezTo>
                    <a:pt x="1260" y="7559"/>
                    <a:pt x="1260" y="6299"/>
                    <a:pt x="1260" y="5039"/>
                  </a:cubicBezTo>
                  <a:cubicBezTo>
                    <a:pt x="1260" y="3779"/>
                    <a:pt x="1260" y="2520"/>
                    <a:pt x="1260" y="1260"/>
                  </a:cubicBezTo>
                  <a:lnTo>
                    <a:pt x="1260" y="2520"/>
                  </a:lnTo>
                  <a:cubicBezTo>
                    <a:pt x="1260" y="1260"/>
                    <a:pt x="1260" y="1260"/>
                    <a:pt x="1260" y="0"/>
                  </a:cubicBezTo>
                  <a:cubicBezTo>
                    <a:pt x="2520" y="5039"/>
                    <a:pt x="2520" y="6299"/>
                    <a:pt x="2520" y="8819"/>
                  </a:cubicBezTo>
                </a:path>
              </a:pathLst>
            </a:custGeom>
            <a:solidFill>
              <a:srgbClr val="FFD671"/>
            </a:solidFill>
            <a:ln w="12584" cap="flat">
              <a:noFill/>
              <a:prstDash val="solid"/>
              <a:miter/>
            </a:ln>
          </p:spPr>
          <p:txBody>
            <a:bodyPr rtlCol="0" anchor="ctr"/>
            <a:lstStyle/>
            <a:p>
              <a:endParaRPr lang="zh-CN" altLang="en-US"/>
            </a:p>
          </p:txBody>
        </p:sp>
        <p:sp>
          <p:nvSpPr>
            <p:cNvPr id="210" name="任意多边形: 形状 209"/>
            <p:cNvSpPr/>
            <p:nvPr/>
          </p:nvSpPr>
          <p:spPr>
            <a:xfrm>
              <a:off x="9963977" y="3795303"/>
              <a:ext cx="25741" cy="128705"/>
            </a:xfrm>
            <a:custGeom>
              <a:avLst/>
              <a:gdLst>
                <a:gd name="connsiteX0" fmla="*/ 560 w 37794"/>
                <a:gd name="connsiteY0" fmla="*/ 0 h 188973"/>
                <a:gd name="connsiteX1" fmla="*/ 560 w 37794"/>
                <a:gd name="connsiteY1" fmla="*/ 0 h 188973"/>
                <a:gd name="connsiteX2" fmla="*/ 560 w 37794"/>
                <a:gd name="connsiteY2" fmla="*/ 0 h 188973"/>
                <a:gd name="connsiteX3" fmla="*/ 1819 w 37794"/>
                <a:gd name="connsiteY3" fmla="*/ 1260 h 188973"/>
                <a:gd name="connsiteX4" fmla="*/ 4339 w 37794"/>
                <a:gd name="connsiteY4" fmla="*/ 2520 h 188973"/>
                <a:gd name="connsiteX5" fmla="*/ 4339 w 37794"/>
                <a:gd name="connsiteY5" fmla="*/ 2520 h 188973"/>
                <a:gd name="connsiteX6" fmla="*/ 4339 w 37794"/>
                <a:gd name="connsiteY6" fmla="*/ 2520 h 188973"/>
                <a:gd name="connsiteX7" fmla="*/ 6859 w 37794"/>
                <a:gd name="connsiteY7" fmla="*/ 5039 h 188973"/>
                <a:gd name="connsiteX8" fmla="*/ 9378 w 37794"/>
                <a:gd name="connsiteY8" fmla="*/ 7559 h 188973"/>
                <a:gd name="connsiteX9" fmla="*/ 9378 w 37794"/>
                <a:gd name="connsiteY9" fmla="*/ 7559 h 188973"/>
                <a:gd name="connsiteX10" fmla="*/ 9378 w 37794"/>
                <a:gd name="connsiteY10" fmla="*/ 7559 h 188973"/>
                <a:gd name="connsiteX11" fmla="*/ 9378 w 37794"/>
                <a:gd name="connsiteY11" fmla="*/ 7559 h 188973"/>
                <a:gd name="connsiteX12" fmla="*/ 9378 w 37794"/>
                <a:gd name="connsiteY12" fmla="*/ 7559 h 188973"/>
                <a:gd name="connsiteX13" fmla="*/ 9378 w 37794"/>
                <a:gd name="connsiteY13" fmla="*/ 7559 h 188973"/>
                <a:gd name="connsiteX14" fmla="*/ 9378 w 37794"/>
                <a:gd name="connsiteY14" fmla="*/ 7559 h 188973"/>
                <a:gd name="connsiteX15" fmla="*/ 9378 w 37794"/>
                <a:gd name="connsiteY15" fmla="*/ 7559 h 188973"/>
                <a:gd name="connsiteX16" fmla="*/ 9378 w 37794"/>
                <a:gd name="connsiteY16" fmla="*/ 7559 h 188973"/>
                <a:gd name="connsiteX17" fmla="*/ 9378 w 37794"/>
                <a:gd name="connsiteY17" fmla="*/ 7559 h 188973"/>
                <a:gd name="connsiteX18" fmla="*/ 9378 w 37794"/>
                <a:gd name="connsiteY18" fmla="*/ 7559 h 188973"/>
                <a:gd name="connsiteX19" fmla="*/ 10638 w 37794"/>
                <a:gd name="connsiteY19" fmla="*/ 8819 h 188973"/>
                <a:gd name="connsiteX20" fmla="*/ 11898 w 37794"/>
                <a:gd name="connsiteY20" fmla="*/ 10079 h 188973"/>
                <a:gd name="connsiteX21" fmla="*/ 14418 w 37794"/>
                <a:gd name="connsiteY21" fmla="*/ 12598 h 188973"/>
                <a:gd name="connsiteX22" fmla="*/ 15678 w 37794"/>
                <a:gd name="connsiteY22" fmla="*/ 13858 h 188973"/>
                <a:gd name="connsiteX23" fmla="*/ 18197 w 37794"/>
                <a:gd name="connsiteY23" fmla="*/ 16378 h 188973"/>
                <a:gd name="connsiteX24" fmla="*/ 20717 w 37794"/>
                <a:gd name="connsiteY24" fmla="*/ 18897 h 188973"/>
                <a:gd name="connsiteX25" fmla="*/ 20717 w 37794"/>
                <a:gd name="connsiteY25" fmla="*/ 18897 h 188973"/>
                <a:gd name="connsiteX26" fmla="*/ 21977 w 37794"/>
                <a:gd name="connsiteY26" fmla="*/ 20157 h 188973"/>
                <a:gd name="connsiteX27" fmla="*/ 25756 w 37794"/>
                <a:gd name="connsiteY27" fmla="*/ 25196 h 188973"/>
                <a:gd name="connsiteX28" fmla="*/ 27016 w 37794"/>
                <a:gd name="connsiteY28" fmla="*/ 27716 h 188973"/>
                <a:gd name="connsiteX29" fmla="*/ 27016 w 37794"/>
                <a:gd name="connsiteY29" fmla="*/ 28976 h 188973"/>
                <a:gd name="connsiteX30" fmla="*/ 28276 w 37794"/>
                <a:gd name="connsiteY30" fmla="*/ 31496 h 188973"/>
                <a:gd name="connsiteX31" fmla="*/ 32056 w 37794"/>
                <a:gd name="connsiteY31" fmla="*/ 36535 h 188973"/>
                <a:gd name="connsiteX32" fmla="*/ 33315 w 37794"/>
                <a:gd name="connsiteY32" fmla="*/ 37795 h 188973"/>
                <a:gd name="connsiteX33" fmla="*/ 33315 w 37794"/>
                <a:gd name="connsiteY33" fmla="*/ 39054 h 188973"/>
                <a:gd name="connsiteX34" fmla="*/ 33315 w 37794"/>
                <a:gd name="connsiteY34" fmla="*/ 39054 h 188973"/>
                <a:gd name="connsiteX35" fmla="*/ 33315 w 37794"/>
                <a:gd name="connsiteY35" fmla="*/ 39054 h 188973"/>
                <a:gd name="connsiteX36" fmla="*/ 33315 w 37794"/>
                <a:gd name="connsiteY36" fmla="*/ 39054 h 188973"/>
                <a:gd name="connsiteX37" fmla="*/ 34575 w 37794"/>
                <a:gd name="connsiteY37" fmla="*/ 41574 h 188973"/>
                <a:gd name="connsiteX38" fmla="*/ 35835 w 37794"/>
                <a:gd name="connsiteY38" fmla="*/ 42834 h 188973"/>
                <a:gd name="connsiteX39" fmla="*/ 38355 w 37794"/>
                <a:gd name="connsiteY39" fmla="*/ 45354 h 188973"/>
                <a:gd name="connsiteX40" fmla="*/ 39614 w 37794"/>
                <a:gd name="connsiteY40" fmla="*/ 47873 h 188973"/>
                <a:gd name="connsiteX41" fmla="*/ 39614 w 37794"/>
                <a:gd name="connsiteY41" fmla="*/ 47873 h 188973"/>
                <a:gd name="connsiteX42" fmla="*/ 39614 w 37794"/>
                <a:gd name="connsiteY42" fmla="*/ 47873 h 188973"/>
                <a:gd name="connsiteX43" fmla="*/ 39614 w 37794"/>
                <a:gd name="connsiteY43" fmla="*/ 47873 h 188973"/>
                <a:gd name="connsiteX44" fmla="*/ 39614 w 37794"/>
                <a:gd name="connsiteY44" fmla="*/ 49133 h 188973"/>
                <a:gd name="connsiteX45" fmla="*/ 39614 w 37794"/>
                <a:gd name="connsiteY45" fmla="*/ 50393 h 188973"/>
                <a:gd name="connsiteX46" fmla="*/ 39614 w 37794"/>
                <a:gd name="connsiteY46" fmla="*/ 51653 h 188973"/>
                <a:gd name="connsiteX47" fmla="*/ 39614 w 37794"/>
                <a:gd name="connsiteY47" fmla="*/ 52913 h 188973"/>
                <a:gd name="connsiteX48" fmla="*/ 39614 w 37794"/>
                <a:gd name="connsiteY48" fmla="*/ 55432 h 188973"/>
                <a:gd name="connsiteX49" fmla="*/ 39614 w 37794"/>
                <a:gd name="connsiteY49" fmla="*/ 56692 h 188973"/>
                <a:gd name="connsiteX50" fmla="*/ 39614 w 37794"/>
                <a:gd name="connsiteY50" fmla="*/ 59212 h 188973"/>
                <a:gd name="connsiteX51" fmla="*/ 38355 w 37794"/>
                <a:gd name="connsiteY51" fmla="*/ 65511 h 188973"/>
                <a:gd name="connsiteX52" fmla="*/ 38355 w 37794"/>
                <a:gd name="connsiteY52" fmla="*/ 71810 h 188973"/>
                <a:gd name="connsiteX53" fmla="*/ 38355 w 37794"/>
                <a:gd name="connsiteY53" fmla="*/ 70550 h 188973"/>
                <a:gd name="connsiteX54" fmla="*/ 38355 w 37794"/>
                <a:gd name="connsiteY54" fmla="*/ 74330 h 188973"/>
                <a:gd name="connsiteX55" fmla="*/ 38355 w 37794"/>
                <a:gd name="connsiteY55" fmla="*/ 78109 h 188973"/>
                <a:gd name="connsiteX56" fmla="*/ 38355 w 37794"/>
                <a:gd name="connsiteY56" fmla="*/ 79369 h 188973"/>
                <a:gd name="connsiteX57" fmla="*/ 38355 w 37794"/>
                <a:gd name="connsiteY57" fmla="*/ 83148 h 188973"/>
                <a:gd name="connsiteX58" fmla="*/ 38355 w 37794"/>
                <a:gd name="connsiteY58" fmla="*/ 90707 h 188973"/>
                <a:gd name="connsiteX59" fmla="*/ 38355 w 37794"/>
                <a:gd name="connsiteY59" fmla="*/ 94487 h 188973"/>
                <a:gd name="connsiteX60" fmla="*/ 38355 w 37794"/>
                <a:gd name="connsiteY60" fmla="*/ 97006 h 188973"/>
                <a:gd name="connsiteX61" fmla="*/ 38355 w 37794"/>
                <a:gd name="connsiteY61" fmla="*/ 99526 h 188973"/>
                <a:gd name="connsiteX62" fmla="*/ 38355 w 37794"/>
                <a:gd name="connsiteY62" fmla="*/ 102046 h 188973"/>
                <a:gd name="connsiteX63" fmla="*/ 37095 w 37794"/>
                <a:gd name="connsiteY63" fmla="*/ 112124 h 188973"/>
                <a:gd name="connsiteX64" fmla="*/ 37095 w 37794"/>
                <a:gd name="connsiteY64" fmla="*/ 114644 h 188973"/>
                <a:gd name="connsiteX65" fmla="*/ 37095 w 37794"/>
                <a:gd name="connsiteY65" fmla="*/ 124722 h 188973"/>
                <a:gd name="connsiteX66" fmla="*/ 37095 w 37794"/>
                <a:gd name="connsiteY66" fmla="*/ 127242 h 188973"/>
                <a:gd name="connsiteX67" fmla="*/ 37095 w 37794"/>
                <a:gd name="connsiteY67" fmla="*/ 129762 h 188973"/>
                <a:gd name="connsiteX68" fmla="*/ 37095 w 37794"/>
                <a:gd name="connsiteY68" fmla="*/ 133541 h 188973"/>
                <a:gd name="connsiteX69" fmla="*/ 37095 w 37794"/>
                <a:gd name="connsiteY69" fmla="*/ 134801 h 188973"/>
                <a:gd name="connsiteX70" fmla="*/ 37095 w 37794"/>
                <a:gd name="connsiteY70" fmla="*/ 136061 h 188973"/>
                <a:gd name="connsiteX71" fmla="*/ 37095 w 37794"/>
                <a:gd name="connsiteY71" fmla="*/ 137321 h 188973"/>
                <a:gd name="connsiteX72" fmla="*/ 37095 w 37794"/>
                <a:gd name="connsiteY72" fmla="*/ 138581 h 188973"/>
                <a:gd name="connsiteX73" fmla="*/ 37095 w 37794"/>
                <a:gd name="connsiteY73" fmla="*/ 154958 h 188973"/>
                <a:gd name="connsiteX74" fmla="*/ 37095 w 37794"/>
                <a:gd name="connsiteY74" fmla="*/ 156218 h 188973"/>
                <a:gd name="connsiteX75" fmla="*/ 35835 w 37794"/>
                <a:gd name="connsiteY75" fmla="*/ 172596 h 188973"/>
                <a:gd name="connsiteX76" fmla="*/ 35835 w 37794"/>
                <a:gd name="connsiteY76" fmla="*/ 180155 h 188973"/>
                <a:gd name="connsiteX77" fmla="*/ 35835 w 37794"/>
                <a:gd name="connsiteY77" fmla="*/ 190233 h 188973"/>
                <a:gd name="connsiteX78" fmla="*/ 35835 w 37794"/>
                <a:gd name="connsiteY78" fmla="*/ 190233 h 188973"/>
                <a:gd name="connsiteX79" fmla="*/ 35835 w 37794"/>
                <a:gd name="connsiteY79" fmla="*/ 190233 h 188973"/>
                <a:gd name="connsiteX80" fmla="*/ 35835 w 37794"/>
                <a:gd name="connsiteY80" fmla="*/ 190233 h 188973"/>
                <a:gd name="connsiteX81" fmla="*/ 35835 w 37794"/>
                <a:gd name="connsiteY81" fmla="*/ 190233 h 188973"/>
                <a:gd name="connsiteX82" fmla="*/ 35835 w 37794"/>
                <a:gd name="connsiteY82" fmla="*/ 190233 h 188973"/>
                <a:gd name="connsiteX83" fmla="*/ 35835 w 37794"/>
                <a:gd name="connsiteY83" fmla="*/ 190233 h 188973"/>
                <a:gd name="connsiteX84" fmla="*/ 34575 w 37794"/>
                <a:gd name="connsiteY84" fmla="*/ 191493 h 188973"/>
                <a:gd name="connsiteX85" fmla="*/ 33315 w 37794"/>
                <a:gd name="connsiteY85" fmla="*/ 191493 h 188973"/>
                <a:gd name="connsiteX86" fmla="*/ 32056 w 37794"/>
                <a:gd name="connsiteY86" fmla="*/ 191493 h 188973"/>
                <a:gd name="connsiteX87" fmla="*/ 30796 w 37794"/>
                <a:gd name="connsiteY87" fmla="*/ 191493 h 188973"/>
                <a:gd name="connsiteX88" fmla="*/ 29536 w 37794"/>
                <a:gd name="connsiteY88" fmla="*/ 190233 h 188973"/>
                <a:gd name="connsiteX89" fmla="*/ 28276 w 37794"/>
                <a:gd name="connsiteY89" fmla="*/ 185194 h 188973"/>
                <a:gd name="connsiteX90" fmla="*/ 28276 w 37794"/>
                <a:gd name="connsiteY90" fmla="*/ 185194 h 188973"/>
                <a:gd name="connsiteX91" fmla="*/ 27016 w 37794"/>
                <a:gd name="connsiteY91" fmla="*/ 180155 h 188973"/>
                <a:gd name="connsiteX92" fmla="*/ 27016 w 37794"/>
                <a:gd name="connsiteY92" fmla="*/ 180155 h 188973"/>
                <a:gd name="connsiteX93" fmla="*/ 27016 w 37794"/>
                <a:gd name="connsiteY93" fmla="*/ 180155 h 188973"/>
                <a:gd name="connsiteX94" fmla="*/ 27016 w 37794"/>
                <a:gd name="connsiteY94" fmla="*/ 180155 h 188973"/>
                <a:gd name="connsiteX95" fmla="*/ 25756 w 37794"/>
                <a:gd name="connsiteY95" fmla="*/ 171336 h 188973"/>
                <a:gd name="connsiteX96" fmla="*/ 24497 w 37794"/>
                <a:gd name="connsiteY96" fmla="*/ 166297 h 188973"/>
                <a:gd name="connsiteX97" fmla="*/ 24497 w 37794"/>
                <a:gd name="connsiteY97" fmla="*/ 165037 h 188973"/>
                <a:gd name="connsiteX98" fmla="*/ 24497 w 37794"/>
                <a:gd name="connsiteY98" fmla="*/ 161257 h 188973"/>
                <a:gd name="connsiteX99" fmla="*/ 23237 w 37794"/>
                <a:gd name="connsiteY99" fmla="*/ 149919 h 188973"/>
                <a:gd name="connsiteX100" fmla="*/ 21977 w 37794"/>
                <a:gd name="connsiteY100" fmla="*/ 139840 h 188973"/>
                <a:gd name="connsiteX101" fmla="*/ 21977 w 37794"/>
                <a:gd name="connsiteY101" fmla="*/ 134801 h 188973"/>
                <a:gd name="connsiteX102" fmla="*/ 21977 w 37794"/>
                <a:gd name="connsiteY102" fmla="*/ 133541 h 188973"/>
                <a:gd name="connsiteX103" fmla="*/ 21977 w 37794"/>
                <a:gd name="connsiteY103" fmla="*/ 128502 h 188973"/>
                <a:gd name="connsiteX104" fmla="*/ 21977 w 37794"/>
                <a:gd name="connsiteY104" fmla="*/ 125982 h 188973"/>
                <a:gd name="connsiteX105" fmla="*/ 21977 w 37794"/>
                <a:gd name="connsiteY105" fmla="*/ 124722 h 188973"/>
                <a:gd name="connsiteX106" fmla="*/ 21977 w 37794"/>
                <a:gd name="connsiteY106" fmla="*/ 123463 h 188973"/>
                <a:gd name="connsiteX107" fmla="*/ 21977 w 37794"/>
                <a:gd name="connsiteY107" fmla="*/ 118423 h 188973"/>
                <a:gd name="connsiteX108" fmla="*/ 20717 w 37794"/>
                <a:gd name="connsiteY108" fmla="*/ 108345 h 188973"/>
                <a:gd name="connsiteX109" fmla="*/ 20717 w 37794"/>
                <a:gd name="connsiteY109" fmla="*/ 108345 h 188973"/>
                <a:gd name="connsiteX110" fmla="*/ 18197 w 37794"/>
                <a:gd name="connsiteY110" fmla="*/ 93227 h 188973"/>
                <a:gd name="connsiteX111" fmla="*/ 18197 w 37794"/>
                <a:gd name="connsiteY111" fmla="*/ 91967 h 188973"/>
                <a:gd name="connsiteX112" fmla="*/ 16938 w 37794"/>
                <a:gd name="connsiteY112" fmla="*/ 85668 h 188973"/>
                <a:gd name="connsiteX113" fmla="*/ 16938 w 37794"/>
                <a:gd name="connsiteY113" fmla="*/ 81889 h 188973"/>
                <a:gd name="connsiteX114" fmla="*/ 16938 w 37794"/>
                <a:gd name="connsiteY114" fmla="*/ 80629 h 188973"/>
                <a:gd name="connsiteX115" fmla="*/ 16938 w 37794"/>
                <a:gd name="connsiteY115" fmla="*/ 78109 h 188973"/>
                <a:gd name="connsiteX116" fmla="*/ 15678 w 37794"/>
                <a:gd name="connsiteY116" fmla="*/ 74330 h 188973"/>
                <a:gd name="connsiteX117" fmla="*/ 15678 w 37794"/>
                <a:gd name="connsiteY117" fmla="*/ 73070 h 188973"/>
                <a:gd name="connsiteX118" fmla="*/ 15678 w 37794"/>
                <a:gd name="connsiteY118" fmla="*/ 73070 h 188973"/>
                <a:gd name="connsiteX119" fmla="*/ 14418 w 37794"/>
                <a:gd name="connsiteY119" fmla="*/ 68030 h 188973"/>
                <a:gd name="connsiteX120" fmla="*/ 13158 w 37794"/>
                <a:gd name="connsiteY120" fmla="*/ 61731 h 188973"/>
                <a:gd name="connsiteX121" fmla="*/ 13158 w 37794"/>
                <a:gd name="connsiteY121" fmla="*/ 60472 h 188973"/>
                <a:gd name="connsiteX122" fmla="*/ 11898 w 37794"/>
                <a:gd name="connsiteY122" fmla="*/ 56692 h 188973"/>
                <a:gd name="connsiteX123" fmla="*/ 9378 w 37794"/>
                <a:gd name="connsiteY123" fmla="*/ 45354 h 188973"/>
                <a:gd name="connsiteX124" fmla="*/ 9378 w 37794"/>
                <a:gd name="connsiteY124" fmla="*/ 42834 h 188973"/>
                <a:gd name="connsiteX125" fmla="*/ 9378 w 37794"/>
                <a:gd name="connsiteY125" fmla="*/ 42834 h 188973"/>
                <a:gd name="connsiteX126" fmla="*/ 8119 w 37794"/>
                <a:gd name="connsiteY126" fmla="*/ 40314 h 188973"/>
                <a:gd name="connsiteX127" fmla="*/ 8119 w 37794"/>
                <a:gd name="connsiteY127" fmla="*/ 39054 h 188973"/>
                <a:gd name="connsiteX128" fmla="*/ 6859 w 37794"/>
                <a:gd name="connsiteY128" fmla="*/ 35275 h 188973"/>
                <a:gd name="connsiteX129" fmla="*/ 6859 w 37794"/>
                <a:gd name="connsiteY129" fmla="*/ 34015 h 188973"/>
                <a:gd name="connsiteX130" fmla="*/ 6859 w 37794"/>
                <a:gd name="connsiteY130" fmla="*/ 32755 h 188973"/>
                <a:gd name="connsiteX131" fmla="*/ 6859 w 37794"/>
                <a:gd name="connsiteY131" fmla="*/ 31496 h 188973"/>
                <a:gd name="connsiteX132" fmla="*/ 6859 w 37794"/>
                <a:gd name="connsiteY132" fmla="*/ 31496 h 188973"/>
                <a:gd name="connsiteX133" fmla="*/ 6859 w 37794"/>
                <a:gd name="connsiteY133" fmla="*/ 31496 h 188973"/>
                <a:gd name="connsiteX134" fmla="*/ 6859 w 37794"/>
                <a:gd name="connsiteY134" fmla="*/ 28976 h 188973"/>
                <a:gd name="connsiteX135" fmla="*/ 6859 w 37794"/>
                <a:gd name="connsiteY135" fmla="*/ 27716 h 188973"/>
                <a:gd name="connsiteX136" fmla="*/ 6859 w 37794"/>
                <a:gd name="connsiteY136" fmla="*/ 27716 h 188973"/>
                <a:gd name="connsiteX137" fmla="*/ 6859 w 37794"/>
                <a:gd name="connsiteY137" fmla="*/ 27716 h 188973"/>
                <a:gd name="connsiteX138" fmla="*/ 6859 w 37794"/>
                <a:gd name="connsiteY138" fmla="*/ 23937 h 188973"/>
                <a:gd name="connsiteX139" fmla="*/ 6859 w 37794"/>
                <a:gd name="connsiteY139" fmla="*/ 22677 h 188973"/>
                <a:gd name="connsiteX140" fmla="*/ 6859 w 37794"/>
                <a:gd name="connsiteY140" fmla="*/ 20157 h 188973"/>
                <a:gd name="connsiteX141" fmla="*/ 6859 w 37794"/>
                <a:gd name="connsiteY141" fmla="*/ 16378 h 188973"/>
                <a:gd name="connsiteX142" fmla="*/ 6859 w 37794"/>
                <a:gd name="connsiteY142" fmla="*/ 15118 h 188973"/>
                <a:gd name="connsiteX143" fmla="*/ 6859 w 37794"/>
                <a:gd name="connsiteY143" fmla="*/ 13858 h 188973"/>
                <a:gd name="connsiteX144" fmla="*/ 6859 w 37794"/>
                <a:gd name="connsiteY144" fmla="*/ 11338 h 188973"/>
                <a:gd name="connsiteX145" fmla="*/ 6859 w 37794"/>
                <a:gd name="connsiteY145" fmla="*/ 8819 h 188973"/>
                <a:gd name="connsiteX146" fmla="*/ 6859 w 37794"/>
                <a:gd name="connsiteY146" fmla="*/ 8819 h 188973"/>
                <a:gd name="connsiteX147" fmla="*/ 6859 w 37794"/>
                <a:gd name="connsiteY147" fmla="*/ 7559 h 188973"/>
                <a:gd name="connsiteX148" fmla="*/ 6859 w 37794"/>
                <a:gd name="connsiteY148" fmla="*/ 7559 h 188973"/>
                <a:gd name="connsiteX149" fmla="*/ 6859 w 37794"/>
                <a:gd name="connsiteY149" fmla="*/ 7559 h 188973"/>
                <a:gd name="connsiteX150" fmla="*/ 6859 w 37794"/>
                <a:gd name="connsiteY150" fmla="*/ 7559 h 188973"/>
                <a:gd name="connsiteX151" fmla="*/ 6859 w 37794"/>
                <a:gd name="connsiteY151" fmla="*/ 6299 h 188973"/>
                <a:gd name="connsiteX152" fmla="*/ 560 w 37794"/>
                <a:gd name="connsiteY152" fmla="*/ 0 h 188973"/>
                <a:gd name="connsiteX153" fmla="*/ 560 w 37794"/>
                <a:gd name="connsiteY153" fmla="*/ 0 h 188973"/>
                <a:gd name="connsiteX154" fmla="*/ 560 w 37794"/>
                <a:gd name="connsiteY154" fmla="*/ 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37794" h="188973">
                  <a:moveTo>
                    <a:pt x="560" y="0"/>
                  </a:moveTo>
                  <a:cubicBezTo>
                    <a:pt x="1819" y="0"/>
                    <a:pt x="1819" y="1260"/>
                    <a:pt x="560" y="0"/>
                  </a:cubicBezTo>
                  <a:lnTo>
                    <a:pt x="560" y="0"/>
                  </a:lnTo>
                  <a:lnTo>
                    <a:pt x="1819" y="1260"/>
                  </a:lnTo>
                  <a:cubicBezTo>
                    <a:pt x="1819" y="1260"/>
                    <a:pt x="3079" y="2520"/>
                    <a:pt x="4339" y="2520"/>
                  </a:cubicBezTo>
                  <a:lnTo>
                    <a:pt x="4339" y="2520"/>
                  </a:lnTo>
                  <a:lnTo>
                    <a:pt x="4339" y="2520"/>
                  </a:lnTo>
                  <a:cubicBezTo>
                    <a:pt x="5599" y="2520"/>
                    <a:pt x="6859" y="3780"/>
                    <a:pt x="6859" y="5039"/>
                  </a:cubicBezTo>
                  <a:cubicBezTo>
                    <a:pt x="8119" y="6299"/>
                    <a:pt x="8119" y="6299"/>
                    <a:pt x="9378" y="7559"/>
                  </a:cubicBezTo>
                  <a:lnTo>
                    <a:pt x="9378" y="7559"/>
                  </a:lnTo>
                  <a:lnTo>
                    <a:pt x="9378" y="7559"/>
                  </a:lnTo>
                  <a:lnTo>
                    <a:pt x="9378" y="7559"/>
                  </a:lnTo>
                  <a:lnTo>
                    <a:pt x="9378" y="7559"/>
                  </a:lnTo>
                  <a:cubicBezTo>
                    <a:pt x="9378" y="7559"/>
                    <a:pt x="9378" y="7559"/>
                    <a:pt x="9378" y="7559"/>
                  </a:cubicBezTo>
                  <a:lnTo>
                    <a:pt x="9378" y="7559"/>
                  </a:lnTo>
                  <a:lnTo>
                    <a:pt x="9378" y="7559"/>
                  </a:lnTo>
                  <a:lnTo>
                    <a:pt x="9378" y="7559"/>
                  </a:lnTo>
                  <a:lnTo>
                    <a:pt x="9378" y="7559"/>
                  </a:lnTo>
                  <a:lnTo>
                    <a:pt x="9378" y="7559"/>
                  </a:lnTo>
                  <a:lnTo>
                    <a:pt x="10638" y="8819"/>
                  </a:lnTo>
                  <a:lnTo>
                    <a:pt x="11898" y="10079"/>
                  </a:lnTo>
                  <a:cubicBezTo>
                    <a:pt x="13158" y="11338"/>
                    <a:pt x="13158" y="11338"/>
                    <a:pt x="14418" y="12598"/>
                  </a:cubicBezTo>
                  <a:lnTo>
                    <a:pt x="15678" y="13858"/>
                  </a:lnTo>
                  <a:cubicBezTo>
                    <a:pt x="16938" y="15118"/>
                    <a:pt x="16938" y="16378"/>
                    <a:pt x="18197" y="16378"/>
                  </a:cubicBezTo>
                  <a:cubicBezTo>
                    <a:pt x="19457" y="17637"/>
                    <a:pt x="19457" y="17637"/>
                    <a:pt x="20717" y="18897"/>
                  </a:cubicBezTo>
                  <a:lnTo>
                    <a:pt x="20717" y="18897"/>
                  </a:lnTo>
                  <a:lnTo>
                    <a:pt x="21977" y="20157"/>
                  </a:lnTo>
                  <a:cubicBezTo>
                    <a:pt x="23237" y="21417"/>
                    <a:pt x="24497" y="22677"/>
                    <a:pt x="25756" y="25196"/>
                  </a:cubicBezTo>
                  <a:lnTo>
                    <a:pt x="27016" y="27716"/>
                  </a:lnTo>
                  <a:lnTo>
                    <a:pt x="27016" y="28976"/>
                  </a:lnTo>
                  <a:lnTo>
                    <a:pt x="28276" y="31496"/>
                  </a:lnTo>
                  <a:cubicBezTo>
                    <a:pt x="29536" y="32755"/>
                    <a:pt x="30796" y="34015"/>
                    <a:pt x="32056" y="36535"/>
                  </a:cubicBezTo>
                  <a:lnTo>
                    <a:pt x="33315" y="37795"/>
                  </a:lnTo>
                  <a:lnTo>
                    <a:pt x="33315" y="39054"/>
                  </a:lnTo>
                  <a:lnTo>
                    <a:pt x="33315" y="39054"/>
                  </a:lnTo>
                  <a:lnTo>
                    <a:pt x="33315" y="39054"/>
                  </a:lnTo>
                  <a:lnTo>
                    <a:pt x="33315" y="39054"/>
                  </a:lnTo>
                  <a:cubicBezTo>
                    <a:pt x="33315" y="40314"/>
                    <a:pt x="34575" y="40314"/>
                    <a:pt x="34575" y="41574"/>
                  </a:cubicBezTo>
                  <a:cubicBezTo>
                    <a:pt x="34575" y="41574"/>
                    <a:pt x="35835" y="42834"/>
                    <a:pt x="35835" y="42834"/>
                  </a:cubicBezTo>
                  <a:cubicBezTo>
                    <a:pt x="35835" y="44094"/>
                    <a:pt x="37095" y="44094"/>
                    <a:pt x="38355" y="45354"/>
                  </a:cubicBezTo>
                  <a:cubicBezTo>
                    <a:pt x="38355" y="46613"/>
                    <a:pt x="39614" y="46613"/>
                    <a:pt x="39614" y="47873"/>
                  </a:cubicBezTo>
                  <a:lnTo>
                    <a:pt x="39614" y="47873"/>
                  </a:lnTo>
                  <a:lnTo>
                    <a:pt x="39614" y="47873"/>
                  </a:lnTo>
                  <a:cubicBezTo>
                    <a:pt x="39614" y="47873"/>
                    <a:pt x="39614" y="47873"/>
                    <a:pt x="39614" y="47873"/>
                  </a:cubicBezTo>
                  <a:cubicBezTo>
                    <a:pt x="39614" y="47873"/>
                    <a:pt x="39614" y="49133"/>
                    <a:pt x="39614" y="49133"/>
                  </a:cubicBezTo>
                  <a:cubicBezTo>
                    <a:pt x="39614" y="49133"/>
                    <a:pt x="39614" y="50393"/>
                    <a:pt x="39614" y="50393"/>
                  </a:cubicBezTo>
                  <a:cubicBezTo>
                    <a:pt x="39614" y="50393"/>
                    <a:pt x="39614" y="51653"/>
                    <a:pt x="39614" y="51653"/>
                  </a:cubicBezTo>
                  <a:cubicBezTo>
                    <a:pt x="39614" y="51653"/>
                    <a:pt x="39614" y="52913"/>
                    <a:pt x="39614" y="52913"/>
                  </a:cubicBezTo>
                  <a:cubicBezTo>
                    <a:pt x="39614" y="54172"/>
                    <a:pt x="39614" y="54172"/>
                    <a:pt x="39614" y="55432"/>
                  </a:cubicBezTo>
                  <a:lnTo>
                    <a:pt x="39614" y="56692"/>
                  </a:lnTo>
                  <a:cubicBezTo>
                    <a:pt x="39614" y="57952"/>
                    <a:pt x="39614" y="59212"/>
                    <a:pt x="39614" y="59212"/>
                  </a:cubicBezTo>
                  <a:cubicBezTo>
                    <a:pt x="39614" y="61731"/>
                    <a:pt x="39614" y="64251"/>
                    <a:pt x="38355" y="65511"/>
                  </a:cubicBezTo>
                  <a:cubicBezTo>
                    <a:pt x="38355" y="68030"/>
                    <a:pt x="38355" y="69290"/>
                    <a:pt x="38355" y="71810"/>
                  </a:cubicBezTo>
                  <a:lnTo>
                    <a:pt x="38355" y="70550"/>
                  </a:lnTo>
                  <a:cubicBezTo>
                    <a:pt x="38355" y="71810"/>
                    <a:pt x="38355" y="73070"/>
                    <a:pt x="38355" y="74330"/>
                  </a:cubicBezTo>
                  <a:cubicBezTo>
                    <a:pt x="38355" y="75589"/>
                    <a:pt x="38355" y="76849"/>
                    <a:pt x="38355" y="78109"/>
                  </a:cubicBezTo>
                  <a:lnTo>
                    <a:pt x="38355" y="79369"/>
                  </a:lnTo>
                  <a:cubicBezTo>
                    <a:pt x="38355" y="80629"/>
                    <a:pt x="38355" y="81889"/>
                    <a:pt x="38355" y="83148"/>
                  </a:cubicBezTo>
                  <a:cubicBezTo>
                    <a:pt x="38355" y="85668"/>
                    <a:pt x="38355" y="88188"/>
                    <a:pt x="38355" y="90707"/>
                  </a:cubicBezTo>
                  <a:cubicBezTo>
                    <a:pt x="38355" y="91967"/>
                    <a:pt x="38355" y="93227"/>
                    <a:pt x="38355" y="94487"/>
                  </a:cubicBezTo>
                  <a:lnTo>
                    <a:pt x="38355" y="97006"/>
                  </a:lnTo>
                  <a:cubicBezTo>
                    <a:pt x="38355" y="98266"/>
                    <a:pt x="38355" y="98266"/>
                    <a:pt x="38355" y="99526"/>
                  </a:cubicBezTo>
                  <a:cubicBezTo>
                    <a:pt x="38355" y="100786"/>
                    <a:pt x="38355" y="102046"/>
                    <a:pt x="38355" y="102046"/>
                  </a:cubicBezTo>
                  <a:cubicBezTo>
                    <a:pt x="38355" y="105825"/>
                    <a:pt x="38355" y="109605"/>
                    <a:pt x="37095" y="112124"/>
                  </a:cubicBezTo>
                  <a:cubicBezTo>
                    <a:pt x="37095" y="113384"/>
                    <a:pt x="37095" y="113384"/>
                    <a:pt x="37095" y="114644"/>
                  </a:cubicBezTo>
                  <a:cubicBezTo>
                    <a:pt x="37095" y="117164"/>
                    <a:pt x="37095" y="120943"/>
                    <a:pt x="37095" y="124722"/>
                  </a:cubicBezTo>
                  <a:cubicBezTo>
                    <a:pt x="37095" y="125982"/>
                    <a:pt x="37095" y="125982"/>
                    <a:pt x="37095" y="127242"/>
                  </a:cubicBezTo>
                  <a:cubicBezTo>
                    <a:pt x="37095" y="128502"/>
                    <a:pt x="37095" y="128502"/>
                    <a:pt x="37095" y="129762"/>
                  </a:cubicBezTo>
                  <a:cubicBezTo>
                    <a:pt x="37095" y="131022"/>
                    <a:pt x="37095" y="132281"/>
                    <a:pt x="37095" y="133541"/>
                  </a:cubicBezTo>
                  <a:lnTo>
                    <a:pt x="37095" y="134801"/>
                  </a:lnTo>
                  <a:lnTo>
                    <a:pt x="37095" y="136061"/>
                  </a:lnTo>
                  <a:lnTo>
                    <a:pt x="37095" y="137321"/>
                  </a:lnTo>
                  <a:cubicBezTo>
                    <a:pt x="37095" y="137321"/>
                    <a:pt x="37095" y="138581"/>
                    <a:pt x="37095" y="138581"/>
                  </a:cubicBezTo>
                  <a:cubicBezTo>
                    <a:pt x="37095" y="143620"/>
                    <a:pt x="37095" y="148659"/>
                    <a:pt x="37095" y="154958"/>
                  </a:cubicBezTo>
                  <a:cubicBezTo>
                    <a:pt x="37095" y="154958"/>
                    <a:pt x="37095" y="156218"/>
                    <a:pt x="37095" y="156218"/>
                  </a:cubicBezTo>
                  <a:cubicBezTo>
                    <a:pt x="35835" y="161257"/>
                    <a:pt x="35835" y="167557"/>
                    <a:pt x="35835" y="172596"/>
                  </a:cubicBezTo>
                  <a:cubicBezTo>
                    <a:pt x="35835" y="175115"/>
                    <a:pt x="35835" y="177635"/>
                    <a:pt x="35835" y="180155"/>
                  </a:cubicBezTo>
                  <a:cubicBezTo>
                    <a:pt x="35835" y="183934"/>
                    <a:pt x="35835" y="187714"/>
                    <a:pt x="35835" y="190233"/>
                  </a:cubicBezTo>
                  <a:lnTo>
                    <a:pt x="35835" y="190233"/>
                  </a:lnTo>
                  <a:lnTo>
                    <a:pt x="35835" y="190233"/>
                  </a:lnTo>
                  <a:cubicBezTo>
                    <a:pt x="35835" y="190233"/>
                    <a:pt x="35835" y="190233"/>
                    <a:pt x="35835" y="190233"/>
                  </a:cubicBezTo>
                  <a:cubicBezTo>
                    <a:pt x="35835" y="190233"/>
                    <a:pt x="35835" y="190233"/>
                    <a:pt x="35835" y="190233"/>
                  </a:cubicBezTo>
                  <a:cubicBezTo>
                    <a:pt x="35835" y="190233"/>
                    <a:pt x="35835" y="190233"/>
                    <a:pt x="35835" y="190233"/>
                  </a:cubicBezTo>
                  <a:cubicBezTo>
                    <a:pt x="35835" y="190233"/>
                    <a:pt x="35835" y="190233"/>
                    <a:pt x="35835" y="190233"/>
                  </a:cubicBezTo>
                  <a:cubicBezTo>
                    <a:pt x="35835" y="190233"/>
                    <a:pt x="35835" y="191493"/>
                    <a:pt x="34575" y="191493"/>
                  </a:cubicBezTo>
                  <a:cubicBezTo>
                    <a:pt x="34575" y="191493"/>
                    <a:pt x="34575" y="191493"/>
                    <a:pt x="33315" y="191493"/>
                  </a:cubicBezTo>
                  <a:cubicBezTo>
                    <a:pt x="33315" y="191493"/>
                    <a:pt x="32056" y="191493"/>
                    <a:pt x="32056" y="191493"/>
                  </a:cubicBezTo>
                  <a:cubicBezTo>
                    <a:pt x="32056" y="191493"/>
                    <a:pt x="30796" y="191493"/>
                    <a:pt x="30796" y="191493"/>
                  </a:cubicBezTo>
                  <a:cubicBezTo>
                    <a:pt x="30796" y="191493"/>
                    <a:pt x="29536" y="190233"/>
                    <a:pt x="29536" y="190233"/>
                  </a:cubicBezTo>
                  <a:cubicBezTo>
                    <a:pt x="29536" y="188974"/>
                    <a:pt x="28276" y="187714"/>
                    <a:pt x="28276" y="185194"/>
                  </a:cubicBezTo>
                  <a:lnTo>
                    <a:pt x="28276" y="185194"/>
                  </a:lnTo>
                  <a:cubicBezTo>
                    <a:pt x="28276" y="183934"/>
                    <a:pt x="27016" y="181414"/>
                    <a:pt x="27016" y="180155"/>
                  </a:cubicBezTo>
                  <a:lnTo>
                    <a:pt x="27016" y="180155"/>
                  </a:lnTo>
                  <a:lnTo>
                    <a:pt x="27016" y="180155"/>
                  </a:lnTo>
                  <a:lnTo>
                    <a:pt x="27016" y="180155"/>
                  </a:lnTo>
                  <a:cubicBezTo>
                    <a:pt x="27016" y="177635"/>
                    <a:pt x="25756" y="173856"/>
                    <a:pt x="25756" y="171336"/>
                  </a:cubicBezTo>
                  <a:cubicBezTo>
                    <a:pt x="25756" y="170076"/>
                    <a:pt x="25756" y="167557"/>
                    <a:pt x="24497" y="166297"/>
                  </a:cubicBezTo>
                  <a:lnTo>
                    <a:pt x="24497" y="165037"/>
                  </a:lnTo>
                  <a:lnTo>
                    <a:pt x="24497" y="161257"/>
                  </a:lnTo>
                  <a:cubicBezTo>
                    <a:pt x="23237" y="157478"/>
                    <a:pt x="23237" y="153698"/>
                    <a:pt x="23237" y="149919"/>
                  </a:cubicBezTo>
                  <a:cubicBezTo>
                    <a:pt x="23237" y="146139"/>
                    <a:pt x="21977" y="143620"/>
                    <a:pt x="21977" y="139840"/>
                  </a:cubicBezTo>
                  <a:cubicBezTo>
                    <a:pt x="21977" y="138581"/>
                    <a:pt x="21977" y="136061"/>
                    <a:pt x="21977" y="134801"/>
                  </a:cubicBezTo>
                  <a:lnTo>
                    <a:pt x="21977" y="133541"/>
                  </a:lnTo>
                  <a:cubicBezTo>
                    <a:pt x="21977" y="132281"/>
                    <a:pt x="21977" y="129762"/>
                    <a:pt x="21977" y="128502"/>
                  </a:cubicBezTo>
                  <a:cubicBezTo>
                    <a:pt x="21977" y="127242"/>
                    <a:pt x="21977" y="127242"/>
                    <a:pt x="21977" y="125982"/>
                  </a:cubicBezTo>
                  <a:lnTo>
                    <a:pt x="21977" y="124722"/>
                  </a:lnTo>
                  <a:lnTo>
                    <a:pt x="21977" y="123463"/>
                  </a:lnTo>
                  <a:cubicBezTo>
                    <a:pt x="21977" y="122203"/>
                    <a:pt x="21977" y="119683"/>
                    <a:pt x="21977" y="118423"/>
                  </a:cubicBezTo>
                  <a:cubicBezTo>
                    <a:pt x="21977" y="114644"/>
                    <a:pt x="20717" y="112124"/>
                    <a:pt x="20717" y="108345"/>
                  </a:cubicBezTo>
                  <a:lnTo>
                    <a:pt x="20717" y="108345"/>
                  </a:lnTo>
                  <a:cubicBezTo>
                    <a:pt x="19457" y="103305"/>
                    <a:pt x="19457" y="98266"/>
                    <a:pt x="18197" y="93227"/>
                  </a:cubicBezTo>
                  <a:lnTo>
                    <a:pt x="18197" y="91967"/>
                  </a:lnTo>
                  <a:cubicBezTo>
                    <a:pt x="18197" y="90707"/>
                    <a:pt x="18197" y="88188"/>
                    <a:pt x="16938" y="85668"/>
                  </a:cubicBezTo>
                  <a:cubicBezTo>
                    <a:pt x="16938" y="84408"/>
                    <a:pt x="16938" y="83148"/>
                    <a:pt x="16938" y="81889"/>
                  </a:cubicBezTo>
                  <a:cubicBezTo>
                    <a:pt x="16938" y="81889"/>
                    <a:pt x="16938" y="80629"/>
                    <a:pt x="16938" y="80629"/>
                  </a:cubicBezTo>
                  <a:cubicBezTo>
                    <a:pt x="16938" y="79369"/>
                    <a:pt x="16938" y="79369"/>
                    <a:pt x="16938" y="78109"/>
                  </a:cubicBezTo>
                  <a:lnTo>
                    <a:pt x="15678" y="74330"/>
                  </a:lnTo>
                  <a:lnTo>
                    <a:pt x="15678" y="73070"/>
                  </a:lnTo>
                  <a:lnTo>
                    <a:pt x="15678" y="73070"/>
                  </a:lnTo>
                  <a:cubicBezTo>
                    <a:pt x="15678" y="71810"/>
                    <a:pt x="14418" y="70550"/>
                    <a:pt x="14418" y="68030"/>
                  </a:cubicBezTo>
                  <a:cubicBezTo>
                    <a:pt x="14418" y="65511"/>
                    <a:pt x="13158" y="64251"/>
                    <a:pt x="13158" y="61731"/>
                  </a:cubicBezTo>
                  <a:lnTo>
                    <a:pt x="13158" y="60472"/>
                  </a:lnTo>
                  <a:cubicBezTo>
                    <a:pt x="13158" y="59212"/>
                    <a:pt x="13158" y="57952"/>
                    <a:pt x="11898" y="56692"/>
                  </a:cubicBezTo>
                  <a:cubicBezTo>
                    <a:pt x="10638" y="52913"/>
                    <a:pt x="10638" y="49133"/>
                    <a:pt x="9378" y="45354"/>
                  </a:cubicBezTo>
                  <a:lnTo>
                    <a:pt x="9378" y="42834"/>
                  </a:lnTo>
                  <a:lnTo>
                    <a:pt x="9378" y="42834"/>
                  </a:lnTo>
                  <a:cubicBezTo>
                    <a:pt x="9378" y="41574"/>
                    <a:pt x="9378" y="40314"/>
                    <a:pt x="8119" y="40314"/>
                  </a:cubicBezTo>
                  <a:lnTo>
                    <a:pt x="8119" y="39054"/>
                  </a:lnTo>
                  <a:cubicBezTo>
                    <a:pt x="8119" y="37795"/>
                    <a:pt x="8119" y="36535"/>
                    <a:pt x="6859" y="35275"/>
                  </a:cubicBezTo>
                  <a:lnTo>
                    <a:pt x="6859" y="34015"/>
                  </a:lnTo>
                  <a:lnTo>
                    <a:pt x="6859" y="32755"/>
                  </a:lnTo>
                  <a:lnTo>
                    <a:pt x="6859" y="31496"/>
                  </a:lnTo>
                  <a:lnTo>
                    <a:pt x="6859" y="31496"/>
                  </a:lnTo>
                  <a:lnTo>
                    <a:pt x="6859" y="31496"/>
                  </a:lnTo>
                  <a:cubicBezTo>
                    <a:pt x="6859" y="30236"/>
                    <a:pt x="6859" y="30236"/>
                    <a:pt x="6859" y="28976"/>
                  </a:cubicBezTo>
                  <a:lnTo>
                    <a:pt x="6859" y="27716"/>
                  </a:lnTo>
                  <a:lnTo>
                    <a:pt x="6859" y="27716"/>
                  </a:lnTo>
                  <a:lnTo>
                    <a:pt x="6859" y="27716"/>
                  </a:lnTo>
                  <a:cubicBezTo>
                    <a:pt x="6859" y="26456"/>
                    <a:pt x="6859" y="25196"/>
                    <a:pt x="6859" y="23937"/>
                  </a:cubicBezTo>
                  <a:lnTo>
                    <a:pt x="6859" y="22677"/>
                  </a:lnTo>
                  <a:lnTo>
                    <a:pt x="6859" y="20157"/>
                  </a:lnTo>
                  <a:cubicBezTo>
                    <a:pt x="6859" y="18897"/>
                    <a:pt x="6859" y="17637"/>
                    <a:pt x="6859" y="16378"/>
                  </a:cubicBezTo>
                  <a:lnTo>
                    <a:pt x="6859" y="15118"/>
                  </a:lnTo>
                  <a:lnTo>
                    <a:pt x="6859" y="13858"/>
                  </a:lnTo>
                  <a:cubicBezTo>
                    <a:pt x="6859" y="12598"/>
                    <a:pt x="6859" y="11338"/>
                    <a:pt x="6859" y="11338"/>
                  </a:cubicBezTo>
                  <a:cubicBezTo>
                    <a:pt x="6859" y="10079"/>
                    <a:pt x="6859" y="10079"/>
                    <a:pt x="6859" y="8819"/>
                  </a:cubicBezTo>
                  <a:lnTo>
                    <a:pt x="6859" y="8819"/>
                  </a:lnTo>
                  <a:cubicBezTo>
                    <a:pt x="6859" y="8819"/>
                    <a:pt x="6859" y="7559"/>
                    <a:pt x="6859" y="7559"/>
                  </a:cubicBezTo>
                  <a:cubicBezTo>
                    <a:pt x="6859" y="7559"/>
                    <a:pt x="6859" y="7559"/>
                    <a:pt x="6859" y="7559"/>
                  </a:cubicBezTo>
                  <a:lnTo>
                    <a:pt x="6859" y="7559"/>
                  </a:lnTo>
                  <a:lnTo>
                    <a:pt x="6859" y="7559"/>
                  </a:lnTo>
                  <a:cubicBezTo>
                    <a:pt x="6859" y="7559"/>
                    <a:pt x="6859" y="6299"/>
                    <a:pt x="6859" y="6299"/>
                  </a:cubicBezTo>
                  <a:lnTo>
                    <a:pt x="560" y="0"/>
                  </a:lnTo>
                  <a:cubicBezTo>
                    <a:pt x="-700" y="0"/>
                    <a:pt x="560" y="0"/>
                    <a:pt x="560" y="0"/>
                  </a:cubicBezTo>
                  <a:cubicBezTo>
                    <a:pt x="560" y="0"/>
                    <a:pt x="560" y="0"/>
                    <a:pt x="560" y="0"/>
                  </a:cubicBezTo>
                </a:path>
              </a:pathLst>
            </a:custGeom>
            <a:solidFill>
              <a:srgbClr val="F3B04B"/>
            </a:solidFill>
            <a:ln w="12584" cap="flat">
              <a:noFill/>
              <a:prstDash val="solid"/>
              <a:miter/>
            </a:ln>
          </p:spPr>
          <p:txBody>
            <a:bodyPr rtlCol="0" anchor="ctr"/>
            <a:lstStyle/>
            <a:p>
              <a:endParaRPr lang="zh-CN" altLang="en-US"/>
            </a:p>
          </p:txBody>
        </p:sp>
        <p:sp>
          <p:nvSpPr>
            <p:cNvPr id="211" name="任意多边形: 形状 210"/>
            <p:cNvSpPr/>
            <p:nvPr/>
          </p:nvSpPr>
          <p:spPr>
            <a:xfrm>
              <a:off x="9795619" y="4876427"/>
              <a:ext cx="171607" cy="51482"/>
            </a:xfrm>
            <a:custGeom>
              <a:avLst/>
              <a:gdLst>
                <a:gd name="connsiteX0" fmla="*/ 252792 w 251964"/>
                <a:gd name="connsiteY0" fmla="*/ 1260 h 75589"/>
                <a:gd name="connsiteX1" fmla="*/ 252792 w 251964"/>
                <a:gd name="connsiteY1" fmla="*/ 1260 h 75589"/>
                <a:gd name="connsiteX2" fmla="*/ 250272 w 251964"/>
                <a:gd name="connsiteY2" fmla="*/ 2520 h 75589"/>
                <a:gd name="connsiteX3" fmla="*/ 249013 w 251964"/>
                <a:gd name="connsiteY3" fmla="*/ 5040 h 75589"/>
                <a:gd name="connsiteX4" fmla="*/ 249013 w 251964"/>
                <a:gd name="connsiteY4" fmla="*/ 5040 h 75589"/>
                <a:gd name="connsiteX5" fmla="*/ 249013 w 251964"/>
                <a:gd name="connsiteY5" fmla="*/ 5040 h 75589"/>
                <a:gd name="connsiteX6" fmla="*/ 249013 w 251964"/>
                <a:gd name="connsiteY6" fmla="*/ 5040 h 75589"/>
                <a:gd name="connsiteX7" fmla="*/ 242713 w 251964"/>
                <a:gd name="connsiteY7" fmla="*/ 3780 h 75589"/>
                <a:gd name="connsiteX8" fmla="*/ 235155 w 251964"/>
                <a:gd name="connsiteY8" fmla="*/ 2520 h 75589"/>
                <a:gd name="connsiteX9" fmla="*/ 235155 w 251964"/>
                <a:gd name="connsiteY9" fmla="*/ 2520 h 75589"/>
                <a:gd name="connsiteX10" fmla="*/ 228856 w 251964"/>
                <a:gd name="connsiteY10" fmla="*/ 2520 h 75589"/>
                <a:gd name="connsiteX11" fmla="*/ 228856 w 251964"/>
                <a:gd name="connsiteY11" fmla="*/ 2520 h 75589"/>
                <a:gd name="connsiteX12" fmla="*/ 214998 w 251964"/>
                <a:gd name="connsiteY12" fmla="*/ 1260 h 75589"/>
                <a:gd name="connsiteX13" fmla="*/ 187281 w 251964"/>
                <a:gd name="connsiteY13" fmla="*/ 0 h 75589"/>
                <a:gd name="connsiteX14" fmla="*/ 174683 w 251964"/>
                <a:gd name="connsiteY14" fmla="*/ 0 h 75589"/>
                <a:gd name="connsiteX15" fmla="*/ 172164 w 251964"/>
                <a:gd name="connsiteY15" fmla="*/ 0 h 75589"/>
                <a:gd name="connsiteX16" fmla="*/ 167124 w 251964"/>
                <a:gd name="connsiteY16" fmla="*/ 0 h 75589"/>
                <a:gd name="connsiteX17" fmla="*/ 165864 w 251964"/>
                <a:gd name="connsiteY17" fmla="*/ 0 h 75589"/>
                <a:gd name="connsiteX18" fmla="*/ 160825 w 251964"/>
                <a:gd name="connsiteY18" fmla="*/ 0 h 75589"/>
                <a:gd name="connsiteX19" fmla="*/ 153266 w 251964"/>
                <a:gd name="connsiteY19" fmla="*/ 1260 h 75589"/>
                <a:gd name="connsiteX20" fmla="*/ 146967 w 251964"/>
                <a:gd name="connsiteY20" fmla="*/ 3780 h 75589"/>
                <a:gd name="connsiteX21" fmla="*/ 135628 w 251964"/>
                <a:gd name="connsiteY21" fmla="*/ 8819 h 75589"/>
                <a:gd name="connsiteX22" fmla="*/ 134369 w 251964"/>
                <a:gd name="connsiteY22" fmla="*/ 8819 h 75589"/>
                <a:gd name="connsiteX23" fmla="*/ 131849 w 251964"/>
                <a:gd name="connsiteY23" fmla="*/ 10079 h 75589"/>
                <a:gd name="connsiteX24" fmla="*/ 131849 w 251964"/>
                <a:gd name="connsiteY24" fmla="*/ 10079 h 75589"/>
                <a:gd name="connsiteX25" fmla="*/ 131849 w 251964"/>
                <a:gd name="connsiteY25" fmla="*/ 10079 h 75589"/>
                <a:gd name="connsiteX26" fmla="*/ 131849 w 251964"/>
                <a:gd name="connsiteY26" fmla="*/ 10079 h 75589"/>
                <a:gd name="connsiteX27" fmla="*/ 131849 w 251964"/>
                <a:gd name="connsiteY27" fmla="*/ 10079 h 75589"/>
                <a:gd name="connsiteX28" fmla="*/ 131849 w 251964"/>
                <a:gd name="connsiteY28" fmla="*/ 10079 h 75589"/>
                <a:gd name="connsiteX29" fmla="*/ 131849 w 251964"/>
                <a:gd name="connsiteY29" fmla="*/ 10079 h 75589"/>
                <a:gd name="connsiteX30" fmla="*/ 131849 w 251964"/>
                <a:gd name="connsiteY30" fmla="*/ 10079 h 75589"/>
                <a:gd name="connsiteX31" fmla="*/ 131849 w 251964"/>
                <a:gd name="connsiteY31" fmla="*/ 10079 h 75589"/>
                <a:gd name="connsiteX32" fmla="*/ 131849 w 251964"/>
                <a:gd name="connsiteY32" fmla="*/ 10079 h 75589"/>
                <a:gd name="connsiteX33" fmla="*/ 131849 w 251964"/>
                <a:gd name="connsiteY33" fmla="*/ 10079 h 75589"/>
                <a:gd name="connsiteX34" fmla="*/ 131849 w 251964"/>
                <a:gd name="connsiteY34" fmla="*/ 10079 h 75589"/>
                <a:gd name="connsiteX35" fmla="*/ 131849 w 251964"/>
                <a:gd name="connsiteY35" fmla="*/ 10079 h 75589"/>
                <a:gd name="connsiteX36" fmla="*/ 131849 w 251964"/>
                <a:gd name="connsiteY36" fmla="*/ 10079 h 75589"/>
                <a:gd name="connsiteX37" fmla="*/ 131849 w 251964"/>
                <a:gd name="connsiteY37" fmla="*/ 10079 h 75589"/>
                <a:gd name="connsiteX38" fmla="*/ 131849 w 251964"/>
                <a:gd name="connsiteY38" fmla="*/ 10079 h 75589"/>
                <a:gd name="connsiteX39" fmla="*/ 131849 w 251964"/>
                <a:gd name="connsiteY39" fmla="*/ 10079 h 75589"/>
                <a:gd name="connsiteX40" fmla="*/ 124290 w 251964"/>
                <a:gd name="connsiteY40" fmla="*/ 12598 h 75589"/>
                <a:gd name="connsiteX41" fmla="*/ 120511 w 251964"/>
                <a:gd name="connsiteY41" fmla="*/ 13858 h 75589"/>
                <a:gd name="connsiteX42" fmla="*/ 117991 w 251964"/>
                <a:gd name="connsiteY42" fmla="*/ 15118 h 75589"/>
                <a:gd name="connsiteX43" fmla="*/ 116731 w 251964"/>
                <a:gd name="connsiteY43" fmla="*/ 15118 h 75589"/>
                <a:gd name="connsiteX44" fmla="*/ 110432 w 251964"/>
                <a:gd name="connsiteY44" fmla="*/ 16378 h 75589"/>
                <a:gd name="connsiteX45" fmla="*/ 109172 w 251964"/>
                <a:gd name="connsiteY45" fmla="*/ 16378 h 75589"/>
                <a:gd name="connsiteX46" fmla="*/ 97834 w 251964"/>
                <a:gd name="connsiteY46" fmla="*/ 20157 h 75589"/>
                <a:gd name="connsiteX47" fmla="*/ 94054 w 251964"/>
                <a:gd name="connsiteY47" fmla="*/ 21417 h 75589"/>
                <a:gd name="connsiteX48" fmla="*/ 91535 w 251964"/>
                <a:gd name="connsiteY48" fmla="*/ 22677 h 75589"/>
                <a:gd name="connsiteX49" fmla="*/ 83976 w 251964"/>
                <a:gd name="connsiteY49" fmla="*/ 25196 h 75589"/>
                <a:gd name="connsiteX50" fmla="*/ 75157 w 251964"/>
                <a:gd name="connsiteY50" fmla="*/ 27716 h 75589"/>
                <a:gd name="connsiteX51" fmla="*/ 71378 w 251964"/>
                <a:gd name="connsiteY51" fmla="*/ 28976 h 75589"/>
                <a:gd name="connsiteX52" fmla="*/ 58780 w 251964"/>
                <a:gd name="connsiteY52" fmla="*/ 34015 h 75589"/>
                <a:gd name="connsiteX53" fmla="*/ 46181 w 251964"/>
                <a:gd name="connsiteY53" fmla="*/ 39055 h 75589"/>
                <a:gd name="connsiteX54" fmla="*/ 33583 w 251964"/>
                <a:gd name="connsiteY54" fmla="*/ 44094 h 75589"/>
                <a:gd name="connsiteX55" fmla="*/ 32323 w 251964"/>
                <a:gd name="connsiteY55" fmla="*/ 44094 h 75589"/>
                <a:gd name="connsiteX56" fmla="*/ 26024 w 251964"/>
                <a:gd name="connsiteY56" fmla="*/ 46614 h 75589"/>
                <a:gd name="connsiteX57" fmla="*/ 20985 w 251964"/>
                <a:gd name="connsiteY57" fmla="*/ 49133 h 75589"/>
                <a:gd name="connsiteX58" fmla="*/ 17205 w 251964"/>
                <a:gd name="connsiteY58" fmla="*/ 51653 h 75589"/>
                <a:gd name="connsiteX59" fmla="*/ 15945 w 251964"/>
                <a:gd name="connsiteY59" fmla="*/ 52913 h 75589"/>
                <a:gd name="connsiteX60" fmla="*/ 14686 w 251964"/>
                <a:gd name="connsiteY60" fmla="*/ 52913 h 75589"/>
                <a:gd name="connsiteX61" fmla="*/ 9646 w 251964"/>
                <a:gd name="connsiteY61" fmla="*/ 55433 h 75589"/>
                <a:gd name="connsiteX62" fmla="*/ 3347 w 251964"/>
                <a:gd name="connsiteY62" fmla="*/ 60472 h 75589"/>
                <a:gd name="connsiteX63" fmla="*/ 828 w 251964"/>
                <a:gd name="connsiteY63" fmla="*/ 64251 h 75589"/>
                <a:gd name="connsiteX64" fmla="*/ 2087 w 251964"/>
                <a:gd name="connsiteY64" fmla="*/ 71810 h 75589"/>
                <a:gd name="connsiteX65" fmla="*/ 8387 w 251964"/>
                <a:gd name="connsiteY65" fmla="*/ 76849 h 75589"/>
                <a:gd name="connsiteX66" fmla="*/ 14686 w 251964"/>
                <a:gd name="connsiteY66" fmla="*/ 79369 h 75589"/>
                <a:gd name="connsiteX67" fmla="*/ 27284 w 251964"/>
                <a:gd name="connsiteY67" fmla="*/ 80629 h 75589"/>
                <a:gd name="connsiteX68" fmla="*/ 28543 w 251964"/>
                <a:gd name="connsiteY68" fmla="*/ 80629 h 75589"/>
                <a:gd name="connsiteX69" fmla="*/ 33583 w 251964"/>
                <a:gd name="connsiteY69" fmla="*/ 80629 h 75589"/>
                <a:gd name="connsiteX70" fmla="*/ 34843 w 251964"/>
                <a:gd name="connsiteY70" fmla="*/ 80629 h 75589"/>
                <a:gd name="connsiteX71" fmla="*/ 41142 w 251964"/>
                <a:gd name="connsiteY71" fmla="*/ 80629 h 75589"/>
                <a:gd name="connsiteX72" fmla="*/ 41142 w 251964"/>
                <a:gd name="connsiteY72" fmla="*/ 80629 h 75589"/>
                <a:gd name="connsiteX73" fmla="*/ 55000 w 251964"/>
                <a:gd name="connsiteY73" fmla="*/ 80629 h 75589"/>
                <a:gd name="connsiteX74" fmla="*/ 68858 w 251964"/>
                <a:gd name="connsiteY74" fmla="*/ 79369 h 75589"/>
                <a:gd name="connsiteX75" fmla="*/ 68858 w 251964"/>
                <a:gd name="connsiteY75" fmla="*/ 79369 h 75589"/>
                <a:gd name="connsiteX76" fmla="*/ 78936 w 251964"/>
                <a:gd name="connsiteY76" fmla="*/ 78109 h 75589"/>
                <a:gd name="connsiteX77" fmla="*/ 81456 w 251964"/>
                <a:gd name="connsiteY77" fmla="*/ 78109 h 75589"/>
                <a:gd name="connsiteX78" fmla="*/ 100354 w 251964"/>
                <a:gd name="connsiteY78" fmla="*/ 76849 h 75589"/>
                <a:gd name="connsiteX79" fmla="*/ 106653 w 251964"/>
                <a:gd name="connsiteY79" fmla="*/ 76849 h 75589"/>
                <a:gd name="connsiteX80" fmla="*/ 155786 w 251964"/>
                <a:gd name="connsiteY80" fmla="*/ 78109 h 75589"/>
                <a:gd name="connsiteX81" fmla="*/ 162085 w 251964"/>
                <a:gd name="connsiteY81" fmla="*/ 78109 h 75589"/>
                <a:gd name="connsiteX82" fmla="*/ 169644 w 251964"/>
                <a:gd name="connsiteY82" fmla="*/ 78109 h 75589"/>
                <a:gd name="connsiteX83" fmla="*/ 184762 w 251964"/>
                <a:gd name="connsiteY83" fmla="*/ 78109 h 75589"/>
                <a:gd name="connsiteX84" fmla="*/ 198620 w 251964"/>
                <a:gd name="connsiteY84" fmla="*/ 76849 h 75589"/>
                <a:gd name="connsiteX85" fmla="*/ 204919 w 251964"/>
                <a:gd name="connsiteY85" fmla="*/ 75589 h 75589"/>
                <a:gd name="connsiteX86" fmla="*/ 207439 w 251964"/>
                <a:gd name="connsiteY86" fmla="*/ 75589 h 75589"/>
                <a:gd name="connsiteX87" fmla="*/ 211218 w 251964"/>
                <a:gd name="connsiteY87" fmla="*/ 74330 h 75589"/>
                <a:gd name="connsiteX88" fmla="*/ 211218 w 251964"/>
                <a:gd name="connsiteY88" fmla="*/ 74330 h 75589"/>
                <a:gd name="connsiteX89" fmla="*/ 211218 w 251964"/>
                <a:gd name="connsiteY89" fmla="*/ 74330 h 75589"/>
                <a:gd name="connsiteX90" fmla="*/ 212478 w 251964"/>
                <a:gd name="connsiteY90" fmla="*/ 75589 h 75589"/>
                <a:gd name="connsiteX91" fmla="*/ 212478 w 251964"/>
                <a:gd name="connsiteY91" fmla="*/ 75589 h 75589"/>
                <a:gd name="connsiteX92" fmla="*/ 217517 w 251964"/>
                <a:gd name="connsiteY92" fmla="*/ 79369 h 75589"/>
                <a:gd name="connsiteX93" fmla="*/ 222557 w 251964"/>
                <a:gd name="connsiteY93" fmla="*/ 81889 h 75589"/>
                <a:gd name="connsiteX94" fmla="*/ 226336 w 251964"/>
                <a:gd name="connsiteY94" fmla="*/ 83148 h 75589"/>
                <a:gd name="connsiteX95" fmla="*/ 227596 w 251964"/>
                <a:gd name="connsiteY95" fmla="*/ 83148 h 75589"/>
                <a:gd name="connsiteX96" fmla="*/ 241454 w 251964"/>
                <a:gd name="connsiteY96" fmla="*/ 81889 h 75589"/>
                <a:gd name="connsiteX97" fmla="*/ 242713 w 251964"/>
                <a:gd name="connsiteY97" fmla="*/ 81889 h 75589"/>
                <a:gd name="connsiteX98" fmla="*/ 247753 w 251964"/>
                <a:gd name="connsiteY98" fmla="*/ 80629 h 75589"/>
                <a:gd name="connsiteX99" fmla="*/ 254052 w 251964"/>
                <a:gd name="connsiteY99" fmla="*/ 76849 h 75589"/>
                <a:gd name="connsiteX100" fmla="*/ 255312 w 251964"/>
                <a:gd name="connsiteY100" fmla="*/ 74330 h 75589"/>
                <a:gd name="connsiteX101" fmla="*/ 257831 w 251964"/>
                <a:gd name="connsiteY101" fmla="*/ 70550 h 75589"/>
                <a:gd name="connsiteX102" fmla="*/ 257831 w 251964"/>
                <a:gd name="connsiteY102" fmla="*/ 60472 h 75589"/>
                <a:gd name="connsiteX103" fmla="*/ 257831 w 251964"/>
                <a:gd name="connsiteY103" fmla="*/ 55433 h 75589"/>
                <a:gd name="connsiteX104" fmla="*/ 257831 w 251964"/>
                <a:gd name="connsiteY104" fmla="*/ 52913 h 75589"/>
                <a:gd name="connsiteX105" fmla="*/ 257831 w 251964"/>
                <a:gd name="connsiteY105" fmla="*/ 42834 h 75589"/>
                <a:gd name="connsiteX106" fmla="*/ 257831 w 251964"/>
                <a:gd name="connsiteY106" fmla="*/ 40315 h 75589"/>
                <a:gd name="connsiteX107" fmla="*/ 257831 w 251964"/>
                <a:gd name="connsiteY107" fmla="*/ 36535 h 75589"/>
                <a:gd name="connsiteX108" fmla="*/ 257831 w 251964"/>
                <a:gd name="connsiteY108" fmla="*/ 27716 h 75589"/>
                <a:gd name="connsiteX109" fmla="*/ 257831 w 251964"/>
                <a:gd name="connsiteY109" fmla="*/ 21417 h 75589"/>
                <a:gd name="connsiteX110" fmla="*/ 257831 w 251964"/>
                <a:gd name="connsiteY110" fmla="*/ 15118 h 75589"/>
                <a:gd name="connsiteX111" fmla="*/ 256572 w 251964"/>
                <a:gd name="connsiteY111" fmla="*/ 11339 h 75589"/>
                <a:gd name="connsiteX112" fmla="*/ 255312 w 251964"/>
                <a:gd name="connsiteY112" fmla="*/ 8819 h 75589"/>
                <a:gd name="connsiteX113" fmla="*/ 255312 w 251964"/>
                <a:gd name="connsiteY113" fmla="*/ 5040 h 75589"/>
                <a:gd name="connsiteX114" fmla="*/ 252792 w 251964"/>
                <a:gd name="connsiteY114" fmla="*/ 1260 h 75589"/>
                <a:gd name="connsiteX115" fmla="*/ 8387 w 251964"/>
                <a:gd name="connsiteY115" fmla="*/ 64251 h 75589"/>
                <a:gd name="connsiteX116" fmla="*/ 12166 w 251964"/>
                <a:gd name="connsiteY116" fmla="*/ 61732 h 75589"/>
                <a:gd name="connsiteX117" fmla="*/ 15945 w 251964"/>
                <a:gd name="connsiteY117" fmla="*/ 59212 h 75589"/>
                <a:gd name="connsiteX118" fmla="*/ 17205 w 251964"/>
                <a:gd name="connsiteY118" fmla="*/ 59212 h 75589"/>
                <a:gd name="connsiteX119" fmla="*/ 20985 w 251964"/>
                <a:gd name="connsiteY119" fmla="*/ 57952 h 75589"/>
                <a:gd name="connsiteX120" fmla="*/ 22244 w 251964"/>
                <a:gd name="connsiteY120" fmla="*/ 56692 h 75589"/>
                <a:gd name="connsiteX121" fmla="*/ 28543 w 251964"/>
                <a:gd name="connsiteY121" fmla="*/ 54173 h 75589"/>
                <a:gd name="connsiteX122" fmla="*/ 34843 w 251964"/>
                <a:gd name="connsiteY122" fmla="*/ 51653 h 75589"/>
                <a:gd name="connsiteX123" fmla="*/ 26024 w 251964"/>
                <a:gd name="connsiteY123" fmla="*/ 56692 h 75589"/>
                <a:gd name="connsiteX124" fmla="*/ 26024 w 251964"/>
                <a:gd name="connsiteY124" fmla="*/ 56692 h 75589"/>
                <a:gd name="connsiteX125" fmla="*/ 15945 w 251964"/>
                <a:gd name="connsiteY125" fmla="*/ 62991 h 75589"/>
                <a:gd name="connsiteX126" fmla="*/ 12166 w 251964"/>
                <a:gd name="connsiteY126" fmla="*/ 64251 h 75589"/>
                <a:gd name="connsiteX127" fmla="*/ 8387 w 251964"/>
                <a:gd name="connsiteY127" fmla="*/ 64251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251964" h="75589">
                  <a:moveTo>
                    <a:pt x="252792" y="1260"/>
                  </a:moveTo>
                  <a:cubicBezTo>
                    <a:pt x="252792" y="1260"/>
                    <a:pt x="252792" y="1260"/>
                    <a:pt x="252792" y="1260"/>
                  </a:cubicBezTo>
                  <a:cubicBezTo>
                    <a:pt x="251532" y="1260"/>
                    <a:pt x="251532" y="1260"/>
                    <a:pt x="250272" y="2520"/>
                  </a:cubicBezTo>
                  <a:cubicBezTo>
                    <a:pt x="250272" y="2520"/>
                    <a:pt x="249013" y="3780"/>
                    <a:pt x="249013" y="5040"/>
                  </a:cubicBezTo>
                  <a:lnTo>
                    <a:pt x="249013" y="5040"/>
                  </a:lnTo>
                  <a:lnTo>
                    <a:pt x="249013" y="5040"/>
                  </a:lnTo>
                  <a:lnTo>
                    <a:pt x="249013" y="5040"/>
                  </a:lnTo>
                  <a:cubicBezTo>
                    <a:pt x="247753" y="5040"/>
                    <a:pt x="245233" y="3780"/>
                    <a:pt x="242713" y="3780"/>
                  </a:cubicBezTo>
                  <a:cubicBezTo>
                    <a:pt x="240194" y="3780"/>
                    <a:pt x="237674" y="2520"/>
                    <a:pt x="235155" y="2520"/>
                  </a:cubicBezTo>
                  <a:lnTo>
                    <a:pt x="235155" y="2520"/>
                  </a:lnTo>
                  <a:cubicBezTo>
                    <a:pt x="232635" y="2520"/>
                    <a:pt x="231375" y="2520"/>
                    <a:pt x="228856" y="2520"/>
                  </a:cubicBezTo>
                  <a:lnTo>
                    <a:pt x="228856" y="2520"/>
                  </a:lnTo>
                  <a:cubicBezTo>
                    <a:pt x="223816" y="2520"/>
                    <a:pt x="220037" y="1260"/>
                    <a:pt x="214998" y="1260"/>
                  </a:cubicBezTo>
                  <a:cubicBezTo>
                    <a:pt x="206179" y="1260"/>
                    <a:pt x="197360" y="0"/>
                    <a:pt x="187281" y="0"/>
                  </a:cubicBezTo>
                  <a:cubicBezTo>
                    <a:pt x="183502" y="0"/>
                    <a:pt x="179722" y="0"/>
                    <a:pt x="174683" y="0"/>
                  </a:cubicBezTo>
                  <a:lnTo>
                    <a:pt x="172164" y="0"/>
                  </a:lnTo>
                  <a:cubicBezTo>
                    <a:pt x="170904" y="0"/>
                    <a:pt x="169644" y="0"/>
                    <a:pt x="167124" y="0"/>
                  </a:cubicBezTo>
                  <a:lnTo>
                    <a:pt x="165864" y="0"/>
                  </a:lnTo>
                  <a:cubicBezTo>
                    <a:pt x="164605" y="0"/>
                    <a:pt x="162085" y="0"/>
                    <a:pt x="160825" y="0"/>
                  </a:cubicBezTo>
                  <a:cubicBezTo>
                    <a:pt x="158305" y="0"/>
                    <a:pt x="155786" y="0"/>
                    <a:pt x="153266" y="1260"/>
                  </a:cubicBezTo>
                  <a:cubicBezTo>
                    <a:pt x="150746" y="1260"/>
                    <a:pt x="148227" y="2520"/>
                    <a:pt x="146967" y="3780"/>
                  </a:cubicBezTo>
                  <a:cubicBezTo>
                    <a:pt x="143187" y="5040"/>
                    <a:pt x="139408" y="6299"/>
                    <a:pt x="135628" y="8819"/>
                  </a:cubicBezTo>
                  <a:lnTo>
                    <a:pt x="134369" y="8819"/>
                  </a:lnTo>
                  <a:cubicBezTo>
                    <a:pt x="133109" y="8819"/>
                    <a:pt x="131849" y="10079"/>
                    <a:pt x="131849" y="10079"/>
                  </a:cubicBezTo>
                  <a:lnTo>
                    <a:pt x="131849" y="10079"/>
                  </a:lnTo>
                  <a:lnTo>
                    <a:pt x="131849" y="10079"/>
                  </a:lnTo>
                  <a:cubicBezTo>
                    <a:pt x="131849" y="10079"/>
                    <a:pt x="131849" y="10079"/>
                    <a:pt x="131849" y="10079"/>
                  </a:cubicBezTo>
                  <a:lnTo>
                    <a:pt x="131849" y="10079"/>
                  </a:lnTo>
                  <a:cubicBezTo>
                    <a:pt x="131849" y="10079"/>
                    <a:pt x="131849" y="10079"/>
                    <a:pt x="131849" y="10079"/>
                  </a:cubicBezTo>
                  <a:lnTo>
                    <a:pt x="131849" y="10079"/>
                  </a:lnTo>
                  <a:lnTo>
                    <a:pt x="131849" y="10079"/>
                  </a:lnTo>
                  <a:lnTo>
                    <a:pt x="131849" y="10079"/>
                  </a:lnTo>
                  <a:lnTo>
                    <a:pt x="131849" y="10079"/>
                  </a:lnTo>
                  <a:lnTo>
                    <a:pt x="131849" y="10079"/>
                  </a:lnTo>
                  <a:lnTo>
                    <a:pt x="131849" y="10079"/>
                  </a:lnTo>
                  <a:cubicBezTo>
                    <a:pt x="131849" y="10079"/>
                    <a:pt x="131849" y="10079"/>
                    <a:pt x="131849" y="10079"/>
                  </a:cubicBezTo>
                  <a:lnTo>
                    <a:pt x="131849" y="10079"/>
                  </a:lnTo>
                  <a:lnTo>
                    <a:pt x="131849" y="10079"/>
                  </a:lnTo>
                  <a:lnTo>
                    <a:pt x="131849" y="10079"/>
                  </a:lnTo>
                  <a:cubicBezTo>
                    <a:pt x="131849" y="10079"/>
                    <a:pt x="131849" y="10079"/>
                    <a:pt x="131849" y="10079"/>
                  </a:cubicBezTo>
                  <a:cubicBezTo>
                    <a:pt x="129329" y="11339"/>
                    <a:pt x="126810" y="12598"/>
                    <a:pt x="124290" y="12598"/>
                  </a:cubicBezTo>
                  <a:cubicBezTo>
                    <a:pt x="123030" y="12598"/>
                    <a:pt x="121771" y="13858"/>
                    <a:pt x="120511" y="13858"/>
                  </a:cubicBezTo>
                  <a:cubicBezTo>
                    <a:pt x="119251" y="13858"/>
                    <a:pt x="117991" y="15118"/>
                    <a:pt x="117991" y="15118"/>
                  </a:cubicBezTo>
                  <a:lnTo>
                    <a:pt x="116731" y="15118"/>
                  </a:lnTo>
                  <a:cubicBezTo>
                    <a:pt x="114212" y="15118"/>
                    <a:pt x="112952" y="16378"/>
                    <a:pt x="110432" y="16378"/>
                  </a:cubicBezTo>
                  <a:lnTo>
                    <a:pt x="109172" y="16378"/>
                  </a:lnTo>
                  <a:cubicBezTo>
                    <a:pt x="105393" y="17638"/>
                    <a:pt x="101613" y="18897"/>
                    <a:pt x="97834" y="20157"/>
                  </a:cubicBezTo>
                  <a:cubicBezTo>
                    <a:pt x="96574" y="20157"/>
                    <a:pt x="95314" y="21417"/>
                    <a:pt x="94054" y="21417"/>
                  </a:cubicBezTo>
                  <a:cubicBezTo>
                    <a:pt x="92795" y="21417"/>
                    <a:pt x="92795" y="21417"/>
                    <a:pt x="91535" y="22677"/>
                  </a:cubicBezTo>
                  <a:cubicBezTo>
                    <a:pt x="89015" y="23937"/>
                    <a:pt x="86495" y="23937"/>
                    <a:pt x="83976" y="25196"/>
                  </a:cubicBezTo>
                  <a:cubicBezTo>
                    <a:pt x="81456" y="26456"/>
                    <a:pt x="78936" y="27716"/>
                    <a:pt x="75157" y="27716"/>
                  </a:cubicBezTo>
                  <a:cubicBezTo>
                    <a:pt x="73897" y="27716"/>
                    <a:pt x="72637" y="28976"/>
                    <a:pt x="71378" y="28976"/>
                  </a:cubicBezTo>
                  <a:cubicBezTo>
                    <a:pt x="67598" y="30236"/>
                    <a:pt x="62559" y="31496"/>
                    <a:pt x="58780" y="34015"/>
                  </a:cubicBezTo>
                  <a:cubicBezTo>
                    <a:pt x="55000" y="35275"/>
                    <a:pt x="49961" y="37795"/>
                    <a:pt x="46181" y="39055"/>
                  </a:cubicBezTo>
                  <a:cubicBezTo>
                    <a:pt x="42402" y="40315"/>
                    <a:pt x="38622" y="42834"/>
                    <a:pt x="33583" y="44094"/>
                  </a:cubicBezTo>
                  <a:lnTo>
                    <a:pt x="32323" y="44094"/>
                  </a:lnTo>
                  <a:cubicBezTo>
                    <a:pt x="29803" y="45354"/>
                    <a:pt x="28543" y="45354"/>
                    <a:pt x="26024" y="46614"/>
                  </a:cubicBezTo>
                  <a:cubicBezTo>
                    <a:pt x="23504" y="47874"/>
                    <a:pt x="22244" y="47874"/>
                    <a:pt x="20985" y="49133"/>
                  </a:cubicBezTo>
                  <a:cubicBezTo>
                    <a:pt x="19725" y="50393"/>
                    <a:pt x="18465" y="50393"/>
                    <a:pt x="17205" y="51653"/>
                  </a:cubicBezTo>
                  <a:lnTo>
                    <a:pt x="15945" y="52913"/>
                  </a:lnTo>
                  <a:lnTo>
                    <a:pt x="14686" y="52913"/>
                  </a:lnTo>
                  <a:cubicBezTo>
                    <a:pt x="13426" y="54173"/>
                    <a:pt x="10906" y="54173"/>
                    <a:pt x="9646" y="55433"/>
                  </a:cubicBezTo>
                  <a:cubicBezTo>
                    <a:pt x="7127" y="56692"/>
                    <a:pt x="5867" y="57952"/>
                    <a:pt x="3347" y="60472"/>
                  </a:cubicBezTo>
                  <a:cubicBezTo>
                    <a:pt x="2087" y="61732"/>
                    <a:pt x="828" y="62991"/>
                    <a:pt x="828" y="64251"/>
                  </a:cubicBezTo>
                  <a:cubicBezTo>
                    <a:pt x="-432" y="66771"/>
                    <a:pt x="-432" y="69290"/>
                    <a:pt x="2087" y="71810"/>
                  </a:cubicBezTo>
                  <a:cubicBezTo>
                    <a:pt x="3347" y="74330"/>
                    <a:pt x="5867" y="75589"/>
                    <a:pt x="8387" y="76849"/>
                  </a:cubicBezTo>
                  <a:cubicBezTo>
                    <a:pt x="10906" y="78109"/>
                    <a:pt x="12166" y="79369"/>
                    <a:pt x="14686" y="79369"/>
                  </a:cubicBezTo>
                  <a:cubicBezTo>
                    <a:pt x="18465" y="80629"/>
                    <a:pt x="23504" y="80629"/>
                    <a:pt x="27284" y="80629"/>
                  </a:cubicBezTo>
                  <a:lnTo>
                    <a:pt x="28543" y="80629"/>
                  </a:lnTo>
                  <a:cubicBezTo>
                    <a:pt x="29803" y="80629"/>
                    <a:pt x="32323" y="80629"/>
                    <a:pt x="33583" y="80629"/>
                  </a:cubicBezTo>
                  <a:lnTo>
                    <a:pt x="34843" y="80629"/>
                  </a:lnTo>
                  <a:cubicBezTo>
                    <a:pt x="37362" y="80629"/>
                    <a:pt x="38622" y="80629"/>
                    <a:pt x="41142" y="80629"/>
                  </a:cubicBezTo>
                  <a:lnTo>
                    <a:pt x="41142" y="80629"/>
                  </a:lnTo>
                  <a:cubicBezTo>
                    <a:pt x="46181" y="80629"/>
                    <a:pt x="49961" y="80629"/>
                    <a:pt x="55000" y="80629"/>
                  </a:cubicBezTo>
                  <a:cubicBezTo>
                    <a:pt x="60039" y="80629"/>
                    <a:pt x="63819" y="79369"/>
                    <a:pt x="68858" y="79369"/>
                  </a:cubicBezTo>
                  <a:lnTo>
                    <a:pt x="68858" y="79369"/>
                  </a:lnTo>
                  <a:cubicBezTo>
                    <a:pt x="72637" y="79369"/>
                    <a:pt x="75157" y="78109"/>
                    <a:pt x="78936" y="78109"/>
                  </a:cubicBezTo>
                  <a:lnTo>
                    <a:pt x="81456" y="78109"/>
                  </a:lnTo>
                  <a:cubicBezTo>
                    <a:pt x="87755" y="78109"/>
                    <a:pt x="94054" y="76849"/>
                    <a:pt x="100354" y="76849"/>
                  </a:cubicBezTo>
                  <a:lnTo>
                    <a:pt x="106653" y="76849"/>
                  </a:lnTo>
                  <a:cubicBezTo>
                    <a:pt x="123030" y="76849"/>
                    <a:pt x="139408" y="78109"/>
                    <a:pt x="155786" y="78109"/>
                  </a:cubicBezTo>
                  <a:cubicBezTo>
                    <a:pt x="158305" y="78109"/>
                    <a:pt x="159565" y="78109"/>
                    <a:pt x="162085" y="78109"/>
                  </a:cubicBezTo>
                  <a:cubicBezTo>
                    <a:pt x="164605" y="78109"/>
                    <a:pt x="167124" y="78109"/>
                    <a:pt x="169644" y="78109"/>
                  </a:cubicBezTo>
                  <a:cubicBezTo>
                    <a:pt x="174683" y="78109"/>
                    <a:pt x="179722" y="78109"/>
                    <a:pt x="184762" y="78109"/>
                  </a:cubicBezTo>
                  <a:cubicBezTo>
                    <a:pt x="189801" y="78109"/>
                    <a:pt x="194840" y="76849"/>
                    <a:pt x="198620" y="76849"/>
                  </a:cubicBezTo>
                  <a:cubicBezTo>
                    <a:pt x="201139" y="76849"/>
                    <a:pt x="203659" y="75589"/>
                    <a:pt x="204919" y="75589"/>
                  </a:cubicBezTo>
                  <a:cubicBezTo>
                    <a:pt x="206179" y="75589"/>
                    <a:pt x="206179" y="75589"/>
                    <a:pt x="207439" y="75589"/>
                  </a:cubicBezTo>
                  <a:cubicBezTo>
                    <a:pt x="208698" y="75589"/>
                    <a:pt x="209958" y="74330"/>
                    <a:pt x="211218" y="74330"/>
                  </a:cubicBezTo>
                  <a:cubicBezTo>
                    <a:pt x="211218" y="74330"/>
                    <a:pt x="211218" y="74330"/>
                    <a:pt x="211218" y="74330"/>
                  </a:cubicBezTo>
                  <a:cubicBezTo>
                    <a:pt x="211218" y="74330"/>
                    <a:pt x="211218" y="74330"/>
                    <a:pt x="211218" y="74330"/>
                  </a:cubicBezTo>
                  <a:cubicBezTo>
                    <a:pt x="211218" y="74330"/>
                    <a:pt x="212478" y="74330"/>
                    <a:pt x="212478" y="75589"/>
                  </a:cubicBezTo>
                  <a:lnTo>
                    <a:pt x="212478" y="75589"/>
                  </a:lnTo>
                  <a:cubicBezTo>
                    <a:pt x="213738" y="76849"/>
                    <a:pt x="214998" y="78109"/>
                    <a:pt x="217517" y="79369"/>
                  </a:cubicBezTo>
                  <a:cubicBezTo>
                    <a:pt x="218777" y="80629"/>
                    <a:pt x="220037" y="81889"/>
                    <a:pt x="222557" y="81889"/>
                  </a:cubicBezTo>
                  <a:cubicBezTo>
                    <a:pt x="223816" y="81889"/>
                    <a:pt x="225076" y="83148"/>
                    <a:pt x="226336" y="83148"/>
                  </a:cubicBezTo>
                  <a:cubicBezTo>
                    <a:pt x="226336" y="83148"/>
                    <a:pt x="226336" y="83148"/>
                    <a:pt x="227596" y="83148"/>
                  </a:cubicBezTo>
                  <a:cubicBezTo>
                    <a:pt x="232635" y="83148"/>
                    <a:pt x="236414" y="81889"/>
                    <a:pt x="241454" y="81889"/>
                  </a:cubicBezTo>
                  <a:lnTo>
                    <a:pt x="242713" y="81889"/>
                  </a:lnTo>
                  <a:cubicBezTo>
                    <a:pt x="243973" y="81889"/>
                    <a:pt x="246493" y="81889"/>
                    <a:pt x="247753" y="80629"/>
                  </a:cubicBezTo>
                  <a:cubicBezTo>
                    <a:pt x="250272" y="80629"/>
                    <a:pt x="252792" y="79369"/>
                    <a:pt x="254052" y="76849"/>
                  </a:cubicBezTo>
                  <a:cubicBezTo>
                    <a:pt x="254052" y="76849"/>
                    <a:pt x="255312" y="75589"/>
                    <a:pt x="255312" y="74330"/>
                  </a:cubicBezTo>
                  <a:cubicBezTo>
                    <a:pt x="256572" y="73070"/>
                    <a:pt x="257831" y="71810"/>
                    <a:pt x="257831" y="70550"/>
                  </a:cubicBezTo>
                  <a:cubicBezTo>
                    <a:pt x="257831" y="66771"/>
                    <a:pt x="257831" y="62991"/>
                    <a:pt x="257831" y="60472"/>
                  </a:cubicBezTo>
                  <a:cubicBezTo>
                    <a:pt x="257831" y="59212"/>
                    <a:pt x="257831" y="56692"/>
                    <a:pt x="257831" y="55433"/>
                  </a:cubicBezTo>
                  <a:cubicBezTo>
                    <a:pt x="257831" y="54173"/>
                    <a:pt x="257831" y="54173"/>
                    <a:pt x="257831" y="52913"/>
                  </a:cubicBezTo>
                  <a:cubicBezTo>
                    <a:pt x="257831" y="49133"/>
                    <a:pt x="257831" y="46614"/>
                    <a:pt x="257831" y="42834"/>
                  </a:cubicBezTo>
                  <a:lnTo>
                    <a:pt x="257831" y="40315"/>
                  </a:lnTo>
                  <a:lnTo>
                    <a:pt x="257831" y="36535"/>
                  </a:lnTo>
                  <a:cubicBezTo>
                    <a:pt x="257831" y="34015"/>
                    <a:pt x="257831" y="31496"/>
                    <a:pt x="257831" y="27716"/>
                  </a:cubicBezTo>
                  <a:cubicBezTo>
                    <a:pt x="257831" y="25196"/>
                    <a:pt x="257831" y="23937"/>
                    <a:pt x="257831" y="21417"/>
                  </a:cubicBezTo>
                  <a:cubicBezTo>
                    <a:pt x="257831" y="18897"/>
                    <a:pt x="257831" y="17638"/>
                    <a:pt x="257831" y="15118"/>
                  </a:cubicBezTo>
                  <a:cubicBezTo>
                    <a:pt x="257831" y="13858"/>
                    <a:pt x="257831" y="12598"/>
                    <a:pt x="256572" y="11339"/>
                  </a:cubicBezTo>
                  <a:cubicBezTo>
                    <a:pt x="256572" y="10079"/>
                    <a:pt x="256572" y="10079"/>
                    <a:pt x="255312" y="8819"/>
                  </a:cubicBezTo>
                  <a:cubicBezTo>
                    <a:pt x="255312" y="7559"/>
                    <a:pt x="255312" y="6299"/>
                    <a:pt x="255312" y="5040"/>
                  </a:cubicBezTo>
                  <a:cubicBezTo>
                    <a:pt x="255312" y="2520"/>
                    <a:pt x="254052" y="1260"/>
                    <a:pt x="252792" y="1260"/>
                  </a:cubicBezTo>
                  <a:moveTo>
                    <a:pt x="8387" y="64251"/>
                  </a:moveTo>
                  <a:cubicBezTo>
                    <a:pt x="9646" y="62991"/>
                    <a:pt x="10906" y="62991"/>
                    <a:pt x="12166" y="61732"/>
                  </a:cubicBezTo>
                  <a:cubicBezTo>
                    <a:pt x="13426" y="60472"/>
                    <a:pt x="14686" y="60472"/>
                    <a:pt x="15945" y="59212"/>
                  </a:cubicBezTo>
                  <a:lnTo>
                    <a:pt x="17205" y="59212"/>
                  </a:lnTo>
                  <a:cubicBezTo>
                    <a:pt x="18465" y="57952"/>
                    <a:pt x="19725" y="57952"/>
                    <a:pt x="20985" y="57952"/>
                  </a:cubicBezTo>
                  <a:lnTo>
                    <a:pt x="22244" y="56692"/>
                  </a:lnTo>
                  <a:cubicBezTo>
                    <a:pt x="23504" y="55433"/>
                    <a:pt x="26024" y="55433"/>
                    <a:pt x="28543" y="54173"/>
                  </a:cubicBezTo>
                  <a:cubicBezTo>
                    <a:pt x="31063" y="52913"/>
                    <a:pt x="33583" y="52913"/>
                    <a:pt x="34843" y="51653"/>
                  </a:cubicBezTo>
                  <a:cubicBezTo>
                    <a:pt x="32323" y="52913"/>
                    <a:pt x="28543" y="55433"/>
                    <a:pt x="26024" y="56692"/>
                  </a:cubicBezTo>
                  <a:lnTo>
                    <a:pt x="26024" y="56692"/>
                  </a:lnTo>
                  <a:cubicBezTo>
                    <a:pt x="22244" y="59212"/>
                    <a:pt x="19725" y="60472"/>
                    <a:pt x="15945" y="62991"/>
                  </a:cubicBezTo>
                  <a:cubicBezTo>
                    <a:pt x="14686" y="62991"/>
                    <a:pt x="13426" y="64251"/>
                    <a:pt x="12166" y="64251"/>
                  </a:cubicBezTo>
                  <a:cubicBezTo>
                    <a:pt x="10906" y="64251"/>
                    <a:pt x="9646" y="64251"/>
                    <a:pt x="8387" y="64251"/>
                  </a:cubicBezTo>
                </a:path>
              </a:pathLst>
            </a:custGeom>
            <a:solidFill>
              <a:srgbClr val="001675"/>
            </a:solidFill>
            <a:ln w="12584" cap="flat">
              <a:noFill/>
              <a:prstDash val="solid"/>
              <a:miter/>
            </a:ln>
          </p:spPr>
          <p:txBody>
            <a:bodyPr rtlCol="0" anchor="ctr"/>
            <a:lstStyle/>
            <a:p>
              <a:endParaRPr lang="zh-CN" altLang="en-US"/>
            </a:p>
          </p:txBody>
        </p:sp>
        <p:sp>
          <p:nvSpPr>
            <p:cNvPr id="212" name="任意多边形: 形状 211"/>
            <p:cNvSpPr/>
            <p:nvPr/>
          </p:nvSpPr>
          <p:spPr>
            <a:xfrm>
              <a:off x="9791893" y="4903026"/>
              <a:ext cx="42902" cy="25741"/>
            </a:xfrm>
            <a:custGeom>
              <a:avLst/>
              <a:gdLst>
                <a:gd name="connsiteX0" fmla="*/ 73070 w 62991"/>
                <a:gd name="connsiteY0" fmla="*/ 2520 h 37794"/>
                <a:gd name="connsiteX1" fmla="*/ 74329 w 62991"/>
                <a:gd name="connsiteY1" fmla="*/ 6299 h 37794"/>
                <a:gd name="connsiteX2" fmla="*/ 71810 w 62991"/>
                <a:gd name="connsiteY2" fmla="*/ 11338 h 37794"/>
                <a:gd name="connsiteX3" fmla="*/ 66770 w 62991"/>
                <a:gd name="connsiteY3" fmla="*/ 13858 h 37794"/>
                <a:gd name="connsiteX4" fmla="*/ 64251 w 62991"/>
                <a:gd name="connsiteY4" fmla="*/ 15118 h 37794"/>
                <a:gd name="connsiteX5" fmla="*/ 57952 w 62991"/>
                <a:gd name="connsiteY5" fmla="*/ 17637 h 37794"/>
                <a:gd name="connsiteX6" fmla="*/ 45354 w 62991"/>
                <a:gd name="connsiteY6" fmla="*/ 22677 h 37794"/>
                <a:gd name="connsiteX7" fmla="*/ 13858 w 62991"/>
                <a:gd name="connsiteY7" fmla="*/ 36535 h 37794"/>
                <a:gd name="connsiteX8" fmla="*/ 11338 w 62991"/>
                <a:gd name="connsiteY8" fmla="*/ 37795 h 37794"/>
                <a:gd name="connsiteX9" fmla="*/ 6299 w 62991"/>
                <a:gd name="connsiteY9" fmla="*/ 37795 h 37794"/>
                <a:gd name="connsiteX10" fmla="*/ 1260 w 62991"/>
                <a:gd name="connsiteY10" fmla="*/ 34015 h 37794"/>
                <a:gd name="connsiteX11" fmla="*/ 0 w 62991"/>
                <a:gd name="connsiteY11" fmla="*/ 27716 h 37794"/>
                <a:gd name="connsiteX12" fmla="*/ 3779 w 62991"/>
                <a:gd name="connsiteY12" fmla="*/ 22677 h 37794"/>
                <a:gd name="connsiteX13" fmla="*/ 35275 w 62991"/>
                <a:gd name="connsiteY13" fmla="*/ 10079 h 37794"/>
                <a:gd name="connsiteX14" fmla="*/ 62991 w 62991"/>
                <a:gd name="connsiteY14" fmla="*/ 0 h 37794"/>
                <a:gd name="connsiteX15" fmla="*/ 65511 w 62991"/>
                <a:gd name="connsiteY15" fmla="*/ 0 h 37794"/>
                <a:gd name="connsiteX16" fmla="*/ 73070 w 62991"/>
                <a:gd name="connsiteY16" fmla="*/ 2520 h 3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991" h="37794">
                  <a:moveTo>
                    <a:pt x="73070" y="2520"/>
                  </a:moveTo>
                  <a:cubicBezTo>
                    <a:pt x="73070" y="3780"/>
                    <a:pt x="74329" y="5039"/>
                    <a:pt x="74329" y="6299"/>
                  </a:cubicBezTo>
                  <a:cubicBezTo>
                    <a:pt x="74329" y="7559"/>
                    <a:pt x="73070" y="10079"/>
                    <a:pt x="71810" y="11338"/>
                  </a:cubicBezTo>
                  <a:cubicBezTo>
                    <a:pt x="70550" y="12598"/>
                    <a:pt x="69290" y="13858"/>
                    <a:pt x="66770" y="13858"/>
                  </a:cubicBezTo>
                  <a:cubicBezTo>
                    <a:pt x="65511" y="13858"/>
                    <a:pt x="64251" y="15118"/>
                    <a:pt x="64251" y="15118"/>
                  </a:cubicBezTo>
                  <a:cubicBezTo>
                    <a:pt x="61731" y="16378"/>
                    <a:pt x="60471" y="17637"/>
                    <a:pt x="57952" y="17637"/>
                  </a:cubicBezTo>
                  <a:cubicBezTo>
                    <a:pt x="54172" y="20157"/>
                    <a:pt x="50393" y="21417"/>
                    <a:pt x="45354" y="22677"/>
                  </a:cubicBezTo>
                  <a:cubicBezTo>
                    <a:pt x="35275" y="27716"/>
                    <a:pt x="23937" y="31496"/>
                    <a:pt x="13858" y="36535"/>
                  </a:cubicBezTo>
                  <a:cubicBezTo>
                    <a:pt x="12598" y="36535"/>
                    <a:pt x="12598" y="36535"/>
                    <a:pt x="11338" y="37795"/>
                  </a:cubicBezTo>
                  <a:cubicBezTo>
                    <a:pt x="10078" y="37795"/>
                    <a:pt x="8819" y="37795"/>
                    <a:pt x="6299" y="37795"/>
                  </a:cubicBezTo>
                  <a:cubicBezTo>
                    <a:pt x="3779" y="37795"/>
                    <a:pt x="2519" y="35275"/>
                    <a:pt x="1260" y="34015"/>
                  </a:cubicBezTo>
                  <a:cubicBezTo>
                    <a:pt x="0" y="31496"/>
                    <a:pt x="0" y="30236"/>
                    <a:pt x="0" y="27716"/>
                  </a:cubicBezTo>
                  <a:cubicBezTo>
                    <a:pt x="0" y="26456"/>
                    <a:pt x="2519" y="23937"/>
                    <a:pt x="3779" y="22677"/>
                  </a:cubicBezTo>
                  <a:cubicBezTo>
                    <a:pt x="13858" y="18897"/>
                    <a:pt x="25196" y="13858"/>
                    <a:pt x="35275" y="10079"/>
                  </a:cubicBezTo>
                  <a:cubicBezTo>
                    <a:pt x="44094" y="6299"/>
                    <a:pt x="52912" y="2520"/>
                    <a:pt x="62991" y="0"/>
                  </a:cubicBezTo>
                  <a:cubicBezTo>
                    <a:pt x="64251" y="0"/>
                    <a:pt x="64251" y="0"/>
                    <a:pt x="65511" y="0"/>
                  </a:cubicBezTo>
                  <a:cubicBezTo>
                    <a:pt x="69290" y="0"/>
                    <a:pt x="71810" y="1260"/>
                    <a:pt x="73070" y="2520"/>
                  </a:cubicBezTo>
                </a:path>
              </a:pathLst>
            </a:custGeom>
            <a:solidFill>
              <a:srgbClr val="001675"/>
            </a:solidFill>
            <a:ln w="12584" cap="flat">
              <a:noFill/>
              <a:prstDash val="solid"/>
              <a:miter/>
            </a:ln>
          </p:spPr>
          <p:txBody>
            <a:bodyPr rtlCol="0" anchor="ctr"/>
            <a:lstStyle/>
            <a:p>
              <a:endParaRPr lang="zh-CN" altLang="en-US"/>
            </a:p>
          </p:txBody>
        </p:sp>
        <p:sp>
          <p:nvSpPr>
            <p:cNvPr id="213" name="任意多边形: 形状 212"/>
            <p:cNvSpPr/>
            <p:nvPr/>
          </p:nvSpPr>
          <p:spPr>
            <a:xfrm>
              <a:off x="9783312" y="4894064"/>
              <a:ext cx="154446" cy="34321"/>
            </a:xfrm>
            <a:custGeom>
              <a:avLst/>
              <a:gdLst>
                <a:gd name="connsiteX0" fmla="*/ 99526 w 226768"/>
                <a:gd name="connsiteY0" fmla="*/ 560 h 50392"/>
                <a:gd name="connsiteX1" fmla="*/ 99526 w 226768"/>
                <a:gd name="connsiteY1" fmla="*/ 560 h 50392"/>
                <a:gd name="connsiteX2" fmla="*/ 95747 w 226768"/>
                <a:gd name="connsiteY2" fmla="*/ 560 h 50392"/>
                <a:gd name="connsiteX3" fmla="*/ 68030 w 226768"/>
                <a:gd name="connsiteY3" fmla="*/ 10639 h 50392"/>
                <a:gd name="connsiteX4" fmla="*/ 56692 w 226768"/>
                <a:gd name="connsiteY4" fmla="*/ 15678 h 50392"/>
                <a:gd name="connsiteX5" fmla="*/ 46613 w 226768"/>
                <a:gd name="connsiteY5" fmla="*/ 19457 h 50392"/>
                <a:gd name="connsiteX6" fmla="*/ 23937 w 226768"/>
                <a:gd name="connsiteY6" fmla="*/ 29536 h 50392"/>
                <a:gd name="connsiteX7" fmla="*/ 12598 w 226768"/>
                <a:gd name="connsiteY7" fmla="*/ 35835 h 50392"/>
                <a:gd name="connsiteX8" fmla="*/ 7559 w 226768"/>
                <a:gd name="connsiteY8" fmla="*/ 39615 h 50392"/>
                <a:gd name="connsiteX9" fmla="*/ 2519 w 226768"/>
                <a:gd name="connsiteY9" fmla="*/ 43394 h 50392"/>
                <a:gd name="connsiteX10" fmla="*/ 0 w 226768"/>
                <a:gd name="connsiteY10" fmla="*/ 47174 h 50392"/>
                <a:gd name="connsiteX11" fmla="*/ 0 w 226768"/>
                <a:gd name="connsiteY11" fmla="*/ 49693 h 50392"/>
                <a:gd name="connsiteX12" fmla="*/ 0 w 226768"/>
                <a:gd name="connsiteY12" fmla="*/ 50953 h 50392"/>
                <a:gd name="connsiteX13" fmla="*/ 5039 w 226768"/>
                <a:gd name="connsiteY13" fmla="*/ 54733 h 50392"/>
                <a:gd name="connsiteX14" fmla="*/ 11338 w 226768"/>
                <a:gd name="connsiteY14" fmla="*/ 55992 h 50392"/>
                <a:gd name="connsiteX15" fmla="*/ 23937 w 226768"/>
                <a:gd name="connsiteY15" fmla="*/ 55992 h 50392"/>
                <a:gd name="connsiteX16" fmla="*/ 22677 w 226768"/>
                <a:gd name="connsiteY16" fmla="*/ 55992 h 50392"/>
                <a:gd name="connsiteX17" fmla="*/ 31496 w 226768"/>
                <a:gd name="connsiteY17" fmla="*/ 55992 h 50392"/>
                <a:gd name="connsiteX18" fmla="*/ 41574 w 226768"/>
                <a:gd name="connsiteY18" fmla="*/ 55992 h 50392"/>
                <a:gd name="connsiteX19" fmla="*/ 57952 w 226768"/>
                <a:gd name="connsiteY19" fmla="*/ 55992 h 50392"/>
                <a:gd name="connsiteX20" fmla="*/ 75589 w 226768"/>
                <a:gd name="connsiteY20" fmla="*/ 55992 h 50392"/>
                <a:gd name="connsiteX21" fmla="*/ 74329 w 226768"/>
                <a:gd name="connsiteY21" fmla="*/ 55992 h 50392"/>
                <a:gd name="connsiteX22" fmla="*/ 84408 w 226768"/>
                <a:gd name="connsiteY22" fmla="*/ 55992 h 50392"/>
                <a:gd name="connsiteX23" fmla="*/ 94487 w 226768"/>
                <a:gd name="connsiteY23" fmla="*/ 55992 h 50392"/>
                <a:gd name="connsiteX24" fmla="*/ 105825 w 226768"/>
                <a:gd name="connsiteY24" fmla="*/ 55992 h 50392"/>
                <a:gd name="connsiteX25" fmla="*/ 104565 w 226768"/>
                <a:gd name="connsiteY25" fmla="*/ 55992 h 50392"/>
                <a:gd name="connsiteX26" fmla="*/ 114644 w 226768"/>
                <a:gd name="connsiteY26" fmla="*/ 55992 h 50392"/>
                <a:gd name="connsiteX27" fmla="*/ 124722 w 226768"/>
                <a:gd name="connsiteY27" fmla="*/ 55992 h 50392"/>
                <a:gd name="connsiteX28" fmla="*/ 134801 w 226768"/>
                <a:gd name="connsiteY28" fmla="*/ 54733 h 50392"/>
                <a:gd name="connsiteX29" fmla="*/ 144880 w 226768"/>
                <a:gd name="connsiteY29" fmla="*/ 54733 h 50392"/>
                <a:gd name="connsiteX30" fmla="*/ 156218 w 226768"/>
                <a:gd name="connsiteY30" fmla="*/ 54733 h 50392"/>
                <a:gd name="connsiteX31" fmla="*/ 162517 w 226768"/>
                <a:gd name="connsiteY31" fmla="*/ 54733 h 50392"/>
                <a:gd name="connsiteX32" fmla="*/ 167556 w 226768"/>
                <a:gd name="connsiteY32" fmla="*/ 54733 h 50392"/>
                <a:gd name="connsiteX33" fmla="*/ 190233 w 226768"/>
                <a:gd name="connsiteY33" fmla="*/ 55992 h 50392"/>
                <a:gd name="connsiteX34" fmla="*/ 201572 w 226768"/>
                <a:gd name="connsiteY34" fmla="*/ 55992 h 50392"/>
                <a:gd name="connsiteX35" fmla="*/ 214170 w 226768"/>
                <a:gd name="connsiteY35" fmla="*/ 54733 h 50392"/>
                <a:gd name="connsiteX36" fmla="*/ 219209 w 226768"/>
                <a:gd name="connsiteY36" fmla="*/ 54733 h 50392"/>
                <a:gd name="connsiteX37" fmla="*/ 221729 w 226768"/>
                <a:gd name="connsiteY37" fmla="*/ 54733 h 50392"/>
                <a:gd name="connsiteX38" fmla="*/ 225508 w 226768"/>
                <a:gd name="connsiteY38" fmla="*/ 53473 h 50392"/>
                <a:gd name="connsiteX39" fmla="*/ 228028 w 226768"/>
                <a:gd name="connsiteY39" fmla="*/ 52213 h 50392"/>
                <a:gd name="connsiteX40" fmla="*/ 230548 w 226768"/>
                <a:gd name="connsiteY40" fmla="*/ 49693 h 50392"/>
                <a:gd name="connsiteX41" fmla="*/ 233067 w 226768"/>
                <a:gd name="connsiteY41" fmla="*/ 47174 h 50392"/>
                <a:gd name="connsiteX42" fmla="*/ 236847 w 226768"/>
                <a:gd name="connsiteY42" fmla="*/ 42134 h 50392"/>
                <a:gd name="connsiteX43" fmla="*/ 238107 w 226768"/>
                <a:gd name="connsiteY43" fmla="*/ 39615 h 50392"/>
                <a:gd name="connsiteX44" fmla="*/ 236847 w 226768"/>
                <a:gd name="connsiteY44" fmla="*/ 37095 h 50392"/>
                <a:gd name="connsiteX45" fmla="*/ 234327 w 226768"/>
                <a:gd name="connsiteY45" fmla="*/ 35835 h 50392"/>
                <a:gd name="connsiteX46" fmla="*/ 231807 w 226768"/>
                <a:gd name="connsiteY46" fmla="*/ 37095 h 50392"/>
                <a:gd name="connsiteX47" fmla="*/ 228028 w 226768"/>
                <a:gd name="connsiteY47" fmla="*/ 42134 h 50392"/>
                <a:gd name="connsiteX48" fmla="*/ 226768 w 226768"/>
                <a:gd name="connsiteY48" fmla="*/ 44654 h 50392"/>
                <a:gd name="connsiteX49" fmla="*/ 225508 w 226768"/>
                <a:gd name="connsiteY49" fmla="*/ 47174 h 50392"/>
                <a:gd name="connsiteX50" fmla="*/ 224248 w 226768"/>
                <a:gd name="connsiteY50" fmla="*/ 47174 h 50392"/>
                <a:gd name="connsiteX51" fmla="*/ 222988 w 226768"/>
                <a:gd name="connsiteY51" fmla="*/ 47174 h 50392"/>
                <a:gd name="connsiteX52" fmla="*/ 214170 w 226768"/>
                <a:gd name="connsiteY52" fmla="*/ 48433 h 50392"/>
                <a:gd name="connsiteX53" fmla="*/ 204091 w 226768"/>
                <a:gd name="connsiteY53" fmla="*/ 48433 h 50392"/>
                <a:gd name="connsiteX54" fmla="*/ 183934 w 226768"/>
                <a:gd name="connsiteY54" fmla="*/ 48433 h 50392"/>
                <a:gd name="connsiteX55" fmla="*/ 168816 w 226768"/>
                <a:gd name="connsiteY55" fmla="*/ 48433 h 50392"/>
                <a:gd name="connsiteX56" fmla="*/ 152439 w 226768"/>
                <a:gd name="connsiteY56" fmla="*/ 48433 h 50392"/>
                <a:gd name="connsiteX57" fmla="*/ 153698 w 226768"/>
                <a:gd name="connsiteY57" fmla="*/ 48433 h 50392"/>
                <a:gd name="connsiteX58" fmla="*/ 151179 w 226768"/>
                <a:gd name="connsiteY58" fmla="*/ 48433 h 50392"/>
                <a:gd name="connsiteX59" fmla="*/ 138581 w 226768"/>
                <a:gd name="connsiteY59" fmla="*/ 48433 h 50392"/>
                <a:gd name="connsiteX60" fmla="*/ 125982 w 226768"/>
                <a:gd name="connsiteY60" fmla="*/ 49693 h 50392"/>
                <a:gd name="connsiteX61" fmla="*/ 113384 w 226768"/>
                <a:gd name="connsiteY61" fmla="*/ 49693 h 50392"/>
                <a:gd name="connsiteX62" fmla="*/ 102046 w 226768"/>
                <a:gd name="connsiteY62" fmla="*/ 49693 h 50392"/>
                <a:gd name="connsiteX63" fmla="*/ 91967 w 226768"/>
                <a:gd name="connsiteY63" fmla="*/ 49693 h 50392"/>
                <a:gd name="connsiteX64" fmla="*/ 80629 w 226768"/>
                <a:gd name="connsiteY64" fmla="*/ 49693 h 50392"/>
                <a:gd name="connsiteX65" fmla="*/ 81889 w 226768"/>
                <a:gd name="connsiteY65" fmla="*/ 49693 h 50392"/>
                <a:gd name="connsiteX66" fmla="*/ 66770 w 226768"/>
                <a:gd name="connsiteY66" fmla="*/ 49693 h 50392"/>
                <a:gd name="connsiteX67" fmla="*/ 59211 w 226768"/>
                <a:gd name="connsiteY67" fmla="*/ 49693 h 50392"/>
                <a:gd name="connsiteX68" fmla="*/ 52912 w 226768"/>
                <a:gd name="connsiteY68" fmla="*/ 49693 h 50392"/>
                <a:gd name="connsiteX69" fmla="*/ 41574 w 226768"/>
                <a:gd name="connsiteY69" fmla="*/ 49693 h 50392"/>
                <a:gd name="connsiteX70" fmla="*/ 35275 w 226768"/>
                <a:gd name="connsiteY70" fmla="*/ 49693 h 50392"/>
                <a:gd name="connsiteX71" fmla="*/ 30236 w 226768"/>
                <a:gd name="connsiteY71" fmla="*/ 49693 h 50392"/>
                <a:gd name="connsiteX72" fmla="*/ 25196 w 226768"/>
                <a:gd name="connsiteY72" fmla="*/ 49693 h 50392"/>
                <a:gd name="connsiteX73" fmla="*/ 18897 w 226768"/>
                <a:gd name="connsiteY73" fmla="*/ 49693 h 50392"/>
                <a:gd name="connsiteX74" fmla="*/ 16378 w 226768"/>
                <a:gd name="connsiteY74" fmla="*/ 49693 h 50392"/>
                <a:gd name="connsiteX75" fmla="*/ 18897 w 226768"/>
                <a:gd name="connsiteY75" fmla="*/ 48433 h 50392"/>
                <a:gd name="connsiteX76" fmla="*/ 26456 w 226768"/>
                <a:gd name="connsiteY76" fmla="*/ 43394 h 50392"/>
                <a:gd name="connsiteX77" fmla="*/ 35275 w 226768"/>
                <a:gd name="connsiteY77" fmla="*/ 39615 h 50392"/>
                <a:gd name="connsiteX78" fmla="*/ 54172 w 226768"/>
                <a:gd name="connsiteY78" fmla="*/ 32056 h 50392"/>
                <a:gd name="connsiteX79" fmla="*/ 78109 w 226768"/>
                <a:gd name="connsiteY79" fmla="*/ 23237 h 50392"/>
                <a:gd name="connsiteX80" fmla="*/ 100786 w 226768"/>
                <a:gd name="connsiteY80" fmla="*/ 13158 h 50392"/>
                <a:gd name="connsiteX81" fmla="*/ 103305 w 226768"/>
                <a:gd name="connsiteY81" fmla="*/ 8119 h 50392"/>
                <a:gd name="connsiteX82" fmla="*/ 99526 w 226768"/>
                <a:gd name="connsiteY82" fmla="*/ 560 h 50392"/>
                <a:gd name="connsiteX83" fmla="*/ 17637 w 226768"/>
                <a:gd name="connsiteY83" fmla="*/ 43394 h 50392"/>
                <a:gd name="connsiteX84" fmla="*/ 17637 w 226768"/>
                <a:gd name="connsiteY84" fmla="*/ 43394 h 50392"/>
                <a:gd name="connsiteX85" fmla="*/ 17637 w 226768"/>
                <a:gd name="connsiteY85" fmla="*/ 43394 h 50392"/>
                <a:gd name="connsiteX86" fmla="*/ 7559 w 226768"/>
                <a:gd name="connsiteY86" fmla="*/ 44654 h 50392"/>
                <a:gd name="connsiteX87" fmla="*/ 7559 w 226768"/>
                <a:gd name="connsiteY87" fmla="*/ 44654 h 50392"/>
                <a:gd name="connsiteX88" fmla="*/ 7559 w 226768"/>
                <a:gd name="connsiteY88" fmla="*/ 44654 h 50392"/>
                <a:gd name="connsiteX89" fmla="*/ 85668 w 226768"/>
                <a:gd name="connsiteY89" fmla="*/ 53473 h 50392"/>
                <a:gd name="connsiteX90" fmla="*/ 85668 w 226768"/>
                <a:gd name="connsiteY90" fmla="*/ 53473 h 50392"/>
                <a:gd name="connsiteX91" fmla="*/ 85668 w 226768"/>
                <a:gd name="connsiteY91" fmla="*/ 53473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26768" h="50392">
                  <a:moveTo>
                    <a:pt x="99526" y="560"/>
                  </a:moveTo>
                  <a:cubicBezTo>
                    <a:pt x="99526" y="560"/>
                    <a:pt x="98266" y="-700"/>
                    <a:pt x="99526" y="560"/>
                  </a:cubicBezTo>
                  <a:cubicBezTo>
                    <a:pt x="98266" y="560"/>
                    <a:pt x="97006" y="560"/>
                    <a:pt x="95747" y="560"/>
                  </a:cubicBezTo>
                  <a:cubicBezTo>
                    <a:pt x="86928" y="3080"/>
                    <a:pt x="78109" y="6859"/>
                    <a:pt x="68030" y="10639"/>
                  </a:cubicBezTo>
                  <a:cubicBezTo>
                    <a:pt x="64251" y="11898"/>
                    <a:pt x="60471" y="13158"/>
                    <a:pt x="56692" y="15678"/>
                  </a:cubicBezTo>
                  <a:cubicBezTo>
                    <a:pt x="52912" y="16938"/>
                    <a:pt x="49133" y="18197"/>
                    <a:pt x="46613" y="19457"/>
                  </a:cubicBezTo>
                  <a:cubicBezTo>
                    <a:pt x="39055" y="23237"/>
                    <a:pt x="31496" y="25756"/>
                    <a:pt x="23937" y="29536"/>
                  </a:cubicBezTo>
                  <a:cubicBezTo>
                    <a:pt x="20157" y="32056"/>
                    <a:pt x="16378" y="33315"/>
                    <a:pt x="12598" y="35835"/>
                  </a:cubicBezTo>
                  <a:cubicBezTo>
                    <a:pt x="11338" y="37095"/>
                    <a:pt x="8819" y="38355"/>
                    <a:pt x="7559" y="39615"/>
                  </a:cubicBezTo>
                  <a:cubicBezTo>
                    <a:pt x="6299" y="40874"/>
                    <a:pt x="3779" y="42134"/>
                    <a:pt x="2519" y="43394"/>
                  </a:cubicBezTo>
                  <a:cubicBezTo>
                    <a:pt x="1260" y="44654"/>
                    <a:pt x="0" y="45914"/>
                    <a:pt x="0" y="47174"/>
                  </a:cubicBezTo>
                  <a:cubicBezTo>
                    <a:pt x="0" y="48433"/>
                    <a:pt x="0" y="48433"/>
                    <a:pt x="0" y="49693"/>
                  </a:cubicBezTo>
                  <a:cubicBezTo>
                    <a:pt x="0" y="49693"/>
                    <a:pt x="0" y="50953"/>
                    <a:pt x="0" y="50953"/>
                  </a:cubicBezTo>
                  <a:cubicBezTo>
                    <a:pt x="1260" y="52213"/>
                    <a:pt x="2519" y="53473"/>
                    <a:pt x="5039" y="54733"/>
                  </a:cubicBezTo>
                  <a:cubicBezTo>
                    <a:pt x="6299" y="54733"/>
                    <a:pt x="8819" y="55992"/>
                    <a:pt x="11338" y="55992"/>
                  </a:cubicBezTo>
                  <a:cubicBezTo>
                    <a:pt x="15118" y="55992"/>
                    <a:pt x="18897" y="55992"/>
                    <a:pt x="23937" y="55992"/>
                  </a:cubicBezTo>
                  <a:cubicBezTo>
                    <a:pt x="23937" y="55992"/>
                    <a:pt x="22677" y="55992"/>
                    <a:pt x="22677" y="55992"/>
                  </a:cubicBezTo>
                  <a:cubicBezTo>
                    <a:pt x="25196" y="55992"/>
                    <a:pt x="28976" y="55992"/>
                    <a:pt x="31496" y="55992"/>
                  </a:cubicBezTo>
                  <a:cubicBezTo>
                    <a:pt x="35275" y="55992"/>
                    <a:pt x="37795" y="55992"/>
                    <a:pt x="41574" y="55992"/>
                  </a:cubicBezTo>
                  <a:cubicBezTo>
                    <a:pt x="46613" y="55992"/>
                    <a:pt x="52912" y="55992"/>
                    <a:pt x="57952" y="55992"/>
                  </a:cubicBezTo>
                  <a:cubicBezTo>
                    <a:pt x="64251" y="55992"/>
                    <a:pt x="70550" y="55992"/>
                    <a:pt x="75589" y="55992"/>
                  </a:cubicBezTo>
                  <a:cubicBezTo>
                    <a:pt x="75589" y="55992"/>
                    <a:pt x="75589" y="55992"/>
                    <a:pt x="74329" y="55992"/>
                  </a:cubicBezTo>
                  <a:cubicBezTo>
                    <a:pt x="78109" y="55992"/>
                    <a:pt x="80629" y="55992"/>
                    <a:pt x="84408" y="55992"/>
                  </a:cubicBezTo>
                  <a:cubicBezTo>
                    <a:pt x="88188" y="55992"/>
                    <a:pt x="90707" y="55992"/>
                    <a:pt x="94487" y="55992"/>
                  </a:cubicBezTo>
                  <a:cubicBezTo>
                    <a:pt x="98266" y="55992"/>
                    <a:pt x="102046" y="55992"/>
                    <a:pt x="105825" y="55992"/>
                  </a:cubicBezTo>
                  <a:lnTo>
                    <a:pt x="104565" y="55992"/>
                  </a:lnTo>
                  <a:cubicBezTo>
                    <a:pt x="108345" y="55992"/>
                    <a:pt x="110864" y="55992"/>
                    <a:pt x="114644" y="55992"/>
                  </a:cubicBezTo>
                  <a:cubicBezTo>
                    <a:pt x="118423" y="55992"/>
                    <a:pt x="122203" y="55992"/>
                    <a:pt x="124722" y="55992"/>
                  </a:cubicBezTo>
                  <a:cubicBezTo>
                    <a:pt x="128502" y="55992"/>
                    <a:pt x="131022" y="55992"/>
                    <a:pt x="134801" y="54733"/>
                  </a:cubicBezTo>
                  <a:cubicBezTo>
                    <a:pt x="138581" y="54733"/>
                    <a:pt x="141100" y="54733"/>
                    <a:pt x="144880" y="54733"/>
                  </a:cubicBezTo>
                  <a:cubicBezTo>
                    <a:pt x="148659" y="54733"/>
                    <a:pt x="152439" y="54733"/>
                    <a:pt x="156218" y="54733"/>
                  </a:cubicBezTo>
                  <a:cubicBezTo>
                    <a:pt x="158738" y="54733"/>
                    <a:pt x="159997" y="54733"/>
                    <a:pt x="162517" y="54733"/>
                  </a:cubicBezTo>
                  <a:cubicBezTo>
                    <a:pt x="163777" y="54733"/>
                    <a:pt x="166296" y="54733"/>
                    <a:pt x="167556" y="54733"/>
                  </a:cubicBezTo>
                  <a:cubicBezTo>
                    <a:pt x="175115" y="54733"/>
                    <a:pt x="182674" y="55992"/>
                    <a:pt x="190233" y="55992"/>
                  </a:cubicBezTo>
                  <a:cubicBezTo>
                    <a:pt x="194013" y="55992"/>
                    <a:pt x="197792" y="55992"/>
                    <a:pt x="201572" y="55992"/>
                  </a:cubicBezTo>
                  <a:cubicBezTo>
                    <a:pt x="205351" y="55992"/>
                    <a:pt x="210390" y="55992"/>
                    <a:pt x="214170" y="54733"/>
                  </a:cubicBezTo>
                  <a:cubicBezTo>
                    <a:pt x="215430" y="54733"/>
                    <a:pt x="217949" y="54733"/>
                    <a:pt x="219209" y="54733"/>
                  </a:cubicBezTo>
                  <a:cubicBezTo>
                    <a:pt x="220469" y="54733"/>
                    <a:pt x="220469" y="54733"/>
                    <a:pt x="221729" y="54733"/>
                  </a:cubicBezTo>
                  <a:cubicBezTo>
                    <a:pt x="222988" y="54733"/>
                    <a:pt x="224248" y="54733"/>
                    <a:pt x="225508" y="53473"/>
                  </a:cubicBezTo>
                  <a:cubicBezTo>
                    <a:pt x="226768" y="53473"/>
                    <a:pt x="226768" y="52213"/>
                    <a:pt x="228028" y="52213"/>
                  </a:cubicBezTo>
                  <a:cubicBezTo>
                    <a:pt x="229288" y="50953"/>
                    <a:pt x="229288" y="50953"/>
                    <a:pt x="230548" y="49693"/>
                  </a:cubicBezTo>
                  <a:cubicBezTo>
                    <a:pt x="230548" y="48433"/>
                    <a:pt x="231807" y="48433"/>
                    <a:pt x="233067" y="47174"/>
                  </a:cubicBezTo>
                  <a:cubicBezTo>
                    <a:pt x="234327" y="45914"/>
                    <a:pt x="235587" y="43394"/>
                    <a:pt x="236847" y="42134"/>
                  </a:cubicBezTo>
                  <a:cubicBezTo>
                    <a:pt x="238107" y="40874"/>
                    <a:pt x="238107" y="39615"/>
                    <a:pt x="238107" y="39615"/>
                  </a:cubicBezTo>
                  <a:cubicBezTo>
                    <a:pt x="238107" y="38355"/>
                    <a:pt x="236847" y="37095"/>
                    <a:pt x="236847" y="37095"/>
                  </a:cubicBezTo>
                  <a:cubicBezTo>
                    <a:pt x="235587" y="37095"/>
                    <a:pt x="234327" y="35835"/>
                    <a:pt x="234327" y="35835"/>
                  </a:cubicBezTo>
                  <a:cubicBezTo>
                    <a:pt x="233067" y="35835"/>
                    <a:pt x="231807" y="37095"/>
                    <a:pt x="231807" y="37095"/>
                  </a:cubicBezTo>
                  <a:cubicBezTo>
                    <a:pt x="230548" y="38355"/>
                    <a:pt x="229288" y="40874"/>
                    <a:pt x="228028" y="42134"/>
                  </a:cubicBezTo>
                  <a:cubicBezTo>
                    <a:pt x="226768" y="43394"/>
                    <a:pt x="226768" y="43394"/>
                    <a:pt x="226768" y="44654"/>
                  </a:cubicBezTo>
                  <a:cubicBezTo>
                    <a:pt x="226768" y="45914"/>
                    <a:pt x="225508" y="45914"/>
                    <a:pt x="225508" y="47174"/>
                  </a:cubicBezTo>
                  <a:cubicBezTo>
                    <a:pt x="225508" y="47174"/>
                    <a:pt x="225508" y="47174"/>
                    <a:pt x="224248" y="47174"/>
                  </a:cubicBezTo>
                  <a:cubicBezTo>
                    <a:pt x="224248" y="47174"/>
                    <a:pt x="222988" y="47174"/>
                    <a:pt x="222988" y="47174"/>
                  </a:cubicBezTo>
                  <a:cubicBezTo>
                    <a:pt x="220469" y="48433"/>
                    <a:pt x="216689" y="48433"/>
                    <a:pt x="214170" y="48433"/>
                  </a:cubicBezTo>
                  <a:cubicBezTo>
                    <a:pt x="210390" y="48433"/>
                    <a:pt x="206611" y="48433"/>
                    <a:pt x="204091" y="48433"/>
                  </a:cubicBezTo>
                  <a:cubicBezTo>
                    <a:pt x="197792" y="48433"/>
                    <a:pt x="190233" y="48433"/>
                    <a:pt x="183934" y="48433"/>
                  </a:cubicBezTo>
                  <a:cubicBezTo>
                    <a:pt x="178895" y="48433"/>
                    <a:pt x="173855" y="48433"/>
                    <a:pt x="168816" y="48433"/>
                  </a:cubicBezTo>
                  <a:cubicBezTo>
                    <a:pt x="163777" y="48433"/>
                    <a:pt x="157478" y="48433"/>
                    <a:pt x="152439" y="48433"/>
                  </a:cubicBezTo>
                  <a:lnTo>
                    <a:pt x="153698" y="48433"/>
                  </a:lnTo>
                  <a:cubicBezTo>
                    <a:pt x="152439" y="48433"/>
                    <a:pt x="152439" y="48433"/>
                    <a:pt x="151179" y="48433"/>
                  </a:cubicBezTo>
                  <a:cubicBezTo>
                    <a:pt x="147399" y="48433"/>
                    <a:pt x="142360" y="48433"/>
                    <a:pt x="138581" y="48433"/>
                  </a:cubicBezTo>
                  <a:cubicBezTo>
                    <a:pt x="134801" y="48433"/>
                    <a:pt x="131022" y="48433"/>
                    <a:pt x="125982" y="49693"/>
                  </a:cubicBezTo>
                  <a:cubicBezTo>
                    <a:pt x="122203" y="49693"/>
                    <a:pt x="118423" y="49693"/>
                    <a:pt x="113384" y="49693"/>
                  </a:cubicBezTo>
                  <a:cubicBezTo>
                    <a:pt x="109604" y="49693"/>
                    <a:pt x="105825" y="49693"/>
                    <a:pt x="102046" y="49693"/>
                  </a:cubicBezTo>
                  <a:cubicBezTo>
                    <a:pt x="98266" y="49693"/>
                    <a:pt x="94487" y="49693"/>
                    <a:pt x="91967" y="49693"/>
                  </a:cubicBezTo>
                  <a:cubicBezTo>
                    <a:pt x="88188" y="49693"/>
                    <a:pt x="84408" y="49693"/>
                    <a:pt x="80629" y="49693"/>
                  </a:cubicBezTo>
                  <a:cubicBezTo>
                    <a:pt x="80629" y="49693"/>
                    <a:pt x="80629" y="49693"/>
                    <a:pt x="81889" y="49693"/>
                  </a:cubicBezTo>
                  <a:cubicBezTo>
                    <a:pt x="76849" y="49693"/>
                    <a:pt x="71810" y="49693"/>
                    <a:pt x="66770" y="49693"/>
                  </a:cubicBezTo>
                  <a:cubicBezTo>
                    <a:pt x="64251" y="49693"/>
                    <a:pt x="61731" y="49693"/>
                    <a:pt x="59211" y="49693"/>
                  </a:cubicBezTo>
                  <a:cubicBezTo>
                    <a:pt x="56692" y="49693"/>
                    <a:pt x="55432" y="49693"/>
                    <a:pt x="52912" y="49693"/>
                  </a:cubicBezTo>
                  <a:cubicBezTo>
                    <a:pt x="49133" y="49693"/>
                    <a:pt x="45354" y="49693"/>
                    <a:pt x="41574" y="49693"/>
                  </a:cubicBezTo>
                  <a:cubicBezTo>
                    <a:pt x="39055" y="49693"/>
                    <a:pt x="37795" y="49693"/>
                    <a:pt x="35275" y="49693"/>
                  </a:cubicBezTo>
                  <a:cubicBezTo>
                    <a:pt x="34015" y="49693"/>
                    <a:pt x="31496" y="49693"/>
                    <a:pt x="30236" y="49693"/>
                  </a:cubicBezTo>
                  <a:cubicBezTo>
                    <a:pt x="28976" y="49693"/>
                    <a:pt x="26456" y="49693"/>
                    <a:pt x="25196" y="49693"/>
                  </a:cubicBezTo>
                  <a:cubicBezTo>
                    <a:pt x="22677" y="49693"/>
                    <a:pt x="21417" y="49693"/>
                    <a:pt x="18897" y="49693"/>
                  </a:cubicBezTo>
                  <a:cubicBezTo>
                    <a:pt x="17637" y="49693"/>
                    <a:pt x="17637" y="49693"/>
                    <a:pt x="16378" y="49693"/>
                  </a:cubicBezTo>
                  <a:cubicBezTo>
                    <a:pt x="17637" y="49693"/>
                    <a:pt x="17637" y="48433"/>
                    <a:pt x="18897" y="48433"/>
                  </a:cubicBezTo>
                  <a:cubicBezTo>
                    <a:pt x="21417" y="47174"/>
                    <a:pt x="23937" y="45914"/>
                    <a:pt x="26456" y="43394"/>
                  </a:cubicBezTo>
                  <a:cubicBezTo>
                    <a:pt x="28976" y="42134"/>
                    <a:pt x="32755" y="40874"/>
                    <a:pt x="35275" y="39615"/>
                  </a:cubicBezTo>
                  <a:cubicBezTo>
                    <a:pt x="41574" y="37095"/>
                    <a:pt x="47873" y="34575"/>
                    <a:pt x="54172" y="32056"/>
                  </a:cubicBezTo>
                  <a:cubicBezTo>
                    <a:pt x="61731" y="28276"/>
                    <a:pt x="69290" y="25756"/>
                    <a:pt x="78109" y="23237"/>
                  </a:cubicBezTo>
                  <a:cubicBezTo>
                    <a:pt x="85668" y="20717"/>
                    <a:pt x="93227" y="16938"/>
                    <a:pt x="100786" y="13158"/>
                  </a:cubicBezTo>
                  <a:cubicBezTo>
                    <a:pt x="103305" y="11898"/>
                    <a:pt x="103305" y="9379"/>
                    <a:pt x="103305" y="8119"/>
                  </a:cubicBezTo>
                  <a:cubicBezTo>
                    <a:pt x="100786" y="1820"/>
                    <a:pt x="100786" y="560"/>
                    <a:pt x="99526" y="560"/>
                  </a:cubicBezTo>
                  <a:moveTo>
                    <a:pt x="17637" y="43394"/>
                  </a:moveTo>
                  <a:cubicBezTo>
                    <a:pt x="16378" y="43394"/>
                    <a:pt x="16378" y="43394"/>
                    <a:pt x="17637" y="43394"/>
                  </a:cubicBezTo>
                  <a:cubicBezTo>
                    <a:pt x="16378" y="43394"/>
                    <a:pt x="16378" y="43394"/>
                    <a:pt x="17637" y="43394"/>
                  </a:cubicBezTo>
                  <a:moveTo>
                    <a:pt x="7559" y="44654"/>
                  </a:moveTo>
                  <a:cubicBezTo>
                    <a:pt x="7559" y="44654"/>
                    <a:pt x="7559" y="44654"/>
                    <a:pt x="7559" y="44654"/>
                  </a:cubicBezTo>
                  <a:cubicBezTo>
                    <a:pt x="7559" y="44654"/>
                    <a:pt x="7559" y="44654"/>
                    <a:pt x="7559" y="44654"/>
                  </a:cubicBezTo>
                  <a:moveTo>
                    <a:pt x="85668" y="53473"/>
                  </a:moveTo>
                  <a:cubicBezTo>
                    <a:pt x="85668" y="53473"/>
                    <a:pt x="85668" y="53473"/>
                    <a:pt x="85668" y="53473"/>
                  </a:cubicBezTo>
                  <a:cubicBezTo>
                    <a:pt x="85668" y="53473"/>
                    <a:pt x="85668" y="53473"/>
                    <a:pt x="85668" y="53473"/>
                  </a:cubicBezTo>
                </a:path>
              </a:pathLst>
            </a:custGeom>
            <a:solidFill>
              <a:srgbClr val="001675"/>
            </a:solidFill>
            <a:ln w="12584" cap="flat">
              <a:noFill/>
              <a:prstDash val="solid"/>
              <a:miter/>
            </a:ln>
          </p:spPr>
          <p:txBody>
            <a:bodyPr rtlCol="0" anchor="ctr"/>
            <a:lstStyle/>
            <a:p>
              <a:endParaRPr lang="zh-CN" altLang="en-US"/>
            </a:p>
          </p:txBody>
        </p:sp>
        <p:sp>
          <p:nvSpPr>
            <p:cNvPr id="214" name="任意多边形: 形状 213"/>
            <p:cNvSpPr/>
            <p:nvPr/>
          </p:nvSpPr>
          <p:spPr>
            <a:xfrm>
              <a:off x="9828452" y="4871279"/>
              <a:ext cx="137286" cy="34321"/>
            </a:xfrm>
            <a:custGeom>
              <a:avLst/>
              <a:gdLst>
                <a:gd name="connsiteX0" fmla="*/ 191988 w 201571"/>
                <a:gd name="connsiteY0" fmla="*/ 2519 h 50392"/>
                <a:gd name="connsiteX1" fmla="*/ 198287 w 201571"/>
                <a:gd name="connsiteY1" fmla="*/ 3779 h 50392"/>
                <a:gd name="connsiteX2" fmla="*/ 204586 w 201571"/>
                <a:gd name="connsiteY2" fmla="*/ 5039 h 50392"/>
                <a:gd name="connsiteX3" fmla="*/ 208365 w 201571"/>
                <a:gd name="connsiteY3" fmla="*/ 6299 h 50392"/>
                <a:gd name="connsiteX4" fmla="*/ 209625 w 201571"/>
                <a:gd name="connsiteY4" fmla="*/ 8819 h 50392"/>
                <a:gd name="connsiteX5" fmla="*/ 209625 w 201571"/>
                <a:gd name="connsiteY5" fmla="*/ 10078 h 50392"/>
                <a:gd name="connsiteX6" fmla="*/ 210885 w 201571"/>
                <a:gd name="connsiteY6" fmla="*/ 16378 h 50392"/>
                <a:gd name="connsiteX7" fmla="*/ 210885 w 201571"/>
                <a:gd name="connsiteY7" fmla="*/ 23937 h 50392"/>
                <a:gd name="connsiteX8" fmla="*/ 210885 w 201571"/>
                <a:gd name="connsiteY8" fmla="*/ 28976 h 50392"/>
                <a:gd name="connsiteX9" fmla="*/ 209625 w 201571"/>
                <a:gd name="connsiteY9" fmla="*/ 34015 h 50392"/>
                <a:gd name="connsiteX10" fmla="*/ 205846 w 201571"/>
                <a:gd name="connsiteY10" fmla="*/ 37795 h 50392"/>
                <a:gd name="connsiteX11" fmla="*/ 202066 w 201571"/>
                <a:gd name="connsiteY11" fmla="*/ 36535 h 50392"/>
                <a:gd name="connsiteX12" fmla="*/ 200806 w 201571"/>
                <a:gd name="connsiteY12" fmla="*/ 34015 h 50392"/>
                <a:gd name="connsiteX13" fmla="*/ 200806 w 201571"/>
                <a:gd name="connsiteY13" fmla="*/ 23937 h 50392"/>
                <a:gd name="connsiteX14" fmla="*/ 200806 w 201571"/>
                <a:gd name="connsiteY14" fmla="*/ 15118 h 50392"/>
                <a:gd name="connsiteX15" fmla="*/ 200806 w 201571"/>
                <a:gd name="connsiteY15" fmla="*/ 13858 h 50392"/>
                <a:gd name="connsiteX16" fmla="*/ 200806 w 201571"/>
                <a:gd name="connsiteY16" fmla="*/ 13858 h 50392"/>
                <a:gd name="connsiteX17" fmla="*/ 194507 w 201571"/>
                <a:gd name="connsiteY17" fmla="*/ 12598 h 50392"/>
                <a:gd name="connsiteX18" fmla="*/ 186948 w 201571"/>
                <a:gd name="connsiteY18" fmla="*/ 11338 h 50392"/>
                <a:gd name="connsiteX19" fmla="*/ 179389 w 201571"/>
                <a:gd name="connsiteY19" fmla="*/ 11338 h 50392"/>
                <a:gd name="connsiteX20" fmla="*/ 171830 w 201571"/>
                <a:gd name="connsiteY20" fmla="*/ 11338 h 50392"/>
                <a:gd name="connsiteX21" fmla="*/ 157972 w 201571"/>
                <a:gd name="connsiteY21" fmla="*/ 11338 h 50392"/>
                <a:gd name="connsiteX22" fmla="*/ 145374 w 201571"/>
                <a:gd name="connsiteY22" fmla="*/ 11338 h 50392"/>
                <a:gd name="connsiteX23" fmla="*/ 142855 w 201571"/>
                <a:gd name="connsiteY23" fmla="*/ 11338 h 50392"/>
                <a:gd name="connsiteX24" fmla="*/ 127736 w 201571"/>
                <a:gd name="connsiteY24" fmla="*/ 11338 h 50392"/>
                <a:gd name="connsiteX25" fmla="*/ 118918 w 201571"/>
                <a:gd name="connsiteY25" fmla="*/ 11338 h 50392"/>
                <a:gd name="connsiteX26" fmla="*/ 112618 w 201571"/>
                <a:gd name="connsiteY26" fmla="*/ 11338 h 50392"/>
                <a:gd name="connsiteX27" fmla="*/ 108839 w 201571"/>
                <a:gd name="connsiteY27" fmla="*/ 11338 h 50392"/>
                <a:gd name="connsiteX28" fmla="*/ 97501 w 201571"/>
                <a:gd name="connsiteY28" fmla="*/ 15118 h 50392"/>
                <a:gd name="connsiteX29" fmla="*/ 91202 w 201571"/>
                <a:gd name="connsiteY29" fmla="*/ 17637 h 50392"/>
                <a:gd name="connsiteX30" fmla="*/ 84903 w 201571"/>
                <a:gd name="connsiteY30" fmla="*/ 20157 h 50392"/>
                <a:gd name="connsiteX31" fmla="*/ 78603 w 201571"/>
                <a:gd name="connsiteY31" fmla="*/ 22677 h 50392"/>
                <a:gd name="connsiteX32" fmla="*/ 72304 w 201571"/>
                <a:gd name="connsiteY32" fmla="*/ 25196 h 50392"/>
                <a:gd name="connsiteX33" fmla="*/ 64745 w 201571"/>
                <a:gd name="connsiteY33" fmla="*/ 27716 h 50392"/>
                <a:gd name="connsiteX34" fmla="*/ 58446 w 201571"/>
                <a:gd name="connsiteY34" fmla="*/ 30236 h 50392"/>
                <a:gd name="connsiteX35" fmla="*/ 31990 w 201571"/>
                <a:gd name="connsiteY35" fmla="*/ 41574 h 50392"/>
                <a:gd name="connsiteX36" fmla="*/ 19392 w 201571"/>
                <a:gd name="connsiteY36" fmla="*/ 46613 h 50392"/>
                <a:gd name="connsiteX37" fmla="*/ 5533 w 201571"/>
                <a:gd name="connsiteY37" fmla="*/ 52912 h 50392"/>
                <a:gd name="connsiteX38" fmla="*/ 494 w 201571"/>
                <a:gd name="connsiteY38" fmla="*/ 50393 h 50392"/>
                <a:gd name="connsiteX39" fmla="*/ 3014 w 201571"/>
                <a:gd name="connsiteY39" fmla="*/ 45353 h 50392"/>
                <a:gd name="connsiteX40" fmla="*/ 18132 w 201571"/>
                <a:gd name="connsiteY40" fmla="*/ 37795 h 50392"/>
                <a:gd name="connsiteX41" fmla="*/ 30730 w 201571"/>
                <a:gd name="connsiteY41" fmla="*/ 31496 h 50392"/>
                <a:gd name="connsiteX42" fmla="*/ 44588 w 201571"/>
                <a:gd name="connsiteY42" fmla="*/ 25196 h 50392"/>
                <a:gd name="connsiteX43" fmla="*/ 58446 w 201571"/>
                <a:gd name="connsiteY43" fmla="*/ 18897 h 50392"/>
                <a:gd name="connsiteX44" fmla="*/ 64745 w 201571"/>
                <a:gd name="connsiteY44" fmla="*/ 16378 h 50392"/>
                <a:gd name="connsiteX45" fmla="*/ 71044 w 201571"/>
                <a:gd name="connsiteY45" fmla="*/ 13858 h 50392"/>
                <a:gd name="connsiteX46" fmla="*/ 77344 w 201571"/>
                <a:gd name="connsiteY46" fmla="*/ 11338 h 50392"/>
                <a:gd name="connsiteX47" fmla="*/ 83643 w 201571"/>
                <a:gd name="connsiteY47" fmla="*/ 8819 h 50392"/>
                <a:gd name="connsiteX48" fmla="*/ 89942 w 201571"/>
                <a:gd name="connsiteY48" fmla="*/ 6299 h 50392"/>
                <a:gd name="connsiteX49" fmla="*/ 96241 w 201571"/>
                <a:gd name="connsiteY49" fmla="*/ 3779 h 50392"/>
                <a:gd name="connsiteX50" fmla="*/ 102540 w 201571"/>
                <a:gd name="connsiteY50" fmla="*/ 1260 h 50392"/>
                <a:gd name="connsiteX51" fmla="*/ 110099 w 201571"/>
                <a:gd name="connsiteY51" fmla="*/ 0 h 50392"/>
                <a:gd name="connsiteX52" fmla="*/ 117658 w 201571"/>
                <a:gd name="connsiteY52" fmla="*/ 0 h 50392"/>
                <a:gd name="connsiteX53" fmla="*/ 122697 w 201571"/>
                <a:gd name="connsiteY53" fmla="*/ 0 h 50392"/>
                <a:gd name="connsiteX54" fmla="*/ 131516 w 201571"/>
                <a:gd name="connsiteY54" fmla="*/ 0 h 50392"/>
                <a:gd name="connsiteX55" fmla="*/ 141595 w 201571"/>
                <a:gd name="connsiteY55" fmla="*/ 0 h 50392"/>
                <a:gd name="connsiteX56" fmla="*/ 164271 w 201571"/>
                <a:gd name="connsiteY56" fmla="*/ 0 h 50392"/>
                <a:gd name="connsiteX57" fmla="*/ 171830 w 201571"/>
                <a:gd name="connsiteY57" fmla="*/ 0 h 50392"/>
                <a:gd name="connsiteX58" fmla="*/ 178129 w 201571"/>
                <a:gd name="connsiteY58" fmla="*/ 0 h 50392"/>
                <a:gd name="connsiteX59" fmla="*/ 184429 w 201571"/>
                <a:gd name="connsiteY59" fmla="*/ 0 h 50392"/>
                <a:gd name="connsiteX60" fmla="*/ 186948 w 201571"/>
                <a:gd name="connsiteY60" fmla="*/ 0 h 50392"/>
                <a:gd name="connsiteX61" fmla="*/ 191988 w 201571"/>
                <a:gd name="connsiteY61" fmla="*/ 2519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01571" h="50392">
                  <a:moveTo>
                    <a:pt x="191988" y="2519"/>
                  </a:moveTo>
                  <a:cubicBezTo>
                    <a:pt x="194507" y="2519"/>
                    <a:pt x="195767" y="2519"/>
                    <a:pt x="198287" y="3779"/>
                  </a:cubicBezTo>
                  <a:cubicBezTo>
                    <a:pt x="200806" y="3779"/>
                    <a:pt x="203326" y="3779"/>
                    <a:pt x="204586" y="5039"/>
                  </a:cubicBezTo>
                  <a:cubicBezTo>
                    <a:pt x="205846" y="5039"/>
                    <a:pt x="207105" y="5039"/>
                    <a:pt x="208365" y="6299"/>
                  </a:cubicBezTo>
                  <a:cubicBezTo>
                    <a:pt x="209625" y="7559"/>
                    <a:pt x="209625" y="7559"/>
                    <a:pt x="209625" y="8819"/>
                  </a:cubicBezTo>
                  <a:cubicBezTo>
                    <a:pt x="209625" y="8819"/>
                    <a:pt x="209625" y="8819"/>
                    <a:pt x="209625" y="10078"/>
                  </a:cubicBezTo>
                  <a:cubicBezTo>
                    <a:pt x="210885" y="11338"/>
                    <a:pt x="210885" y="13858"/>
                    <a:pt x="210885" y="16378"/>
                  </a:cubicBezTo>
                  <a:cubicBezTo>
                    <a:pt x="210885" y="18897"/>
                    <a:pt x="210885" y="21417"/>
                    <a:pt x="210885" y="23937"/>
                  </a:cubicBezTo>
                  <a:cubicBezTo>
                    <a:pt x="210885" y="25196"/>
                    <a:pt x="210885" y="27716"/>
                    <a:pt x="210885" y="28976"/>
                  </a:cubicBezTo>
                  <a:cubicBezTo>
                    <a:pt x="210885" y="30236"/>
                    <a:pt x="210885" y="32755"/>
                    <a:pt x="209625" y="34015"/>
                  </a:cubicBezTo>
                  <a:cubicBezTo>
                    <a:pt x="209625" y="36535"/>
                    <a:pt x="208365" y="37795"/>
                    <a:pt x="205846" y="37795"/>
                  </a:cubicBezTo>
                  <a:cubicBezTo>
                    <a:pt x="204586" y="37795"/>
                    <a:pt x="203326" y="37795"/>
                    <a:pt x="202066" y="36535"/>
                  </a:cubicBezTo>
                  <a:cubicBezTo>
                    <a:pt x="200806" y="36535"/>
                    <a:pt x="200806" y="35275"/>
                    <a:pt x="200806" y="34015"/>
                  </a:cubicBezTo>
                  <a:cubicBezTo>
                    <a:pt x="200806" y="30236"/>
                    <a:pt x="200806" y="26456"/>
                    <a:pt x="200806" y="23937"/>
                  </a:cubicBezTo>
                  <a:cubicBezTo>
                    <a:pt x="200806" y="21417"/>
                    <a:pt x="200806" y="18897"/>
                    <a:pt x="200806" y="15118"/>
                  </a:cubicBezTo>
                  <a:cubicBezTo>
                    <a:pt x="200806" y="15118"/>
                    <a:pt x="200806" y="13858"/>
                    <a:pt x="200806" y="13858"/>
                  </a:cubicBezTo>
                  <a:cubicBezTo>
                    <a:pt x="200806" y="13858"/>
                    <a:pt x="200806" y="13858"/>
                    <a:pt x="200806" y="13858"/>
                  </a:cubicBezTo>
                  <a:cubicBezTo>
                    <a:pt x="198287" y="13858"/>
                    <a:pt x="197027" y="12598"/>
                    <a:pt x="194507" y="12598"/>
                  </a:cubicBezTo>
                  <a:cubicBezTo>
                    <a:pt x="191988" y="12598"/>
                    <a:pt x="189468" y="11338"/>
                    <a:pt x="186948" y="11338"/>
                  </a:cubicBezTo>
                  <a:cubicBezTo>
                    <a:pt x="184429" y="11338"/>
                    <a:pt x="181909" y="11338"/>
                    <a:pt x="179389" y="11338"/>
                  </a:cubicBezTo>
                  <a:cubicBezTo>
                    <a:pt x="176870" y="11338"/>
                    <a:pt x="174350" y="11338"/>
                    <a:pt x="171830" y="11338"/>
                  </a:cubicBezTo>
                  <a:cubicBezTo>
                    <a:pt x="166791" y="11338"/>
                    <a:pt x="163011" y="11338"/>
                    <a:pt x="157972" y="11338"/>
                  </a:cubicBezTo>
                  <a:cubicBezTo>
                    <a:pt x="154193" y="11338"/>
                    <a:pt x="149154" y="11338"/>
                    <a:pt x="145374" y="11338"/>
                  </a:cubicBezTo>
                  <a:cubicBezTo>
                    <a:pt x="144114" y="11338"/>
                    <a:pt x="144114" y="11338"/>
                    <a:pt x="142855" y="11338"/>
                  </a:cubicBezTo>
                  <a:cubicBezTo>
                    <a:pt x="137815" y="11338"/>
                    <a:pt x="132776" y="11338"/>
                    <a:pt x="127736" y="11338"/>
                  </a:cubicBezTo>
                  <a:cubicBezTo>
                    <a:pt x="125217" y="11338"/>
                    <a:pt x="121437" y="11338"/>
                    <a:pt x="118918" y="11338"/>
                  </a:cubicBezTo>
                  <a:cubicBezTo>
                    <a:pt x="116398" y="11338"/>
                    <a:pt x="113878" y="11338"/>
                    <a:pt x="112618" y="11338"/>
                  </a:cubicBezTo>
                  <a:cubicBezTo>
                    <a:pt x="111359" y="11338"/>
                    <a:pt x="110099" y="11338"/>
                    <a:pt x="108839" y="11338"/>
                  </a:cubicBezTo>
                  <a:cubicBezTo>
                    <a:pt x="105060" y="12598"/>
                    <a:pt x="101280" y="13858"/>
                    <a:pt x="97501" y="15118"/>
                  </a:cubicBezTo>
                  <a:cubicBezTo>
                    <a:pt x="94981" y="16378"/>
                    <a:pt x="92462" y="16378"/>
                    <a:pt x="91202" y="17637"/>
                  </a:cubicBezTo>
                  <a:cubicBezTo>
                    <a:pt x="88682" y="18897"/>
                    <a:pt x="87422" y="18897"/>
                    <a:pt x="84903" y="20157"/>
                  </a:cubicBezTo>
                  <a:cubicBezTo>
                    <a:pt x="82383" y="21417"/>
                    <a:pt x="79863" y="21417"/>
                    <a:pt x="78603" y="22677"/>
                  </a:cubicBezTo>
                  <a:cubicBezTo>
                    <a:pt x="76084" y="23937"/>
                    <a:pt x="73564" y="23937"/>
                    <a:pt x="72304" y="25196"/>
                  </a:cubicBezTo>
                  <a:cubicBezTo>
                    <a:pt x="69785" y="26456"/>
                    <a:pt x="67265" y="26456"/>
                    <a:pt x="64745" y="27716"/>
                  </a:cubicBezTo>
                  <a:cubicBezTo>
                    <a:pt x="62226" y="28976"/>
                    <a:pt x="60966" y="28976"/>
                    <a:pt x="58446" y="30236"/>
                  </a:cubicBezTo>
                  <a:cubicBezTo>
                    <a:pt x="49627" y="34015"/>
                    <a:pt x="40809" y="36535"/>
                    <a:pt x="31990" y="41574"/>
                  </a:cubicBezTo>
                  <a:cubicBezTo>
                    <a:pt x="28211" y="42834"/>
                    <a:pt x="24431" y="45353"/>
                    <a:pt x="19392" y="46613"/>
                  </a:cubicBezTo>
                  <a:cubicBezTo>
                    <a:pt x="14352" y="49133"/>
                    <a:pt x="9313" y="51652"/>
                    <a:pt x="5533" y="52912"/>
                  </a:cubicBezTo>
                  <a:cubicBezTo>
                    <a:pt x="3014" y="54172"/>
                    <a:pt x="494" y="52912"/>
                    <a:pt x="494" y="50393"/>
                  </a:cubicBezTo>
                  <a:cubicBezTo>
                    <a:pt x="-766" y="47873"/>
                    <a:pt x="494" y="46613"/>
                    <a:pt x="3014" y="45353"/>
                  </a:cubicBezTo>
                  <a:cubicBezTo>
                    <a:pt x="8053" y="42834"/>
                    <a:pt x="13092" y="40314"/>
                    <a:pt x="18132" y="37795"/>
                  </a:cubicBezTo>
                  <a:cubicBezTo>
                    <a:pt x="23171" y="35275"/>
                    <a:pt x="26951" y="32755"/>
                    <a:pt x="30730" y="31496"/>
                  </a:cubicBezTo>
                  <a:cubicBezTo>
                    <a:pt x="34510" y="28976"/>
                    <a:pt x="39549" y="27716"/>
                    <a:pt x="44588" y="25196"/>
                  </a:cubicBezTo>
                  <a:cubicBezTo>
                    <a:pt x="49627" y="22677"/>
                    <a:pt x="53407" y="21417"/>
                    <a:pt x="58446" y="18897"/>
                  </a:cubicBezTo>
                  <a:cubicBezTo>
                    <a:pt x="60966" y="17637"/>
                    <a:pt x="63485" y="16378"/>
                    <a:pt x="64745" y="16378"/>
                  </a:cubicBezTo>
                  <a:cubicBezTo>
                    <a:pt x="67265" y="15118"/>
                    <a:pt x="69785" y="15118"/>
                    <a:pt x="71044" y="13858"/>
                  </a:cubicBezTo>
                  <a:cubicBezTo>
                    <a:pt x="73564" y="12598"/>
                    <a:pt x="76084" y="12598"/>
                    <a:pt x="77344" y="11338"/>
                  </a:cubicBezTo>
                  <a:cubicBezTo>
                    <a:pt x="79863" y="10078"/>
                    <a:pt x="81123" y="10078"/>
                    <a:pt x="83643" y="8819"/>
                  </a:cubicBezTo>
                  <a:cubicBezTo>
                    <a:pt x="86162" y="7559"/>
                    <a:pt x="88682" y="7559"/>
                    <a:pt x="89942" y="6299"/>
                  </a:cubicBezTo>
                  <a:cubicBezTo>
                    <a:pt x="92462" y="5039"/>
                    <a:pt x="94981" y="5039"/>
                    <a:pt x="96241" y="3779"/>
                  </a:cubicBezTo>
                  <a:cubicBezTo>
                    <a:pt x="98761" y="2519"/>
                    <a:pt x="100020" y="2519"/>
                    <a:pt x="102540" y="1260"/>
                  </a:cubicBezTo>
                  <a:cubicBezTo>
                    <a:pt x="105060" y="0"/>
                    <a:pt x="107579" y="0"/>
                    <a:pt x="110099" y="0"/>
                  </a:cubicBezTo>
                  <a:cubicBezTo>
                    <a:pt x="112618" y="0"/>
                    <a:pt x="115138" y="0"/>
                    <a:pt x="117658" y="0"/>
                  </a:cubicBezTo>
                  <a:cubicBezTo>
                    <a:pt x="118918" y="0"/>
                    <a:pt x="121437" y="0"/>
                    <a:pt x="122697" y="0"/>
                  </a:cubicBezTo>
                  <a:cubicBezTo>
                    <a:pt x="125217" y="0"/>
                    <a:pt x="128996" y="0"/>
                    <a:pt x="131516" y="0"/>
                  </a:cubicBezTo>
                  <a:cubicBezTo>
                    <a:pt x="135296" y="0"/>
                    <a:pt x="137815" y="0"/>
                    <a:pt x="141595" y="0"/>
                  </a:cubicBezTo>
                  <a:cubicBezTo>
                    <a:pt x="149154" y="0"/>
                    <a:pt x="156712" y="0"/>
                    <a:pt x="164271" y="0"/>
                  </a:cubicBezTo>
                  <a:cubicBezTo>
                    <a:pt x="166791" y="0"/>
                    <a:pt x="169311" y="0"/>
                    <a:pt x="171830" y="0"/>
                  </a:cubicBezTo>
                  <a:cubicBezTo>
                    <a:pt x="174350" y="0"/>
                    <a:pt x="176870" y="0"/>
                    <a:pt x="178129" y="0"/>
                  </a:cubicBezTo>
                  <a:cubicBezTo>
                    <a:pt x="180649" y="0"/>
                    <a:pt x="183169" y="0"/>
                    <a:pt x="184429" y="0"/>
                  </a:cubicBezTo>
                  <a:cubicBezTo>
                    <a:pt x="185688" y="0"/>
                    <a:pt x="186948" y="0"/>
                    <a:pt x="186948" y="0"/>
                  </a:cubicBezTo>
                  <a:cubicBezTo>
                    <a:pt x="189468" y="2519"/>
                    <a:pt x="190728" y="2519"/>
                    <a:pt x="191988" y="2519"/>
                  </a:cubicBezTo>
                </a:path>
              </a:pathLst>
            </a:custGeom>
            <a:solidFill>
              <a:srgbClr val="001675"/>
            </a:solidFill>
            <a:ln w="12584" cap="flat">
              <a:noFill/>
              <a:prstDash val="solid"/>
              <a:miter/>
            </a:ln>
          </p:spPr>
          <p:txBody>
            <a:bodyPr rtlCol="0" anchor="ctr"/>
            <a:lstStyle/>
            <a:p>
              <a:endParaRPr lang="zh-CN" altLang="en-US"/>
            </a:p>
          </p:txBody>
        </p:sp>
        <p:sp>
          <p:nvSpPr>
            <p:cNvPr id="215" name="任意多边形: 形状 214"/>
            <p:cNvSpPr/>
            <p:nvPr/>
          </p:nvSpPr>
          <p:spPr>
            <a:xfrm>
              <a:off x="9612858" y="4877284"/>
              <a:ext cx="171607" cy="51482"/>
            </a:xfrm>
            <a:custGeom>
              <a:avLst/>
              <a:gdLst>
                <a:gd name="connsiteX0" fmla="*/ 252792 w 251964"/>
                <a:gd name="connsiteY0" fmla="*/ 1260 h 75589"/>
                <a:gd name="connsiteX1" fmla="*/ 252792 w 251964"/>
                <a:gd name="connsiteY1" fmla="*/ 1260 h 75589"/>
                <a:gd name="connsiteX2" fmla="*/ 250273 w 251964"/>
                <a:gd name="connsiteY2" fmla="*/ 2520 h 75589"/>
                <a:gd name="connsiteX3" fmla="*/ 249013 w 251964"/>
                <a:gd name="connsiteY3" fmla="*/ 5039 h 75589"/>
                <a:gd name="connsiteX4" fmla="*/ 249013 w 251964"/>
                <a:gd name="connsiteY4" fmla="*/ 5039 h 75589"/>
                <a:gd name="connsiteX5" fmla="*/ 249013 w 251964"/>
                <a:gd name="connsiteY5" fmla="*/ 5039 h 75589"/>
                <a:gd name="connsiteX6" fmla="*/ 249013 w 251964"/>
                <a:gd name="connsiteY6" fmla="*/ 5039 h 75589"/>
                <a:gd name="connsiteX7" fmla="*/ 242714 w 251964"/>
                <a:gd name="connsiteY7" fmla="*/ 3780 h 75589"/>
                <a:gd name="connsiteX8" fmla="*/ 235154 w 251964"/>
                <a:gd name="connsiteY8" fmla="*/ 2520 h 75589"/>
                <a:gd name="connsiteX9" fmla="*/ 235154 w 251964"/>
                <a:gd name="connsiteY9" fmla="*/ 2520 h 75589"/>
                <a:gd name="connsiteX10" fmla="*/ 228855 w 251964"/>
                <a:gd name="connsiteY10" fmla="*/ 2520 h 75589"/>
                <a:gd name="connsiteX11" fmla="*/ 228855 w 251964"/>
                <a:gd name="connsiteY11" fmla="*/ 2520 h 75589"/>
                <a:gd name="connsiteX12" fmla="*/ 214997 w 251964"/>
                <a:gd name="connsiteY12" fmla="*/ 1260 h 75589"/>
                <a:gd name="connsiteX13" fmla="*/ 187281 w 251964"/>
                <a:gd name="connsiteY13" fmla="*/ 0 h 75589"/>
                <a:gd name="connsiteX14" fmla="*/ 174683 w 251964"/>
                <a:gd name="connsiteY14" fmla="*/ 0 h 75589"/>
                <a:gd name="connsiteX15" fmla="*/ 172163 w 251964"/>
                <a:gd name="connsiteY15" fmla="*/ 0 h 75589"/>
                <a:gd name="connsiteX16" fmla="*/ 167124 w 251964"/>
                <a:gd name="connsiteY16" fmla="*/ 0 h 75589"/>
                <a:gd name="connsiteX17" fmla="*/ 165864 w 251964"/>
                <a:gd name="connsiteY17" fmla="*/ 0 h 75589"/>
                <a:gd name="connsiteX18" fmla="*/ 160825 w 251964"/>
                <a:gd name="connsiteY18" fmla="*/ 0 h 75589"/>
                <a:gd name="connsiteX19" fmla="*/ 153266 w 251964"/>
                <a:gd name="connsiteY19" fmla="*/ 1260 h 75589"/>
                <a:gd name="connsiteX20" fmla="*/ 146967 w 251964"/>
                <a:gd name="connsiteY20" fmla="*/ 3780 h 75589"/>
                <a:gd name="connsiteX21" fmla="*/ 135629 w 251964"/>
                <a:gd name="connsiteY21" fmla="*/ 8819 h 75589"/>
                <a:gd name="connsiteX22" fmla="*/ 134369 w 251964"/>
                <a:gd name="connsiteY22" fmla="*/ 8819 h 75589"/>
                <a:gd name="connsiteX23" fmla="*/ 131849 w 251964"/>
                <a:gd name="connsiteY23" fmla="*/ 10079 h 75589"/>
                <a:gd name="connsiteX24" fmla="*/ 131849 w 251964"/>
                <a:gd name="connsiteY24" fmla="*/ 10079 h 75589"/>
                <a:gd name="connsiteX25" fmla="*/ 131849 w 251964"/>
                <a:gd name="connsiteY25" fmla="*/ 10079 h 75589"/>
                <a:gd name="connsiteX26" fmla="*/ 131849 w 251964"/>
                <a:gd name="connsiteY26" fmla="*/ 10079 h 75589"/>
                <a:gd name="connsiteX27" fmla="*/ 131849 w 251964"/>
                <a:gd name="connsiteY27" fmla="*/ 10079 h 75589"/>
                <a:gd name="connsiteX28" fmla="*/ 131849 w 251964"/>
                <a:gd name="connsiteY28" fmla="*/ 10079 h 75589"/>
                <a:gd name="connsiteX29" fmla="*/ 131849 w 251964"/>
                <a:gd name="connsiteY29" fmla="*/ 10079 h 75589"/>
                <a:gd name="connsiteX30" fmla="*/ 131849 w 251964"/>
                <a:gd name="connsiteY30" fmla="*/ 10079 h 75589"/>
                <a:gd name="connsiteX31" fmla="*/ 131849 w 251964"/>
                <a:gd name="connsiteY31" fmla="*/ 10079 h 75589"/>
                <a:gd name="connsiteX32" fmla="*/ 131849 w 251964"/>
                <a:gd name="connsiteY32" fmla="*/ 10079 h 75589"/>
                <a:gd name="connsiteX33" fmla="*/ 131849 w 251964"/>
                <a:gd name="connsiteY33" fmla="*/ 10079 h 75589"/>
                <a:gd name="connsiteX34" fmla="*/ 131849 w 251964"/>
                <a:gd name="connsiteY34" fmla="*/ 10079 h 75589"/>
                <a:gd name="connsiteX35" fmla="*/ 131849 w 251964"/>
                <a:gd name="connsiteY35" fmla="*/ 10079 h 75589"/>
                <a:gd name="connsiteX36" fmla="*/ 131849 w 251964"/>
                <a:gd name="connsiteY36" fmla="*/ 10079 h 75589"/>
                <a:gd name="connsiteX37" fmla="*/ 131849 w 251964"/>
                <a:gd name="connsiteY37" fmla="*/ 10079 h 75589"/>
                <a:gd name="connsiteX38" fmla="*/ 131849 w 251964"/>
                <a:gd name="connsiteY38" fmla="*/ 10079 h 75589"/>
                <a:gd name="connsiteX39" fmla="*/ 131849 w 251964"/>
                <a:gd name="connsiteY39" fmla="*/ 10079 h 75589"/>
                <a:gd name="connsiteX40" fmla="*/ 131849 w 251964"/>
                <a:gd name="connsiteY40" fmla="*/ 10079 h 75589"/>
                <a:gd name="connsiteX41" fmla="*/ 124290 w 251964"/>
                <a:gd name="connsiteY41" fmla="*/ 12598 h 75589"/>
                <a:gd name="connsiteX42" fmla="*/ 120511 w 251964"/>
                <a:gd name="connsiteY42" fmla="*/ 13858 h 75589"/>
                <a:gd name="connsiteX43" fmla="*/ 117991 w 251964"/>
                <a:gd name="connsiteY43" fmla="*/ 15118 h 75589"/>
                <a:gd name="connsiteX44" fmla="*/ 116731 w 251964"/>
                <a:gd name="connsiteY44" fmla="*/ 15118 h 75589"/>
                <a:gd name="connsiteX45" fmla="*/ 110432 w 251964"/>
                <a:gd name="connsiteY45" fmla="*/ 16378 h 75589"/>
                <a:gd name="connsiteX46" fmla="*/ 109172 w 251964"/>
                <a:gd name="connsiteY46" fmla="*/ 16378 h 75589"/>
                <a:gd name="connsiteX47" fmla="*/ 97834 w 251964"/>
                <a:gd name="connsiteY47" fmla="*/ 20157 h 75589"/>
                <a:gd name="connsiteX48" fmla="*/ 94055 w 251964"/>
                <a:gd name="connsiteY48" fmla="*/ 21417 h 75589"/>
                <a:gd name="connsiteX49" fmla="*/ 91535 w 251964"/>
                <a:gd name="connsiteY49" fmla="*/ 22677 h 75589"/>
                <a:gd name="connsiteX50" fmla="*/ 83976 w 251964"/>
                <a:gd name="connsiteY50" fmla="*/ 25196 h 75589"/>
                <a:gd name="connsiteX51" fmla="*/ 75157 w 251964"/>
                <a:gd name="connsiteY51" fmla="*/ 27716 h 75589"/>
                <a:gd name="connsiteX52" fmla="*/ 71377 w 251964"/>
                <a:gd name="connsiteY52" fmla="*/ 28976 h 75589"/>
                <a:gd name="connsiteX53" fmla="*/ 58779 w 251964"/>
                <a:gd name="connsiteY53" fmla="*/ 34015 h 75589"/>
                <a:gd name="connsiteX54" fmla="*/ 46181 w 251964"/>
                <a:gd name="connsiteY54" fmla="*/ 39055 h 75589"/>
                <a:gd name="connsiteX55" fmla="*/ 33583 w 251964"/>
                <a:gd name="connsiteY55" fmla="*/ 44094 h 75589"/>
                <a:gd name="connsiteX56" fmla="*/ 32323 w 251964"/>
                <a:gd name="connsiteY56" fmla="*/ 44094 h 75589"/>
                <a:gd name="connsiteX57" fmla="*/ 26024 w 251964"/>
                <a:gd name="connsiteY57" fmla="*/ 46614 h 75589"/>
                <a:gd name="connsiteX58" fmla="*/ 20985 w 251964"/>
                <a:gd name="connsiteY58" fmla="*/ 49133 h 75589"/>
                <a:gd name="connsiteX59" fmla="*/ 17205 w 251964"/>
                <a:gd name="connsiteY59" fmla="*/ 51653 h 75589"/>
                <a:gd name="connsiteX60" fmla="*/ 15945 w 251964"/>
                <a:gd name="connsiteY60" fmla="*/ 52913 h 75589"/>
                <a:gd name="connsiteX61" fmla="*/ 14685 w 251964"/>
                <a:gd name="connsiteY61" fmla="*/ 52913 h 75589"/>
                <a:gd name="connsiteX62" fmla="*/ 9646 w 251964"/>
                <a:gd name="connsiteY62" fmla="*/ 55432 h 75589"/>
                <a:gd name="connsiteX63" fmla="*/ 3347 w 251964"/>
                <a:gd name="connsiteY63" fmla="*/ 60472 h 75589"/>
                <a:gd name="connsiteX64" fmla="*/ 827 w 251964"/>
                <a:gd name="connsiteY64" fmla="*/ 64251 h 75589"/>
                <a:gd name="connsiteX65" fmla="*/ 2087 w 251964"/>
                <a:gd name="connsiteY65" fmla="*/ 71810 h 75589"/>
                <a:gd name="connsiteX66" fmla="*/ 8386 w 251964"/>
                <a:gd name="connsiteY66" fmla="*/ 76849 h 75589"/>
                <a:gd name="connsiteX67" fmla="*/ 14685 w 251964"/>
                <a:gd name="connsiteY67" fmla="*/ 79369 h 75589"/>
                <a:gd name="connsiteX68" fmla="*/ 27284 w 251964"/>
                <a:gd name="connsiteY68" fmla="*/ 80629 h 75589"/>
                <a:gd name="connsiteX69" fmla="*/ 28544 w 251964"/>
                <a:gd name="connsiteY69" fmla="*/ 80629 h 75589"/>
                <a:gd name="connsiteX70" fmla="*/ 33583 w 251964"/>
                <a:gd name="connsiteY70" fmla="*/ 80629 h 75589"/>
                <a:gd name="connsiteX71" fmla="*/ 34843 w 251964"/>
                <a:gd name="connsiteY71" fmla="*/ 80629 h 75589"/>
                <a:gd name="connsiteX72" fmla="*/ 41142 w 251964"/>
                <a:gd name="connsiteY72" fmla="*/ 80629 h 75589"/>
                <a:gd name="connsiteX73" fmla="*/ 41142 w 251964"/>
                <a:gd name="connsiteY73" fmla="*/ 80629 h 75589"/>
                <a:gd name="connsiteX74" fmla="*/ 55000 w 251964"/>
                <a:gd name="connsiteY74" fmla="*/ 80629 h 75589"/>
                <a:gd name="connsiteX75" fmla="*/ 68858 w 251964"/>
                <a:gd name="connsiteY75" fmla="*/ 79369 h 75589"/>
                <a:gd name="connsiteX76" fmla="*/ 68858 w 251964"/>
                <a:gd name="connsiteY76" fmla="*/ 79369 h 75589"/>
                <a:gd name="connsiteX77" fmla="*/ 78936 w 251964"/>
                <a:gd name="connsiteY77" fmla="*/ 78109 h 75589"/>
                <a:gd name="connsiteX78" fmla="*/ 81456 w 251964"/>
                <a:gd name="connsiteY78" fmla="*/ 78109 h 75589"/>
                <a:gd name="connsiteX79" fmla="*/ 100354 w 251964"/>
                <a:gd name="connsiteY79" fmla="*/ 76849 h 75589"/>
                <a:gd name="connsiteX80" fmla="*/ 106653 w 251964"/>
                <a:gd name="connsiteY80" fmla="*/ 76849 h 75589"/>
                <a:gd name="connsiteX81" fmla="*/ 155786 w 251964"/>
                <a:gd name="connsiteY81" fmla="*/ 78109 h 75589"/>
                <a:gd name="connsiteX82" fmla="*/ 162085 w 251964"/>
                <a:gd name="connsiteY82" fmla="*/ 78109 h 75589"/>
                <a:gd name="connsiteX83" fmla="*/ 169644 w 251964"/>
                <a:gd name="connsiteY83" fmla="*/ 78109 h 75589"/>
                <a:gd name="connsiteX84" fmla="*/ 184762 w 251964"/>
                <a:gd name="connsiteY84" fmla="*/ 78109 h 75589"/>
                <a:gd name="connsiteX85" fmla="*/ 198620 w 251964"/>
                <a:gd name="connsiteY85" fmla="*/ 76849 h 75589"/>
                <a:gd name="connsiteX86" fmla="*/ 204919 w 251964"/>
                <a:gd name="connsiteY86" fmla="*/ 75589 h 75589"/>
                <a:gd name="connsiteX87" fmla="*/ 207439 w 251964"/>
                <a:gd name="connsiteY87" fmla="*/ 75589 h 75589"/>
                <a:gd name="connsiteX88" fmla="*/ 211218 w 251964"/>
                <a:gd name="connsiteY88" fmla="*/ 74330 h 75589"/>
                <a:gd name="connsiteX89" fmla="*/ 211218 w 251964"/>
                <a:gd name="connsiteY89" fmla="*/ 74330 h 75589"/>
                <a:gd name="connsiteX90" fmla="*/ 211218 w 251964"/>
                <a:gd name="connsiteY90" fmla="*/ 74330 h 75589"/>
                <a:gd name="connsiteX91" fmla="*/ 212478 w 251964"/>
                <a:gd name="connsiteY91" fmla="*/ 75589 h 75589"/>
                <a:gd name="connsiteX92" fmla="*/ 212478 w 251964"/>
                <a:gd name="connsiteY92" fmla="*/ 75589 h 75589"/>
                <a:gd name="connsiteX93" fmla="*/ 217517 w 251964"/>
                <a:gd name="connsiteY93" fmla="*/ 79369 h 75589"/>
                <a:gd name="connsiteX94" fmla="*/ 222556 w 251964"/>
                <a:gd name="connsiteY94" fmla="*/ 81889 h 75589"/>
                <a:gd name="connsiteX95" fmla="*/ 226336 w 251964"/>
                <a:gd name="connsiteY95" fmla="*/ 83148 h 75589"/>
                <a:gd name="connsiteX96" fmla="*/ 227595 w 251964"/>
                <a:gd name="connsiteY96" fmla="*/ 83148 h 75589"/>
                <a:gd name="connsiteX97" fmla="*/ 241454 w 251964"/>
                <a:gd name="connsiteY97" fmla="*/ 81889 h 75589"/>
                <a:gd name="connsiteX98" fmla="*/ 242714 w 251964"/>
                <a:gd name="connsiteY98" fmla="*/ 81889 h 75589"/>
                <a:gd name="connsiteX99" fmla="*/ 247753 w 251964"/>
                <a:gd name="connsiteY99" fmla="*/ 80629 h 75589"/>
                <a:gd name="connsiteX100" fmla="*/ 254052 w 251964"/>
                <a:gd name="connsiteY100" fmla="*/ 76849 h 75589"/>
                <a:gd name="connsiteX101" fmla="*/ 255312 w 251964"/>
                <a:gd name="connsiteY101" fmla="*/ 74330 h 75589"/>
                <a:gd name="connsiteX102" fmla="*/ 257832 w 251964"/>
                <a:gd name="connsiteY102" fmla="*/ 70550 h 75589"/>
                <a:gd name="connsiteX103" fmla="*/ 257832 w 251964"/>
                <a:gd name="connsiteY103" fmla="*/ 60472 h 75589"/>
                <a:gd name="connsiteX104" fmla="*/ 257832 w 251964"/>
                <a:gd name="connsiteY104" fmla="*/ 55432 h 75589"/>
                <a:gd name="connsiteX105" fmla="*/ 257832 w 251964"/>
                <a:gd name="connsiteY105" fmla="*/ 52913 h 75589"/>
                <a:gd name="connsiteX106" fmla="*/ 257832 w 251964"/>
                <a:gd name="connsiteY106" fmla="*/ 42834 h 75589"/>
                <a:gd name="connsiteX107" fmla="*/ 257832 w 251964"/>
                <a:gd name="connsiteY107" fmla="*/ 40315 h 75589"/>
                <a:gd name="connsiteX108" fmla="*/ 257832 w 251964"/>
                <a:gd name="connsiteY108" fmla="*/ 36535 h 75589"/>
                <a:gd name="connsiteX109" fmla="*/ 257832 w 251964"/>
                <a:gd name="connsiteY109" fmla="*/ 27716 h 75589"/>
                <a:gd name="connsiteX110" fmla="*/ 257832 w 251964"/>
                <a:gd name="connsiteY110" fmla="*/ 21417 h 75589"/>
                <a:gd name="connsiteX111" fmla="*/ 257832 w 251964"/>
                <a:gd name="connsiteY111" fmla="*/ 15118 h 75589"/>
                <a:gd name="connsiteX112" fmla="*/ 256572 w 251964"/>
                <a:gd name="connsiteY112" fmla="*/ 11338 h 75589"/>
                <a:gd name="connsiteX113" fmla="*/ 255312 w 251964"/>
                <a:gd name="connsiteY113" fmla="*/ 8819 h 75589"/>
                <a:gd name="connsiteX114" fmla="*/ 255312 w 251964"/>
                <a:gd name="connsiteY114" fmla="*/ 5039 h 75589"/>
                <a:gd name="connsiteX115" fmla="*/ 252792 w 251964"/>
                <a:gd name="connsiteY115" fmla="*/ 1260 h 75589"/>
                <a:gd name="connsiteX116" fmla="*/ 8386 w 251964"/>
                <a:gd name="connsiteY116" fmla="*/ 65511 h 75589"/>
                <a:gd name="connsiteX117" fmla="*/ 12166 w 251964"/>
                <a:gd name="connsiteY117" fmla="*/ 62991 h 75589"/>
                <a:gd name="connsiteX118" fmla="*/ 15945 w 251964"/>
                <a:gd name="connsiteY118" fmla="*/ 60472 h 75589"/>
                <a:gd name="connsiteX119" fmla="*/ 17205 w 251964"/>
                <a:gd name="connsiteY119" fmla="*/ 60472 h 75589"/>
                <a:gd name="connsiteX120" fmla="*/ 20985 w 251964"/>
                <a:gd name="connsiteY120" fmla="*/ 59212 h 75589"/>
                <a:gd name="connsiteX121" fmla="*/ 22244 w 251964"/>
                <a:gd name="connsiteY121" fmla="*/ 57952 h 75589"/>
                <a:gd name="connsiteX122" fmla="*/ 28544 w 251964"/>
                <a:gd name="connsiteY122" fmla="*/ 55432 h 75589"/>
                <a:gd name="connsiteX123" fmla="*/ 34843 w 251964"/>
                <a:gd name="connsiteY123" fmla="*/ 52913 h 75589"/>
                <a:gd name="connsiteX124" fmla="*/ 26024 w 251964"/>
                <a:gd name="connsiteY124" fmla="*/ 57952 h 75589"/>
                <a:gd name="connsiteX125" fmla="*/ 26024 w 251964"/>
                <a:gd name="connsiteY125" fmla="*/ 57952 h 75589"/>
                <a:gd name="connsiteX126" fmla="*/ 15945 w 251964"/>
                <a:gd name="connsiteY126" fmla="*/ 64251 h 75589"/>
                <a:gd name="connsiteX127" fmla="*/ 12166 w 251964"/>
                <a:gd name="connsiteY127" fmla="*/ 65511 h 75589"/>
                <a:gd name="connsiteX128" fmla="*/ 8386 w 251964"/>
                <a:gd name="connsiteY128" fmla="*/ 65511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51964" h="75589">
                  <a:moveTo>
                    <a:pt x="252792" y="1260"/>
                  </a:moveTo>
                  <a:cubicBezTo>
                    <a:pt x="252792" y="1260"/>
                    <a:pt x="252792" y="1260"/>
                    <a:pt x="252792" y="1260"/>
                  </a:cubicBezTo>
                  <a:cubicBezTo>
                    <a:pt x="251532" y="1260"/>
                    <a:pt x="251532" y="1260"/>
                    <a:pt x="250273" y="2520"/>
                  </a:cubicBezTo>
                  <a:cubicBezTo>
                    <a:pt x="250273" y="2520"/>
                    <a:pt x="249013" y="3780"/>
                    <a:pt x="249013" y="5039"/>
                  </a:cubicBezTo>
                  <a:lnTo>
                    <a:pt x="249013" y="5039"/>
                  </a:lnTo>
                  <a:lnTo>
                    <a:pt x="249013" y="5039"/>
                  </a:lnTo>
                  <a:lnTo>
                    <a:pt x="249013" y="5039"/>
                  </a:lnTo>
                  <a:cubicBezTo>
                    <a:pt x="247753" y="5039"/>
                    <a:pt x="245233" y="3780"/>
                    <a:pt x="242714" y="3780"/>
                  </a:cubicBezTo>
                  <a:cubicBezTo>
                    <a:pt x="240194" y="3780"/>
                    <a:pt x="237674" y="2520"/>
                    <a:pt x="235154" y="2520"/>
                  </a:cubicBezTo>
                  <a:lnTo>
                    <a:pt x="235154" y="2520"/>
                  </a:lnTo>
                  <a:cubicBezTo>
                    <a:pt x="232635" y="2520"/>
                    <a:pt x="231375" y="2520"/>
                    <a:pt x="228855" y="2520"/>
                  </a:cubicBezTo>
                  <a:lnTo>
                    <a:pt x="228855" y="2520"/>
                  </a:lnTo>
                  <a:cubicBezTo>
                    <a:pt x="223816" y="2520"/>
                    <a:pt x="220037" y="1260"/>
                    <a:pt x="214997" y="1260"/>
                  </a:cubicBezTo>
                  <a:cubicBezTo>
                    <a:pt x="206179" y="1260"/>
                    <a:pt x="197360" y="0"/>
                    <a:pt x="187281" y="0"/>
                  </a:cubicBezTo>
                  <a:cubicBezTo>
                    <a:pt x="183502" y="0"/>
                    <a:pt x="179722" y="0"/>
                    <a:pt x="174683" y="0"/>
                  </a:cubicBezTo>
                  <a:lnTo>
                    <a:pt x="172163" y="0"/>
                  </a:lnTo>
                  <a:cubicBezTo>
                    <a:pt x="170903" y="0"/>
                    <a:pt x="169644" y="0"/>
                    <a:pt x="167124" y="0"/>
                  </a:cubicBezTo>
                  <a:lnTo>
                    <a:pt x="165864" y="0"/>
                  </a:lnTo>
                  <a:cubicBezTo>
                    <a:pt x="164604" y="0"/>
                    <a:pt x="162085" y="0"/>
                    <a:pt x="160825" y="0"/>
                  </a:cubicBezTo>
                  <a:cubicBezTo>
                    <a:pt x="158305" y="0"/>
                    <a:pt x="155786" y="0"/>
                    <a:pt x="153266" y="1260"/>
                  </a:cubicBezTo>
                  <a:cubicBezTo>
                    <a:pt x="150747" y="1260"/>
                    <a:pt x="148227" y="2520"/>
                    <a:pt x="146967" y="3780"/>
                  </a:cubicBezTo>
                  <a:cubicBezTo>
                    <a:pt x="143188" y="5039"/>
                    <a:pt x="139408" y="6299"/>
                    <a:pt x="135629" y="8819"/>
                  </a:cubicBezTo>
                  <a:lnTo>
                    <a:pt x="134369" y="8819"/>
                  </a:lnTo>
                  <a:cubicBezTo>
                    <a:pt x="133109" y="8819"/>
                    <a:pt x="131849" y="10079"/>
                    <a:pt x="131849" y="10079"/>
                  </a:cubicBezTo>
                  <a:lnTo>
                    <a:pt x="131849" y="10079"/>
                  </a:lnTo>
                  <a:lnTo>
                    <a:pt x="131849" y="10079"/>
                  </a:lnTo>
                  <a:lnTo>
                    <a:pt x="131849" y="10079"/>
                  </a:lnTo>
                  <a:cubicBezTo>
                    <a:pt x="131849" y="10079"/>
                    <a:pt x="131849" y="10079"/>
                    <a:pt x="131849" y="10079"/>
                  </a:cubicBezTo>
                  <a:lnTo>
                    <a:pt x="131849" y="10079"/>
                  </a:lnTo>
                  <a:cubicBezTo>
                    <a:pt x="131849" y="10079"/>
                    <a:pt x="131849" y="10079"/>
                    <a:pt x="131849" y="10079"/>
                  </a:cubicBezTo>
                  <a:lnTo>
                    <a:pt x="131849" y="10079"/>
                  </a:lnTo>
                  <a:lnTo>
                    <a:pt x="131849" y="10079"/>
                  </a:lnTo>
                  <a:lnTo>
                    <a:pt x="131849" y="10079"/>
                  </a:lnTo>
                  <a:cubicBezTo>
                    <a:pt x="131849" y="10079"/>
                    <a:pt x="131849" y="10079"/>
                    <a:pt x="131849" y="10079"/>
                  </a:cubicBezTo>
                  <a:lnTo>
                    <a:pt x="131849" y="10079"/>
                  </a:lnTo>
                  <a:lnTo>
                    <a:pt x="131849" y="10079"/>
                  </a:lnTo>
                  <a:cubicBezTo>
                    <a:pt x="131849" y="10079"/>
                    <a:pt x="131849" y="10079"/>
                    <a:pt x="131849" y="10079"/>
                  </a:cubicBezTo>
                  <a:lnTo>
                    <a:pt x="131849" y="10079"/>
                  </a:lnTo>
                  <a:lnTo>
                    <a:pt x="131849" y="10079"/>
                  </a:lnTo>
                  <a:lnTo>
                    <a:pt x="131849" y="10079"/>
                  </a:lnTo>
                  <a:cubicBezTo>
                    <a:pt x="131849" y="10079"/>
                    <a:pt x="131849" y="10079"/>
                    <a:pt x="131849" y="10079"/>
                  </a:cubicBezTo>
                  <a:cubicBezTo>
                    <a:pt x="129329" y="11338"/>
                    <a:pt x="126810" y="12598"/>
                    <a:pt x="124290" y="12598"/>
                  </a:cubicBezTo>
                  <a:cubicBezTo>
                    <a:pt x="123030" y="12598"/>
                    <a:pt x="121770" y="13858"/>
                    <a:pt x="120511" y="13858"/>
                  </a:cubicBezTo>
                  <a:cubicBezTo>
                    <a:pt x="119251" y="13858"/>
                    <a:pt x="117991" y="15118"/>
                    <a:pt x="117991" y="15118"/>
                  </a:cubicBezTo>
                  <a:lnTo>
                    <a:pt x="116731" y="15118"/>
                  </a:lnTo>
                  <a:cubicBezTo>
                    <a:pt x="114211" y="15118"/>
                    <a:pt x="112952" y="16378"/>
                    <a:pt x="110432" y="16378"/>
                  </a:cubicBezTo>
                  <a:lnTo>
                    <a:pt x="109172" y="16378"/>
                  </a:lnTo>
                  <a:cubicBezTo>
                    <a:pt x="105393" y="17637"/>
                    <a:pt x="101613" y="18897"/>
                    <a:pt x="97834" y="20157"/>
                  </a:cubicBezTo>
                  <a:cubicBezTo>
                    <a:pt x="96574" y="20157"/>
                    <a:pt x="95314" y="21417"/>
                    <a:pt x="94055" y="21417"/>
                  </a:cubicBezTo>
                  <a:cubicBezTo>
                    <a:pt x="92795" y="21417"/>
                    <a:pt x="92795" y="21417"/>
                    <a:pt x="91535" y="22677"/>
                  </a:cubicBezTo>
                  <a:cubicBezTo>
                    <a:pt x="89015" y="23937"/>
                    <a:pt x="86496" y="23937"/>
                    <a:pt x="83976" y="25196"/>
                  </a:cubicBezTo>
                  <a:cubicBezTo>
                    <a:pt x="81456" y="26456"/>
                    <a:pt x="78936" y="27716"/>
                    <a:pt x="75157" y="27716"/>
                  </a:cubicBezTo>
                  <a:cubicBezTo>
                    <a:pt x="73897" y="27716"/>
                    <a:pt x="72637" y="28976"/>
                    <a:pt x="71377" y="28976"/>
                  </a:cubicBezTo>
                  <a:cubicBezTo>
                    <a:pt x="67598" y="30236"/>
                    <a:pt x="62559" y="31496"/>
                    <a:pt x="58779" y="34015"/>
                  </a:cubicBezTo>
                  <a:cubicBezTo>
                    <a:pt x="55000" y="35275"/>
                    <a:pt x="49961" y="37795"/>
                    <a:pt x="46181" y="39055"/>
                  </a:cubicBezTo>
                  <a:cubicBezTo>
                    <a:pt x="42402" y="40315"/>
                    <a:pt x="38622" y="42834"/>
                    <a:pt x="33583" y="44094"/>
                  </a:cubicBezTo>
                  <a:lnTo>
                    <a:pt x="32323" y="44094"/>
                  </a:lnTo>
                  <a:cubicBezTo>
                    <a:pt x="29803" y="45354"/>
                    <a:pt x="28544" y="45354"/>
                    <a:pt x="26024" y="46614"/>
                  </a:cubicBezTo>
                  <a:cubicBezTo>
                    <a:pt x="23504" y="47874"/>
                    <a:pt x="22244" y="47874"/>
                    <a:pt x="20985" y="49133"/>
                  </a:cubicBezTo>
                  <a:cubicBezTo>
                    <a:pt x="19725" y="50393"/>
                    <a:pt x="18465" y="50393"/>
                    <a:pt x="17205" y="51653"/>
                  </a:cubicBezTo>
                  <a:lnTo>
                    <a:pt x="15945" y="52913"/>
                  </a:lnTo>
                  <a:lnTo>
                    <a:pt x="14685" y="52913"/>
                  </a:lnTo>
                  <a:cubicBezTo>
                    <a:pt x="13426" y="54173"/>
                    <a:pt x="10906" y="54173"/>
                    <a:pt x="9646" y="55432"/>
                  </a:cubicBezTo>
                  <a:cubicBezTo>
                    <a:pt x="7126" y="56692"/>
                    <a:pt x="5867" y="57952"/>
                    <a:pt x="3347" y="60472"/>
                  </a:cubicBezTo>
                  <a:cubicBezTo>
                    <a:pt x="2087" y="61731"/>
                    <a:pt x="827" y="62991"/>
                    <a:pt x="827" y="64251"/>
                  </a:cubicBezTo>
                  <a:cubicBezTo>
                    <a:pt x="-432" y="66771"/>
                    <a:pt x="-432" y="69290"/>
                    <a:pt x="2087" y="71810"/>
                  </a:cubicBezTo>
                  <a:cubicBezTo>
                    <a:pt x="3347" y="74330"/>
                    <a:pt x="5867" y="75589"/>
                    <a:pt x="8386" y="76849"/>
                  </a:cubicBezTo>
                  <a:cubicBezTo>
                    <a:pt x="10906" y="78109"/>
                    <a:pt x="12166" y="79369"/>
                    <a:pt x="14685" y="79369"/>
                  </a:cubicBezTo>
                  <a:cubicBezTo>
                    <a:pt x="18465" y="80629"/>
                    <a:pt x="23504" y="80629"/>
                    <a:pt x="27284" y="80629"/>
                  </a:cubicBezTo>
                  <a:lnTo>
                    <a:pt x="28544" y="80629"/>
                  </a:lnTo>
                  <a:cubicBezTo>
                    <a:pt x="29803" y="80629"/>
                    <a:pt x="32323" y="80629"/>
                    <a:pt x="33583" y="80629"/>
                  </a:cubicBezTo>
                  <a:lnTo>
                    <a:pt x="34843" y="80629"/>
                  </a:lnTo>
                  <a:cubicBezTo>
                    <a:pt x="37362" y="80629"/>
                    <a:pt x="38622" y="80629"/>
                    <a:pt x="41142" y="80629"/>
                  </a:cubicBezTo>
                  <a:lnTo>
                    <a:pt x="41142" y="80629"/>
                  </a:lnTo>
                  <a:cubicBezTo>
                    <a:pt x="46181" y="80629"/>
                    <a:pt x="49961" y="80629"/>
                    <a:pt x="55000" y="80629"/>
                  </a:cubicBezTo>
                  <a:cubicBezTo>
                    <a:pt x="60039" y="80629"/>
                    <a:pt x="63818" y="79369"/>
                    <a:pt x="68858" y="79369"/>
                  </a:cubicBezTo>
                  <a:lnTo>
                    <a:pt x="68858" y="79369"/>
                  </a:lnTo>
                  <a:cubicBezTo>
                    <a:pt x="72637" y="79369"/>
                    <a:pt x="75157" y="78109"/>
                    <a:pt x="78936" y="78109"/>
                  </a:cubicBezTo>
                  <a:lnTo>
                    <a:pt x="81456" y="78109"/>
                  </a:lnTo>
                  <a:cubicBezTo>
                    <a:pt x="87755" y="78109"/>
                    <a:pt x="94055" y="76849"/>
                    <a:pt x="100354" y="76849"/>
                  </a:cubicBezTo>
                  <a:lnTo>
                    <a:pt x="106653" y="76849"/>
                  </a:lnTo>
                  <a:cubicBezTo>
                    <a:pt x="123030" y="76849"/>
                    <a:pt x="139408" y="78109"/>
                    <a:pt x="155786" y="78109"/>
                  </a:cubicBezTo>
                  <a:cubicBezTo>
                    <a:pt x="158305" y="78109"/>
                    <a:pt x="159565" y="78109"/>
                    <a:pt x="162085" y="78109"/>
                  </a:cubicBezTo>
                  <a:cubicBezTo>
                    <a:pt x="164604" y="78109"/>
                    <a:pt x="167124" y="78109"/>
                    <a:pt x="169644" y="78109"/>
                  </a:cubicBezTo>
                  <a:cubicBezTo>
                    <a:pt x="174683" y="78109"/>
                    <a:pt x="179722" y="78109"/>
                    <a:pt x="184762" y="78109"/>
                  </a:cubicBezTo>
                  <a:cubicBezTo>
                    <a:pt x="189801" y="78109"/>
                    <a:pt x="194840" y="76849"/>
                    <a:pt x="198620" y="76849"/>
                  </a:cubicBezTo>
                  <a:cubicBezTo>
                    <a:pt x="201140" y="76849"/>
                    <a:pt x="203659" y="75589"/>
                    <a:pt x="204919" y="75589"/>
                  </a:cubicBezTo>
                  <a:cubicBezTo>
                    <a:pt x="206179" y="75589"/>
                    <a:pt x="206179" y="75589"/>
                    <a:pt x="207439" y="75589"/>
                  </a:cubicBezTo>
                  <a:cubicBezTo>
                    <a:pt x="208698" y="75589"/>
                    <a:pt x="209958" y="74330"/>
                    <a:pt x="211218" y="74330"/>
                  </a:cubicBezTo>
                  <a:cubicBezTo>
                    <a:pt x="211218" y="74330"/>
                    <a:pt x="211218" y="74330"/>
                    <a:pt x="211218" y="74330"/>
                  </a:cubicBezTo>
                  <a:cubicBezTo>
                    <a:pt x="211218" y="74330"/>
                    <a:pt x="211218" y="74330"/>
                    <a:pt x="211218" y="74330"/>
                  </a:cubicBezTo>
                  <a:cubicBezTo>
                    <a:pt x="211218" y="74330"/>
                    <a:pt x="212478" y="74330"/>
                    <a:pt x="212478" y="75589"/>
                  </a:cubicBezTo>
                  <a:lnTo>
                    <a:pt x="212478" y="75589"/>
                  </a:lnTo>
                  <a:cubicBezTo>
                    <a:pt x="213738" y="76849"/>
                    <a:pt x="214997" y="78109"/>
                    <a:pt x="217517" y="79369"/>
                  </a:cubicBezTo>
                  <a:cubicBezTo>
                    <a:pt x="218777" y="80629"/>
                    <a:pt x="220037" y="81889"/>
                    <a:pt x="222556" y="81889"/>
                  </a:cubicBezTo>
                  <a:cubicBezTo>
                    <a:pt x="223816" y="81889"/>
                    <a:pt x="225076" y="83148"/>
                    <a:pt x="226336" y="83148"/>
                  </a:cubicBezTo>
                  <a:cubicBezTo>
                    <a:pt x="226336" y="83148"/>
                    <a:pt x="226336" y="83148"/>
                    <a:pt x="227595" y="83148"/>
                  </a:cubicBezTo>
                  <a:cubicBezTo>
                    <a:pt x="232635" y="83148"/>
                    <a:pt x="236414" y="81889"/>
                    <a:pt x="241454" y="81889"/>
                  </a:cubicBezTo>
                  <a:lnTo>
                    <a:pt x="242714" y="81889"/>
                  </a:lnTo>
                  <a:cubicBezTo>
                    <a:pt x="243973" y="81889"/>
                    <a:pt x="246493" y="81889"/>
                    <a:pt x="247753" y="80629"/>
                  </a:cubicBezTo>
                  <a:cubicBezTo>
                    <a:pt x="250273" y="80629"/>
                    <a:pt x="252792" y="79369"/>
                    <a:pt x="254052" y="76849"/>
                  </a:cubicBezTo>
                  <a:cubicBezTo>
                    <a:pt x="254052" y="76849"/>
                    <a:pt x="255312" y="75589"/>
                    <a:pt x="255312" y="74330"/>
                  </a:cubicBezTo>
                  <a:cubicBezTo>
                    <a:pt x="256572" y="73070"/>
                    <a:pt x="257832" y="71810"/>
                    <a:pt x="257832" y="70550"/>
                  </a:cubicBezTo>
                  <a:cubicBezTo>
                    <a:pt x="257832" y="66771"/>
                    <a:pt x="257832" y="62991"/>
                    <a:pt x="257832" y="60472"/>
                  </a:cubicBezTo>
                  <a:cubicBezTo>
                    <a:pt x="257832" y="59212"/>
                    <a:pt x="257832" y="56692"/>
                    <a:pt x="257832" y="55432"/>
                  </a:cubicBezTo>
                  <a:cubicBezTo>
                    <a:pt x="257832" y="54173"/>
                    <a:pt x="257832" y="54173"/>
                    <a:pt x="257832" y="52913"/>
                  </a:cubicBezTo>
                  <a:cubicBezTo>
                    <a:pt x="257832" y="49133"/>
                    <a:pt x="257832" y="46614"/>
                    <a:pt x="257832" y="42834"/>
                  </a:cubicBezTo>
                  <a:lnTo>
                    <a:pt x="257832" y="40315"/>
                  </a:lnTo>
                  <a:lnTo>
                    <a:pt x="257832" y="36535"/>
                  </a:lnTo>
                  <a:cubicBezTo>
                    <a:pt x="257832" y="34015"/>
                    <a:pt x="257832" y="31496"/>
                    <a:pt x="257832" y="27716"/>
                  </a:cubicBezTo>
                  <a:cubicBezTo>
                    <a:pt x="257832" y="25196"/>
                    <a:pt x="257832" y="23937"/>
                    <a:pt x="257832" y="21417"/>
                  </a:cubicBezTo>
                  <a:cubicBezTo>
                    <a:pt x="257832" y="18897"/>
                    <a:pt x="257832" y="17637"/>
                    <a:pt x="257832" y="15118"/>
                  </a:cubicBezTo>
                  <a:cubicBezTo>
                    <a:pt x="257832" y="13858"/>
                    <a:pt x="257832" y="12598"/>
                    <a:pt x="256572" y="11338"/>
                  </a:cubicBezTo>
                  <a:cubicBezTo>
                    <a:pt x="256572" y="10079"/>
                    <a:pt x="256572" y="10079"/>
                    <a:pt x="255312" y="8819"/>
                  </a:cubicBezTo>
                  <a:cubicBezTo>
                    <a:pt x="255312" y="7559"/>
                    <a:pt x="255312" y="6299"/>
                    <a:pt x="255312" y="5039"/>
                  </a:cubicBezTo>
                  <a:cubicBezTo>
                    <a:pt x="256572" y="2520"/>
                    <a:pt x="255312" y="1260"/>
                    <a:pt x="252792" y="1260"/>
                  </a:cubicBezTo>
                  <a:moveTo>
                    <a:pt x="8386" y="65511"/>
                  </a:moveTo>
                  <a:cubicBezTo>
                    <a:pt x="9646" y="64251"/>
                    <a:pt x="10906" y="64251"/>
                    <a:pt x="12166" y="62991"/>
                  </a:cubicBezTo>
                  <a:cubicBezTo>
                    <a:pt x="13426" y="61731"/>
                    <a:pt x="14685" y="61731"/>
                    <a:pt x="15945" y="60472"/>
                  </a:cubicBezTo>
                  <a:lnTo>
                    <a:pt x="17205" y="60472"/>
                  </a:lnTo>
                  <a:cubicBezTo>
                    <a:pt x="18465" y="59212"/>
                    <a:pt x="19725" y="59212"/>
                    <a:pt x="20985" y="59212"/>
                  </a:cubicBezTo>
                  <a:lnTo>
                    <a:pt x="22244" y="57952"/>
                  </a:lnTo>
                  <a:cubicBezTo>
                    <a:pt x="23504" y="56692"/>
                    <a:pt x="26024" y="56692"/>
                    <a:pt x="28544" y="55432"/>
                  </a:cubicBezTo>
                  <a:cubicBezTo>
                    <a:pt x="31063" y="54173"/>
                    <a:pt x="33583" y="54173"/>
                    <a:pt x="34843" y="52913"/>
                  </a:cubicBezTo>
                  <a:cubicBezTo>
                    <a:pt x="32323" y="54173"/>
                    <a:pt x="28544" y="56692"/>
                    <a:pt x="26024" y="57952"/>
                  </a:cubicBezTo>
                  <a:lnTo>
                    <a:pt x="26024" y="57952"/>
                  </a:lnTo>
                  <a:cubicBezTo>
                    <a:pt x="22244" y="60472"/>
                    <a:pt x="19725" y="61731"/>
                    <a:pt x="15945" y="64251"/>
                  </a:cubicBezTo>
                  <a:cubicBezTo>
                    <a:pt x="14685" y="64251"/>
                    <a:pt x="13426" y="65511"/>
                    <a:pt x="12166" y="65511"/>
                  </a:cubicBezTo>
                  <a:cubicBezTo>
                    <a:pt x="10906" y="65511"/>
                    <a:pt x="9646" y="65511"/>
                    <a:pt x="8386" y="65511"/>
                  </a:cubicBezTo>
                </a:path>
              </a:pathLst>
            </a:custGeom>
            <a:solidFill>
              <a:srgbClr val="001675"/>
            </a:solidFill>
            <a:ln w="12584" cap="flat">
              <a:noFill/>
              <a:prstDash val="solid"/>
              <a:miter/>
            </a:ln>
          </p:spPr>
          <p:txBody>
            <a:bodyPr rtlCol="0" anchor="ctr"/>
            <a:lstStyle/>
            <a:p>
              <a:endParaRPr lang="zh-CN" altLang="en-US"/>
            </a:p>
          </p:txBody>
        </p:sp>
        <p:sp>
          <p:nvSpPr>
            <p:cNvPr id="216" name="任意多边形: 形状 215"/>
            <p:cNvSpPr/>
            <p:nvPr/>
          </p:nvSpPr>
          <p:spPr>
            <a:xfrm>
              <a:off x="9609131" y="4904508"/>
              <a:ext cx="42902" cy="25741"/>
            </a:xfrm>
            <a:custGeom>
              <a:avLst/>
              <a:gdLst>
                <a:gd name="connsiteX0" fmla="*/ 73070 w 62991"/>
                <a:gd name="connsiteY0" fmla="*/ 2863 h 37794"/>
                <a:gd name="connsiteX1" fmla="*/ 74330 w 62991"/>
                <a:gd name="connsiteY1" fmla="*/ 6642 h 37794"/>
                <a:gd name="connsiteX2" fmla="*/ 71810 w 62991"/>
                <a:gd name="connsiteY2" fmla="*/ 11682 h 37794"/>
                <a:gd name="connsiteX3" fmla="*/ 66771 w 62991"/>
                <a:gd name="connsiteY3" fmla="*/ 14202 h 37794"/>
                <a:gd name="connsiteX4" fmla="*/ 64251 w 62991"/>
                <a:gd name="connsiteY4" fmla="*/ 15461 h 37794"/>
                <a:gd name="connsiteX5" fmla="*/ 57952 w 62991"/>
                <a:gd name="connsiteY5" fmla="*/ 17981 h 37794"/>
                <a:gd name="connsiteX6" fmla="*/ 45354 w 62991"/>
                <a:gd name="connsiteY6" fmla="*/ 23020 h 37794"/>
                <a:gd name="connsiteX7" fmla="*/ 13858 w 62991"/>
                <a:gd name="connsiteY7" fmla="*/ 36878 h 37794"/>
                <a:gd name="connsiteX8" fmla="*/ 11339 w 62991"/>
                <a:gd name="connsiteY8" fmla="*/ 38138 h 37794"/>
                <a:gd name="connsiteX9" fmla="*/ 6299 w 62991"/>
                <a:gd name="connsiteY9" fmla="*/ 38138 h 37794"/>
                <a:gd name="connsiteX10" fmla="*/ 1260 w 62991"/>
                <a:gd name="connsiteY10" fmla="*/ 34358 h 37794"/>
                <a:gd name="connsiteX11" fmla="*/ 0 w 62991"/>
                <a:gd name="connsiteY11" fmla="*/ 28059 h 37794"/>
                <a:gd name="connsiteX12" fmla="*/ 3780 w 62991"/>
                <a:gd name="connsiteY12" fmla="*/ 23020 h 37794"/>
                <a:gd name="connsiteX13" fmla="*/ 35275 w 62991"/>
                <a:gd name="connsiteY13" fmla="*/ 10422 h 37794"/>
                <a:gd name="connsiteX14" fmla="*/ 62991 w 62991"/>
                <a:gd name="connsiteY14" fmla="*/ 343 h 37794"/>
                <a:gd name="connsiteX15" fmla="*/ 65511 w 62991"/>
                <a:gd name="connsiteY15" fmla="*/ 343 h 37794"/>
                <a:gd name="connsiteX16" fmla="*/ 73070 w 62991"/>
                <a:gd name="connsiteY16" fmla="*/ 2863 h 3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991" h="37794">
                  <a:moveTo>
                    <a:pt x="73070" y="2863"/>
                  </a:moveTo>
                  <a:cubicBezTo>
                    <a:pt x="73070" y="4123"/>
                    <a:pt x="74330" y="5383"/>
                    <a:pt x="74330" y="6642"/>
                  </a:cubicBezTo>
                  <a:cubicBezTo>
                    <a:pt x="74330" y="7902"/>
                    <a:pt x="73070" y="10422"/>
                    <a:pt x="71810" y="11682"/>
                  </a:cubicBezTo>
                  <a:cubicBezTo>
                    <a:pt x="70550" y="12942"/>
                    <a:pt x="69290" y="14202"/>
                    <a:pt x="66771" y="14202"/>
                  </a:cubicBezTo>
                  <a:cubicBezTo>
                    <a:pt x="65511" y="14202"/>
                    <a:pt x="64251" y="15461"/>
                    <a:pt x="64251" y="15461"/>
                  </a:cubicBezTo>
                  <a:cubicBezTo>
                    <a:pt x="61732" y="16721"/>
                    <a:pt x="60472" y="17981"/>
                    <a:pt x="57952" y="17981"/>
                  </a:cubicBezTo>
                  <a:cubicBezTo>
                    <a:pt x="54173" y="20501"/>
                    <a:pt x="50393" y="21760"/>
                    <a:pt x="45354" y="23020"/>
                  </a:cubicBezTo>
                  <a:cubicBezTo>
                    <a:pt x="35275" y="28059"/>
                    <a:pt x="23937" y="31839"/>
                    <a:pt x="13858" y="36878"/>
                  </a:cubicBezTo>
                  <a:cubicBezTo>
                    <a:pt x="12598" y="36878"/>
                    <a:pt x="12598" y="36878"/>
                    <a:pt x="11339" y="38138"/>
                  </a:cubicBezTo>
                  <a:cubicBezTo>
                    <a:pt x="10079" y="38138"/>
                    <a:pt x="8819" y="38138"/>
                    <a:pt x="6299" y="38138"/>
                  </a:cubicBezTo>
                  <a:cubicBezTo>
                    <a:pt x="3780" y="38138"/>
                    <a:pt x="2520" y="35618"/>
                    <a:pt x="1260" y="34358"/>
                  </a:cubicBezTo>
                  <a:cubicBezTo>
                    <a:pt x="0" y="31839"/>
                    <a:pt x="0" y="30579"/>
                    <a:pt x="0" y="28059"/>
                  </a:cubicBezTo>
                  <a:cubicBezTo>
                    <a:pt x="0" y="26800"/>
                    <a:pt x="2520" y="24280"/>
                    <a:pt x="3780" y="23020"/>
                  </a:cubicBezTo>
                  <a:cubicBezTo>
                    <a:pt x="13858" y="19241"/>
                    <a:pt x="25196" y="14202"/>
                    <a:pt x="35275" y="10422"/>
                  </a:cubicBezTo>
                  <a:cubicBezTo>
                    <a:pt x="44094" y="6642"/>
                    <a:pt x="52913" y="2863"/>
                    <a:pt x="62991" y="343"/>
                  </a:cubicBezTo>
                  <a:cubicBezTo>
                    <a:pt x="64251" y="343"/>
                    <a:pt x="64251" y="343"/>
                    <a:pt x="65511" y="343"/>
                  </a:cubicBezTo>
                  <a:cubicBezTo>
                    <a:pt x="69290" y="-917"/>
                    <a:pt x="71810" y="1603"/>
                    <a:pt x="73070" y="2863"/>
                  </a:cubicBezTo>
                </a:path>
              </a:pathLst>
            </a:custGeom>
            <a:solidFill>
              <a:srgbClr val="001675"/>
            </a:solidFill>
            <a:ln w="12584" cap="flat">
              <a:noFill/>
              <a:prstDash val="solid"/>
              <a:miter/>
            </a:ln>
          </p:spPr>
          <p:txBody>
            <a:bodyPr rtlCol="0" anchor="ctr"/>
            <a:lstStyle/>
            <a:p>
              <a:endParaRPr lang="zh-CN" altLang="en-US"/>
            </a:p>
          </p:txBody>
        </p:sp>
        <p:sp>
          <p:nvSpPr>
            <p:cNvPr id="217" name="任意多边形: 形状 216"/>
            <p:cNvSpPr/>
            <p:nvPr/>
          </p:nvSpPr>
          <p:spPr>
            <a:xfrm>
              <a:off x="9600551" y="4895304"/>
              <a:ext cx="154446" cy="34321"/>
            </a:xfrm>
            <a:custGeom>
              <a:avLst/>
              <a:gdLst>
                <a:gd name="connsiteX0" fmla="*/ 99526 w 226768"/>
                <a:gd name="connsiteY0" fmla="*/ 0 h 50392"/>
                <a:gd name="connsiteX1" fmla="*/ 99526 w 226768"/>
                <a:gd name="connsiteY1" fmla="*/ 0 h 50392"/>
                <a:gd name="connsiteX2" fmla="*/ 95747 w 226768"/>
                <a:gd name="connsiteY2" fmla="*/ 0 h 50392"/>
                <a:gd name="connsiteX3" fmla="*/ 68031 w 226768"/>
                <a:gd name="connsiteY3" fmla="*/ 10078 h 50392"/>
                <a:gd name="connsiteX4" fmla="*/ 56692 w 226768"/>
                <a:gd name="connsiteY4" fmla="*/ 15118 h 50392"/>
                <a:gd name="connsiteX5" fmla="*/ 46614 w 226768"/>
                <a:gd name="connsiteY5" fmla="*/ 18897 h 50392"/>
                <a:gd name="connsiteX6" fmla="*/ 23937 w 226768"/>
                <a:gd name="connsiteY6" fmla="*/ 28976 h 50392"/>
                <a:gd name="connsiteX7" fmla="*/ 12598 w 226768"/>
                <a:gd name="connsiteY7" fmla="*/ 35275 h 50392"/>
                <a:gd name="connsiteX8" fmla="*/ 7559 w 226768"/>
                <a:gd name="connsiteY8" fmla="*/ 39055 h 50392"/>
                <a:gd name="connsiteX9" fmla="*/ 2520 w 226768"/>
                <a:gd name="connsiteY9" fmla="*/ 42834 h 50392"/>
                <a:gd name="connsiteX10" fmla="*/ 0 w 226768"/>
                <a:gd name="connsiteY10" fmla="*/ 46614 h 50392"/>
                <a:gd name="connsiteX11" fmla="*/ 0 w 226768"/>
                <a:gd name="connsiteY11" fmla="*/ 49133 h 50392"/>
                <a:gd name="connsiteX12" fmla="*/ 0 w 226768"/>
                <a:gd name="connsiteY12" fmla="*/ 50393 h 50392"/>
                <a:gd name="connsiteX13" fmla="*/ 5040 w 226768"/>
                <a:gd name="connsiteY13" fmla="*/ 54172 h 50392"/>
                <a:gd name="connsiteX14" fmla="*/ 11339 w 226768"/>
                <a:gd name="connsiteY14" fmla="*/ 55432 h 50392"/>
                <a:gd name="connsiteX15" fmla="*/ 23937 w 226768"/>
                <a:gd name="connsiteY15" fmla="*/ 55432 h 50392"/>
                <a:gd name="connsiteX16" fmla="*/ 22677 w 226768"/>
                <a:gd name="connsiteY16" fmla="*/ 55432 h 50392"/>
                <a:gd name="connsiteX17" fmla="*/ 31496 w 226768"/>
                <a:gd name="connsiteY17" fmla="*/ 55432 h 50392"/>
                <a:gd name="connsiteX18" fmla="*/ 41574 w 226768"/>
                <a:gd name="connsiteY18" fmla="*/ 55432 h 50392"/>
                <a:gd name="connsiteX19" fmla="*/ 57952 w 226768"/>
                <a:gd name="connsiteY19" fmla="*/ 55432 h 50392"/>
                <a:gd name="connsiteX20" fmla="*/ 75589 w 226768"/>
                <a:gd name="connsiteY20" fmla="*/ 55432 h 50392"/>
                <a:gd name="connsiteX21" fmla="*/ 74330 w 226768"/>
                <a:gd name="connsiteY21" fmla="*/ 55432 h 50392"/>
                <a:gd name="connsiteX22" fmla="*/ 84408 w 226768"/>
                <a:gd name="connsiteY22" fmla="*/ 55432 h 50392"/>
                <a:gd name="connsiteX23" fmla="*/ 94487 w 226768"/>
                <a:gd name="connsiteY23" fmla="*/ 55432 h 50392"/>
                <a:gd name="connsiteX24" fmla="*/ 105825 w 226768"/>
                <a:gd name="connsiteY24" fmla="*/ 55432 h 50392"/>
                <a:gd name="connsiteX25" fmla="*/ 104566 w 226768"/>
                <a:gd name="connsiteY25" fmla="*/ 55432 h 50392"/>
                <a:gd name="connsiteX26" fmla="*/ 114644 w 226768"/>
                <a:gd name="connsiteY26" fmla="*/ 55432 h 50392"/>
                <a:gd name="connsiteX27" fmla="*/ 124723 w 226768"/>
                <a:gd name="connsiteY27" fmla="*/ 55432 h 50392"/>
                <a:gd name="connsiteX28" fmla="*/ 134801 w 226768"/>
                <a:gd name="connsiteY28" fmla="*/ 54172 h 50392"/>
                <a:gd name="connsiteX29" fmla="*/ 144880 w 226768"/>
                <a:gd name="connsiteY29" fmla="*/ 54172 h 50392"/>
                <a:gd name="connsiteX30" fmla="*/ 156218 w 226768"/>
                <a:gd name="connsiteY30" fmla="*/ 54172 h 50392"/>
                <a:gd name="connsiteX31" fmla="*/ 162518 w 226768"/>
                <a:gd name="connsiteY31" fmla="*/ 54172 h 50392"/>
                <a:gd name="connsiteX32" fmla="*/ 167557 w 226768"/>
                <a:gd name="connsiteY32" fmla="*/ 54172 h 50392"/>
                <a:gd name="connsiteX33" fmla="*/ 190233 w 226768"/>
                <a:gd name="connsiteY33" fmla="*/ 55432 h 50392"/>
                <a:gd name="connsiteX34" fmla="*/ 201572 w 226768"/>
                <a:gd name="connsiteY34" fmla="*/ 55432 h 50392"/>
                <a:gd name="connsiteX35" fmla="*/ 214170 w 226768"/>
                <a:gd name="connsiteY35" fmla="*/ 54172 h 50392"/>
                <a:gd name="connsiteX36" fmla="*/ 219210 w 226768"/>
                <a:gd name="connsiteY36" fmla="*/ 54172 h 50392"/>
                <a:gd name="connsiteX37" fmla="*/ 221729 w 226768"/>
                <a:gd name="connsiteY37" fmla="*/ 54172 h 50392"/>
                <a:gd name="connsiteX38" fmla="*/ 225509 w 226768"/>
                <a:gd name="connsiteY38" fmla="*/ 52913 h 50392"/>
                <a:gd name="connsiteX39" fmla="*/ 228028 w 226768"/>
                <a:gd name="connsiteY39" fmla="*/ 51653 h 50392"/>
                <a:gd name="connsiteX40" fmla="*/ 230548 w 226768"/>
                <a:gd name="connsiteY40" fmla="*/ 49133 h 50392"/>
                <a:gd name="connsiteX41" fmla="*/ 233067 w 226768"/>
                <a:gd name="connsiteY41" fmla="*/ 46614 h 50392"/>
                <a:gd name="connsiteX42" fmla="*/ 236847 w 226768"/>
                <a:gd name="connsiteY42" fmla="*/ 41574 h 50392"/>
                <a:gd name="connsiteX43" fmla="*/ 238107 w 226768"/>
                <a:gd name="connsiteY43" fmla="*/ 39055 h 50392"/>
                <a:gd name="connsiteX44" fmla="*/ 236847 w 226768"/>
                <a:gd name="connsiteY44" fmla="*/ 36535 h 50392"/>
                <a:gd name="connsiteX45" fmla="*/ 234327 w 226768"/>
                <a:gd name="connsiteY45" fmla="*/ 35275 h 50392"/>
                <a:gd name="connsiteX46" fmla="*/ 231808 w 226768"/>
                <a:gd name="connsiteY46" fmla="*/ 36535 h 50392"/>
                <a:gd name="connsiteX47" fmla="*/ 228028 w 226768"/>
                <a:gd name="connsiteY47" fmla="*/ 41574 h 50392"/>
                <a:gd name="connsiteX48" fmla="*/ 226768 w 226768"/>
                <a:gd name="connsiteY48" fmla="*/ 44094 h 50392"/>
                <a:gd name="connsiteX49" fmla="*/ 225509 w 226768"/>
                <a:gd name="connsiteY49" fmla="*/ 46614 h 50392"/>
                <a:gd name="connsiteX50" fmla="*/ 224249 w 226768"/>
                <a:gd name="connsiteY50" fmla="*/ 46614 h 50392"/>
                <a:gd name="connsiteX51" fmla="*/ 222989 w 226768"/>
                <a:gd name="connsiteY51" fmla="*/ 46614 h 50392"/>
                <a:gd name="connsiteX52" fmla="*/ 214170 w 226768"/>
                <a:gd name="connsiteY52" fmla="*/ 47873 h 50392"/>
                <a:gd name="connsiteX53" fmla="*/ 204092 w 226768"/>
                <a:gd name="connsiteY53" fmla="*/ 47873 h 50392"/>
                <a:gd name="connsiteX54" fmla="*/ 183934 w 226768"/>
                <a:gd name="connsiteY54" fmla="*/ 47873 h 50392"/>
                <a:gd name="connsiteX55" fmla="*/ 168817 w 226768"/>
                <a:gd name="connsiteY55" fmla="*/ 47873 h 50392"/>
                <a:gd name="connsiteX56" fmla="*/ 152439 w 226768"/>
                <a:gd name="connsiteY56" fmla="*/ 47873 h 50392"/>
                <a:gd name="connsiteX57" fmla="*/ 153699 w 226768"/>
                <a:gd name="connsiteY57" fmla="*/ 47873 h 50392"/>
                <a:gd name="connsiteX58" fmla="*/ 151179 w 226768"/>
                <a:gd name="connsiteY58" fmla="*/ 47873 h 50392"/>
                <a:gd name="connsiteX59" fmla="*/ 138581 w 226768"/>
                <a:gd name="connsiteY59" fmla="*/ 47873 h 50392"/>
                <a:gd name="connsiteX60" fmla="*/ 125982 w 226768"/>
                <a:gd name="connsiteY60" fmla="*/ 49133 h 50392"/>
                <a:gd name="connsiteX61" fmla="*/ 113384 w 226768"/>
                <a:gd name="connsiteY61" fmla="*/ 49133 h 50392"/>
                <a:gd name="connsiteX62" fmla="*/ 102046 w 226768"/>
                <a:gd name="connsiteY62" fmla="*/ 49133 h 50392"/>
                <a:gd name="connsiteX63" fmla="*/ 91967 w 226768"/>
                <a:gd name="connsiteY63" fmla="*/ 49133 h 50392"/>
                <a:gd name="connsiteX64" fmla="*/ 80629 w 226768"/>
                <a:gd name="connsiteY64" fmla="*/ 49133 h 50392"/>
                <a:gd name="connsiteX65" fmla="*/ 81889 w 226768"/>
                <a:gd name="connsiteY65" fmla="*/ 49133 h 50392"/>
                <a:gd name="connsiteX66" fmla="*/ 66771 w 226768"/>
                <a:gd name="connsiteY66" fmla="*/ 49133 h 50392"/>
                <a:gd name="connsiteX67" fmla="*/ 59212 w 226768"/>
                <a:gd name="connsiteY67" fmla="*/ 49133 h 50392"/>
                <a:gd name="connsiteX68" fmla="*/ 52913 w 226768"/>
                <a:gd name="connsiteY68" fmla="*/ 49133 h 50392"/>
                <a:gd name="connsiteX69" fmla="*/ 41574 w 226768"/>
                <a:gd name="connsiteY69" fmla="*/ 49133 h 50392"/>
                <a:gd name="connsiteX70" fmla="*/ 35275 w 226768"/>
                <a:gd name="connsiteY70" fmla="*/ 49133 h 50392"/>
                <a:gd name="connsiteX71" fmla="*/ 30236 w 226768"/>
                <a:gd name="connsiteY71" fmla="*/ 49133 h 50392"/>
                <a:gd name="connsiteX72" fmla="*/ 25196 w 226768"/>
                <a:gd name="connsiteY72" fmla="*/ 49133 h 50392"/>
                <a:gd name="connsiteX73" fmla="*/ 18897 w 226768"/>
                <a:gd name="connsiteY73" fmla="*/ 49133 h 50392"/>
                <a:gd name="connsiteX74" fmla="*/ 16378 w 226768"/>
                <a:gd name="connsiteY74" fmla="*/ 49133 h 50392"/>
                <a:gd name="connsiteX75" fmla="*/ 18897 w 226768"/>
                <a:gd name="connsiteY75" fmla="*/ 47873 h 50392"/>
                <a:gd name="connsiteX76" fmla="*/ 26456 w 226768"/>
                <a:gd name="connsiteY76" fmla="*/ 42834 h 50392"/>
                <a:gd name="connsiteX77" fmla="*/ 35275 w 226768"/>
                <a:gd name="connsiteY77" fmla="*/ 39055 h 50392"/>
                <a:gd name="connsiteX78" fmla="*/ 54173 w 226768"/>
                <a:gd name="connsiteY78" fmla="*/ 31496 h 50392"/>
                <a:gd name="connsiteX79" fmla="*/ 78109 w 226768"/>
                <a:gd name="connsiteY79" fmla="*/ 22677 h 50392"/>
                <a:gd name="connsiteX80" fmla="*/ 100786 w 226768"/>
                <a:gd name="connsiteY80" fmla="*/ 12598 h 50392"/>
                <a:gd name="connsiteX81" fmla="*/ 103306 w 226768"/>
                <a:gd name="connsiteY81" fmla="*/ 7559 h 50392"/>
                <a:gd name="connsiteX82" fmla="*/ 99526 w 226768"/>
                <a:gd name="connsiteY82" fmla="*/ 0 h 50392"/>
                <a:gd name="connsiteX83" fmla="*/ 17638 w 226768"/>
                <a:gd name="connsiteY83" fmla="*/ 44094 h 50392"/>
                <a:gd name="connsiteX84" fmla="*/ 17638 w 226768"/>
                <a:gd name="connsiteY84" fmla="*/ 44094 h 50392"/>
                <a:gd name="connsiteX85" fmla="*/ 17638 w 226768"/>
                <a:gd name="connsiteY85" fmla="*/ 44094 h 50392"/>
                <a:gd name="connsiteX86" fmla="*/ 7559 w 226768"/>
                <a:gd name="connsiteY86" fmla="*/ 44094 h 50392"/>
                <a:gd name="connsiteX87" fmla="*/ 7559 w 226768"/>
                <a:gd name="connsiteY87" fmla="*/ 44094 h 50392"/>
                <a:gd name="connsiteX88" fmla="*/ 7559 w 226768"/>
                <a:gd name="connsiteY88" fmla="*/ 44094 h 50392"/>
                <a:gd name="connsiteX89" fmla="*/ 85668 w 226768"/>
                <a:gd name="connsiteY89" fmla="*/ 54172 h 50392"/>
                <a:gd name="connsiteX90" fmla="*/ 85668 w 226768"/>
                <a:gd name="connsiteY90" fmla="*/ 54172 h 50392"/>
                <a:gd name="connsiteX91" fmla="*/ 85668 w 226768"/>
                <a:gd name="connsiteY91" fmla="*/ 54172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26768" h="50392">
                  <a:moveTo>
                    <a:pt x="99526" y="0"/>
                  </a:moveTo>
                  <a:cubicBezTo>
                    <a:pt x="99526" y="0"/>
                    <a:pt x="98266" y="0"/>
                    <a:pt x="99526" y="0"/>
                  </a:cubicBezTo>
                  <a:cubicBezTo>
                    <a:pt x="98266" y="0"/>
                    <a:pt x="97007" y="0"/>
                    <a:pt x="95747" y="0"/>
                  </a:cubicBezTo>
                  <a:cubicBezTo>
                    <a:pt x="86928" y="2520"/>
                    <a:pt x="78109" y="6299"/>
                    <a:pt x="68031" y="10078"/>
                  </a:cubicBezTo>
                  <a:cubicBezTo>
                    <a:pt x="64251" y="11338"/>
                    <a:pt x="60472" y="12598"/>
                    <a:pt x="56692" y="15118"/>
                  </a:cubicBezTo>
                  <a:cubicBezTo>
                    <a:pt x="52913" y="16378"/>
                    <a:pt x="49133" y="17637"/>
                    <a:pt x="46614" y="18897"/>
                  </a:cubicBezTo>
                  <a:cubicBezTo>
                    <a:pt x="39055" y="22677"/>
                    <a:pt x="31496" y="25196"/>
                    <a:pt x="23937" y="28976"/>
                  </a:cubicBezTo>
                  <a:cubicBezTo>
                    <a:pt x="20157" y="31496"/>
                    <a:pt x="16378" y="32755"/>
                    <a:pt x="12598" y="35275"/>
                  </a:cubicBezTo>
                  <a:cubicBezTo>
                    <a:pt x="11339" y="36535"/>
                    <a:pt x="8819" y="37795"/>
                    <a:pt x="7559" y="39055"/>
                  </a:cubicBezTo>
                  <a:cubicBezTo>
                    <a:pt x="6299" y="40315"/>
                    <a:pt x="3780" y="41574"/>
                    <a:pt x="2520" y="42834"/>
                  </a:cubicBezTo>
                  <a:cubicBezTo>
                    <a:pt x="1260" y="44094"/>
                    <a:pt x="0" y="45354"/>
                    <a:pt x="0" y="46614"/>
                  </a:cubicBezTo>
                  <a:cubicBezTo>
                    <a:pt x="0" y="47873"/>
                    <a:pt x="0" y="47873"/>
                    <a:pt x="0" y="49133"/>
                  </a:cubicBezTo>
                  <a:cubicBezTo>
                    <a:pt x="0" y="49133"/>
                    <a:pt x="0" y="50393"/>
                    <a:pt x="0" y="50393"/>
                  </a:cubicBezTo>
                  <a:cubicBezTo>
                    <a:pt x="1260" y="51653"/>
                    <a:pt x="2520" y="52913"/>
                    <a:pt x="5040" y="54172"/>
                  </a:cubicBezTo>
                  <a:cubicBezTo>
                    <a:pt x="6299" y="54172"/>
                    <a:pt x="8819" y="55432"/>
                    <a:pt x="11339" y="55432"/>
                  </a:cubicBezTo>
                  <a:cubicBezTo>
                    <a:pt x="15118" y="55432"/>
                    <a:pt x="18897" y="55432"/>
                    <a:pt x="23937" y="55432"/>
                  </a:cubicBezTo>
                  <a:cubicBezTo>
                    <a:pt x="23937" y="55432"/>
                    <a:pt x="22677" y="55432"/>
                    <a:pt x="22677" y="55432"/>
                  </a:cubicBezTo>
                  <a:cubicBezTo>
                    <a:pt x="25196" y="55432"/>
                    <a:pt x="28976" y="55432"/>
                    <a:pt x="31496" y="55432"/>
                  </a:cubicBezTo>
                  <a:cubicBezTo>
                    <a:pt x="35275" y="55432"/>
                    <a:pt x="37795" y="55432"/>
                    <a:pt x="41574" y="55432"/>
                  </a:cubicBezTo>
                  <a:cubicBezTo>
                    <a:pt x="46614" y="55432"/>
                    <a:pt x="52913" y="55432"/>
                    <a:pt x="57952" y="55432"/>
                  </a:cubicBezTo>
                  <a:cubicBezTo>
                    <a:pt x="64251" y="55432"/>
                    <a:pt x="70550" y="55432"/>
                    <a:pt x="75589" y="55432"/>
                  </a:cubicBezTo>
                  <a:cubicBezTo>
                    <a:pt x="75589" y="55432"/>
                    <a:pt x="75589" y="55432"/>
                    <a:pt x="74330" y="55432"/>
                  </a:cubicBezTo>
                  <a:cubicBezTo>
                    <a:pt x="78109" y="55432"/>
                    <a:pt x="80629" y="55432"/>
                    <a:pt x="84408" y="55432"/>
                  </a:cubicBezTo>
                  <a:cubicBezTo>
                    <a:pt x="88188" y="55432"/>
                    <a:pt x="90707" y="55432"/>
                    <a:pt x="94487" y="55432"/>
                  </a:cubicBezTo>
                  <a:cubicBezTo>
                    <a:pt x="98266" y="55432"/>
                    <a:pt x="102046" y="55432"/>
                    <a:pt x="105825" y="55432"/>
                  </a:cubicBezTo>
                  <a:lnTo>
                    <a:pt x="104566" y="55432"/>
                  </a:lnTo>
                  <a:cubicBezTo>
                    <a:pt x="108345" y="55432"/>
                    <a:pt x="110865" y="55432"/>
                    <a:pt x="114644" y="55432"/>
                  </a:cubicBezTo>
                  <a:cubicBezTo>
                    <a:pt x="118424" y="55432"/>
                    <a:pt x="122203" y="55432"/>
                    <a:pt x="124723" y="55432"/>
                  </a:cubicBezTo>
                  <a:cubicBezTo>
                    <a:pt x="128502" y="55432"/>
                    <a:pt x="131022" y="55432"/>
                    <a:pt x="134801" y="54172"/>
                  </a:cubicBezTo>
                  <a:cubicBezTo>
                    <a:pt x="138581" y="54172"/>
                    <a:pt x="141100" y="54172"/>
                    <a:pt x="144880" y="54172"/>
                  </a:cubicBezTo>
                  <a:cubicBezTo>
                    <a:pt x="148659" y="54172"/>
                    <a:pt x="152439" y="54172"/>
                    <a:pt x="156218" y="54172"/>
                  </a:cubicBezTo>
                  <a:cubicBezTo>
                    <a:pt x="158738" y="54172"/>
                    <a:pt x="159998" y="54172"/>
                    <a:pt x="162518" y="54172"/>
                  </a:cubicBezTo>
                  <a:cubicBezTo>
                    <a:pt x="163777" y="54172"/>
                    <a:pt x="166297" y="54172"/>
                    <a:pt x="167557" y="54172"/>
                  </a:cubicBezTo>
                  <a:cubicBezTo>
                    <a:pt x="175116" y="54172"/>
                    <a:pt x="182674" y="55432"/>
                    <a:pt x="190233" y="55432"/>
                  </a:cubicBezTo>
                  <a:cubicBezTo>
                    <a:pt x="194013" y="55432"/>
                    <a:pt x="197792" y="55432"/>
                    <a:pt x="201572" y="55432"/>
                  </a:cubicBezTo>
                  <a:cubicBezTo>
                    <a:pt x="205351" y="55432"/>
                    <a:pt x="210391" y="55432"/>
                    <a:pt x="214170" y="54172"/>
                  </a:cubicBezTo>
                  <a:cubicBezTo>
                    <a:pt x="215430" y="54172"/>
                    <a:pt x="217950" y="54172"/>
                    <a:pt x="219210" y="54172"/>
                  </a:cubicBezTo>
                  <a:cubicBezTo>
                    <a:pt x="220469" y="54172"/>
                    <a:pt x="220469" y="54172"/>
                    <a:pt x="221729" y="54172"/>
                  </a:cubicBezTo>
                  <a:cubicBezTo>
                    <a:pt x="222989" y="54172"/>
                    <a:pt x="224249" y="54172"/>
                    <a:pt x="225509" y="52913"/>
                  </a:cubicBezTo>
                  <a:cubicBezTo>
                    <a:pt x="226768" y="52913"/>
                    <a:pt x="226768" y="51653"/>
                    <a:pt x="228028" y="51653"/>
                  </a:cubicBezTo>
                  <a:cubicBezTo>
                    <a:pt x="229288" y="50393"/>
                    <a:pt x="229288" y="50393"/>
                    <a:pt x="230548" y="49133"/>
                  </a:cubicBezTo>
                  <a:cubicBezTo>
                    <a:pt x="230548" y="47873"/>
                    <a:pt x="231808" y="47873"/>
                    <a:pt x="233067" y="46614"/>
                  </a:cubicBezTo>
                  <a:cubicBezTo>
                    <a:pt x="234327" y="45354"/>
                    <a:pt x="235587" y="42834"/>
                    <a:pt x="236847" y="41574"/>
                  </a:cubicBezTo>
                  <a:cubicBezTo>
                    <a:pt x="238107" y="40315"/>
                    <a:pt x="238107" y="39055"/>
                    <a:pt x="238107" y="39055"/>
                  </a:cubicBezTo>
                  <a:cubicBezTo>
                    <a:pt x="238107" y="37795"/>
                    <a:pt x="236847" y="36535"/>
                    <a:pt x="236847" y="36535"/>
                  </a:cubicBezTo>
                  <a:cubicBezTo>
                    <a:pt x="235587" y="36535"/>
                    <a:pt x="234327" y="35275"/>
                    <a:pt x="234327" y="35275"/>
                  </a:cubicBezTo>
                  <a:cubicBezTo>
                    <a:pt x="233067" y="35275"/>
                    <a:pt x="231808" y="36535"/>
                    <a:pt x="231808" y="36535"/>
                  </a:cubicBezTo>
                  <a:cubicBezTo>
                    <a:pt x="230548" y="37795"/>
                    <a:pt x="229288" y="40315"/>
                    <a:pt x="228028" y="41574"/>
                  </a:cubicBezTo>
                  <a:cubicBezTo>
                    <a:pt x="226768" y="42834"/>
                    <a:pt x="226768" y="42834"/>
                    <a:pt x="226768" y="44094"/>
                  </a:cubicBezTo>
                  <a:cubicBezTo>
                    <a:pt x="226768" y="45354"/>
                    <a:pt x="225509" y="45354"/>
                    <a:pt x="225509" y="46614"/>
                  </a:cubicBezTo>
                  <a:cubicBezTo>
                    <a:pt x="225509" y="46614"/>
                    <a:pt x="225509" y="46614"/>
                    <a:pt x="224249" y="46614"/>
                  </a:cubicBezTo>
                  <a:cubicBezTo>
                    <a:pt x="224249" y="46614"/>
                    <a:pt x="222989" y="46614"/>
                    <a:pt x="222989" y="46614"/>
                  </a:cubicBezTo>
                  <a:cubicBezTo>
                    <a:pt x="220469" y="47873"/>
                    <a:pt x="216690" y="47873"/>
                    <a:pt x="214170" y="47873"/>
                  </a:cubicBezTo>
                  <a:cubicBezTo>
                    <a:pt x="210391" y="47873"/>
                    <a:pt x="206611" y="47873"/>
                    <a:pt x="204092" y="47873"/>
                  </a:cubicBezTo>
                  <a:cubicBezTo>
                    <a:pt x="197792" y="47873"/>
                    <a:pt x="190233" y="47873"/>
                    <a:pt x="183934" y="47873"/>
                  </a:cubicBezTo>
                  <a:cubicBezTo>
                    <a:pt x="178895" y="47873"/>
                    <a:pt x="173856" y="47873"/>
                    <a:pt x="168817" y="47873"/>
                  </a:cubicBezTo>
                  <a:cubicBezTo>
                    <a:pt x="163777" y="47873"/>
                    <a:pt x="157478" y="47873"/>
                    <a:pt x="152439" y="47873"/>
                  </a:cubicBezTo>
                  <a:lnTo>
                    <a:pt x="153699" y="47873"/>
                  </a:lnTo>
                  <a:cubicBezTo>
                    <a:pt x="152439" y="47873"/>
                    <a:pt x="152439" y="47873"/>
                    <a:pt x="151179" y="47873"/>
                  </a:cubicBezTo>
                  <a:cubicBezTo>
                    <a:pt x="147399" y="47873"/>
                    <a:pt x="142360" y="47873"/>
                    <a:pt x="138581" y="47873"/>
                  </a:cubicBezTo>
                  <a:cubicBezTo>
                    <a:pt x="134801" y="47873"/>
                    <a:pt x="131022" y="47873"/>
                    <a:pt x="125982" y="49133"/>
                  </a:cubicBezTo>
                  <a:cubicBezTo>
                    <a:pt x="122203" y="49133"/>
                    <a:pt x="118424" y="49133"/>
                    <a:pt x="113384" y="49133"/>
                  </a:cubicBezTo>
                  <a:cubicBezTo>
                    <a:pt x="109605" y="49133"/>
                    <a:pt x="105825" y="49133"/>
                    <a:pt x="102046" y="49133"/>
                  </a:cubicBezTo>
                  <a:cubicBezTo>
                    <a:pt x="98266" y="49133"/>
                    <a:pt x="94487" y="49133"/>
                    <a:pt x="91967" y="49133"/>
                  </a:cubicBezTo>
                  <a:cubicBezTo>
                    <a:pt x="88188" y="49133"/>
                    <a:pt x="84408" y="49133"/>
                    <a:pt x="80629" y="49133"/>
                  </a:cubicBezTo>
                  <a:cubicBezTo>
                    <a:pt x="80629" y="49133"/>
                    <a:pt x="80629" y="49133"/>
                    <a:pt x="81889" y="49133"/>
                  </a:cubicBezTo>
                  <a:cubicBezTo>
                    <a:pt x="76849" y="49133"/>
                    <a:pt x="71810" y="49133"/>
                    <a:pt x="66771" y="49133"/>
                  </a:cubicBezTo>
                  <a:cubicBezTo>
                    <a:pt x="64251" y="49133"/>
                    <a:pt x="61732" y="49133"/>
                    <a:pt x="59212" y="49133"/>
                  </a:cubicBezTo>
                  <a:cubicBezTo>
                    <a:pt x="56692" y="49133"/>
                    <a:pt x="55433" y="49133"/>
                    <a:pt x="52913" y="49133"/>
                  </a:cubicBezTo>
                  <a:cubicBezTo>
                    <a:pt x="49133" y="49133"/>
                    <a:pt x="45354" y="49133"/>
                    <a:pt x="41574" y="49133"/>
                  </a:cubicBezTo>
                  <a:cubicBezTo>
                    <a:pt x="39055" y="49133"/>
                    <a:pt x="37795" y="49133"/>
                    <a:pt x="35275" y="49133"/>
                  </a:cubicBezTo>
                  <a:cubicBezTo>
                    <a:pt x="34015" y="49133"/>
                    <a:pt x="31496" y="49133"/>
                    <a:pt x="30236" y="49133"/>
                  </a:cubicBezTo>
                  <a:cubicBezTo>
                    <a:pt x="28976" y="49133"/>
                    <a:pt x="26456" y="49133"/>
                    <a:pt x="25196" y="49133"/>
                  </a:cubicBezTo>
                  <a:cubicBezTo>
                    <a:pt x="22677" y="49133"/>
                    <a:pt x="21417" y="49133"/>
                    <a:pt x="18897" y="49133"/>
                  </a:cubicBezTo>
                  <a:cubicBezTo>
                    <a:pt x="17638" y="49133"/>
                    <a:pt x="17638" y="49133"/>
                    <a:pt x="16378" y="49133"/>
                  </a:cubicBezTo>
                  <a:cubicBezTo>
                    <a:pt x="17638" y="49133"/>
                    <a:pt x="17638" y="47873"/>
                    <a:pt x="18897" y="47873"/>
                  </a:cubicBezTo>
                  <a:cubicBezTo>
                    <a:pt x="21417" y="46614"/>
                    <a:pt x="23937" y="45354"/>
                    <a:pt x="26456" y="42834"/>
                  </a:cubicBezTo>
                  <a:cubicBezTo>
                    <a:pt x="28976" y="41574"/>
                    <a:pt x="32755" y="40315"/>
                    <a:pt x="35275" y="39055"/>
                  </a:cubicBezTo>
                  <a:cubicBezTo>
                    <a:pt x="41574" y="36535"/>
                    <a:pt x="47874" y="34015"/>
                    <a:pt x="54173" y="31496"/>
                  </a:cubicBezTo>
                  <a:cubicBezTo>
                    <a:pt x="61732" y="27716"/>
                    <a:pt x="69290" y="25196"/>
                    <a:pt x="78109" y="22677"/>
                  </a:cubicBezTo>
                  <a:cubicBezTo>
                    <a:pt x="85668" y="20157"/>
                    <a:pt x="93227" y="16378"/>
                    <a:pt x="100786" y="12598"/>
                  </a:cubicBezTo>
                  <a:cubicBezTo>
                    <a:pt x="103306" y="11338"/>
                    <a:pt x="103306" y="8819"/>
                    <a:pt x="103306" y="7559"/>
                  </a:cubicBezTo>
                  <a:cubicBezTo>
                    <a:pt x="100786" y="1260"/>
                    <a:pt x="100786" y="1260"/>
                    <a:pt x="99526" y="0"/>
                  </a:cubicBezTo>
                  <a:moveTo>
                    <a:pt x="17638" y="44094"/>
                  </a:moveTo>
                  <a:cubicBezTo>
                    <a:pt x="16378" y="44094"/>
                    <a:pt x="16378" y="44094"/>
                    <a:pt x="17638" y="44094"/>
                  </a:cubicBezTo>
                  <a:cubicBezTo>
                    <a:pt x="16378" y="44094"/>
                    <a:pt x="16378" y="44094"/>
                    <a:pt x="17638" y="44094"/>
                  </a:cubicBezTo>
                  <a:moveTo>
                    <a:pt x="7559" y="44094"/>
                  </a:moveTo>
                  <a:cubicBezTo>
                    <a:pt x="7559" y="44094"/>
                    <a:pt x="7559" y="44094"/>
                    <a:pt x="7559" y="44094"/>
                  </a:cubicBezTo>
                  <a:cubicBezTo>
                    <a:pt x="7559" y="44094"/>
                    <a:pt x="7559" y="44094"/>
                    <a:pt x="7559" y="44094"/>
                  </a:cubicBezTo>
                  <a:moveTo>
                    <a:pt x="85668" y="54172"/>
                  </a:moveTo>
                  <a:cubicBezTo>
                    <a:pt x="85668" y="54172"/>
                    <a:pt x="85668" y="54172"/>
                    <a:pt x="85668" y="54172"/>
                  </a:cubicBezTo>
                  <a:cubicBezTo>
                    <a:pt x="85668" y="54172"/>
                    <a:pt x="85668" y="54172"/>
                    <a:pt x="85668" y="54172"/>
                  </a:cubicBezTo>
                </a:path>
              </a:pathLst>
            </a:custGeom>
            <a:solidFill>
              <a:srgbClr val="001675"/>
            </a:solidFill>
            <a:ln w="12584" cap="flat">
              <a:noFill/>
              <a:prstDash val="solid"/>
              <a:miter/>
            </a:ln>
          </p:spPr>
          <p:txBody>
            <a:bodyPr rtlCol="0" anchor="ctr"/>
            <a:lstStyle/>
            <a:p>
              <a:endParaRPr lang="zh-CN" altLang="en-US"/>
            </a:p>
          </p:txBody>
        </p:sp>
        <p:sp>
          <p:nvSpPr>
            <p:cNvPr id="218" name="任意多边形: 形状 217"/>
            <p:cNvSpPr/>
            <p:nvPr/>
          </p:nvSpPr>
          <p:spPr>
            <a:xfrm>
              <a:off x="9645690" y="4872136"/>
              <a:ext cx="137286" cy="34321"/>
            </a:xfrm>
            <a:custGeom>
              <a:avLst/>
              <a:gdLst>
                <a:gd name="connsiteX0" fmla="*/ 191987 w 201571"/>
                <a:gd name="connsiteY0" fmla="*/ 2520 h 50392"/>
                <a:gd name="connsiteX1" fmla="*/ 198286 w 201571"/>
                <a:gd name="connsiteY1" fmla="*/ 3780 h 50392"/>
                <a:gd name="connsiteX2" fmla="*/ 204585 w 201571"/>
                <a:gd name="connsiteY2" fmla="*/ 5040 h 50392"/>
                <a:gd name="connsiteX3" fmla="*/ 208365 w 201571"/>
                <a:gd name="connsiteY3" fmla="*/ 6299 h 50392"/>
                <a:gd name="connsiteX4" fmla="*/ 209625 w 201571"/>
                <a:gd name="connsiteY4" fmla="*/ 8819 h 50392"/>
                <a:gd name="connsiteX5" fmla="*/ 209625 w 201571"/>
                <a:gd name="connsiteY5" fmla="*/ 10079 h 50392"/>
                <a:gd name="connsiteX6" fmla="*/ 210885 w 201571"/>
                <a:gd name="connsiteY6" fmla="*/ 16378 h 50392"/>
                <a:gd name="connsiteX7" fmla="*/ 210885 w 201571"/>
                <a:gd name="connsiteY7" fmla="*/ 23937 h 50392"/>
                <a:gd name="connsiteX8" fmla="*/ 210885 w 201571"/>
                <a:gd name="connsiteY8" fmla="*/ 28976 h 50392"/>
                <a:gd name="connsiteX9" fmla="*/ 209625 w 201571"/>
                <a:gd name="connsiteY9" fmla="*/ 34015 h 50392"/>
                <a:gd name="connsiteX10" fmla="*/ 205845 w 201571"/>
                <a:gd name="connsiteY10" fmla="*/ 37795 h 50392"/>
                <a:gd name="connsiteX11" fmla="*/ 202066 w 201571"/>
                <a:gd name="connsiteY11" fmla="*/ 36535 h 50392"/>
                <a:gd name="connsiteX12" fmla="*/ 200806 w 201571"/>
                <a:gd name="connsiteY12" fmla="*/ 34015 h 50392"/>
                <a:gd name="connsiteX13" fmla="*/ 200806 w 201571"/>
                <a:gd name="connsiteY13" fmla="*/ 23937 h 50392"/>
                <a:gd name="connsiteX14" fmla="*/ 200806 w 201571"/>
                <a:gd name="connsiteY14" fmla="*/ 15118 h 50392"/>
                <a:gd name="connsiteX15" fmla="*/ 200806 w 201571"/>
                <a:gd name="connsiteY15" fmla="*/ 13858 h 50392"/>
                <a:gd name="connsiteX16" fmla="*/ 200806 w 201571"/>
                <a:gd name="connsiteY16" fmla="*/ 13858 h 50392"/>
                <a:gd name="connsiteX17" fmla="*/ 194507 w 201571"/>
                <a:gd name="connsiteY17" fmla="*/ 12598 h 50392"/>
                <a:gd name="connsiteX18" fmla="*/ 186948 w 201571"/>
                <a:gd name="connsiteY18" fmla="*/ 11339 h 50392"/>
                <a:gd name="connsiteX19" fmla="*/ 179389 w 201571"/>
                <a:gd name="connsiteY19" fmla="*/ 11339 h 50392"/>
                <a:gd name="connsiteX20" fmla="*/ 171830 w 201571"/>
                <a:gd name="connsiteY20" fmla="*/ 11339 h 50392"/>
                <a:gd name="connsiteX21" fmla="*/ 157972 w 201571"/>
                <a:gd name="connsiteY21" fmla="*/ 11339 h 50392"/>
                <a:gd name="connsiteX22" fmla="*/ 145374 w 201571"/>
                <a:gd name="connsiteY22" fmla="*/ 11339 h 50392"/>
                <a:gd name="connsiteX23" fmla="*/ 142854 w 201571"/>
                <a:gd name="connsiteY23" fmla="*/ 11339 h 50392"/>
                <a:gd name="connsiteX24" fmla="*/ 127736 w 201571"/>
                <a:gd name="connsiteY24" fmla="*/ 11339 h 50392"/>
                <a:gd name="connsiteX25" fmla="*/ 118918 w 201571"/>
                <a:gd name="connsiteY25" fmla="*/ 11339 h 50392"/>
                <a:gd name="connsiteX26" fmla="*/ 112618 w 201571"/>
                <a:gd name="connsiteY26" fmla="*/ 11339 h 50392"/>
                <a:gd name="connsiteX27" fmla="*/ 108839 w 201571"/>
                <a:gd name="connsiteY27" fmla="*/ 11339 h 50392"/>
                <a:gd name="connsiteX28" fmla="*/ 97500 w 201571"/>
                <a:gd name="connsiteY28" fmla="*/ 15118 h 50392"/>
                <a:gd name="connsiteX29" fmla="*/ 91201 w 201571"/>
                <a:gd name="connsiteY29" fmla="*/ 17638 h 50392"/>
                <a:gd name="connsiteX30" fmla="*/ 84902 w 201571"/>
                <a:gd name="connsiteY30" fmla="*/ 20157 h 50392"/>
                <a:gd name="connsiteX31" fmla="*/ 78603 w 201571"/>
                <a:gd name="connsiteY31" fmla="*/ 22677 h 50392"/>
                <a:gd name="connsiteX32" fmla="*/ 72304 w 201571"/>
                <a:gd name="connsiteY32" fmla="*/ 25196 h 50392"/>
                <a:gd name="connsiteX33" fmla="*/ 64745 w 201571"/>
                <a:gd name="connsiteY33" fmla="*/ 27716 h 50392"/>
                <a:gd name="connsiteX34" fmla="*/ 58446 w 201571"/>
                <a:gd name="connsiteY34" fmla="*/ 30236 h 50392"/>
                <a:gd name="connsiteX35" fmla="*/ 31990 w 201571"/>
                <a:gd name="connsiteY35" fmla="*/ 41574 h 50392"/>
                <a:gd name="connsiteX36" fmla="*/ 19392 w 201571"/>
                <a:gd name="connsiteY36" fmla="*/ 46614 h 50392"/>
                <a:gd name="connsiteX37" fmla="*/ 5533 w 201571"/>
                <a:gd name="connsiteY37" fmla="*/ 52913 h 50392"/>
                <a:gd name="connsiteX38" fmla="*/ 494 w 201571"/>
                <a:gd name="connsiteY38" fmla="*/ 50393 h 50392"/>
                <a:gd name="connsiteX39" fmla="*/ 3014 w 201571"/>
                <a:gd name="connsiteY39" fmla="*/ 45354 h 50392"/>
                <a:gd name="connsiteX40" fmla="*/ 18132 w 201571"/>
                <a:gd name="connsiteY40" fmla="*/ 37795 h 50392"/>
                <a:gd name="connsiteX41" fmla="*/ 30730 w 201571"/>
                <a:gd name="connsiteY41" fmla="*/ 31496 h 50392"/>
                <a:gd name="connsiteX42" fmla="*/ 44588 w 201571"/>
                <a:gd name="connsiteY42" fmla="*/ 25196 h 50392"/>
                <a:gd name="connsiteX43" fmla="*/ 58446 w 201571"/>
                <a:gd name="connsiteY43" fmla="*/ 18897 h 50392"/>
                <a:gd name="connsiteX44" fmla="*/ 64745 w 201571"/>
                <a:gd name="connsiteY44" fmla="*/ 16378 h 50392"/>
                <a:gd name="connsiteX45" fmla="*/ 71044 w 201571"/>
                <a:gd name="connsiteY45" fmla="*/ 13858 h 50392"/>
                <a:gd name="connsiteX46" fmla="*/ 77344 w 201571"/>
                <a:gd name="connsiteY46" fmla="*/ 11339 h 50392"/>
                <a:gd name="connsiteX47" fmla="*/ 83643 w 201571"/>
                <a:gd name="connsiteY47" fmla="*/ 8819 h 50392"/>
                <a:gd name="connsiteX48" fmla="*/ 89942 w 201571"/>
                <a:gd name="connsiteY48" fmla="*/ 6299 h 50392"/>
                <a:gd name="connsiteX49" fmla="*/ 96241 w 201571"/>
                <a:gd name="connsiteY49" fmla="*/ 3780 h 50392"/>
                <a:gd name="connsiteX50" fmla="*/ 102540 w 201571"/>
                <a:gd name="connsiteY50" fmla="*/ 1260 h 50392"/>
                <a:gd name="connsiteX51" fmla="*/ 110099 w 201571"/>
                <a:gd name="connsiteY51" fmla="*/ 0 h 50392"/>
                <a:gd name="connsiteX52" fmla="*/ 117658 w 201571"/>
                <a:gd name="connsiteY52" fmla="*/ 0 h 50392"/>
                <a:gd name="connsiteX53" fmla="*/ 122697 w 201571"/>
                <a:gd name="connsiteY53" fmla="*/ 0 h 50392"/>
                <a:gd name="connsiteX54" fmla="*/ 131516 w 201571"/>
                <a:gd name="connsiteY54" fmla="*/ 0 h 50392"/>
                <a:gd name="connsiteX55" fmla="*/ 141594 w 201571"/>
                <a:gd name="connsiteY55" fmla="*/ 0 h 50392"/>
                <a:gd name="connsiteX56" fmla="*/ 164271 w 201571"/>
                <a:gd name="connsiteY56" fmla="*/ 0 h 50392"/>
                <a:gd name="connsiteX57" fmla="*/ 171830 w 201571"/>
                <a:gd name="connsiteY57" fmla="*/ 0 h 50392"/>
                <a:gd name="connsiteX58" fmla="*/ 178129 w 201571"/>
                <a:gd name="connsiteY58" fmla="*/ 0 h 50392"/>
                <a:gd name="connsiteX59" fmla="*/ 184429 w 201571"/>
                <a:gd name="connsiteY59" fmla="*/ 0 h 50392"/>
                <a:gd name="connsiteX60" fmla="*/ 186948 w 201571"/>
                <a:gd name="connsiteY60" fmla="*/ 0 h 50392"/>
                <a:gd name="connsiteX61" fmla="*/ 191987 w 201571"/>
                <a:gd name="connsiteY61" fmla="*/ 2520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01571" h="50392">
                  <a:moveTo>
                    <a:pt x="191987" y="2520"/>
                  </a:moveTo>
                  <a:cubicBezTo>
                    <a:pt x="194507" y="2520"/>
                    <a:pt x="195767" y="2520"/>
                    <a:pt x="198286" y="3780"/>
                  </a:cubicBezTo>
                  <a:cubicBezTo>
                    <a:pt x="200806" y="3780"/>
                    <a:pt x="203326" y="3780"/>
                    <a:pt x="204585" y="5040"/>
                  </a:cubicBezTo>
                  <a:cubicBezTo>
                    <a:pt x="205845" y="5040"/>
                    <a:pt x="207105" y="6299"/>
                    <a:pt x="208365" y="6299"/>
                  </a:cubicBezTo>
                  <a:cubicBezTo>
                    <a:pt x="209625" y="7559"/>
                    <a:pt x="209625" y="7559"/>
                    <a:pt x="209625" y="8819"/>
                  </a:cubicBezTo>
                  <a:cubicBezTo>
                    <a:pt x="209625" y="8819"/>
                    <a:pt x="209625" y="8819"/>
                    <a:pt x="209625" y="10079"/>
                  </a:cubicBezTo>
                  <a:cubicBezTo>
                    <a:pt x="210885" y="11339"/>
                    <a:pt x="210885" y="13858"/>
                    <a:pt x="210885" y="16378"/>
                  </a:cubicBezTo>
                  <a:cubicBezTo>
                    <a:pt x="210885" y="18897"/>
                    <a:pt x="210885" y="21417"/>
                    <a:pt x="210885" y="23937"/>
                  </a:cubicBezTo>
                  <a:cubicBezTo>
                    <a:pt x="210885" y="25196"/>
                    <a:pt x="210885" y="27716"/>
                    <a:pt x="210885" y="28976"/>
                  </a:cubicBezTo>
                  <a:cubicBezTo>
                    <a:pt x="210885" y="30236"/>
                    <a:pt x="210885" y="32755"/>
                    <a:pt x="209625" y="34015"/>
                  </a:cubicBezTo>
                  <a:cubicBezTo>
                    <a:pt x="209625" y="36535"/>
                    <a:pt x="208365" y="37795"/>
                    <a:pt x="205845" y="37795"/>
                  </a:cubicBezTo>
                  <a:cubicBezTo>
                    <a:pt x="204585" y="37795"/>
                    <a:pt x="203326" y="37795"/>
                    <a:pt x="202066" y="36535"/>
                  </a:cubicBezTo>
                  <a:cubicBezTo>
                    <a:pt x="200806" y="36535"/>
                    <a:pt x="200806" y="35275"/>
                    <a:pt x="200806" y="34015"/>
                  </a:cubicBezTo>
                  <a:cubicBezTo>
                    <a:pt x="200806" y="30236"/>
                    <a:pt x="200806" y="26456"/>
                    <a:pt x="200806" y="23937"/>
                  </a:cubicBezTo>
                  <a:cubicBezTo>
                    <a:pt x="200806" y="21417"/>
                    <a:pt x="200806" y="18897"/>
                    <a:pt x="200806" y="15118"/>
                  </a:cubicBezTo>
                  <a:cubicBezTo>
                    <a:pt x="200806" y="15118"/>
                    <a:pt x="200806" y="13858"/>
                    <a:pt x="200806" y="13858"/>
                  </a:cubicBezTo>
                  <a:cubicBezTo>
                    <a:pt x="200806" y="13858"/>
                    <a:pt x="200806" y="13858"/>
                    <a:pt x="200806" y="13858"/>
                  </a:cubicBezTo>
                  <a:cubicBezTo>
                    <a:pt x="198286" y="13858"/>
                    <a:pt x="197027" y="12598"/>
                    <a:pt x="194507" y="12598"/>
                  </a:cubicBezTo>
                  <a:cubicBezTo>
                    <a:pt x="191987" y="12598"/>
                    <a:pt x="189468" y="11339"/>
                    <a:pt x="186948" y="11339"/>
                  </a:cubicBezTo>
                  <a:cubicBezTo>
                    <a:pt x="184429" y="11339"/>
                    <a:pt x="181909" y="11339"/>
                    <a:pt x="179389" y="11339"/>
                  </a:cubicBezTo>
                  <a:cubicBezTo>
                    <a:pt x="176870" y="11339"/>
                    <a:pt x="174350" y="11339"/>
                    <a:pt x="171830" y="11339"/>
                  </a:cubicBezTo>
                  <a:cubicBezTo>
                    <a:pt x="166791" y="11339"/>
                    <a:pt x="163011" y="11339"/>
                    <a:pt x="157972" y="11339"/>
                  </a:cubicBezTo>
                  <a:cubicBezTo>
                    <a:pt x="154192" y="11339"/>
                    <a:pt x="149153" y="11339"/>
                    <a:pt x="145374" y="11339"/>
                  </a:cubicBezTo>
                  <a:cubicBezTo>
                    <a:pt x="144114" y="11339"/>
                    <a:pt x="144114" y="11339"/>
                    <a:pt x="142854" y="11339"/>
                  </a:cubicBezTo>
                  <a:cubicBezTo>
                    <a:pt x="137815" y="11339"/>
                    <a:pt x="132776" y="11339"/>
                    <a:pt x="127736" y="11339"/>
                  </a:cubicBezTo>
                  <a:cubicBezTo>
                    <a:pt x="125217" y="11339"/>
                    <a:pt x="121437" y="11339"/>
                    <a:pt x="118918" y="11339"/>
                  </a:cubicBezTo>
                  <a:cubicBezTo>
                    <a:pt x="116398" y="11339"/>
                    <a:pt x="113878" y="11339"/>
                    <a:pt x="112618" y="11339"/>
                  </a:cubicBezTo>
                  <a:cubicBezTo>
                    <a:pt x="111359" y="11339"/>
                    <a:pt x="110099" y="11339"/>
                    <a:pt x="108839" y="11339"/>
                  </a:cubicBezTo>
                  <a:cubicBezTo>
                    <a:pt x="105059" y="12598"/>
                    <a:pt x="101280" y="13858"/>
                    <a:pt x="97500" y="15118"/>
                  </a:cubicBezTo>
                  <a:cubicBezTo>
                    <a:pt x="94981" y="16378"/>
                    <a:pt x="92461" y="16378"/>
                    <a:pt x="91201" y="17638"/>
                  </a:cubicBezTo>
                  <a:cubicBezTo>
                    <a:pt x="88682" y="18897"/>
                    <a:pt x="87422" y="18897"/>
                    <a:pt x="84902" y="20157"/>
                  </a:cubicBezTo>
                  <a:cubicBezTo>
                    <a:pt x="82383" y="21417"/>
                    <a:pt x="79863" y="21417"/>
                    <a:pt x="78603" y="22677"/>
                  </a:cubicBezTo>
                  <a:cubicBezTo>
                    <a:pt x="76084" y="23937"/>
                    <a:pt x="73564" y="23937"/>
                    <a:pt x="72304" y="25196"/>
                  </a:cubicBezTo>
                  <a:cubicBezTo>
                    <a:pt x="69785" y="26456"/>
                    <a:pt x="67265" y="26456"/>
                    <a:pt x="64745" y="27716"/>
                  </a:cubicBezTo>
                  <a:cubicBezTo>
                    <a:pt x="62226" y="28976"/>
                    <a:pt x="60966" y="28976"/>
                    <a:pt x="58446" y="30236"/>
                  </a:cubicBezTo>
                  <a:cubicBezTo>
                    <a:pt x="49627" y="34015"/>
                    <a:pt x="40808" y="36535"/>
                    <a:pt x="31990" y="41574"/>
                  </a:cubicBezTo>
                  <a:cubicBezTo>
                    <a:pt x="28210" y="42834"/>
                    <a:pt x="24431" y="45354"/>
                    <a:pt x="19392" y="46614"/>
                  </a:cubicBezTo>
                  <a:cubicBezTo>
                    <a:pt x="14352" y="49133"/>
                    <a:pt x="9313" y="51653"/>
                    <a:pt x="5533" y="52913"/>
                  </a:cubicBezTo>
                  <a:cubicBezTo>
                    <a:pt x="3014" y="54173"/>
                    <a:pt x="494" y="52913"/>
                    <a:pt x="494" y="50393"/>
                  </a:cubicBezTo>
                  <a:cubicBezTo>
                    <a:pt x="-766" y="47874"/>
                    <a:pt x="494" y="46614"/>
                    <a:pt x="3014" y="45354"/>
                  </a:cubicBezTo>
                  <a:cubicBezTo>
                    <a:pt x="8053" y="42834"/>
                    <a:pt x="13093" y="40315"/>
                    <a:pt x="18132" y="37795"/>
                  </a:cubicBezTo>
                  <a:cubicBezTo>
                    <a:pt x="23171" y="35275"/>
                    <a:pt x="26951" y="32755"/>
                    <a:pt x="30730" y="31496"/>
                  </a:cubicBezTo>
                  <a:cubicBezTo>
                    <a:pt x="34509" y="28976"/>
                    <a:pt x="39549" y="27716"/>
                    <a:pt x="44588" y="25196"/>
                  </a:cubicBezTo>
                  <a:cubicBezTo>
                    <a:pt x="49627" y="22677"/>
                    <a:pt x="53407" y="21417"/>
                    <a:pt x="58446" y="18897"/>
                  </a:cubicBezTo>
                  <a:cubicBezTo>
                    <a:pt x="60966" y="17638"/>
                    <a:pt x="63485" y="16378"/>
                    <a:pt x="64745" y="16378"/>
                  </a:cubicBezTo>
                  <a:cubicBezTo>
                    <a:pt x="67265" y="15118"/>
                    <a:pt x="69785" y="15118"/>
                    <a:pt x="71044" y="13858"/>
                  </a:cubicBezTo>
                  <a:cubicBezTo>
                    <a:pt x="73564" y="12598"/>
                    <a:pt x="76084" y="12598"/>
                    <a:pt x="77344" y="11339"/>
                  </a:cubicBezTo>
                  <a:cubicBezTo>
                    <a:pt x="79863" y="10079"/>
                    <a:pt x="81123" y="10079"/>
                    <a:pt x="83643" y="8819"/>
                  </a:cubicBezTo>
                  <a:cubicBezTo>
                    <a:pt x="86162" y="7559"/>
                    <a:pt x="88682" y="7559"/>
                    <a:pt x="89942" y="6299"/>
                  </a:cubicBezTo>
                  <a:cubicBezTo>
                    <a:pt x="92461" y="5040"/>
                    <a:pt x="94981" y="5040"/>
                    <a:pt x="96241" y="3780"/>
                  </a:cubicBezTo>
                  <a:cubicBezTo>
                    <a:pt x="98760" y="2520"/>
                    <a:pt x="100020" y="2520"/>
                    <a:pt x="102540" y="1260"/>
                  </a:cubicBezTo>
                  <a:cubicBezTo>
                    <a:pt x="105059" y="0"/>
                    <a:pt x="107579" y="0"/>
                    <a:pt x="110099" y="0"/>
                  </a:cubicBezTo>
                  <a:cubicBezTo>
                    <a:pt x="112618" y="0"/>
                    <a:pt x="115138" y="0"/>
                    <a:pt x="117658" y="0"/>
                  </a:cubicBezTo>
                  <a:cubicBezTo>
                    <a:pt x="118918" y="0"/>
                    <a:pt x="121437" y="0"/>
                    <a:pt x="122697" y="0"/>
                  </a:cubicBezTo>
                  <a:cubicBezTo>
                    <a:pt x="125217" y="0"/>
                    <a:pt x="128996" y="0"/>
                    <a:pt x="131516" y="0"/>
                  </a:cubicBezTo>
                  <a:cubicBezTo>
                    <a:pt x="135295" y="0"/>
                    <a:pt x="137815" y="0"/>
                    <a:pt x="141594" y="0"/>
                  </a:cubicBezTo>
                  <a:cubicBezTo>
                    <a:pt x="149153" y="0"/>
                    <a:pt x="156712" y="0"/>
                    <a:pt x="164271" y="0"/>
                  </a:cubicBezTo>
                  <a:cubicBezTo>
                    <a:pt x="166791" y="0"/>
                    <a:pt x="169311" y="0"/>
                    <a:pt x="171830" y="0"/>
                  </a:cubicBezTo>
                  <a:cubicBezTo>
                    <a:pt x="174350" y="0"/>
                    <a:pt x="176870" y="0"/>
                    <a:pt x="178129" y="0"/>
                  </a:cubicBezTo>
                  <a:cubicBezTo>
                    <a:pt x="180649" y="0"/>
                    <a:pt x="183169" y="0"/>
                    <a:pt x="184429" y="0"/>
                  </a:cubicBezTo>
                  <a:cubicBezTo>
                    <a:pt x="185688" y="0"/>
                    <a:pt x="186948" y="0"/>
                    <a:pt x="186948" y="0"/>
                  </a:cubicBezTo>
                  <a:cubicBezTo>
                    <a:pt x="189468" y="2520"/>
                    <a:pt x="190728" y="2520"/>
                    <a:pt x="191987" y="2520"/>
                  </a:cubicBezTo>
                </a:path>
              </a:pathLst>
            </a:custGeom>
            <a:solidFill>
              <a:srgbClr val="001675"/>
            </a:solidFill>
            <a:ln w="12584" cap="flat">
              <a:noFill/>
              <a:prstDash val="solid"/>
              <a:miter/>
            </a:ln>
          </p:spPr>
          <p:txBody>
            <a:bodyPr rtlCol="0" anchor="ctr"/>
            <a:lstStyle/>
            <a:p>
              <a:endParaRPr lang="zh-CN" altLang="en-US"/>
            </a:p>
          </p:txBody>
        </p:sp>
        <p:sp>
          <p:nvSpPr>
            <p:cNvPr id="219" name="任意多边形: 形状 218"/>
            <p:cNvSpPr/>
            <p:nvPr/>
          </p:nvSpPr>
          <p:spPr>
            <a:xfrm>
              <a:off x="9747275" y="3528454"/>
              <a:ext cx="111545" cy="94384"/>
            </a:xfrm>
            <a:custGeom>
              <a:avLst/>
              <a:gdLst>
                <a:gd name="connsiteX0" fmla="*/ 17637 w 163777"/>
                <a:gd name="connsiteY0" fmla="*/ 3780 h 138580"/>
                <a:gd name="connsiteX1" fmla="*/ 18897 w 163777"/>
                <a:gd name="connsiteY1" fmla="*/ 6299 h 138580"/>
                <a:gd name="connsiteX2" fmla="*/ 18897 w 163777"/>
                <a:gd name="connsiteY2" fmla="*/ 8819 h 138580"/>
                <a:gd name="connsiteX3" fmla="*/ 13858 w 163777"/>
                <a:gd name="connsiteY3" fmla="*/ 20157 h 138580"/>
                <a:gd name="connsiteX4" fmla="*/ 11338 w 163777"/>
                <a:gd name="connsiteY4" fmla="*/ 25196 h 138580"/>
                <a:gd name="connsiteX5" fmla="*/ 11338 w 163777"/>
                <a:gd name="connsiteY5" fmla="*/ 26456 h 138580"/>
                <a:gd name="connsiteX6" fmla="*/ 11338 w 163777"/>
                <a:gd name="connsiteY6" fmla="*/ 26456 h 138580"/>
                <a:gd name="connsiteX7" fmla="*/ 11338 w 163777"/>
                <a:gd name="connsiteY7" fmla="*/ 26456 h 138580"/>
                <a:gd name="connsiteX8" fmla="*/ 12598 w 163777"/>
                <a:gd name="connsiteY8" fmla="*/ 26456 h 138580"/>
                <a:gd name="connsiteX9" fmla="*/ 13858 w 163777"/>
                <a:gd name="connsiteY9" fmla="*/ 26456 h 138580"/>
                <a:gd name="connsiteX10" fmla="*/ 13858 w 163777"/>
                <a:gd name="connsiteY10" fmla="*/ 26456 h 138580"/>
                <a:gd name="connsiteX11" fmla="*/ 15118 w 163777"/>
                <a:gd name="connsiteY11" fmla="*/ 26456 h 138580"/>
                <a:gd name="connsiteX12" fmla="*/ 16378 w 163777"/>
                <a:gd name="connsiteY12" fmla="*/ 26456 h 138580"/>
                <a:gd name="connsiteX13" fmla="*/ 21417 w 163777"/>
                <a:gd name="connsiteY13" fmla="*/ 26456 h 138580"/>
                <a:gd name="connsiteX14" fmla="*/ 22677 w 163777"/>
                <a:gd name="connsiteY14" fmla="*/ 26456 h 138580"/>
                <a:gd name="connsiteX15" fmla="*/ 30236 w 163777"/>
                <a:gd name="connsiteY15" fmla="*/ 26456 h 138580"/>
                <a:gd name="connsiteX16" fmla="*/ 30236 w 163777"/>
                <a:gd name="connsiteY16" fmla="*/ 26456 h 138580"/>
                <a:gd name="connsiteX17" fmla="*/ 31496 w 163777"/>
                <a:gd name="connsiteY17" fmla="*/ 26456 h 138580"/>
                <a:gd name="connsiteX18" fmla="*/ 32755 w 163777"/>
                <a:gd name="connsiteY18" fmla="*/ 26456 h 138580"/>
                <a:gd name="connsiteX19" fmla="*/ 37795 w 163777"/>
                <a:gd name="connsiteY19" fmla="*/ 26456 h 138580"/>
                <a:gd name="connsiteX20" fmla="*/ 42834 w 163777"/>
                <a:gd name="connsiteY20" fmla="*/ 26456 h 138580"/>
                <a:gd name="connsiteX21" fmla="*/ 52913 w 163777"/>
                <a:gd name="connsiteY21" fmla="*/ 26456 h 138580"/>
                <a:gd name="connsiteX22" fmla="*/ 64251 w 163777"/>
                <a:gd name="connsiteY22" fmla="*/ 26456 h 138580"/>
                <a:gd name="connsiteX23" fmla="*/ 68030 w 163777"/>
                <a:gd name="connsiteY23" fmla="*/ 26456 h 138580"/>
                <a:gd name="connsiteX24" fmla="*/ 74329 w 163777"/>
                <a:gd name="connsiteY24" fmla="*/ 26456 h 138580"/>
                <a:gd name="connsiteX25" fmla="*/ 84408 w 163777"/>
                <a:gd name="connsiteY25" fmla="*/ 26456 h 138580"/>
                <a:gd name="connsiteX26" fmla="*/ 85668 w 163777"/>
                <a:gd name="connsiteY26" fmla="*/ 26456 h 138580"/>
                <a:gd name="connsiteX27" fmla="*/ 98266 w 163777"/>
                <a:gd name="connsiteY27" fmla="*/ 26456 h 138580"/>
                <a:gd name="connsiteX28" fmla="*/ 105825 w 163777"/>
                <a:gd name="connsiteY28" fmla="*/ 26456 h 138580"/>
                <a:gd name="connsiteX29" fmla="*/ 120943 w 163777"/>
                <a:gd name="connsiteY29" fmla="*/ 27716 h 138580"/>
                <a:gd name="connsiteX30" fmla="*/ 125982 w 163777"/>
                <a:gd name="connsiteY30" fmla="*/ 28976 h 138580"/>
                <a:gd name="connsiteX31" fmla="*/ 127242 w 163777"/>
                <a:gd name="connsiteY31" fmla="*/ 28976 h 138580"/>
                <a:gd name="connsiteX32" fmla="*/ 128502 w 163777"/>
                <a:gd name="connsiteY32" fmla="*/ 28976 h 138580"/>
                <a:gd name="connsiteX33" fmla="*/ 132281 w 163777"/>
                <a:gd name="connsiteY33" fmla="*/ 30236 h 138580"/>
                <a:gd name="connsiteX34" fmla="*/ 134801 w 163777"/>
                <a:gd name="connsiteY34" fmla="*/ 31496 h 138580"/>
                <a:gd name="connsiteX35" fmla="*/ 137321 w 163777"/>
                <a:gd name="connsiteY35" fmla="*/ 32755 h 138580"/>
                <a:gd name="connsiteX36" fmla="*/ 139840 w 163777"/>
                <a:gd name="connsiteY36" fmla="*/ 35275 h 138580"/>
                <a:gd name="connsiteX37" fmla="*/ 143620 w 163777"/>
                <a:gd name="connsiteY37" fmla="*/ 39055 h 138580"/>
                <a:gd name="connsiteX38" fmla="*/ 146140 w 163777"/>
                <a:gd name="connsiteY38" fmla="*/ 42834 h 138580"/>
                <a:gd name="connsiteX39" fmla="*/ 146140 w 163777"/>
                <a:gd name="connsiteY39" fmla="*/ 42834 h 138580"/>
                <a:gd name="connsiteX40" fmla="*/ 148659 w 163777"/>
                <a:gd name="connsiteY40" fmla="*/ 46613 h 138580"/>
                <a:gd name="connsiteX41" fmla="*/ 151179 w 163777"/>
                <a:gd name="connsiteY41" fmla="*/ 51653 h 138580"/>
                <a:gd name="connsiteX42" fmla="*/ 152439 w 163777"/>
                <a:gd name="connsiteY42" fmla="*/ 55432 h 138580"/>
                <a:gd name="connsiteX43" fmla="*/ 156218 w 163777"/>
                <a:gd name="connsiteY43" fmla="*/ 65511 h 138580"/>
                <a:gd name="connsiteX44" fmla="*/ 159998 w 163777"/>
                <a:gd name="connsiteY44" fmla="*/ 76849 h 138580"/>
                <a:gd name="connsiteX45" fmla="*/ 163777 w 163777"/>
                <a:gd name="connsiteY45" fmla="*/ 97006 h 138580"/>
                <a:gd name="connsiteX46" fmla="*/ 163777 w 163777"/>
                <a:gd name="connsiteY46" fmla="*/ 98266 h 138580"/>
                <a:gd name="connsiteX47" fmla="*/ 166297 w 163777"/>
                <a:gd name="connsiteY47" fmla="*/ 119683 h 138580"/>
                <a:gd name="connsiteX48" fmla="*/ 166297 w 163777"/>
                <a:gd name="connsiteY48" fmla="*/ 120943 h 138580"/>
                <a:gd name="connsiteX49" fmla="*/ 166297 w 163777"/>
                <a:gd name="connsiteY49" fmla="*/ 123463 h 138580"/>
                <a:gd name="connsiteX50" fmla="*/ 165037 w 163777"/>
                <a:gd name="connsiteY50" fmla="*/ 125982 h 138580"/>
                <a:gd name="connsiteX51" fmla="*/ 163777 w 163777"/>
                <a:gd name="connsiteY51" fmla="*/ 127242 h 138580"/>
                <a:gd name="connsiteX52" fmla="*/ 163777 w 163777"/>
                <a:gd name="connsiteY52" fmla="*/ 127242 h 138580"/>
                <a:gd name="connsiteX53" fmla="*/ 162517 w 163777"/>
                <a:gd name="connsiteY53" fmla="*/ 128502 h 138580"/>
                <a:gd name="connsiteX54" fmla="*/ 159998 w 163777"/>
                <a:gd name="connsiteY54" fmla="*/ 131022 h 138580"/>
                <a:gd name="connsiteX55" fmla="*/ 154958 w 163777"/>
                <a:gd name="connsiteY55" fmla="*/ 133541 h 138580"/>
                <a:gd name="connsiteX56" fmla="*/ 151179 w 163777"/>
                <a:gd name="connsiteY56" fmla="*/ 134801 h 138580"/>
                <a:gd name="connsiteX57" fmla="*/ 149919 w 163777"/>
                <a:gd name="connsiteY57" fmla="*/ 134801 h 138580"/>
                <a:gd name="connsiteX58" fmla="*/ 148659 w 163777"/>
                <a:gd name="connsiteY58" fmla="*/ 134801 h 138580"/>
                <a:gd name="connsiteX59" fmla="*/ 144880 w 163777"/>
                <a:gd name="connsiteY59" fmla="*/ 136061 h 138580"/>
                <a:gd name="connsiteX60" fmla="*/ 141100 w 163777"/>
                <a:gd name="connsiteY60" fmla="*/ 137321 h 138580"/>
                <a:gd name="connsiteX61" fmla="*/ 139840 w 163777"/>
                <a:gd name="connsiteY61" fmla="*/ 137321 h 138580"/>
                <a:gd name="connsiteX62" fmla="*/ 137321 w 163777"/>
                <a:gd name="connsiteY62" fmla="*/ 138581 h 138580"/>
                <a:gd name="connsiteX63" fmla="*/ 129762 w 163777"/>
                <a:gd name="connsiteY63" fmla="*/ 141100 h 138580"/>
                <a:gd name="connsiteX64" fmla="*/ 122203 w 163777"/>
                <a:gd name="connsiteY64" fmla="*/ 143620 h 138580"/>
                <a:gd name="connsiteX65" fmla="*/ 124722 w 163777"/>
                <a:gd name="connsiteY65" fmla="*/ 124723 h 138580"/>
                <a:gd name="connsiteX66" fmla="*/ 124722 w 163777"/>
                <a:gd name="connsiteY66" fmla="*/ 119683 h 138580"/>
                <a:gd name="connsiteX67" fmla="*/ 120943 w 163777"/>
                <a:gd name="connsiteY67" fmla="*/ 119683 h 138580"/>
                <a:gd name="connsiteX68" fmla="*/ 115904 w 163777"/>
                <a:gd name="connsiteY68" fmla="*/ 119683 h 138580"/>
                <a:gd name="connsiteX69" fmla="*/ 100786 w 163777"/>
                <a:gd name="connsiteY69" fmla="*/ 117164 h 138580"/>
                <a:gd name="connsiteX70" fmla="*/ 97007 w 163777"/>
                <a:gd name="connsiteY70" fmla="*/ 115904 h 138580"/>
                <a:gd name="connsiteX71" fmla="*/ 97007 w 163777"/>
                <a:gd name="connsiteY71" fmla="*/ 115904 h 138580"/>
                <a:gd name="connsiteX72" fmla="*/ 83148 w 163777"/>
                <a:gd name="connsiteY72" fmla="*/ 113384 h 138580"/>
                <a:gd name="connsiteX73" fmla="*/ 64251 w 163777"/>
                <a:gd name="connsiteY73" fmla="*/ 107085 h 138580"/>
                <a:gd name="connsiteX74" fmla="*/ 46614 w 163777"/>
                <a:gd name="connsiteY74" fmla="*/ 98266 h 138580"/>
                <a:gd name="connsiteX75" fmla="*/ 39055 w 163777"/>
                <a:gd name="connsiteY75" fmla="*/ 93227 h 138580"/>
                <a:gd name="connsiteX76" fmla="*/ 31496 w 163777"/>
                <a:gd name="connsiteY76" fmla="*/ 86928 h 138580"/>
                <a:gd name="connsiteX77" fmla="*/ 20157 w 163777"/>
                <a:gd name="connsiteY77" fmla="*/ 71810 h 138580"/>
                <a:gd name="connsiteX78" fmla="*/ 11338 w 163777"/>
                <a:gd name="connsiteY78" fmla="*/ 55432 h 138580"/>
                <a:gd name="connsiteX79" fmla="*/ 3780 w 163777"/>
                <a:gd name="connsiteY79" fmla="*/ 36535 h 138580"/>
                <a:gd name="connsiteX80" fmla="*/ 0 w 163777"/>
                <a:gd name="connsiteY80" fmla="*/ 25196 h 138580"/>
                <a:gd name="connsiteX81" fmla="*/ 0 w 163777"/>
                <a:gd name="connsiteY81" fmla="*/ 25196 h 138580"/>
                <a:gd name="connsiteX82" fmla="*/ 2520 w 163777"/>
                <a:gd name="connsiteY82" fmla="*/ 22677 h 138580"/>
                <a:gd name="connsiteX83" fmla="*/ 5039 w 163777"/>
                <a:gd name="connsiteY83" fmla="*/ 17638 h 138580"/>
                <a:gd name="connsiteX84" fmla="*/ 5039 w 163777"/>
                <a:gd name="connsiteY84" fmla="*/ 17638 h 138580"/>
                <a:gd name="connsiteX85" fmla="*/ 6299 w 163777"/>
                <a:gd name="connsiteY85" fmla="*/ 13858 h 138580"/>
                <a:gd name="connsiteX86" fmla="*/ 6299 w 163777"/>
                <a:gd name="connsiteY86" fmla="*/ 12598 h 138580"/>
                <a:gd name="connsiteX87" fmla="*/ 7559 w 163777"/>
                <a:gd name="connsiteY87" fmla="*/ 10079 h 138580"/>
                <a:gd name="connsiteX88" fmla="*/ 11338 w 163777"/>
                <a:gd name="connsiteY88" fmla="*/ 1260 h 138580"/>
                <a:gd name="connsiteX89" fmla="*/ 13858 w 163777"/>
                <a:gd name="connsiteY89" fmla="*/ 0 h 138580"/>
                <a:gd name="connsiteX90" fmla="*/ 15118 w 163777"/>
                <a:gd name="connsiteY90" fmla="*/ 0 h 138580"/>
                <a:gd name="connsiteX91" fmla="*/ 17637 w 163777"/>
                <a:gd name="connsiteY91" fmla="*/ 378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777" h="138580">
                  <a:moveTo>
                    <a:pt x="17637" y="3780"/>
                  </a:moveTo>
                  <a:cubicBezTo>
                    <a:pt x="18897" y="3780"/>
                    <a:pt x="18897" y="5039"/>
                    <a:pt x="18897" y="6299"/>
                  </a:cubicBezTo>
                  <a:cubicBezTo>
                    <a:pt x="18897" y="7559"/>
                    <a:pt x="18897" y="7559"/>
                    <a:pt x="18897" y="8819"/>
                  </a:cubicBezTo>
                  <a:cubicBezTo>
                    <a:pt x="17637" y="12598"/>
                    <a:pt x="15118" y="16378"/>
                    <a:pt x="13858" y="20157"/>
                  </a:cubicBezTo>
                  <a:cubicBezTo>
                    <a:pt x="12598" y="21417"/>
                    <a:pt x="12598" y="22677"/>
                    <a:pt x="11338" y="25196"/>
                  </a:cubicBezTo>
                  <a:cubicBezTo>
                    <a:pt x="11338" y="25196"/>
                    <a:pt x="11338" y="25196"/>
                    <a:pt x="11338" y="26456"/>
                  </a:cubicBezTo>
                  <a:lnTo>
                    <a:pt x="11338" y="26456"/>
                  </a:lnTo>
                  <a:lnTo>
                    <a:pt x="11338" y="26456"/>
                  </a:lnTo>
                  <a:cubicBezTo>
                    <a:pt x="11338" y="26456"/>
                    <a:pt x="12598" y="26456"/>
                    <a:pt x="12598" y="26456"/>
                  </a:cubicBezTo>
                  <a:cubicBezTo>
                    <a:pt x="12598" y="26456"/>
                    <a:pt x="13858" y="26456"/>
                    <a:pt x="13858" y="26456"/>
                  </a:cubicBezTo>
                  <a:cubicBezTo>
                    <a:pt x="13858" y="26456"/>
                    <a:pt x="13858" y="26456"/>
                    <a:pt x="13858" y="26456"/>
                  </a:cubicBezTo>
                  <a:cubicBezTo>
                    <a:pt x="13858" y="26456"/>
                    <a:pt x="15118" y="26456"/>
                    <a:pt x="15118" y="26456"/>
                  </a:cubicBezTo>
                  <a:cubicBezTo>
                    <a:pt x="15118" y="26456"/>
                    <a:pt x="15118" y="26456"/>
                    <a:pt x="16378" y="26456"/>
                  </a:cubicBezTo>
                  <a:cubicBezTo>
                    <a:pt x="17637" y="26456"/>
                    <a:pt x="20157" y="26456"/>
                    <a:pt x="21417" y="26456"/>
                  </a:cubicBezTo>
                  <a:lnTo>
                    <a:pt x="22677" y="26456"/>
                  </a:lnTo>
                  <a:cubicBezTo>
                    <a:pt x="25196" y="26456"/>
                    <a:pt x="27716" y="26456"/>
                    <a:pt x="30236" y="26456"/>
                  </a:cubicBezTo>
                  <a:lnTo>
                    <a:pt x="30236" y="26456"/>
                  </a:lnTo>
                  <a:cubicBezTo>
                    <a:pt x="30236" y="26456"/>
                    <a:pt x="31496" y="26456"/>
                    <a:pt x="31496" y="26456"/>
                  </a:cubicBezTo>
                  <a:lnTo>
                    <a:pt x="32755" y="26456"/>
                  </a:lnTo>
                  <a:cubicBezTo>
                    <a:pt x="34015" y="26456"/>
                    <a:pt x="36535" y="26456"/>
                    <a:pt x="37795" y="26456"/>
                  </a:cubicBezTo>
                  <a:cubicBezTo>
                    <a:pt x="39055" y="26456"/>
                    <a:pt x="40314" y="26456"/>
                    <a:pt x="42834" y="26456"/>
                  </a:cubicBezTo>
                  <a:cubicBezTo>
                    <a:pt x="46614" y="26456"/>
                    <a:pt x="50393" y="26456"/>
                    <a:pt x="52913" y="26456"/>
                  </a:cubicBezTo>
                  <a:cubicBezTo>
                    <a:pt x="56692" y="26456"/>
                    <a:pt x="60472" y="26456"/>
                    <a:pt x="64251" y="26456"/>
                  </a:cubicBezTo>
                  <a:cubicBezTo>
                    <a:pt x="65511" y="26456"/>
                    <a:pt x="66771" y="26456"/>
                    <a:pt x="68030" y="26456"/>
                  </a:cubicBezTo>
                  <a:cubicBezTo>
                    <a:pt x="70550" y="26456"/>
                    <a:pt x="71810" y="26456"/>
                    <a:pt x="74329" y="26456"/>
                  </a:cubicBezTo>
                  <a:cubicBezTo>
                    <a:pt x="78109" y="26456"/>
                    <a:pt x="80629" y="26456"/>
                    <a:pt x="84408" y="26456"/>
                  </a:cubicBezTo>
                  <a:lnTo>
                    <a:pt x="85668" y="26456"/>
                  </a:lnTo>
                  <a:cubicBezTo>
                    <a:pt x="89448" y="26456"/>
                    <a:pt x="93227" y="26456"/>
                    <a:pt x="98266" y="26456"/>
                  </a:cubicBezTo>
                  <a:cubicBezTo>
                    <a:pt x="100786" y="26456"/>
                    <a:pt x="103306" y="26456"/>
                    <a:pt x="105825" y="26456"/>
                  </a:cubicBezTo>
                  <a:cubicBezTo>
                    <a:pt x="110865" y="26456"/>
                    <a:pt x="115904" y="27716"/>
                    <a:pt x="120943" y="27716"/>
                  </a:cubicBezTo>
                  <a:cubicBezTo>
                    <a:pt x="122203" y="27716"/>
                    <a:pt x="124722" y="27716"/>
                    <a:pt x="125982" y="28976"/>
                  </a:cubicBezTo>
                  <a:lnTo>
                    <a:pt x="127242" y="28976"/>
                  </a:lnTo>
                  <a:cubicBezTo>
                    <a:pt x="127242" y="28976"/>
                    <a:pt x="128502" y="28976"/>
                    <a:pt x="128502" y="28976"/>
                  </a:cubicBezTo>
                  <a:cubicBezTo>
                    <a:pt x="129762" y="28976"/>
                    <a:pt x="131022" y="28976"/>
                    <a:pt x="132281" y="30236"/>
                  </a:cubicBezTo>
                  <a:cubicBezTo>
                    <a:pt x="133541" y="30236"/>
                    <a:pt x="133541" y="30236"/>
                    <a:pt x="134801" y="31496"/>
                  </a:cubicBezTo>
                  <a:cubicBezTo>
                    <a:pt x="136061" y="31496"/>
                    <a:pt x="137321" y="32755"/>
                    <a:pt x="137321" y="32755"/>
                  </a:cubicBezTo>
                  <a:cubicBezTo>
                    <a:pt x="138581" y="32755"/>
                    <a:pt x="139840" y="34015"/>
                    <a:pt x="139840" y="35275"/>
                  </a:cubicBezTo>
                  <a:cubicBezTo>
                    <a:pt x="141100" y="36535"/>
                    <a:pt x="142360" y="37795"/>
                    <a:pt x="143620" y="39055"/>
                  </a:cubicBezTo>
                  <a:cubicBezTo>
                    <a:pt x="144880" y="40314"/>
                    <a:pt x="144880" y="41574"/>
                    <a:pt x="146140" y="42834"/>
                  </a:cubicBezTo>
                  <a:lnTo>
                    <a:pt x="146140" y="42834"/>
                  </a:lnTo>
                  <a:cubicBezTo>
                    <a:pt x="147399" y="44094"/>
                    <a:pt x="147399" y="45354"/>
                    <a:pt x="148659" y="46613"/>
                  </a:cubicBezTo>
                  <a:cubicBezTo>
                    <a:pt x="149919" y="47873"/>
                    <a:pt x="149919" y="50393"/>
                    <a:pt x="151179" y="51653"/>
                  </a:cubicBezTo>
                  <a:cubicBezTo>
                    <a:pt x="151179" y="52913"/>
                    <a:pt x="152439" y="54172"/>
                    <a:pt x="152439" y="55432"/>
                  </a:cubicBezTo>
                  <a:cubicBezTo>
                    <a:pt x="153699" y="59212"/>
                    <a:pt x="154958" y="61731"/>
                    <a:pt x="156218" y="65511"/>
                  </a:cubicBezTo>
                  <a:cubicBezTo>
                    <a:pt x="157478" y="69290"/>
                    <a:pt x="158738" y="73070"/>
                    <a:pt x="159998" y="76849"/>
                  </a:cubicBezTo>
                  <a:cubicBezTo>
                    <a:pt x="161258" y="83148"/>
                    <a:pt x="162517" y="89448"/>
                    <a:pt x="163777" y="97006"/>
                  </a:cubicBezTo>
                  <a:lnTo>
                    <a:pt x="163777" y="98266"/>
                  </a:lnTo>
                  <a:cubicBezTo>
                    <a:pt x="165037" y="104565"/>
                    <a:pt x="166297" y="112124"/>
                    <a:pt x="166297" y="119683"/>
                  </a:cubicBezTo>
                  <a:cubicBezTo>
                    <a:pt x="166297" y="119683"/>
                    <a:pt x="166297" y="120943"/>
                    <a:pt x="166297" y="120943"/>
                  </a:cubicBezTo>
                  <a:cubicBezTo>
                    <a:pt x="166297" y="122203"/>
                    <a:pt x="166297" y="122203"/>
                    <a:pt x="166297" y="123463"/>
                  </a:cubicBezTo>
                  <a:cubicBezTo>
                    <a:pt x="166297" y="124723"/>
                    <a:pt x="165037" y="124723"/>
                    <a:pt x="165037" y="125982"/>
                  </a:cubicBezTo>
                  <a:cubicBezTo>
                    <a:pt x="165037" y="125982"/>
                    <a:pt x="163777" y="127242"/>
                    <a:pt x="163777" y="127242"/>
                  </a:cubicBezTo>
                  <a:lnTo>
                    <a:pt x="163777" y="127242"/>
                  </a:lnTo>
                  <a:cubicBezTo>
                    <a:pt x="163777" y="127242"/>
                    <a:pt x="162517" y="128502"/>
                    <a:pt x="162517" y="128502"/>
                  </a:cubicBezTo>
                  <a:cubicBezTo>
                    <a:pt x="161258" y="129762"/>
                    <a:pt x="161258" y="129762"/>
                    <a:pt x="159998" y="131022"/>
                  </a:cubicBezTo>
                  <a:cubicBezTo>
                    <a:pt x="158738" y="132281"/>
                    <a:pt x="156218" y="132281"/>
                    <a:pt x="154958" y="133541"/>
                  </a:cubicBezTo>
                  <a:cubicBezTo>
                    <a:pt x="153699" y="133541"/>
                    <a:pt x="152439" y="134801"/>
                    <a:pt x="151179" y="134801"/>
                  </a:cubicBezTo>
                  <a:cubicBezTo>
                    <a:pt x="151179" y="134801"/>
                    <a:pt x="149919" y="134801"/>
                    <a:pt x="149919" y="134801"/>
                  </a:cubicBezTo>
                  <a:cubicBezTo>
                    <a:pt x="149919" y="134801"/>
                    <a:pt x="148659" y="134801"/>
                    <a:pt x="148659" y="134801"/>
                  </a:cubicBezTo>
                  <a:cubicBezTo>
                    <a:pt x="147399" y="134801"/>
                    <a:pt x="146140" y="134801"/>
                    <a:pt x="144880" y="136061"/>
                  </a:cubicBezTo>
                  <a:cubicBezTo>
                    <a:pt x="143620" y="136061"/>
                    <a:pt x="142360" y="137321"/>
                    <a:pt x="141100" y="137321"/>
                  </a:cubicBezTo>
                  <a:lnTo>
                    <a:pt x="139840" y="137321"/>
                  </a:lnTo>
                  <a:cubicBezTo>
                    <a:pt x="138581" y="137321"/>
                    <a:pt x="138581" y="138581"/>
                    <a:pt x="137321" y="138581"/>
                  </a:cubicBezTo>
                  <a:cubicBezTo>
                    <a:pt x="134801" y="139840"/>
                    <a:pt x="132281" y="139840"/>
                    <a:pt x="129762" y="141100"/>
                  </a:cubicBezTo>
                  <a:cubicBezTo>
                    <a:pt x="127242" y="142360"/>
                    <a:pt x="124722" y="142360"/>
                    <a:pt x="122203" y="143620"/>
                  </a:cubicBezTo>
                  <a:cubicBezTo>
                    <a:pt x="123463" y="138581"/>
                    <a:pt x="123463" y="132281"/>
                    <a:pt x="124722" y="124723"/>
                  </a:cubicBezTo>
                  <a:cubicBezTo>
                    <a:pt x="124722" y="123463"/>
                    <a:pt x="124722" y="122203"/>
                    <a:pt x="124722" y="119683"/>
                  </a:cubicBezTo>
                  <a:cubicBezTo>
                    <a:pt x="123463" y="119683"/>
                    <a:pt x="122203" y="119683"/>
                    <a:pt x="120943" y="119683"/>
                  </a:cubicBezTo>
                  <a:cubicBezTo>
                    <a:pt x="119683" y="119683"/>
                    <a:pt x="117164" y="119683"/>
                    <a:pt x="115904" y="119683"/>
                  </a:cubicBezTo>
                  <a:cubicBezTo>
                    <a:pt x="110865" y="119683"/>
                    <a:pt x="104566" y="118424"/>
                    <a:pt x="100786" y="117164"/>
                  </a:cubicBezTo>
                  <a:cubicBezTo>
                    <a:pt x="99526" y="117164"/>
                    <a:pt x="98266" y="117164"/>
                    <a:pt x="97007" y="115904"/>
                  </a:cubicBezTo>
                  <a:lnTo>
                    <a:pt x="97007" y="115904"/>
                  </a:lnTo>
                  <a:cubicBezTo>
                    <a:pt x="93227" y="114644"/>
                    <a:pt x="88188" y="114644"/>
                    <a:pt x="83148" y="113384"/>
                  </a:cubicBezTo>
                  <a:cubicBezTo>
                    <a:pt x="76849" y="112124"/>
                    <a:pt x="70550" y="109605"/>
                    <a:pt x="64251" y="107085"/>
                  </a:cubicBezTo>
                  <a:cubicBezTo>
                    <a:pt x="56692" y="103305"/>
                    <a:pt x="51653" y="100786"/>
                    <a:pt x="46614" y="98266"/>
                  </a:cubicBezTo>
                  <a:cubicBezTo>
                    <a:pt x="44094" y="97006"/>
                    <a:pt x="41574" y="94487"/>
                    <a:pt x="39055" y="93227"/>
                  </a:cubicBezTo>
                  <a:cubicBezTo>
                    <a:pt x="36535" y="90707"/>
                    <a:pt x="34015" y="89448"/>
                    <a:pt x="31496" y="86928"/>
                  </a:cubicBezTo>
                  <a:cubicBezTo>
                    <a:pt x="27716" y="83148"/>
                    <a:pt x="23937" y="78109"/>
                    <a:pt x="20157" y="71810"/>
                  </a:cubicBezTo>
                  <a:cubicBezTo>
                    <a:pt x="16378" y="65511"/>
                    <a:pt x="13858" y="60472"/>
                    <a:pt x="11338" y="55432"/>
                  </a:cubicBezTo>
                  <a:cubicBezTo>
                    <a:pt x="8819" y="49133"/>
                    <a:pt x="6299" y="41574"/>
                    <a:pt x="3780" y="36535"/>
                  </a:cubicBezTo>
                  <a:cubicBezTo>
                    <a:pt x="2520" y="32755"/>
                    <a:pt x="1260" y="30236"/>
                    <a:pt x="0" y="25196"/>
                  </a:cubicBezTo>
                  <a:lnTo>
                    <a:pt x="0" y="25196"/>
                  </a:lnTo>
                  <a:cubicBezTo>
                    <a:pt x="1260" y="25196"/>
                    <a:pt x="1260" y="23937"/>
                    <a:pt x="2520" y="22677"/>
                  </a:cubicBezTo>
                  <a:cubicBezTo>
                    <a:pt x="3780" y="21417"/>
                    <a:pt x="3780" y="20157"/>
                    <a:pt x="5039" y="17638"/>
                  </a:cubicBezTo>
                  <a:lnTo>
                    <a:pt x="5039" y="17638"/>
                  </a:lnTo>
                  <a:cubicBezTo>
                    <a:pt x="5039" y="16378"/>
                    <a:pt x="6299" y="15118"/>
                    <a:pt x="6299" y="13858"/>
                  </a:cubicBezTo>
                  <a:lnTo>
                    <a:pt x="6299" y="12598"/>
                  </a:lnTo>
                  <a:lnTo>
                    <a:pt x="7559" y="10079"/>
                  </a:lnTo>
                  <a:lnTo>
                    <a:pt x="11338" y="1260"/>
                  </a:lnTo>
                  <a:cubicBezTo>
                    <a:pt x="11338" y="0"/>
                    <a:pt x="12598" y="0"/>
                    <a:pt x="13858" y="0"/>
                  </a:cubicBezTo>
                  <a:cubicBezTo>
                    <a:pt x="13858" y="0"/>
                    <a:pt x="15118" y="0"/>
                    <a:pt x="15118" y="0"/>
                  </a:cubicBezTo>
                  <a:cubicBezTo>
                    <a:pt x="16378" y="2520"/>
                    <a:pt x="16378" y="2520"/>
                    <a:pt x="17637" y="3780"/>
                  </a:cubicBezTo>
                </a:path>
              </a:pathLst>
            </a:custGeom>
            <a:solidFill>
              <a:srgbClr val="001675"/>
            </a:solidFill>
            <a:ln w="12584" cap="flat">
              <a:noFill/>
              <a:prstDash val="solid"/>
              <a:miter/>
            </a:ln>
          </p:spPr>
          <p:txBody>
            <a:bodyPr rtlCol="0" anchor="ctr"/>
            <a:lstStyle/>
            <a:p>
              <a:endParaRPr lang="zh-CN" altLang="en-US"/>
            </a:p>
          </p:txBody>
        </p:sp>
        <p:sp>
          <p:nvSpPr>
            <p:cNvPr id="220" name="任意多边形: 形状 219"/>
            <p:cNvSpPr/>
            <p:nvPr/>
          </p:nvSpPr>
          <p:spPr>
            <a:xfrm>
              <a:off x="9914592" y="3881964"/>
              <a:ext cx="231669" cy="257410"/>
            </a:xfrm>
            <a:custGeom>
              <a:avLst/>
              <a:gdLst>
                <a:gd name="connsiteX0" fmla="*/ 306137 w 340152"/>
                <a:gd name="connsiteY0" fmla="*/ 1260 h 377946"/>
                <a:gd name="connsiteX1" fmla="*/ 312436 w 340152"/>
                <a:gd name="connsiteY1" fmla="*/ 2520 h 377946"/>
                <a:gd name="connsiteX2" fmla="*/ 319995 w 340152"/>
                <a:gd name="connsiteY2" fmla="*/ 6299 h 377946"/>
                <a:gd name="connsiteX3" fmla="*/ 321255 w 340152"/>
                <a:gd name="connsiteY3" fmla="*/ 7559 h 377946"/>
                <a:gd name="connsiteX4" fmla="*/ 328814 w 340152"/>
                <a:gd name="connsiteY4" fmla="*/ 11339 h 377946"/>
                <a:gd name="connsiteX5" fmla="*/ 332593 w 340152"/>
                <a:gd name="connsiteY5" fmla="*/ 15118 h 377946"/>
                <a:gd name="connsiteX6" fmla="*/ 337633 w 340152"/>
                <a:gd name="connsiteY6" fmla="*/ 26456 h 377946"/>
                <a:gd name="connsiteX7" fmla="*/ 340152 w 340152"/>
                <a:gd name="connsiteY7" fmla="*/ 36535 h 377946"/>
                <a:gd name="connsiteX8" fmla="*/ 340152 w 340152"/>
                <a:gd name="connsiteY8" fmla="*/ 36535 h 377946"/>
                <a:gd name="connsiteX9" fmla="*/ 340152 w 340152"/>
                <a:gd name="connsiteY9" fmla="*/ 36535 h 377946"/>
                <a:gd name="connsiteX10" fmla="*/ 341412 w 340152"/>
                <a:gd name="connsiteY10" fmla="*/ 44094 h 377946"/>
                <a:gd name="connsiteX11" fmla="*/ 341412 w 340152"/>
                <a:gd name="connsiteY11" fmla="*/ 62991 h 377946"/>
                <a:gd name="connsiteX12" fmla="*/ 340152 w 340152"/>
                <a:gd name="connsiteY12" fmla="*/ 81889 h 377946"/>
                <a:gd name="connsiteX13" fmla="*/ 340152 w 340152"/>
                <a:gd name="connsiteY13" fmla="*/ 81889 h 377946"/>
                <a:gd name="connsiteX14" fmla="*/ 340152 w 340152"/>
                <a:gd name="connsiteY14" fmla="*/ 81889 h 377946"/>
                <a:gd name="connsiteX15" fmla="*/ 338892 w 340152"/>
                <a:gd name="connsiteY15" fmla="*/ 88188 h 377946"/>
                <a:gd name="connsiteX16" fmla="*/ 333853 w 340152"/>
                <a:gd name="connsiteY16" fmla="*/ 103306 h 377946"/>
                <a:gd name="connsiteX17" fmla="*/ 331334 w 340152"/>
                <a:gd name="connsiteY17" fmla="*/ 107085 h 377946"/>
                <a:gd name="connsiteX18" fmla="*/ 319995 w 340152"/>
                <a:gd name="connsiteY18" fmla="*/ 120943 h 377946"/>
                <a:gd name="connsiteX19" fmla="*/ 308657 w 340152"/>
                <a:gd name="connsiteY19" fmla="*/ 133541 h 377946"/>
                <a:gd name="connsiteX20" fmla="*/ 308657 w 340152"/>
                <a:gd name="connsiteY20" fmla="*/ 133541 h 377946"/>
                <a:gd name="connsiteX21" fmla="*/ 297318 w 340152"/>
                <a:gd name="connsiteY21" fmla="*/ 144880 h 377946"/>
                <a:gd name="connsiteX22" fmla="*/ 284720 w 340152"/>
                <a:gd name="connsiteY22" fmla="*/ 157478 h 377946"/>
                <a:gd name="connsiteX23" fmla="*/ 273382 w 340152"/>
                <a:gd name="connsiteY23" fmla="*/ 168816 h 377946"/>
                <a:gd name="connsiteX24" fmla="*/ 272122 w 340152"/>
                <a:gd name="connsiteY24" fmla="*/ 170076 h 377946"/>
                <a:gd name="connsiteX25" fmla="*/ 269602 w 340152"/>
                <a:gd name="connsiteY25" fmla="*/ 172596 h 377946"/>
                <a:gd name="connsiteX26" fmla="*/ 246925 w 340152"/>
                <a:gd name="connsiteY26" fmla="*/ 194013 h 377946"/>
                <a:gd name="connsiteX27" fmla="*/ 234327 w 340152"/>
                <a:gd name="connsiteY27" fmla="*/ 205351 h 377946"/>
                <a:gd name="connsiteX28" fmla="*/ 222989 w 340152"/>
                <a:gd name="connsiteY28" fmla="*/ 215430 h 377946"/>
                <a:gd name="connsiteX29" fmla="*/ 221729 w 340152"/>
                <a:gd name="connsiteY29" fmla="*/ 216690 h 377946"/>
                <a:gd name="connsiteX30" fmla="*/ 216690 w 340152"/>
                <a:gd name="connsiteY30" fmla="*/ 221729 h 377946"/>
                <a:gd name="connsiteX31" fmla="*/ 209131 w 340152"/>
                <a:gd name="connsiteY31" fmla="*/ 228028 h 377946"/>
                <a:gd name="connsiteX32" fmla="*/ 194013 w 340152"/>
                <a:gd name="connsiteY32" fmla="*/ 240626 h 377946"/>
                <a:gd name="connsiteX33" fmla="*/ 181414 w 340152"/>
                <a:gd name="connsiteY33" fmla="*/ 249445 h 377946"/>
                <a:gd name="connsiteX34" fmla="*/ 167557 w 340152"/>
                <a:gd name="connsiteY34" fmla="*/ 259524 h 377946"/>
                <a:gd name="connsiteX35" fmla="*/ 158738 w 340152"/>
                <a:gd name="connsiteY35" fmla="*/ 267083 h 377946"/>
                <a:gd name="connsiteX36" fmla="*/ 156218 w 340152"/>
                <a:gd name="connsiteY36" fmla="*/ 269602 h 377946"/>
                <a:gd name="connsiteX37" fmla="*/ 149919 w 340152"/>
                <a:gd name="connsiteY37" fmla="*/ 274642 h 377946"/>
                <a:gd name="connsiteX38" fmla="*/ 142360 w 340152"/>
                <a:gd name="connsiteY38" fmla="*/ 280941 h 377946"/>
                <a:gd name="connsiteX39" fmla="*/ 142360 w 340152"/>
                <a:gd name="connsiteY39" fmla="*/ 280941 h 377946"/>
                <a:gd name="connsiteX40" fmla="*/ 129762 w 340152"/>
                <a:gd name="connsiteY40" fmla="*/ 292279 h 377946"/>
                <a:gd name="connsiteX41" fmla="*/ 117164 w 340152"/>
                <a:gd name="connsiteY41" fmla="*/ 304877 h 377946"/>
                <a:gd name="connsiteX42" fmla="*/ 112124 w 340152"/>
                <a:gd name="connsiteY42" fmla="*/ 311177 h 377946"/>
                <a:gd name="connsiteX43" fmla="*/ 108345 w 340152"/>
                <a:gd name="connsiteY43" fmla="*/ 317476 h 377946"/>
                <a:gd name="connsiteX44" fmla="*/ 105825 w 340152"/>
                <a:gd name="connsiteY44" fmla="*/ 323775 h 377946"/>
                <a:gd name="connsiteX45" fmla="*/ 105825 w 340152"/>
                <a:gd name="connsiteY45" fmla="*/ 325034 h 377946"/>
                <a:gd name="connsiteX46" fmla="*/ 99526 w 340152"/>
                <a:gd name="connsiteY46" fmla="*/ 340152 h 377946"/>
                <a:gd name="connsiteX47" fmla="*/ 99526 w 340152"/>
                <a:gd name="connsiteY47" fmla="*/ 340152 h 377946"/>
                <a:gd name="connsiteX48" fmla="*/ 95747 w 340152"/>
                <a:gd name="connsiteY48" fmla="*/ 347711 h 377946"/>
                <a:gd name="connsiteX49" fmla="*/ 93227 w 340152"/>
                <a:gd name="connsiteY49" fmla="*/ 352751 h 377946"/>
                <a:gd name="connsiteX50" fmla="*/ 91967 w 340152"/>
                <a:gd name="connsiteY50" fmla="*/ 355270 h 377946"/>
                <a:gd name="connsiteX51" fmla="*/ 89448 w 340152"/>
                <a:gd name="connsiteY51" fmla="*/ 359050 h 377946"/>
                <a:gd name="connsiteX52" fmla="*/ 88188 w 340152"/>
                <a:gd name="connsiteY52" fmla="*/ 361569 h 377946"/>
                <a:gd name="connsiteX53" fmla="*/ 80629 w 340152"/>
                <a:gd name="connsiteY53" fmla="*/ 371648 h 377946"/>
                <a:gd name="connsiteX54" fmla="*/ 74329 w 340152"/>
                <a:gd name="connsiteY54" fmla="*/ 377947 h 377946"/>
                <a:gd name="connsiteX55" fmla="*/ 71810 w 340152"/>
                <a:gd name="connsiteY55" fmla="*/ 380467 h 377946"/>
                <a:gd name="connsiteX56" fmla="*/ 71810 w 340152"/>
                <a:gd name="connsiteY56" fmla="*/ 380467 h 377946"/>
                <a:gd name="connsiteX57" fmla="*/ 68030 w 340152"/>
                <a:gd name="connsiteY57" fmla="*/ 382986 h 377946"/>
                <a:gd name="connsiteX58" fmla="*/ 62991 w 340152"/>
                <a:gd name="connsiteY58" fmla="*/ 385506 h 377946"/>
                <a:gd name="connsiteX59" fmla="*/ 56692 w 340152"/>
                <a:gd name="connsiteY59" fmla="*/ 388026 h 377946"/>
                <a:gd name="connsiteX60" fmla="*/ 51653 w 340152"/>
                <a:gd name="connsiteY60" fmla="*/ 389286 h 377946"/>
                <a:gd name="connsiteX61" fmla="*/ 50393 w 340152"/>
                <a:gd name="connsiteY61" fmla="*/ 389286 h 377946"/>
                <a:gd name="connsiteX62" fmla="*/ 47874 w 340152"/>
                <a:gd name="connsiteY62" fmla="*/ 389286 h 377946"/>
                <a:gd name="connsiteX63" fmla="*/ 47874 w 340152"/>
                <a:gd name="connsiteY63" fmla="*/ 389286 h 377946"/>
                <a:gd name="connsiteX64" fmla="*/ 47874 w 340152"/>
                <a:gd name="connsiteY64" fmla="*/ 389286 h 377946"/>
                <a:gd name="connsiteX65" fmla="*/ 47874 w 340152"/>
                <a:gd name="connsiteY65" fmla="*/ 389286 h 377946"/>
                <a:gd name="connsiteX66" fmla="*/ 47874 w 340152"/>
                <a:gd name="connsiteY66" fmla="*/ 389286 h 377946"/>
                <a:gd name="connsiteX67" fmla="*/ 47874 w 340152"/>
                <a:gd name="connsiteY67" fmla="*/ 389286 h 377946"/>
                <a:gd name="connsiteX68" fmla="*/ 47874 w 340152"/>
                <a:gd name="connsiteY68" fmla="*/ 389286 h 377946"/>
                <a:gd name="connsiteX69" fmla="*/ 39055 w 340152"/>
                <a:gd name="connsiteY69" fmla="*/ 386766 h 377946"/>
                <a:gd name="connsiteX70" fmla="*/ 39055 w 340152"/>
                <a:gd name="connsiteY70" fmla="*/ 386766 h 377946"/>
                <a:gd name="connsiteX71" fmla="*/ 31496 w 340152"/>
                <a:gd name="connsiteY71" fmla="*/ 382986 h 377946"/>
                <a:gd name="connsiteX72" fmla="*/ 28976 w 340152"/>
                <a:gd name="connsiteY72" fmla="*/ 381727 h 377946"/>
                <a:gd name="connsiteX73" fmla="*/ 27716 w 340152"/>
                <a:gd name="connsiteY73" fmla="*/ 381727 h 377946"/>
                <a:gd name="connsiteX74" fmla="*/ 23937 w 340152"/>
                <a:gd name="connsiteY74" fmla="*/ 379207 h 377946"/>
                <a:gd name="connsiteX75" fmla="*/ 21417 w 340152"/>
                <a:gd name="connsiteY75" fmla="*/ 376687 h 377946"/>
                <a:gd name="connsiteX76" fmla="*/ 21417 w 340152"/>
                <a:gd name="connsiteY76" fmla="*/ 376687 h 377946"/>
                <a:gd name="connsiteX77" fmla="*/ 15118 w 340152"/>
                <a:gd name="connsiteY77" fmla="*/ 369128 h 377946"/>
                <a:gd name="connsiteX78" fmla="*/ 15118 w 340152"/>
                <a:gd name="connsiteY78" fmla="*/ 367869 h 377946"/>
                <a:gd name="connsiteX79" fmla="*/ 13858 w 340152"/>
                <a:gd name="connsiteY79" fmla="*/ 365349 h 377946"/>
                <a:gd name="connsiteX80" fmla="*/ 11338 w 340152"/>
                <a:gd name="connsiteY80" fmla="*/ 361569 h 377946"/>
                <a:gd name="connsiteX81" fmla="*/ 7559 w 340152"/>
                <a:gd name="connsiteY81" fmla="*/ 352751 h 377946"/>
                <a:gd name="connsiteX82" fmla="*/ 3780 w 340152"/>
                <a:gd name="connsiteY82" fmla="*/ 342672 h 377946"/>
                <a:gd name="connsiteX83" fmla="*/ 3780 w 340152"/>
                <a:gd name="connsiteY83" fmla="*/ 341412 h 377946"/>
                <a:gd name="connsiteX84" fmla="*/ 0 w 340152"/>
                <a:gd name="connsiteY84" fmla="*/ 323775 h 377946"/>
                <a:gd name="connsiteX85" fmla="*/ 0 w 340152"/>
                <a:gd name="connsiteY85" fmla="*/ 316216 h 377946"/>
                <a:gd name="connsiteX86" fmla="*/ 0 w 340152"/>
                <a:gd name="connsiteY86" fmla="*/ 313696 h 377946"/>
                <a:gd name="connsiteX87" fmla="*/ 0 w 340152"/>
                <a:gd name="connsiteY87" fmla="*/ 307397 h 377946"/>
                <a:gd name="connsiteX88" fmla="*/ 0 w 340152"/>
                <a:gd name="connsiteY88" fmla="*/ 304877 h 377946"/>
                <a:gd name="connsiteX89" fmla="*/ 0 w 340152"/>
                <a:gd name="connsiteY89" fmla="*/ 304877 h 377946"/>
                <a:gd name="connsiteX90" fmla="*/ 0 w 340152"/>
                <a:gd name="connsiteY90" fmla="*/ 304877 h 377946"/>
                <a:gd name="connsiteX91" fmla="*/ 0 w 340152"/>
                <a:gd name="connsiteY91" fmla="*/ 299838 h 377946"/>
                <a:gd name="connsiteX92" fmla="*/ 0 w 340152"/>
                <a:gd name="connsiteY92" fmla="*/ 297318 h 377946"/>
                <a:gd name="connsiteX93" fmla="*/ 0 w 340152"/>
                <a:gd name="connsiteY93" fmla="*/ 294799 h 377946"/>
                <a:gd name="connsiteX94" fmla="*/ 0 w 340152"/>
                <a:gd name="connsiteY94" fmla="*/ 289759 h 377946"/>
                <a:gd name="connsiteX95" fmla="*/ 2520 w 340152"/>
                <a:gd name="connsiteY95" fmla="*/ 282201 h 377946"/>
                <a:gd name="connsiteX96" fmla="*/ 2520 w 340152"/>
                <a:gd name="connsiteY96" fmla="*/ 282201 h 377946"/>
                <a:gd name="connsiteX97" fmla="*/ 2520 w 340152"/>
                <a:gd name="connsiteY97" fmla="*/ 280941 h 377946"/>
                <a:gd name="connsiteX98" fmla="*/ 5039 w 340152"/>
                <a:gd name="connsiteY98" fmla="*/ 272122 h 377946"/>
                <a:gd name="connsiteX99" fmla="*/ 5039 w 340152"/>
                <a:gd name="connsiteY99" fmla="*/ 270862 h 377946"/>
                <a:gd name="connsiteX100" fmla="*/ 5039 w 340152"/>
                <a:gd name="connsiteY100" fmla="*/ 270862 h 377946"/>
                <a:gd name="connsiteX101" fmla="*/ 11338 w 340152"/>
                <a:gd name="connsiteY101" fmla="*/ 257004 h 377946"/>
                <a:gd name="connsiteX102" fmla="*/ 12598 w 340152"/>
                <a:gd name="connsiteY102" fmla="*/ 254484 h 377946"/>
                <a:gd name="connsiteX103" fmla="*/ 12598 w 340152"/>
                <a:gd name="connsiteY103" fmla="*/ 254484 h 377946"/>
                <a:gd name="connsiteX104" fmla="*/ 15118 w 340152"/>
                <a:gd name="connsiteY104" fmla="*/ 249445 h 377946"/>
                <a:gd name="connsiteX105" fmla="*/ 20157 w 340152"/>
                <a:gd name="connsiteY105" fmla="*/ 240626 h 377946"/>
                <a:gd name="connsiteX106" fmla="*/ 20157 w 340152"/>
                <a:gd name="connsiteY106" fmla="*/ 240626 h 377946"/>
                <a:gd name="connsiteX107" fmla="*/ 27716 w 340152"/>
                <a:gd name="connsiteY107" fmla="*/ 226768 h 377946"/>
                <a:gd name="connsiteX108" fmla="*/ 37795 w 340152"/>
                <a:gd name="connsiteY108" fmla="*/ 211650 h 377946"/>
                <a:gd name="connsiteX109" fmla="*/ 49133 w 340152"/>
                <a:gd name="connsiteY109" fmla="*/ 196533 h 377946"/>
                <a:gd name="connsiteX110" fmla="*/ 69290 w 340152"/>
                <a:gd name="connsiteY110" fmla="*/ 172596 h 377946"/>
                <a:gd name="connsiteX111" fmla="*/ 71810 w 340152"/>
                <a:gd name="connsiteY111" fmla="*/ 170076 h 377946"/>
                <a:gd name="connsiteX112" fmla="*/ 95747 w 340152"/>
                <a:gd name="connsiteY112" fmla="*/ 144880 h 377946"/>
                <a:gd name="connsiteX113" fmla="*/ 104566 w 340152"/>
                <a:gd name="connsiteY113" fmla="*/ 137321 h 377946"/>
                <a:gd name="connsiteX114" fmla="*/ 104566 w 340152"/>
                <a:gd name="connsiteY114" fmla="*/ 137321 h 377946"/>
                <a:gd name="connsiteX115" fmla="*/ 104566 w 340152"/>
                <a:gd name="connsiteY115" fmla="*/ 137321 h 377946"/>
                <a:gd name="connsiteX116" fmla="*/ 104566 w 340152"/>
                <a:gd name="connsiteY116" fmla="*/ 137321 h 377946"/>
                <a:gd name="connsiteX117" fmla="*/ 120943 w 340152"/>
                <a:gd name="connsiteY117" fmla="*/ 120943 h 377946"/>
                <a:gd name="connsiteX118" fmla="*/ 146140 w 340152"/>
                <a:gd name="connsiteY118" fmla="*/ 97007 h 377946"/>
                <a:gd name="connsiteX119" fmla="*/ 159998 w 340152"/>
                <a:gd name="connsiteY119" fmla="*/ 84408 h 377946"/>
                <a:gd name="connsiteX120" fmla="*/ 167557 w 340152"/>
                <a:gd name="connsiteY120" fmla="*/ 78109 h 377946"/>
                <a:gd name="connsiteX121" fmla="*/ 172596 w 340152"/>
                <a:gd name="connsiteY121" fmla="*/ 73070 h 377946"/>
                <a:gd name="connsiteX122" fmla="*/ 176375 w 340152"/>
                <a:gd name="connsiteY122" fmla="*/ 70550 h 377946"/>
                <a:gd name="connsiteX123" fmla="*/ 187714 w 340152"/>
                <a:gd name="connsiteY123" fmla="*/ 60472 h 377946"/>
                <a:gd name="connsiteX124" fmla="*/ 188973 w 340152"/>
                <a:gd name="connsiteY124" fmla="*/ 59212 h 377946"/>
                <a:gd name="connsiteX125" fmla="*/ 191493 w 340152"/>
                <a:gd name="connsiteY125" fmla="*/ 56692 h 377946"/>
                <a:gd name="connsiteX126" fmla="*/ 194013 w 340152"/>
                <a:gd name="connsiteY126" fmla="*/ 52913 h 377946"/>
                <a:gd name="connsiteX127" fmla="*/ 200312 w 340152"/>
                <a:gd name="connsiteY127" fmla="*/ 46614 h 377946"/>
                <a:gd name="connsiteX128" fmla="*/ 200312 w 340152"/>
                <a:gd name="connsiteY128" fmla="*/ 46614 h 377946"/>
                <a:gd name="connsiteX129" fmla="*/ 200312 w 340152"/>
                <a:gd name="connsiteY129" fmla="*/ 46614 h 377946"/>
                <a:gd name="connsiteX130" fmla="*/ 200312 w 340152"/>
                <a:gd name="connsiteY130" fmla="*/ 46614 h 377946"/>
                <a:gd name="connsiteX131" fmla="*/ 200312 w 340152"/>
                <a:gd name="connsiteY131" fmla="*/ 46614 h 377946"/>
                <a:gd name="connsiteX132" fmla="*/ 200312 w 340152"/>
                <a:gd name="connsiteY132" fmla="*/ 46614 h 377946"/>
                <a:gd name="connsiteX133" fmla="*/ 200312 w 340152"/>
                <a:gd name="connsiteY133" fmla="*/ 46614 h 377946"/>
                <a:gd name="connsiteX134" fmla="*/ 204092 w 340152"/>
                <a:gd name="connsiteY134" fmla="*/ 44094 h 377946"/>
                <a:gd name="connsiteX135" fmla="*/ 204092 w 340152"/>
                <a:gd name="connsiteY135" fmla="*/ 44094 h 377946"/>
                <a:gd name="connsiteX136" fmla="*/ 204092 w 340152"/>
                <a:gd name="connsiteY136" fmla="*/ 44094 h 377946"/>
                <a:gd name="connsiteX137" fmla="*/ 204092 w 340152"/>
                <a:gd name="connsiteY137" fmla="*/ 44094 h 377946"/>
                <a:gd name="connsiteX138" fmla="*/ 204092 w 340152"/>
                <a:gd name="connsiteY138" fmla="*/ 44094 h 377946"/>
                <a:gd name="connsiteX139" fmla="*/ 204092 w 340152"/>
                <a:gd name="connsiteY139" fmla="*/ 44094 h 377946"/>
                <a:gd name="connsiteX140" fmla="*/ 204092 w 340152"/>
                <a:gd name="connsiteY140" fmla="*/ 44094 h 377946"/>
                <a:gd name="connsiteX141" fmla="*/ 204092 w 340152"/>
                <a:gd name="connsiteY141" fmla="*/ 44094 h 377946"/>
                <a:gd name="connsiteX142" fmla="*/ 204092 w 340152"/>
                <a:gd name="connsiteY142" fmla="*/ 44094 h 377946"/>
                <a:gd name="connsiteX143" fmla="*/ 204092 w 340152"/>
                <a:gd name="connsiteY143" fmla="*/ 44094 h 377946"/>
                <a:gd name="connsiteX144" fmla="*/ 204092 w 340152"/>
                <a:gd name="connsiteY144" fmla="*/ 44094 h 377946"/>
                <a:gd name="connsiteX145" fmla="*/ 204092 w 340152"/>
                <a:gd name="connsiteY145" fmla="*/ 44094 h 377946"/>
                <a:gd name="connsiteX146" fmla="*/ 204092 w 340152"/>
                <a:gd name="connsiteY146" fmla="*/ 44094 h 377946"/>
                <a:gd name="connsiteX147" fmla="*/ 204092 w 340152"/>
                <a:gd name="connsiteY147" fmla="*/ 44094 h 377946"/>
                <a:gd name="connsiteX148" fmla="*/ 204092 w 340152"/>
                <a:gd name="connsiteY148" fmla="*/ 44094 h 377946"/>
                <a:gd name="connsiteX149" fmla="*/ 204092 w 340152"/>
                <a:gd name="connsiteY149" fmla="*/ 44094 h 377946"/>
                <a:gd name="connsiteX150" fmla="*/ 215430 w 340152"/>
                <a:gd name="connsiteY150" fmla="*/ 35275 h 377946"/>
                <a:gd name="connsiteX151" fmla="*/ 220469 w 340152"/>
                <a:gd name="connsiteY151" fmla="*/ 31496 h 377946"/>
                <a:gd name="connsiteX152" fmla="*/ 225508 w 340152"/>
                <a:gd name="connsiteY152" fmla="*/ 27716 h 377946"/>
                <a:gd name="connsiteX153" fmla="*/ 234327 w 340152"/>
                <a:gd name="connsiteY153" fmla="*/ 22677 h 377946"/>
                <a:gd name="connsiteX154" fmla="*/ 238107 w 340152"/>
                <a:gd name="connsiteY154" fmla="*/ 20157 h 377946"/>
                <a:gd name="connsiteX155" fmla="*/ 238107 w 340152"/>
                <a:gd name="connsiteY155" fmla="*/ 20157 h 377946"/>
                <a:gd name="connsiteX156" fmla="*/ 244406 w 340152"/>
                <a:gd name="connsiteY156" fmla="*/ 16378 h 377946"/>
                <a:gd name="connsiteX157" fmla="*/ 262043 w 340152"/>
                <a:gd name="connsiteY157" fmla="*/ 7559 h 377946"/>
                <a:gd name="connsiteX158" fmla="*/ 283460 w 340152"/>
                <a:gd name="connsiteY158" fmla="*/ 1260 h 377946"/>
                <a:gd name="connsiteX159" fmla="*/ 296058 w 340152"/>
                <a:gd name="connsiteY159" fmla="*/ 0 h 377946"/>
                <a:gd name="connsiteX160" fmla="*/ 306137 w 340152"/>
                <a:gd name="connsiteY160" fmla="*/ 1260 h 377946"/>
                <a:gd name="connsiteX161" fmla="*/ 306137 w 340152"/>
                <a:gd name="connsiteY161" fmla="*/ 1260 h 37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340152" h="377946">
                  <a:moveTo>
                    <a:pt x="306137" y="1260"/>
                  </a:moveTo>
                  <a:cubicBezTo>
                    <a:pt x="307397" y="1260"/>
                    <a:pt x="309917" y="2520"/>
                    <a:pt x="312436" y="2520"/>
                  </a:cubicBezTo>
                  <a:cubicBezTo>
                    <a:pt x="314956" y="3780"/>
                    <a:pt x="317476" y="5039"/>
                    <a:pt x="319995" y="6299"/>
                  </a:cubicBezTo>
                  <a:lnTo>
                    <a:pt x="321255" y="7559"/>
                  </a:lnTo>
                  <a:cubicBezTo>
                    <a:pt x="323775" y="8819"/>
                    <a:pt x="326294" y="10079"/>
                    <a:pt x="328814" y="11339"/>
                  </a:cubicBezTo>
                  <a:cubicBezTo>
                    <a:pt x="330074" y="12598"/>
                    <a:pt x="331334" y="13858"/>
                    <a:pt x="332593" y="15118"/>
                  </a:cubicBezTo>
                  <a:cubicBezTo>
                    <a:pt x="335113" y="18897"/>
                    <a:pt x="336373" y="22677"/>
                    <a:pt x="337633" y="26456"/>
                  </a:cubicBezTo>
                  <a:cubicBezTo>
                    <a:pt x="338892" y="30236"/>
                    <a:pt x="340152" y="32755"/>
                    <a:pt x="340152" y="36535"/>
                  </a:cubicBezTo>
                  <a:lnTo>
                    <a:pt x="340152" y="36535"/>
                  </a:lnTo>
                  <a:lnTo>
                    <a:pt x="340152" y="36535"/>
                  </a:lnTo>
                  <a:cubicBezTo>
                    <a:pt x="341412" y="39055"/>
                    <a:pt x="341412" y="41574"/>
                    <a:pt x="341412" y="44094"/>
                  </a:cubicBezTo>
                  <a:cubicBezTo>
                    <a:pt x="341412" y="50393"/>
                    <a:pt x="341412" y="57952"/>
                    <a:pt x="341412" y="62991"/>
                  </a:cubicBezTo>
                  <a:cubicBezTo>
                    <a:pt x="341412" y="69290"/>
                    <a:pt x="340152" y="75589"/>
                    <a:pt x="340152" y="81889"/>
                  </a:cubicBezTo>
                  <a:lnTo>
                    <a:pt x="340152" y="81889"/>
                  </a:lnTo>
                  <a:lnTo>
                    <a:pt x="340152" y="81889"/>
                  </a:lnTo>
                  <a:cubicBezTo>
                    <a:pt x="340152" y="84408"/>
                    <a:pt x="338892" y="85668"/>
                    <a:pt x="338892" y="88188"/>
                  </a:cubicBezTo>
                  <a:cubicBezTo>
                    <a:pt x="337633" y="93227"/>
                    <a:pt x="336373" y="98266"/>
                    <a:pt x="333853" y="103306"/>
                  </a:cubicBezTo>
                  <a:cubicBezTo>
                    <a:pt x="332593" y="104565"/>
                    <a:pt x="332593" y="105825"/>
                    <a:pt x="331334" y="107085"/>
                  </a:cubicBezTo>
                  <a:cubicBezTo>
                    <a:pt x="327554" y="112124"/>
                    <a:pt x="323775" y="117164"/>
                    <a:pt x="319995" y="120943"/>
                  </a:cubicBezTo>
                  <a:cubicBezTo>
                    <a:pt x="316216" y="124723"/>
                    <a:pt x="312436" y="129762"/>
                    <a:pt x="308657" y="133541"/>
                  </a:cubicBezTo>
                  <a:lnTo>
                    <a:pt x="308657" y="133541"/>
                  </a:lnTo>
                  <a:cubicBezTo>
                    <a:pt x="304877" y="137321"/>
                    <a:pt x="301098" y="141100"/>
                    <a:pt x="297318" y="144880"/>
                  </a:cubicBezTo>
                  <a:cubicBezTo>
                    <a:pt x="293539" y="148659"/>
                    <a:pt x="288499" y="153699"/>
                    <a:pt x="284720" y="157478"/>
                  </a:cubicBezTo>
                  <a:cubicBezTo>
                    <a:pt x="280941" y="161257"/>
                    <a:pt x="277161" y="165037"/>
                    <a:pt x="273382" y="168816"/>
                  </a:cubicBezTo>
                  <a:lnTo>
                    <a:pt x="272122" y="170076"/>
                  </a:lnTo>
                  <a:lnTo>
                    <a:pt x="269602" y="172596"/>
                  </a:lnTo>
                  <a:cubicBezTo>
                    <a:pt x="262043" y="180155"/>
                    <a:pt x="254484" y="187714"/>
                    <a:pt x="246925" y="194013"/>
                  </a:cubicBezTo>
                  <a:cubicBezTo>
                    <a:pt x="243146" y="197792"/>
                    <a:pt x="238107" y="201572"/>
                    <a:pt x="234327" y="205351"/>
                  </a:cubicBezTo>
                  <a:cubicBezTo>
                    <a:pt x="230548" y="209131"/>
                    <a:pt x="226768" y="211650"/>
                    <a:pt x="222989" y="215430"/>
                  </a:cubicBezTo>
                  <a:lnTo>
                    <a:pt x="221729" y="216690"/>
                  </a:lnTo>
                  <a:cubicBezTo>
                    <a:pt x="220469" y="217949"/>
                    <a:pt x="217950" y="219209"/>
                    <a:pt x="216690" y="221729"/>
                  </a:cubicBezTo>
                  <a:cubicBezTo>
                    <a:pt x="214170" y="224249"/>
                    <a:pt x="211651" y="225508"/>
                    <a:pt x="209131" y="228028"/>
                  </a:cubicBezTo>
                  <a:cubicBezTo>
                    <a:pt x="204092" y="231808"/>
                    <a:pt x="199052" y="235587"/>
                    <a:pt x="194013" y="240626"/>
                  </a:cubicBezTo>
                  <a:cubicBezTo>
                    <a:pt x="190233" y="244406"/>
                    <a:pt x="185194" y="246925"/>
                    <a:pt x="181414" y="249445"/>
                  </a:cubicBezTo>
                  <a:cubicBezTo>
                    <a:pt x="176375" y="253225"/>
                    <a:pt x="172596" y="257004"/>
                    <a:pt x="167557" y="259524"/>
                  </a:cubicBezTo>
                  <a:cubicBezTo>
                    <a:pt x="163777" y="262043"/>
                    <a:pt x="161258" y="264563"/>
                    <a:pt x="158738" y="267083"/>
                  </a:cubicBezTo>
                  <a:lnTo>
                    <a:pt x="156218" y="269602"/>
                  </a:lnTo>
                  <a:cubicBezTo>
                    <a:pt x="153699" y="270862"/>
                    <a:pt x="152439" y="273382"/>
                    <a:pt x="149919" y="274642"/>
                  </a:cubicBezTo>
                  <a:cubicBezTo>
                    <a:pt x="147399" y="277161"/>
                    <a:pt x="144880" y="278421"/>
                    <a:pt x="142360" y="280941"/>
                  </a:cubicBezTo>
                  <a:lnTo>
                    <a:pt x="142360" y="280941"/>
                  </a:lnTo>
                  <a:cubicBezTo>
                    <a:pt x="138581" y="284720"/>
                    <a:pt x="133541" y="288500"/>
                    <a:pt x="129762" y="292279"/>
                  </a:cubicBezTo>
                  <a:cubicBezTo>
                    <a:pt x="125982" y="296058"/>
                    <a:pt x="120943" y="299838"/>
                    <a:pt x="117164" y="304877"/>
                  </a:cubicBezTo>
                  <a:cubicBezTo>
                    <a:pt x="115904" y="306137"/>
                    <a:pt x="113384" y="308657"/>
                    <a:pt x="112124" y="311177"/>
                  </a:cubicBezTo>
                  <a:cubicBezTo>
                    <a:pt x="110865" y="312436"/>
                    <a:pt x="109605" y="314956"/>
                    <a:pt x="108345" y="317476"/>
                  </a:cubicBezTo>
                  <a:cubicBezTo>
                    <a:pt x="107085" y="319995"/>
                    <a:pt x="107085" y="321255"/>
                    <a:pt x="105825" y="323775"/>
                  </a:cubicBezTo>
                  <a:lnTo>
                    <a:pt x="105825" y="325034"/>
                  </a:lnTo>
                  <a:cubicBezTo>
                    <a:pt x="103306" y="330074"/>
                    <a:pt x="102046" y="335113"/>
                    <a:pt x="99526" y="340152"/>
                  </a:cubicBezTo>
                  <a:lnTo>
                    <a:pt x="99526" y="340152"/>
                  </a:lnTo>
                  <a:cubicBezTo>
                    <a:pt x="98266" y="342672"/>
                    <a:pt x="97007" y="345192"/>
                    <a:pt x="95747" y="347711"/>
                  </a:cubicBezTo>
                  <a:cubicBezTo>
                    <a:pt x="94487" y="348971"/>
                    <a:pt x="94487" y="351491"/>
                    <a:pt x="93227" y="352751"/>
                  </a:cubicBezTo>
                  <a:cubicBezTo>
                    <a:pt x="93227" y="354010"/>
                    <a:pt x="91967" y="354010"/>
                    <a:pt x="91967" y="355270"/>
                  </a:cubicBezTo>
                  <a:cubicBezTo>
                    <a:pt x="90707" y="356530"/>
                    <a:pt x="90707" y="357790"/>
                    <a:pt x="89448" y="359050"/>
                  </a:cubicBezTo>
                  <a:lnTo>
                    <a:pt x="88188" y="361569"/>
                  </a:lnTo>
                  <a:cubicBezTo>
                    <a:pt x="85668" y="365349"/>
                    <a:pt x="84408" y="369128"/>
                    <a:pt x="80629" y="371648"/>
                  </a:cubicBezTo>
                  <a:cubicBezTo>
                    <a:pt x="78109" y="374168"/>
                    <a:pt x="76849" y="375427"/>
                    <a:pt x="74329" y="377947"/>
                  </a:cubicBezTo>
                  <a:cubicBezTo>
                    <a:pt x="73070" y="379207"/>
                    <a:pt x="71810" y="379207"/>
                    <a:pt x="71810" y="380467"/>
                  </a:cubicBezTo>
                  <a:lnTo>
                    <a:pt x="71810" y="380467"/>
                  </a:lnTo>
                  <a:cubicBezTo>
                    <a:pt x="70550" y="381727"/>
                    <a:pt x="69290" y="382986"/>
                    <a:pt x="68030" y="382986"/>
                  </a:cubicBezTo>
                  <a:cubicBezTo>
                    <a:pt x="66771" y="384246"/>
                    <a:pt x="64251" y="384246"/>
                    <a:pt x="62991" y="385506"/>
                  </a:cubicBezTo>
                  <a:cubicBezTo>
                    <a:pt x="60472" y="386766"/>
                    <a:pt x="59212" y="386766"/>
                    <a:pt x="56692" y="388026"/>
                  </a:cubicBezTo>
                  <a:cubicBezTo>
                    <a:pt x="55432" y="388026"/>
                    <a:pt x="52913" y="389286"/>
                    <a:pt x="51653" y="389286"/>
                  </a:cubicBezTo>
                  <a:cubicBezTo>
                    <a:pt x="51653" y="389286"/>
                    <a:pt x="50393" y="389286"/>
                    <a:pt x="50393" y="389286"/>
                  </a:cubicBezTo>
                  <a:cubicBezTo>
                    <a:pt x="49133" y="389286"/>
                    <a:pt x="49133" y="389286"/>
                    <a:pt x="47874" y="389286"/>
                  </a:cubicBezTo>
                  <a:cubicBezTo>
                    <a:pt x="47874" y="389286"/>
                    <a:pt x="47874" y="389286"/>
                    <a:pt x="47874" y="389286"/>
                  </a:cubicBezTo>
                  <a:cubicBezTo>
                    <a:pt x="47874" y="389286"/>
                    <a:pt x="47874" y="389286"/>
                    <a:pt x="47874" y="389286"/>
                  </a:cubicBezTo>
                  <a:cubicBezTo>
                    <a:pt x="47874" y="389286"/>
                    <a:pt x="47874" y="389286"/>
                    <a:pt x="47874" y="389286"/>
                  </a:cubicBezTo>
                  <a:lnTo>
                    <a:pt x="47874" y="389286"/>
                  </a:lnTo>
                  <a:lnTo>
                    <a:pt x="47874" y="389286"/>
                  </a:lnTo>
                  <a:cubicBezTo>
                    <a:pt x="47874" y="389286"/>
                    <a:pt x="47874" y="389286"/>
                    <a:pt x="47874" y="389286"/>
                  </a:cubicBezTo>
                  <a:cubicBezTo>
                    <a:pt x="44094" y="388026"/>
                    <a:pt x="41574" y="386766"/>
                    <a:pt x="39055" y="386766"/>
                  </a:cubicBezTo>
                  <a:lnTo>
                    <a:pt x="39055" y="386766"/>
                  </a:lnTo>
                  <a:cubicBezTo>
                    <a:pt x="36535" y="385506"/>
                    <a:pt x="34015" y="384246"/>
                    <a:pt x="31496" y="382986"/>
                  </a:cubicBezTo>
                  <a:cubicBezTo>
                    <a:pt x="30236" y="382986"/>
                    <a:pt x="28976" y="381727"/>
                    <a:pt x="28976" y="381727"/>
                  </a:cubicBezTo>
                  <a:lnTo>
                    <a:pt x="27716" y="381727"/>
                  </a:lnTo>
                  <a:cubicBezTo>
                    <a:pt x="26456" y="380467"/>
                    <a:pt x="25196" y="380467"/>
                    <a:pt x="23937" y="379207"/>
                  </a:cubicBezTo>
                  <a:cubicBezTo>
                    <a:pt x="22677" y="377947"/>
                    <a:pt x="22677" y="377947"/>
                    <a:pt x="21417" y="376687"/>
                  </a:cubicBezTo>
                  <a:lnTo>
                    <a:pt x="21417" y="376687"/>
                  </a:lnTo>
                  <a:cubicBezTo>
                    <a:pt x="18897" y="374168"/>
                    <a:pt x="17637" y="371648"/>
                    <a:pt x="15118" y="369128"/>
                  </a:cubicBezTo>
                  <a:lnTo>
                    <a:pt x="15118" y="367869"/>
                  </a:lnTo>
                  <a:cubicBezTo>
                    <a:pt x="15118" y="367869"/>
                    <a:pt x="13858" y="366609"/>
                    <a:pt x="13858" y="365349"/>
                  </a:cubicBezTo>
                  <a:cubicBezTo>
                    <a:pt x="12598" y="364089"/>
                    <a:pt x="12598" y="362829"/>
                    <a:pt x="11338" y="361569"/>
                  </a:cubicBezTo>
                  <a:cubicBezTo>
                    <a:pt x="10079" y="359050"/>
                    <a:pt x="8819" y="355270"/>
                    <a:pt x="7559" y="352751"/>
                  </a:cubicBezTo>
                  <a:cubicBezTo>
                    <a:pt x="6299" y="348971"/>
                    <a:pt x="5039" y="346451"/>
                    <a:pt x="3780" y="342672"/>
                  </a:cubicBezTo>
                  <a:lnTo>
                    <a:pt x="3780" y="341412"/>
                  </a:lnTo>
                  <a:cubicBezTo>
                    <a:pt x="2520" y="336373"/>
                    <a:pt x="1260" y="331334"/>
                    <a:pt x="0" y="323775"/>
                  </a:cubicBezTo>
                  <a:cubicBezTo>
                    <a:pt x="0" y="321255"/>
                    <a:pt x="0" y="318735"/>
                    <a:pt x="0" y="316216"/>
                  </a:cubicBezTo>
                  <a:lnTo>
                    <a:pt x="0" y="313696"/>
                  </a:lnTo>
                  <a:cubicBezTo>
                    <a:pt x="0" y="311177"/>
                    <a:pt x="0" y="309917"/>
                    <a:pt x="0" y="307397"/>
                  </a:cubicBezTo>
                  <a:lnTo>
                    <a:pt x="0" y="304877"/>
                  </a:lnTo>
                  <a:lnTo>
                    <a:pt x="0" y="304877"/>
                  </a:lnTo>
                  <a:lnTo>
                    <a:pt x="0" y="304877"/>
                  </a:lnTo>
                  <a:cubicBezTo>
                    <a:pt x="0" y="303618"/>
                    <a:pt x="0" y="301098"/>
                    <a:pt x="0" y="299838"/>
                  </a:cubicBezTo>
                  <a:lnTo>
                    <a:pt x="0" y="297318"/>
                  </a:lnTo>
                  <a:lnTo>
                    <a:pt x="0" y="294799"/>
                  </a:lnTo>
                  <a:cubicBezTo>
                    <a:pt x="0" y="293539"/>
                    <a:pt x="0" y="291019"/>
                    <a:pt x="0" y="289759"/>
                  </a:cubicBezTo>
                  <a:cubicBezTo>
                    <a:pt x="0" y="287240"/>
                    <a:pt x="1260" y="284720"/>
                    <a:pt x="2520" y="282201"/>
                  </a:cubicBezTo>
                  <a:lnTo>
                    <a:pt x="2520" y="282201"/>
                  </a:lnTo>
                  <a:lnTo>
                    <a:pt x="2520" y="280941"/>
                  </a:lnTo>
                  <a:cubicBezTo>
                    <a:pt x="3780" y="278421"/>
                    <a:pt x="3780" y="274642"/>
                    <a:pt x="5039" y="272122"/>
                  </a:cubicBezTo>
                  <a:lnTo>
                    <a:pt x="5039" y="270862"/>
                  </a:lnTo>
                  <a:lnTo>
                    <a:pt x="5039" y="270862"/>
                  </a:lnTo>
                  <a:cubicBezTo>
                    <a:pt x="6299" y="267083"/>
                    <a:pt x="8819" y="260784"/>
                    <a:pt x="11338" y="257004"/>
                  </a:cubicBezTo>
                  <a:cubicBezTo>
                    <a:pt x="11338" y="255744"/>
                    <a:pt x="12598" y="255744"/>
                    <a:pt x="12598" y="254484"/>
                  </a:cubicBezTo>
                  <a:lnTo>
                    <a:pt x="12598" y="254484"/>
                  </a:lnTo>
                  <a:cubicBezTo>
                    <a:pt x="13858" y="253225"/>
                    <a:pt x="13858" y="250705"/>
                    <a:pt x="15118" y="249445"/>
                  </a:cubicBezTo>
                  <a:cubicBezTo>
                    <a:pt x="16378" y="246925"/>
                    <a:pt x="18897" y="243146"/>
                    <a:pt x="20157" y="240626"/>
                  </a:cubicBezTo>
                  <a:lnTo>
                    <a:pt x="20157" y="240626"/>
                  </a:lnTo>
                  <a:cubicBezTo>
                    <a:pt x="22677" y="236847"/>
                    <a:pt x="25196" y="231808"/>
                    <a:pt x="27716" y="226768"/>
                  </a:cubicBezTo>
                  <a:cubicBezTo>
                    <a:pt x="30236" y="221729"/>
                    <a:pt x="34015" y="216690"/>
                    <a:pt x="37795" y="211650"/>
                  </a:cubicBezTo>
                  <a:cubicBezTo>
                    <a:pt x="41574" y="206611"/>
                    <a:pt x="45354" y="200312"/>
                    <a:pt x="49133" y="196533"/>
                  </a:cubicBezTo>
                  <a:cubicBezTo>
                    <a:pt x="55432" y="187714"/>
                    <a:pt x="61731" y="180155"/>
                    <a:pt x="69290" y="172596"/>
                  </a:cubicBezTo>
                  <a:lnTo>
                    <a:pt x="71810" y="170076"/>
                  </a:lnTo>
                  <a:cubicBezTo>
                    <a:pt x="78109" y="162517"/>
                    <a:pt x="86928" y="153699"/>
                    <a:pt x="95747" y="144880"/>
                  </a:cubicBezTo>
                  <a:cubicBezTo>
                    <a:pt x="98266" y="142360"/>
                    <a:pt x="102046" y="139840"/>
                    <a:pt x="104566" y="137321"/>
                  </a:cubicBezTo>
                  <a:lnTo>
                    <a:pt x="104566" y="137321"/>
                  </a:lnTo>
                  <a:lnTo>
                    <a:pt x="104566" y="137321"/>
                  </a:lnTo>
                  <a:cubicBezTo>
                    <a:pt x="104566" y="137321"/>
                    <a:pt x="104566" y="137321"/>
                    <a:pt x="104566" y="137321"/>
                  </a:cubicBezTo>
                  <a:cubicBezTo>
                    <a:pt x="109605" y="132281"/>
                    <a:pt x="115904" y="127242"/>
                    <a:pt x="120943" y="120943"/>
                  </a:cubicBezTo>
                  <a:cubicBezTo>
                    <a:pt x="129762" y="112124"/>
                    <a:pt x="137321" y="104565"/>
                    <a:pt x="146140" y="97007"/>
                  </a:cubicBezTo>
                  <a:cubicBezTo>
                    <a:pt x="149919" y="93227"/>
                    <a:pt x="154958" y="89448"/>
                    <a:pt x="159998" y="84408"/>
                  </a:cubicBezTo>
                  <a:cubicBezTo>
                    <a:pt x="162517" y="81889"/>
                    <a:pt x="165037" y="80629"/>
                    <a:pt x="167557" y="78109"/>
                  </a:cubicBezTo>
                  <a:cubicBezTo>
                    <a:pt x="168816" y="76849"/>
                    <a:pt x="171336" y="75589"/>
                    <a:pt x="172596" y="73070"/>
                  </a:cubicBezTo>
                  <a:lnTo>
                    <a:pt x="176375" y="70550"/>
                  </a:lnTo>
                  <a:cubicBezTo>
                    <a:pt x="180155" y="66771"/>
                    <a:pt x="183934" y="64251"/>
                    <a:pt x="187714" y="60472"/>
                  </a:cubicBezTo>
                  <a:cubicBezTo>
                    <a:pt x="187714" y="60472"/>
                    <a:pt x="188973" y="59212"/>
                    <a:pt x="188973" y="59212"/>
                  </a:cubicBezTo>
                  <a:lnTo>
                    <a:pt x="191493" y="56692"/>
                  </a:lnTo>
                  <a:cubicBezTo>
                    <a:pt x="192753" y="55432"/>
                    <a:pt x="194013" y="54172"/>
                    <a:pt x="194013" y="52913"/>
                  </a:cubicBezTo>
                  <a:cubicBezTo>
                    <a:pt x="196533" y="50393"/>
                    <a:pt x="197792" y="49133"/>
                    <a:pt x="200312" y="46614"/>
                  </a:cubicBezTo>
                  <a:lnTo>
                    <a:pt x="200312" y="46614"/>
                  </a:lnTo>
                  <a:lnTo>
                    <a:pt x="200312" y="46614"/>
                  </a:lnTo>
                  <a:lnTo>
                    <a:pt x="200312" y="46614"/>
                  </a:lnTo>
                  <a:lnTo>
                    <a:pt x="200312" y="46614"/>
                  </a:lnTo>
                  <a:lnTo>
                    <a:pt x="200312" y="46614"/>
                  </a:lnTo>
                  <a:lnTo>
                    <a:pt x="200312" y="46614"/>
                  </a:lnTo>
                  <a:cubicBezTo>
                    <a:pt x="201572" y="45354"/>
                    <a:pt x="202832" y="45354"/>
                    <a:pt x="204092" y="44094"/>
                  </a:cubicBezTo>
                  <a:cubicBezTo>
                    <a:pt x="204092" y="44094"/>
                    <a:pt x="204092" y="44094"/>
                    <a:pt x="204092" y="44094"/>
                  </a:cubicBezTo>
                  <a:cubicBezTo>
                    <a:pt x="204092" y="44094"/>
                    <a:pt x="204092" y="44094"/>
                    <a:pt x="204092" y="44094"/>
                  </a:cubicBezTo>
                  <a:lnTo>
                    <a:pt x="204092" y="44094"/>
                  </a:lnTo>
                  <a:lnTo>
                    <a:pt x="204092" y="44094"/>
                  </a:lnTo>
                  <a:cubicBezTo>
                    <a:pt x="204092" y="44094"/>
                    <a:pt x="204092" y="44094"/>
                    <a:pt x="204092" y="44094"/>
                  </a:cubicBezTo>
                  <a:cubicBezTo>
                    <a:pt x="204092" y="44094"/>
                    <a:pt x="204092" y="44094"/>
                    <a:pt x="204092" y="44094"/>
                  </a:cubicBezTo>
                  <a:lnTo>
                    <a:pt x="204092" y="44094"/>
                  </a:lnTo>
                  <a:lnTo>
                    <a:pt x="204092" y="44094"/>
                  </a:lnTo>
                  <a:lnTo>
                    <a:pt x="204092" y="44094"/>
                  </a:lnTo>
                  <a:lnTo>
                    <a:pt x="204092" y="44094"/>
                  </a:lnTo>
                  <a:lnTo>
                    <a:pt x="204092" y="44094"/>
                  </a:lnTo>
                  <a:lnTo>
                    <a:pt x="204092" y="44094"/>
                  </a:lnTo>
                  <a:lnTo>
                    <a:pt x="204092" y="44094"/>
                  </a:lnTo>
                  <a:lnTo>
                    <a:pt x="204092" y="44094"/>
                  </a:lnTo>
                  <a:lnTo>
                    <a:pt x="204092" y="44094"/>
                  </a:lnTo>
                  <a:cubicBezTo>
                    <a:pt x="207871" y="41574"/>
                    <a:pt x="211651" y="39055"/>
                    <a:pt x="215430" y="35275"/>
                  </a:cubicBezTo>
                  <a:cubicBezTo>
                    <a:pt x="216690" y="34015"/>
                    <a:pt x="219209" y="32755"/>
                    <a:pt x="220469" y="31496"/>
                  </a:cubicBezTo>
                  <a:cubicBezTo>
                    <a:pt x="221729" y="30236"/>
                    <a:pt x="222989" y="28976"/>
                    <a:pt x="225508" y="27716"/>
                  </a:cubicBezTo>
                  <a:cubicBezTo>
                    <a:pt x="228028" y="25196"/>
                    <a:pt x="231807" y="23937"/>
                    <a:pt x="234327" y="22677"/>
                  </a:cubicBezTo>
                  <a:cubicBezTo>
                    <a:pt x="235587" y="21417"/>
                    <a:pt x="236847" y="21417"/>
                    <a:pt x="238107" y="20157"/>
                  </a:cubicBezTo>
                  <a:lnTo>
                    <a:pt x="238107" y="20157"/>
                  </a:lnTo>
                  <a:cubicBezTo>
                    <a:pt x="240626" y="18897"/>
                    <a:pt x="241886" y="17638"/>
                    <a:pt x="244406" y="16378"/>
                  </a:cubicBezTo>
                  <a:cubicBezTo>
                    <a:pt x="249445" y="13858"/>
                    <a:pt x="255744" y="10079"/>
                    <a:pt x="262043" y="7559"/>
                  </a:cubicBezTo>
                  <a:cubicBezTo>
                    <a:pt x="268343" y="5039"/>
                    <a:pt x="275901" y="2520"/>
                    <a:pt x="283460" y="1260"/>
                  </a:cubicBezTo>
                  <a:cubicBezTo>
                    <a:pt x="288499" y="1260"/>
                    <a:pt x="292279" y="0"/>
                    <a:pt x="296058" y="0"/>
                  </a:cubicBezTo>
                  <a:cubicBezTo>
                    <a:pt x="297318" y="1260"/>
                    <a:pt x="301098" y="1260"/>
                    <a:pt x="306137" y="1260"/>
                  </a:cubicBezTo>
                  <a:lnTo>
                    <a:pt x="306137" y="1260"/>
                  </a:lnTo>
                  <a:close/>
                </a:path>
              </a:pathLst>
            </a:custGeom>
            <a:solidFill>
              <a:srgbClr val="F2A988"/>
            </a:solidFill>
            <a:ln w="12584" cap="flat">
              <a:noFill/>
              <a:prstDash val="solid"/>
              <a:miter/>
            </a:ln>
          </p:spPr>
          <p:txBody>
            <a:bodyPr rtlCol="0" anchor="ctr"/>
            <a:lstStyle/>
            <a:p>
              <a:endParaRPr lang="zh-CN" altLang="en-US"/>
            </a:p>
          </p:txBody>
        </p:sp>
        <p:sp>
          <p:nvSpPr>
            <p:cNvPr id="221" name="任意多边形: 形状 220"/>
            <p:cNvSpPr/>
            <p:nvPr/>
          </p:nvSpPr>
          <p:spPr>
            <a:xfrm>
              <a:off x="9739553" y="3396793"/>
              <a:ext cx="171607" cy="283152"/>
            </a:xfrm>
            <a:custGeom>
              <a:avLst/>
              <a:gdLst>
                <a:gd name="connsiteX0" fmla="*/ 172596 w 251964"/>
                <a:gd name="connsiteY0" fmla="*/ 560 h 415741"/>
                <a:gd name="connsiteX1" fmla="*/ 177635 w 251964"/>
                <a:gd name="connsiteY1" fmla="*/ 11898 h 415741"/>
                <a:gd name="connsiteX2" fmla="*/ 177635 w 251964"/>
                <a:gd name="connsiteY2" fmla="*/ 13158 h 415741"/>
                <a:gd name="connsiteX3" fmla="*/ 180155 w 251964"/>
                <a:gd name="connsiteY3" fmla="*/ 16938 h 415741"/>
                <a:gd name="connsiteX4" fmla="*/ 180155 w 251964"/>
                <a:gd name="connsiteY4" fmla="*/ 16938 h 415741"/>
                <a:gd name="connsiteX5" fmla="*/ 182674 w 251964"/>
                <a:gd name="connsiteY5" fmla="*/ 20717 h 415741"/>
                <a:gd name="connsiteX6" fmla="*/ 194013 w 251964"/>
                <a:gd name="connsiteY6" fmla="*/ 30796 h 415741"/>
                <a:gd name="connsiteX7" fmla="*/ 200312 w 251964"/>
                <a:gd name="connsiteY7" fmla="*/ 35835 h 415741"/>
                <a:gd name="connsiteX8" fmla="*/ 211650 w 251964"/>
                <a:gd name="connsiteY8" fmla="*/ 43394 h 415741"/>
                <a:gd name="connsiteX9" fmla="*/ 226768 w 251964"/>
                <a:gd name="connsiteY9" fmla="*/ 49693 h 415741"/>
                <a:gd name="connsiteX10" fmla="*/ 234327 w 251964"/>
                <a:gd name="connsiteY10" fmla="*/ 52213 h 415741"/>
                <a:gd name="connsiteX11" fmla="*/ 238107 w 251964"/>
                <a:gd name="connsiteY11" fmla="*/ 53473 h 415741"/>
                <a:gd name="connsiteX12" fmla="*/ 238107 w 251964"/>
                <a:gd name="connsiteY12" fmla="*/ 53473 h 415741"/>
                <a:gd name="connsiteX13" fmla="*/ 248185 w 251964"/>
                <a:gd name="connsiteY13" fmla="*/ 58512 h 415741"/>
                <a:gd name="connsiteX14" fmla="*/ 255744 w 251964"/>
                <a:gd name="connsiteY14" fmla="*/ 61031 h 415741"/>
                <a:gd name="connsiteX15" fmla="*/ 257004 w 251964"/>
                <a:gd name="connsiteY15" fmla="*/ 61031 h 415741"/>
                <a:gd name="connsiteX16" fmla="*/ 257004 w 251964"/>
                <a:gd name="connsiteY16" fmla="*/ 61031 h 415741"/>
                <a:gd name="connsiteX17" fmla="*/ 257004 w 251964"/>
                <a:gd name="connsiteY17" fmla="*/ 61031 h 415741"/>
                <a:gd name="connsiteX18" fmla="*/ 257004 w 251964"/>
                <a:gd name="connsiteY18" fmla="*/ 61031 h 415741"/>
                <a:gd name="connsiteX19" fmla="*/ 257004 w 251964"/>
                <a:gd name="connsiteY19" fmla="*/ 61031 h 415741"/>
                <a:gd name="connsiteX20" fmla="*/ 258264 w 251964"/>
                <a:gd name="connsiteY20" fmla="*/ 61031 h 415741"/>
                <a:gd name="connsiteX21" fmla="*/ 259524 w 251964"/>
                <a:gd name="connsiteY21" fmla="*/ 62291 h 415741"/>
                <a:gd name="connsiteX22" fmla="*/ 259524 w 251964"/>
                <a:gd name="connsiteY22" fmla="*/ 67331 h 415741"/>
                <a:gd name="connsiteX23" fmla="*/ 258264 w 251964"/>
                <a:gd name="connsiteY23" fmla="*/ 79929 h 415741"/>
                <a:gd name="connsiteX24" fmla="*/ 257004 w 251964"/>
                <a:gd name="connsiteY24" fmla="*/ 86228 h 415741"/>
                <a:gd name="connsiteX25" fmla="*/ 257004 w 251964"/>
                <a:gd name="connsiteY25" fmla="*/ 86228 h 415741"/>
                <a:gd name="connsiteX26" fmla="*/ 255744 w 251964"/>
                <a:gd name="connsiteY26" fmla="*/ 92527 h 415741"/>
                <a:gd name="connsiteX27" fmla="*/ 254484 w 251964"/>
                <a:gd name="connsiteY27" fmla="*/ 105125 h 415741"/>
                <a:gd name="connsiteX28" fmla="*/ 254484 w 251964"/>
                <a:gd name="connsiteY28" fmla="*/ 111424 h 415741"/>
                <a:gd name="connsiteX29" fmla="*/ 254484 w 251964"/>
                <a:gd name="connsiteY29" fmla="*/ 122763 h 415741"/>
                <a:gd name="connsiteX30" fmla="*/ 249445 w 251964"/>
                <a:gd name="connsiteY30" fmla="*/ 126542 h 415741"/>
                <a:gd name="connsiteX31" fmla="*/ 235587 w 251964"/>
                <a:gd name="connsiteY31" fmla="*/ 139140 h 415741"/>
                <a:gd name="connsiteX32" fmla="*/ 235587 w 251964"/>
                <a:gd name="connsiteY32" fmla="*/ 156778 h 415741"/>
                <a:gd name="connsiteX33" fmla="*/ 250705 w 251964"/>
                <a:gd name="connsiteY33" fmla="*/ 159298 h 415741"/>
                <a:gd name="connsiteX34" fmla="*/ 250705 w 251964"/>
                <a:gd name="connsiteY34" fmla="*/ 159298 h 415741"/>
                <a:gd name="connsiteX35" fmla="*/ 250705 w 251964"/>
                <a:gd name="connsiteY35" fmla="*/ 163077 h 415741"/>
                <a:gd name="connsiteX36" fmla="*/ 250705 w 251964"/>
                <a:gd name="connsiteY36" fmla="*/ 164337 h 415741"/>
                <a:gd name="connsiteX37" fmla="*/ 250705 w 251964"/>
                <a:gd name="connsiteY37" fmla="*/ 165597 h 415741"/>
                <a:gd name="connsiteX38" fmla="*/ 250705 w 251964"/>
                <a:gd name="connsiteY38" fmla="*/ 170636 h 415741"/>
                <a:gd name="connsiteX39" fmla="*/ 249445 w 251964"/>
                <a:gd name="connsiteY39" fmla="*/ 178195 h 415741"/>
                <a:gd name="connsiteX40" fmla="*/ 245666 w 251964"/>
                <a:gd name="connsiteY40" fmla="*/ 181975 h 415741"/>
                <a:gd name="connsiteX41" fmla="*/ 243146 w 251964"/>
                <a:gd name="connsiteY41" fmla="*/ 184494 h 415741"/>
                <a:gd name="connsiteX42" fmla="*/ 236847 w 251964"/>
                <a:gd name="connsiteY42" fmla="*/ 190793 h 415741"/>
                <a:gd name="connsiteX43" fmla="*/ 233067 w 251964"/>
                <a:gd name="connsiteY43" fmla="*/ 194573 h 415741"/>
                <a:gd name="connsiteX44" fmla="*/ 228028 w 251964"/>
                <a:gd name="connsiteY44" fmla="*/ 199612 h 415741"/>
                <a:gd name="connsiteX45" fmla="*/ 226768 w 251964"/>
                <a:gd name="connsiteY45" fmla="*/ 204651 h 415741"/>
                <a:gd name="connsiteX46" fmla="*/ 226768 w 251964"/>
                <a:gd name="connsiteY46" fmla="*/ 205911 h 415741"/>
                <a:gd name="connsiteX47" fmla="*/ 226768 w 251964"/>
                <a:gd name="connsiteY47" fmla="*/ 207171 h 415741"/>
                <a:gd name="connsiteX48" fmla="*/ 229288 w 251964"/>
                <a:gd name="connsiteY48" fmla="*/ 212210 h 415741"/>
                <a:gd name="connsiteX49" fmla="*/ 235587 w 251964"/>
                <a:gd name="connsiteY49" fmla="*/ 214730 h 415741"/>
                <a:gd name="connsiteX50" fmla="*/ 235587 w 251964"/>
                <a:gd name="connsiteY50" fmla="*/ 214730 h 415741"/>
                <a:gd name="connsiteX51" fmla="*/ 240626 w 251964"/>
                <a:gd name="connsiteY51" fmla="*/ 213470 h 415741"/>
                <a:gd name="connsiteX52" fmla="*/ 241886 w 251964"/>
                <a:gd name="connsiteY52" fmla="*/ 212210 h 415741"/>
                <a:gd name="connsiteX53" fmla="*/ 240626 w 251964"/>
                <a:gd name="connsiteY53" fmla="*/ 217250 h 415741"/>
                <a:gd name="connsiteX54" fmla="*/ 236847 w 251964"/>
                <a:gd name="connsiteY54" fmla="*/ 229848 h 415741"/>
                <a:gd name="connsiteX55" fmla="*/ 233067 w 251964"/>
                <a:gd name="connsiteY55" fmla="*/ 239926 h 415741"/>
                <a:gd name="connsiteX56" fmla="*/ 230548 w 251964"/>
                <a:gd name="connsiteY56" fmla="*/ 244966 h 415741"/>
                <a:gd name="connsiteX57" fmla="*/ 230548 w 251964"/>
                <a:gd name="connsiteY57" fmla="*/ 246225 h 415741"/>
                <a:gd name="connsiteX58" fmla="*/ 230548 w 251964"/>
                <a:gd name="connsiteY58" fmla="*/ 247485 h 415741"/>
                <a:gd name="connsiteX59" fmla="*/ 228028 w 251964"/>
                <a:gd name="connsiteY59" fmla="*/ 252525 h 415741"/>
                <a:gd name="connsiteX60" fmla="*/ 226768 w 251964"/>
                <a:gd name="connsiteY60" fmla="*/ 253784 h 415741"/>
                <a:gd name="connsiteX61" fmla="*/ 222989 w 251964"/>
                <a:gd name="connsiteY61" fmla="*/ 258824 h 415741"/>
                <a:gd name="connsiteX62" fmla="*/ 220469 w 251964"/>
                <a:gd name="connsiteY62" fmla="*/ 265123 h 415741"/>
                <a:gd name="connsiteX63" fmla="*/ 220469 w 251964"/>
                <a:gd name="connsiteY63" fmla="*/ 265123 h 415741"/>
                <a:gd name="connsiteX64" fmla="*/ 220469 w 251964"/>
                <a:gd name="connsiteY64" fmla="*/ 266383 h 415741"/>
                <a:gd name="connsiteX65" fmla="*/ 220469 w 251964"/>
                <a:gd name="connsiteY65" fmla="*/ 266383 h 415741"/>
                <a:gd name="connsiteX66" fmla="*/ 219209 w 251964"/>
                <a:gd name="connsiteY66" fmla="*/ 268902 h 415741"/>
                <a:gd name="connsiteX67" fmla="*/ 219209 w 251964"/>
                <a:gd name="connsiteY67" fmla="*/ 268902 h 415741"/>
                <a:gd name="connsiteX68" fmla="*/ 217949 w 251964"/>
                <a:gd name="connsiteY68" fmla="*/ 271422 h 415741"/>
                <a:gd name="connsiteX69" fmla="*/ 217949 w 251964"/>
                <a:gd name="connsiteY69" fmla="*/ 271422 h 415741"/>
                <a:gd name="connsiteX70" fmla="*/ 217949 w 251964"/>
                <a:gd name="connsiteY70" fmla="*/ 271422 h 415741"/>
                <a:gd name="connsiteX71" fmla="*/ 216690 w 251964"/>
                <a:gd name="connsiteY71" fmla="*/ 273942 h 415741"/>
                <a:gd name="connsiteX72" fmla="*/ 216690 w 251964"/>
                <a:gd name="connsiteY72" fmla="*/ 275201 h 415741"/>
                <a:gd name="connsiteX73" fmla="*/ 216690 w 251964"/>
                <a:gd name="connsiteY73" fmla="*/ 276461 h 415741"/>
                <a:gd name="connsiteX74" fmla="*/ 217949 w 251964"/>
                <a:gd name="connsiteY74" fmla="*/ 280241 h 415741"/>
                <a:gd name="connsiteX75" fmla="*/ 219209 w 251964"/>
                <a:gd name="connsiteY75" fmla="*/ 290319 h 415741"/>
                <a:gd name="connsiteX76" fmla="*/ 219209 w 251964"/>
                <a:gd name="connsiteY76" fmla="*/ 290319 h 415741"/>
                <a:gd name="connsiteX77" fmla="*/ 220469 w 251964"/>
                <a:gd name="connsiteY77" fmla="*/ 300398 h 415741"/>
                <a:gd name="connsiteX78" fmla="*/ 221729 w 251964"/>
                <a:gd name="connsiteY78" fmla="*/ 310476 h 415741"/>
                <a:gd name="connsiteX79" fmla="*/ 224248 w 251964"/>
                <a:gd name="connsiteY79" fmla="*/ 321815 h 415741"/>
                <a:gd name="connsiteX80" fmla="*/ 230548 w 251964"/>
                <a:gd name="connsiteY80" fmla="*/ 338193 h 415741"/>
                <a:gd name="connsiteX81" fmla="*/ 234327 w 251964"/>
                <a:gd name="connsiteY81" fmla="*/ 347011 h 415741"/>
                <a:gd name="connsiteX82" fmla="*/ 234327 w 251964"/>
                <a:gd name="connsiteY82" fmla="*/ 347011 h 415741"/>
                <a:gd name="connsiteX83" fmla="*/ 236847 w 251964"/>
                <a:gd name="connsiteY83" fmla="*/ 353310 h 415741"/>
                <a:gd name="connsiteX84" fmla="*/ 238107 w 251964"/>
                <a:gd name="connsiteY84" fmla="*/ 354570 h 415741"/>
                <a:gd name="connsiteX85" fmla="*/ 238107 w 251964"/>
                <a:gd name="connsiteY85" fmla="*/ 354570 h 415741"/>
                <a:gd name="connsiteX86" fmla="*/ 240626 w 251964"/>
                <a:gd name="connsiteY86" fmla="*/ 359610 h 415741"/>
                <a:gd name="connsiteX87" fmla="*/ 241886 w 251964"/>
                <a:gd name="connsiteY87" fmla="*/ 364649 h 415741"/>
                <a:gd name="connsiteX88" fmla="*/ 241886 w 251964"/>
                <a:gd name="connsiteY88" fmla="*/ 365909 h 415741"/>
                <a:gd name="connsiteX89" fmla="*/ 241886 w 251964"/>
                <a:gd name="connsiteY89" fmla="*/ 365909 h 415741"/>
                <a:gd name="connsiteX90" fmla="*/ 241886 w 251964"/>
                <a:gd name="connsiteY90" fmla="*/ 365909 h 415741"/>
                <a:gd name="connsiteX91" fmla="*/ 241886 w 251964"/>
                <a:gd name="connsiteY91" fmla="*/ 369688 h 415741"/>
                <a:gd name="connsiteX92" fmla="*/ 241886 w 251964"/>
                <a:gd name="connsiteY92" fmla="*/ 373468 h 415741"/>
                <a:gd name="connsiteX93" fmla="*/ 241886 w 251964"/>
                <a:gd name="connsiteY93" fmla="*/ 374728 h 415741"/>
                <a:gd name="connsiteX94" fmla="*/ 240626 w 251964"/>
                <a:gd name="connsiteY94" fmla="*/ 378507 h 415741"/>
                <a:gd name="connsiteX95" fmla="*/ 236847 w 251964"/>
                <a:gd name="connsiteY95" fmla="*/ 387326 h 415741"/>
                <a:gd name="connsiteX96" fmla="*/ 231807 w 251964"/>
                <a:gd name="connsiteY96" fmla="*/ 393625 h 415741"/>
                <a:gd name="connsiteX97" fmla="*/ 219209 w 251964"/>
                <a:gd name="connsiteY97" fmla="*/ 406223 h 415741"/>
                <a:gd name="connsiteX98" fmla="*/ 210391 w 251964"/>
                <a:gd name="connsiteY98" fmla="*/ 411262 h 415741"/>
                <a:gd name="connsiteX99" fmla="*/ 209131 w 251964"/>
                <a:gd name="connsiteY99" fmla="*/ 412522 h 415741"/>
                <a:gd name="connsiteX100" fmla="*/ 202832 w 251964"/>
                <a:gd name="connsiteY100" fmla="*/ 416302 h 415741"/>
                <a:gd name="connsiteX101" fmla="*/ 185194 w 251964"/>
                <a:gd name="connsiteY101" fmla="*/ 421341 h 415741"/>
                <a:gd name="connsiteX102" fmla="*/ 175115 w 251964"/>
                <a:gd name="connsiteY102" fmla="*/ 421341 h 415741"/>
                <a:gd name="connsiteX103" fmla="*/ 166297 w 251964"/>
                <a:gd name="connsiteY103" fmla="*/ 421341 h 415741"/>
                <a:gd name="connsiteX104" fmla="*/ 165037 w 251964"/>
                <a:gd name="connsiteY104" fmla="*/ 421341 h 415741"/>
                <a:gd name="connsiteX105" fmla="*/ 157478 w 251964"/>
                <a:gd name="connsiteY105" fmla="*/ 420081 h 415741"/>
                <a:gd name="connsiteX106" fmla="*/ 149919 w 251964"/>
                <a:gd name="connsiteY106" fmla="*/ 417561 h 415741"/>
                <a:gd name="connsiteX107" fmla="*/ 137321 w 251964"/>
                <a:gd name="connsiteY107" fmla="*/ 411262 h 415741"/>
                <a:gd name="connsiteX108" fmla="*/ 131022 w 251964"/>
                <a:gd name="connsiteY108" fmla="*/ 406223 h 415741"/>
                <a:gd name="connsiteX109" fmla="*/ 125982 w 251964"/>
                <a:gd name="connsiteY109" fmla="*/ 399924 h 415741"/>
                <a:gd name="connsiteX110" fmla="*/ 123463 w 251964"/>
                <a:gd name="connsiteY110" fmla="*/ 393625 h 415741"/>
                <a:gd name="connsiteX111" fmla="*/ 120943 w 251964"/>
                <a:gd name="connsiteY111" fmla="*/ 386066 h 415741"/>
                <a:gd name="connsiteX112" fmla="*/ 119683 w 251964"/>
                <a:gd name="connsiteY112" fmla="*/ 378507 h 415741"/>
                <a:gd name="connsiteX113" fmla="*/ 119683 w 251964"/>
                <a:gd name="connsiteY113" fmla="*/ 378507 h 415741"/>
                <a:gd name="connsiteX114" fmla="*/ 119683 w 251964"/>
                <a:gd name="connsiteY114" fmla="*/ 378507 h 415741"/>
                <a:gd name="connsiteX115" fmla="*/ 119683 w 251964"/>
                <a:gd name="connsiteY115" fmla="*/ 378507 h 415741"/>
                <a:gd name="connsiteX116" fmla="*/ 125982 w 251964"/>
                <a:gd name="connsiteY116" fmla="*/ 373468 h 415741"/>
                <a:gd name="connsiteX117" fmla="*/ 129762 w 251964"/>
                <a:gd name="connsiteY117" fmla="*/ 368428 h 415741"/>
                <a:gd name="connsiteX118" fmla="*/ 131022 w 251964"/>
                <a:gd name="connsiteY118" fmla="*/ 358350 h 415741"/>
                <a:gd name="connsiteX119" fmla="*/ 128502 w 251964"/>
                <a:gd name="connsiteY119" fmla="*/ 353310 h 415741"/>
                <a:gd name="connsiteX120" fmla="*/ 132281 w 251964"/>
                <a:gd name="connsiteY120" fmla="*/ 336933 h 415741"/>
                <a:gd name="connsiteX121" fmla="*/ 132281 w 251964"/>
                <a:gd name="connsiteY121" fmla="*/ 336933 h 415741"/>
                <a:gd name="connsiteX122" fmla="*/ 132281 w 251964"/>
                <a:gd name="connsiteY122" fmla="*/ 336933 h 415741"/>
                <a:gd name="connsiteX123" fmla="*/ 134801 w 251964"/>
                <a:gd name="connsiteY123" fmla="*/ 318036 h 415741"/>
                <a:gd name="connsiteX124" fmla="*/ 134801 w 251964"/>
                <a:gd name="connsiteY124" fmla="*/ 312996 h 415741"/>
                <a:gd name="connsiteX125" fmla="*/ 131022 w 251964"/>
                <a:gd name="connsiteY125" fmla="*/ 312996 h 415741"/>
                <a:gd name="connsiteX126" fmla="*/ 125982 w 251964"/>
                <a:gd name="connsiteY126" fmla="*/ 312996 h 415741"/>
                <a:gd name="connsiteX127" fmla="*/ 110864 w 251964"/>
                <a:gd name="connsiteY127" fmla="*/ 310476 h 415741"/>
                <a:gd name="connsiteX128" fmla="*/ 107085 w 251964"/>
                <a:gd name="connsiteY128" fmla="*/ 309217 h 415741"/>
                <a:gd name="connsiteX129" fmla="*/ 107085 w 251964"/>
                <a:gd name="connsiteY129" fmla="*/ 309217 h 415741"/>
                <a:gd name="connsiteX130" fmla="*/ 93227 w 251964"/>
                <a:gd name="connsiteY130" fmla="*/ 306697 h 415741"/>
                <a:gd name="connsiteX131" fmla="*/ 74329 w 251964"/>
                <a:gd name="connsiteY131" fmla="*/ 300398 h 415741"/>
                <a:gd name="connsiteX132" fmla="*/ 56692 w 251964"/>
                <a:gd name="connsiteY132" fmla="*/ 291579 h 415741"/>
                <a:gd name="connsiteX133" fmla="*/ 49133 w 251964"/>
                <a:gd name="connsiteY133" fmla="*/ 286540 h 415741"/>
                <a:gd name="connsiteX134" fmla="*/ 41574 w 251964"/>
                <a:gd name="connsiteY134" fmla="*/ 280241 h 415741"/>
                <a:gd name="connsiteX135" fmla="*/ 30236 w 251964"/>
                <a:gd name="connsiteY135" fmla="*/ 265123 h 415741"/>
                <a:gd name="connsiteX136" fmla="*/ 21417 w 251964"/>
                <a:gd name="connsiteY136" fmla="*/ 248745 h 415741"/>
                <a:gd name="connsiteX137" fmla="*/ 13858 w 251964"/>
                <a:gd name="connsiteY137" fmla="*/ 229848 h 415741"/>
                <a:gd name="connsiteX138" fmla="*/ 10078 w 251964"/>
                <a:gd name="connsiteY138" fmla="*/ 218509 h 415741"/>
                <a:gd name="connsiteX139" fmla="*/ 10078 w 251964"/>
                <a:gd name="connsiteY139" fmla="*/ 218509 h 415741"/>
                <a:gd name="connsiteX140" fmla="*/ 10078 w 251964"/>
                <a:gd name="connsiteY140" fmla="*/ 218509 h 415741"/>
                <a:gd name="connsiteX141" fmla="*/ 8819 w 251964"/>
                <a:gd name="connsiteY141" fmla="*/ 212210 h 415741"/>
                <a:gd name="connsiteX142" fmla="*/ 5039 w 251964"/>
                <a:gd name="connsiteY142" fmla="*/ 194573 h 415741"/>
                <a:gd name="connsiteX143" fmla="*/ 5039 w 251964"/>
                <a:gd name="connsiteY143" fmla="*/ 193313 h 415741"/>
                <a:gd name="connsiteX144" fmla="*/ 2520 w 251964"/>
                <a:gd name="connsiteY144" fmla="*/ 174416 h 415741"/>
                <a:gd name="connsiteX145" fmla="*/ 0 w 251964"/>
                <a:gd name="connsiteY145" fmla="*/ 135361 h 415741"/>
                <a:gd name="connsiteX146" fmla="*/ 0 w 251964"/>
                <a:gd name="connsiteY146" fmla="*/ 100086 h 415741"/>
                <a:gd name="connsiteX147" fmla="*/ 0 w 251964"/>
                <a:gd name="connsiteY147" fmla="*/ 96307 h 415741"/>
                <a:gd name="connsiteX148" fmla="*/ 1260 w 251964"/>
                <a:gd name="connsiteY148" fmla="*/ 78669 h 415741"/>
                <a:gd name="connsiteX149" fmla="*/ 3779 w 251964"/>
                <a:gd name="connsiteY149" fmla="*/ 59772 h 415741"/>
                <a:gd name="connsiteX150" fmla="*/ 3779 w 251964"/>
                <a:gd name="connsiteY150" fmla="*/ 55992 h 415741"/>
                <a:gd name="connsiteX151" fmla="*/ 3779 w 251964"/>
                <a:gd name="connsiteY151" fmla="*/ 52213 h 415741"/>
                <a:gd name="connsiteX152" fmla="*/ 5039 w 251964"/>
                <a:gd name="connsiteY152" fmla="*/ 52213 h 415741"/>
                <a:gd name="connsiteX153" fmla="*/ 7559 w 251964"/>
                <a:gd name="connsiteY153" fmla="*/ 52213 h 415741"/>
                <a:gd name="connsiteX154" fmla="*/ 18897 w 251964"/>
                <a:gd name="connsiteY154" fmla="*/ 52213 h 415741"/>
                <a:gd name="connsiteX155" fmla="*/ 20157 w 251964"/>
                <a:gd name="connsiteY155" fmla="*/ 52213 h 415741"/>
                <a:gd name="connsiteX156" fmla="*/ 25196 w 251964"/>
                <a:gd name="connsiteY156" fmla="*/ 53473 h 415741"/>
                <a:gd name="connsiteX157" fmla="*/ 35275 w 251964"/>
                <a:gd name="connsiteY157" fmla="*/ 54732 h 415741"/>
                <a:gd name="connsiteX158" fmla="*/ 47873 w 251964"/>
                <a:gd name="connsiteY158" fmla="*/ 54732 h 415741"/>
                <a:gd name="connsiteX159" fmla="*/ 47873 w 251964"/>
                <a:gd name="connsiteY159" fmla="*/ 54732 h 415741"/>
                <a:gd name="connsiteX160" fmla="*/ 69290 w 251964"/>
                <a:gd name="connsiteY160" fmla="*/ 53473 h 415741"/>
                <a:gd name="connsiteX161" fmla="*/ 90707 w 251964"/>
                <a:gd name="connsiteY161" fmla="*/ 48433 h 415741"/>
                <a:gd name="connsiteX162" fmla="*/ 108345 w 251964"/>
                <a:gd name="connsiteY162" fmla="*/ 43394 h 415741"/>
                <a:gd name="connsiteX163" fmla="*/ 110864 w 251964"/>
                <a:gd name="connsiteY163" fmla="*/ 42134 h 415741"/>
                <a:gd name="connsiteX164" fmla="*/ 110864 w 251964"/>
                <a:gd name="connsiteY164" fmla="*/ 42134 h 415741"/>
                <a:gd name="connsiteX165" fmla="*/ 110864 w 251964"/>
                <a:gd name="connsiteY165" fmla="*/ 42134 h 415741"/>
                <a:gd name="connsiteX166" fmla="*/ 110864 w 251964"/>
                <a:gd name="connsiteY166" fmla="*/ 42134 h 415741"/>
                <a:gd name="connsiteX167" fmla="*/ 110864 w 251964"/>
                <a:gd name="connsiteY167" fmla="*/ 42134 h 415741"/>
                <a:gd name="connsiteX168" fmla="*/ 110864 w 251964"/>
                <a:gd name="connsiteY168" fmla="*/ 42134 h 415741"/>
                <a:gd name="connsiteX169" fmla="*/ 110864 w 251964"/>
                <a:gd name="connsiteY169" fmla="*/ 42134 h 415741"/>
                <a:gd name="connsiteX170" fmla="*/ 112124 w 251964"/>
                <a:gd name="connsiteY170" fmla="*/ 42134 h 415741"/>
                <a:gd name="connsiteX171" fmla="*/ 112124 w 251964"/>
                <a:gd name="connsiteY171" fmla="*/ 42134 h 415741"/>
                <a:gd name="connsiteX172" fmla="*/ 113384 w 251964"/>
                <a:gd name="connsiteY172" fmla="*/ 42134 h 415741"/>
                <a:gd name="connsiteX173" fmla="*/ 113384 w 251964"/>
                <a:gd name="connsiteY173" fmla="*/ 42134 h 415741"/>
                <a:gd name="connsiteX174" fmla="*/ 131022 w 251964"/>
                <a:gd name="connsiteY174" fmla="*/ 33315 h 415741"/>
                <a:gd name="connsiteX175" fmla="*/ 149919 w 251964"/>
                <a:gd name="connsiteY175" fmla="*/ 21977 h 415741"/>
                <a:gd name="connsiteX176" fmla="*/ 158738 w 251964"/>
                <a:gd name="connsiteY176" fmla="*/ 14418 h 415741"/>
                <a:gd name="connsiteX177" fmla="*/ 166297 w 251964"/>
                <a:gd name="connsiteY177" fmla="*/ 6859 h 415741"/>
                <a:gd name="connsiteX178" fmla="*/ 170076 w 251964"/>
                <a:gd name="connsiteY178" fmla="*/ 1820 h 415741"/>
                <a:gd name="connsiteX179" fmla="*/ 171336 w 251964"/>
                <a:gd name="connsiteY179" fmla="*/ 560 h 415741"/>
                <a:gd name="connsiteX180" fmla="*/ 171336 w 251964"/>
                <a:gd name="connsiteY180" fmla="*/ 560 h 415741"/>
                <a:gd name="connsiteX181" fmla="*/ 171336 w 251964"/>
                <a:gd name="connsiteY181" fmla="*/ 560 h 415741"/>
                <a:gd name="connsiteX182" fmla="*/ 172596 w 251964"/>
                <a:gd name="connsiteY182" fmla="*/ 560 h 41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251964" h="415741">
                  <a:moveTo>
                    <a:pt x="172596" y="560"/>
                  </a:moveTo>
                  <a:cubicBezTo>
                    <a:pt x="173855" y="4339"/>
                    <a:pt x="175115" y="8119"/>
                    <a:pt x="177635" y="11898"/>
                  </a:cubicBezTo>
                  <a:lnTo>
                    <a:pt x="177635" y="13158"/>
                  </a:lnTo>
                  <a:cubicBezTo>
                    <a:pt x="177635" y="14418"/>
                    <a:pt x="178895" y="15678"/>
                    <a:pt x="180155" y="16938"/>
                  </a:cubicBezTo>
                  <a:lnTo>
                    <a:pt x="180155" y="16938"/>
                  </a:lnTo>
                  <a:cubicBezTo>
                    <a:pt x="181414" y="18198"/>
                    <a:pt x="181414" y="19457"/>
                    <a:pt x="182674" y="20717"/>
                  </a:cubicBezTo>
                  <a:cubicBezTo>
                    <a:pt x="185194" y="25756"/>
                    <a:pt x="190233" y="28276"/>
                    <a:pt x="194013" y="30796"/>
                  </a:cubicBezTo>
                  <a:cubicBezTo>
                    <a:pt x="196533" y="32055"/>
                    <a:pt x="197792" y="34575"/>
                    <a:pt x="200312" y="35835"/>
                  </a:cubicBezTo>
                  <a:cubicBezTo>
                    <a:pt x="204092" y="38355"/>
                    <a:pt x="207871" y="40874"/>
                    <a:pt x="211650" y="43394"/>
                  </a:cubicBezTo>
                  <a:cubicBezTo>
                    <a:pt x="216690" y="45914"/>
                    <a:pt x="221729" y="48433"/>
                    <a:pt x="226768" y="49693"/>
                  </a:cubicBezTo>
                  <a:cubicBezTo>
                    <a:pt x="229288" y="50953"/>
                    <a:pt x="231807" y="50953"/>
                    <a:pt x="234327" y="52213"/>
                  </a:cubicBezTo>
                  <a:cubicBezTo>
                    <a:pt x="235587" y="52213"/>
                    <a:pt x="236847" y="53473"/>
                    <a:pt x="238107" y="53473"/>
                  </a:cubicBezTo>
                  <a:lnTo>
                    <a:pt x="238107" y="53473"/>
                  </a:lnTo>
                  <a:cubicBezTo>
                    <a:pt x="241886" y="54732"/>
                    <a:pt x="245666" y="57252"/>
                    <a:pt x="248185" y="58512"/>
                  </a:cubicBezTo>
                  <a:cubicBezTo>
                    <a:pt x="250705" y="59772"/>
                    <a:pt x="253225" y="59772"/>
                    <a:pt x="255744" y="61031"/>
                  </a:cubicBezTo>
                  <a:cubicBezTo>
                    <a:pt x="255744" y="61031"/>
                    <a:pt x="257004" y="61031"/>
                    <a:pt x="257004" y="61031"/>
                  </a:cubicBezTo>
                  <a:lnTo>
                    <a:pt x="257004" y="61031"/>
                  </a:lnTo>
                  <a:lnTo>
                    <a:pt x="257004" y="61031"/>
                  </a:lnTo>
                  <a:cubicBezTo>
                    <a:pt x="257004" y="61031"/>
                    <a:pt x="257004" y="61031"/>
                    <a:pt x="257004" y="61031"/>
                  </a:cubicBezTo>
                  <a:lnTo>
                    <a:pt x="257004" y="61031"/>
                  </a:lnTo>
                  <a:lnTo>
                    <a:pt x="258264" y="61031"/>
                  </a:lnTo>
                  <a:cubicBezTo>
                    <a:pt x="258264" y="61031"/>
                    <a:pt x="259524" y="61031"/>
                    <a:pt x="259524" y="62291"/>
                  </a:cubicBezTo>
                  <a:cubicBezTo>
                    <a:pt x="259524" y="63551"/>
                    <a:pt x="259524" y="66071"/>
                    <a:pt x="259524" y="67331"/>
                  </a:cubicBezTo>
                  <a:cubicBezTo>
                    <a:pt x="259524" y="71110"/>
                    <a:pt x="258264" y="74890"/>
                    <a:pt x="258264" y="79929"/>
                  </a:cubicBezTo>
                  <a:cubicBezTo>
                    <a:pt x="258264" y="82448"/>
                    <a:pt x="258264" y="83708"/>
                    <a:pt x="257004" y="86228"/>
                  </a:cubicBezTo>
                  <a:lnTo>
                    <a:pt x="257004" y="86228"/>
                  </a:lnTo>
                  <a:cubicBezTo>
                    <a:pt x="257004" y="88748"/>
                    <a:pt x="257004" y="90007"/>
                    <a:pt x="255744" y="92527"/>
                  </a:cubicBezTo>
                  <a:cubicBezTo>
                    <a:pt x="255744" y="96307"/>
                    <a:pt x="254484" y="101346"/>
                    <a:pt x="254484" y="105125"/>
                  </a:cubicBezTo>
                  <a:cubicBezTo>
                    <a:pt x="254484" y="107645"/>
                    <a:pt x="254484" y="108905"/>
                    <a:pt x="254484" y="111424"/>
                  </a:cubicBezTo>
                  <a:cubicBezTo>
                    <a:pt x="254484" y="115204"/>
                    <a:pt x="254484" y="118983"/>
                    <a:pt x="254484" y="122763"/>
                  </a:cubicBezTo>
                  <a:cubicBezTo>
                    <a:pt x="253225" y="124023"/>
                    <a:pt x="250705" y="125282"/>
                    <a:pt x="249445" y="126542"/>
                  </a:cubicBezTo>
                  <a:cubicBezTo>
                    <a:pt x="244406" y="130322"/>
                    <a:pt x="239366" y="135361"/>
                    <a:pt x="235587" y="139140"/>
                  </a:cubicBezTo>
                  <a:cubicBezTo>
                    <a:pt x="230548" y="144180"/>
                    <a:pt x="230548" y="151739"/>
                    <a:pt x="235587" y="156778"/>
                  </a:cubicBezTo>
                  <a:cubicBezTo>
                    <a:pt x="239366" y="160558"/>
                    <a:pt x="245666" y="161817"/>
                    <a:pt x="250705" y="159298"/>
                  </a:cubicBezTo>
                  <a:lnTo>
                    <a:pt x="250705" y="159298"/>
                  </a:lnTo>
                  <a:cubicBezTo>
                    <a:pt x="250705" y="160558"/>
                    <a:pt x="250705" y="161817"/>
                    <a:pt x="250705" y="163077"/>
                  </a:cubicBezTo>
                  <a:lnTo>
                    <a:pt x="250705" y="164337"/>
                  </a:lnTo>
                  <a:lnTo>
                    <a:pt x="250705" y="165597"/>
                  </a:lnTo>
                  <a:cubicBezTo>
                    <a:pt x="250705" y="166857"/>
                    <a:pt x="250705" y="169376"/>
                    <a:pt x="250705" y="170636"/>
                  </a:cubicBezTo>
                  <a:cubicBezTo>
                    <a:pt x="250705" y="173156"/>
                    <a:pt x="249445" y="175675"/>
                    <a:pt x="249445" y="178195"/>
                  </a:cubicBezTo>
                  <a:cubicBezTo>
                    <a:pt x="248185" y="179455"/>
                    <a:pt x="246925" y="180715"/>
                    <a:pt x="245666" y="181975"/>
                  </a:cubicBezTo>
                  <a:lnTo>
                    <a:pt x="243146" y="184494"/>
                  </a:lnTo>
                  <a:cubicBezTo>
                    <a:pt x="240626" y="187014"/>
                    <a:pt x="238107" y="188274"/>
                    <a:pt x="236847" y="190793"/>
                  </a:cubicBezTo>
                  <a:cubicBezTo>
                    <a:pt x="235587" y="192053"/>
                    <a:pt x="234327" y="193313"/>
                    <a:pt x="233067" y="194573"/>
                  </a:cubicBezTo>
                  <a:cubicBezTo>
                    <a:pt x="231807" y="195832"/>
                    <a:pt x="229288" y="198352"/>
                    <a:pt x="228028" y="199612"/>
                  </a:cubicBezTo>
                  <a:cubicBezTo>
                    <a:pt x="226768" y="200872"/>
                    <a:pt x="226768" y="203392"/>
                    <a:pt x="226768" y="204651"/>
                  </a:cubicBezTo>
                  <a:lnTo>
                    <a:pt x="226768" y="205911"/>
                  </a:lnTo>
                  <a:lnTo>
                    <a:pt x="226768" y="207171"/>
                  </a:lnTo>
                  <a:cubicBezTo>
                    <a:pt x="226768" y="208431"/>
                    <a:pt x="228028" y="210951"/>
                    <a:pt x="229288" y="212210"/>
                  </a:cubicBezTo>
                  <a:cubicBezTo>
                    <a:pt x="230548" y="213470"/>
                    <a:pt x="233067" y="214730"/>
                    <a:pt x="235587" y="214730"/>
                  </a:cubicBezTo>
                  <a:cubicBezTo>
                    <a:pt x="235587" y="214730"/>
                    <a:pt x="235587" y="214730"/>
                    <a:pt x="235587" y="214730"/>
                  </a:cubicBezTo>
                  <a:cubicBezTo>
                    <a:pt x="236847" y="214730"/>
                    <a:pt x="239366" y="214730"/>
                    <a:pt x="240626" y="213470"/>
                  </a:cubicBezTo>
                  <a:cubicBezTo>
                    <a:pt x="241886" y="213470"/>
                    <a:pt x="241886" y="212210"/>
                    <a:pt x="241886" y="212210"/>
                  </a:cubicBezTo>
                  <a:cubicBezTo>
                    <a:pt x="241886" y="213470"/>
                    <a:pt x="240626" y="215990"/>
                    <a:pt x="240626" y="217250"/>
                  </a:cubicBezTo>
                  <a:cubicBezTo>
                    <a:pt x="239366" y="221029"/>
                    <a:pt x="239366" y="224808"/>
                    <a:pt x="236847" y="229848"/>
                  </a:cubicBezTo>
                  <a:cubicBezTo>
                    <a:pt x="235587" y="232367"/>
                    <a:pt x="234327" y="236147"/>
                    <a:pt x="233067" y="239926"/>
                  </a:cubicBezTo>
                  <a:cubicBezTo>
                    <a:pt x="231807" y="241186"/>
                    <a:pt x="231807" y="243706"/>
                    <a:pt x="230548" y="244966"/>
                  </a:cubicBezTo>
                  <a:lnTo>
                    <a:pt x="230548" y="246225"/>
                  </a:lnTo>
                  <a:lnTo>
                    <a:pt x="230548" y="247485"/>
                  </a:lnTo>
                  <a:cubicBezTo>
                    <a:pt x="229288" y="248745"/>
                    <a:pt x="229288" y="251265"/>
                    <a:pt x="228028" y="252525"/>
                  </a:cubicBezTo>
                  <a:lnTo>
                    <a:pt x="226768" y="253784"/>
                  </a:lnTo>
                  <a:cubicBezTo>
                    <a:pt x="225508" y="255044"/>
                    <a:pt x="224248" y="257564"/>
                    <a:pt x="222989" y="258824"/>
                  </a:cubicBezTo>
                  <a:cubicBezTo>
                    <a:pt x="221729" y="261343"/>
                    <a:pt x="220469" y="262603"/>
                    <a:pt x="220469" y="265123"/>
                  </a:cubicBezTo>
                  <a:lnTo>
                    <a:pt x="220469" y="265123"/>
                  </a:lnTo>
                  <a:lnTo>
                    <a:pt x="220469" y="266383"/>
                  </a:lnTo>
                  <a:lnTo>
                    <a:pt x="220469" y="266383"/>
                  </a:lnTo>
                  <a:cubicBezTo>
                    <a:pt x="220469" y="267643"/>
                    <a:pt x="219209" y="267643"/>
                    <a:pt x="219209" y="268902"/>
                  </a:cubicBezTo>
                  <a:lnTo>
                    <a:pt x="219209" y="268902"/>
                  </a:lnTo>
                  <a:cubicBezTo>
                    <a:pt x="219209" y="270162"/>
                    <a:pt x="217949" y="271422"/>
                    <a:pt x="217949" y="271422"/>
                  </a:cubicBezTo>
                  <a:lnTo>
                    <a:pt x="217949" y="271422"/>
                  </a:lnTo>
                  <a:lnTo>
                    <a:pt x="217949" y="271422"/>
                  </a:lnTo>
                  <a:cubicBezTo>
                    <a:pt x="217949" y="272682"/>
                    <a:pt x="216690" y="272682"/>
                    <a:pt x="216690" y="273942"/>
                  </a:cubicBezTo>
                  <a:cubicBezTo>
                    <a:pt x="216690" y="273942"/>
                    <a:pt x="216690" y="275201"/>
                    <a:pt x="216690" y="275201"/>
                  </a:cubicBezTo>
                  <a:lnTo>
                    <a:pt x="216690" y="276461"/>
                  </a:lnTo>
                  <a:cubicBezTo>
                    <a:pt x="216690" y="277721"/>
                    <a:pt x="216690" y="278981"/>
                    <a:pt x="217949" y="280241"/>
                  </a:cubicBezTo>
                  <a:cubicBezTo>
                    <a:pt x="217949" y="284020"/>
                    <a:pt x="219209" y="286540"/>
                    <a:pt x="219209" y="290319"/>
                  </a:cubicBezTo>
                  <a:lnTo>
                    <a:pt x="219209" y="290319"/>
                  </a:lnTo>
                  <a:cubicBezTo>
                    <a:pt x="219209" y="292839"/>
                    <a:pt x="220469" y="296618"/>
                    <a:pt x="220469" y="300398"/>
                  </a:cubicBezTo>
                  <a:cubicBezTo>
                    <a:pt x="220469" y="304177"/>
                    <a:pt x="221729" y="306697"/>
                    <a:pt x="221729" y="310476"/>
                  </a:cubicBezTo>
                  <a:cubicBezTo>
                    <a:pt x="221729" y="314256"/>
                    <a:pt x="222989" y="318036"/>
                    <a:pt x="224248" y="321815"/>
                  </a:cubicBezTo>
                  <a:cubicBezTo>
                    <a:pt x="225508" y="328114"/>
                    <a:pt x="228028" y="333153"/>
                    <a:pt x="230548" y="338193"/>
                  </a:cubicBezTo>
                  <a:cubicBezTo>
                    <a:pt x="231807" y="340712"/>
                    <a:pt x="233067" y="344492"/>
                    <a:pt x="234327" y="347011"/>
                  </a:cubicBezTo>
                  <a:cubicBezTo>
                    <a:pt x="234327" y="347011"/>
                    <a:pt x="234327" y="347011"/>
                    <a:pt x="234327" y="347011"/>
                  </a:cubicBezTo>
                  <a:cubicBezTo>
                    <a:pt x="235587" y="349531"/>
                    <a:pt x="236847" y="352051"/>
                    <a:pt x="236847" y="353310"/>
                  </a:cubicBezTo>
                  <a:cubicBezTo>
                    <a:pt x="236847" y="353310"/>
                    <a:pt x="236847" y="354570"/>
                    <a:pt x="238107" y="354570"/>
                  </a:cubicBezTo>
                  <a:lnTo>
                    <a:pt x="238107" y="354570"/>
                  </a:lnTo>
                  <a:cubicBezTo>
                    <a:pt x="239366" y="355830"/>
                    <a:pt x="239366" y="358350"/>
                    <a:pt x="240626" y="359610"/>
                  </a:cubicBezTo>
                  <a:cubicBezTo>
                    <a:pt x="240626" y="360869"/>
                    <a:pt x="241886" y="362129"/>
                    <a:pt x="241886" y="364649"/>
                  </a:cubicBezTo>
                  <a:cubicBezTo>
                    <a:pt x="241886" y="364649"/>
                    <a:pt x="241886" y="364649"/>
                    <a:pt x="241886" y="365909"/>
                  </a:cubicBezTo>
                  <a:lnTo>
                    <a:pt x="241886" y="365909"/>
                  </a:lnTo>
                  <a:lnTo>
                    <a:pt x="241886" y="365909"/>
                  </a:lnTo>
                  <a:cubicBezTo>
                    <a:pt x="241886" y="367169"/>
                    <a:pt x="241886" y="368428"/>
                    <a:pt x="241886" y="369688"/>
                  </a:cubicBezTo>
                  <a:cubicBezTo>
                    <a:pt x="241886" y="370948"/>
                    <a:pt x="241886" y="372208"/>
                    <a:pt x="241886" y="373468"/>
                  </a:cubicBezTo>
                  <a:lnTo>
                    <a:pt x="241886" y="374728"/>
                  </a:lnTo>
                  <a:cubicBezTo>
                    <a:pt x="241886" y="375987"/>
                    <a:pt x="241886" y="377247"/>
                    <a:pt x="240626" y="378507"/>
                  </a:cubicBezTo>
                  <a:cubicBezTo>
                    <a:pt x="239366" y="381027"/>
                    <a:pt x="238107" y="384806"/>
                    <a:pt x="236847" y="387326"/>
                  </a:cubicBezTo>
                  <a:cubicBezTo>
                    <a:pt x="235587" y="389845"/>
                    <a:pt x="234327" y="391105"/>
                    <a:pt x="231807" y="393625"/>
                  </a:cubicBezTo>
                  <a:cubicBezTo>
                    <a:pt x="228028" y="397404"/>
                    <a:pt x="224248" y="402444"/>
                    <a:pt x="219209" y="406223"/>
                  </a:cubicBezTo>
                  <a:cubicBezTo>
                    <a:pt x="216690" y="407483"/>
                    <a:pt x="214170" y="410002"/>
                    <a:pt x="210391" y="411262"/>
                  </a:cubicBezTo>
                  <a:lnTo>
                    <a:pt x="209131" y="412522"/>
                  </a:lnTo>
                  <a:cubicBezTo>
                    <a:pt x="207871" y="413782"/>
                    <a:pt x="205351" y="415042"/>
                    <a:pt x="202832" y="416302"/>
                  </a:cubicBezTo>
                  <a:cubicBezTo>
                    <a:pt x="197792" y="418821"/>
                    <a:pt x="191493" y="420081"/>
                    <a:pt x="185194" y="421341"/>
                  </a:cubicBezTo>
                  <a:cubicBezTo>
                    <a:pt x="181414" y="421341"/>
                    <a:pt x="178895" y="421341"/>
                    <a:pt x="175115" y="421341"/>
                  </a:cubicBezTo>
                  <a:cubicBezTo>
                    <a:pt x="172596" y="421341"/>
                    <a:pt x="168816" y="421341"/>
                    <a:pt x="166297" y="421341"/>
                  </a:cubicBezTo>
                  <a:cubicBezTo>
                    <a:pt x="166297" y="421341"/>
                    <a:pt x="165037" y="421341"/>
                    <a:pt x="165037" y="421341"/>
                  </a:cubicBezTo>
                  <a:cubicBezTo>
                    <a:pt x="162517" y="421341"/>
                    <a:pt x="159998" y="421341"/>
                    <a:pt x="157478" y="420081"/>
                  </a:cubicBezTo>
                  <a:cubicBezTo>
                    <a:pt x="154958" y="420081"/>
                    <a:pt x="152439" y="418821"/>
                    <a:pt x="149919" y="417561"/>
                  </a:cubicBezTo>
                  <a:cubicBezTo>
                    <a:pt x="146140" y="416302"/>
                    <a:pt x="142360" y="413782"/>
                    <a:pt x="137321" y="411262"/>
                  </a:cubicBezTo>
                  <a:cubicBezTo>
                    <a:pt x="134801" y="410002"/>
                    <a:pt x="132281" y="408743"/>
                    <a:pt x="131022" y="406223"/>
                  </a:cubicBezTo>
                  <a:cubicBezTo>
                    <a:pt x="128502" y="404963"/>
                    <a:pt x="127242" y="402444"/>
                    <a:pt x="125982" y="399924"/>
                  </a:cubicBezTo>
                  <a:cubicBezTo>
                    <a:pt x="124722" y="397404"/>
                    <a:pt x="123463" y="394885"/>
                    <a:pt x="123463" y="393625"/>
                  </a:cubicBezTo>
                  <a:cubicBezTo>
                    <a:pt x="122203" y="391105"/>
                    <a:pt x="122203" y="388585"/>
                    <a:pt x="120943" y="386066"/>
                  </a:cubicBezTo>
                  <a:cubicBezTo>
                    <a:pt x="120943" y="383546"/>
                    <a:pt x="119683" y="381027"/>
                    <a:pt x="119683" y="378507"/>
                  </a:cubicBezTo>
                  <a:lnTo>
                    <a:pt x="119683" y="378507"/>
                  </a:lnTo>
                  <a:cubicBezTo>
                    <a:pt x="119683" y="378507"/>
                    <a:pt x="119683" y="378507"/>
                    <a:pt x="119683" y="378507"/>
                  </a:cubicBezTo>
                  <a:cubicBezTo>
                    <a:pt x="119683" y="378507"/>
                    <a:pt x="119683" y="378507"/>
                    <a:pt x="119683" y="378507"/>
                  </a:cubicBezTo>
                  <a:cubicBezTo>
                    <a:pt x="122203" y="377247"/>
                    <a:pt x="124722" y="375987"/>
                    <a:pt x="125982" y="373468"/>
                  </a:cubicBezTo>
                  <a:cubicBezTo>
                    <a:pt x="127242" y="372208"/>
                    <a:pt x="128502" y="369688"/>
                    <a:pt x="129762" y="368428"/>
                  </a:cubicBezTo>
                  <a:cubicBezTo>
                    <a:pt x="131022" y="365909"/>
                    <a:pt x="131022" y="362129"/>
                    <a:pt x="131022" y="358350"/>
                  </a:cubicBezTo>
                  <a:cubicBezTo>
                    <a:pt x="129762" y="357090"/>
                    <a:pt x="129762" y="354570"/>
                    <a:pt x="128502" y="353310"/>
                  </a:cubicBezTo>
                  <a:cubicBezTo>
                    <a:pt x="129762" y="348271"/>
                    <a:pt x="131022" y="343232"/>
                    <a:pt x="132281" y="336933"/>
                  </a:cubicBezTo>
                  <a:cubicBezTo>
                    <a:pt x="132281" y="336933"/>
                    <a:pt x="132281" y="336933"/>
                    <a:pt x="132281" y="336933"/>
                  </a:cubicBezTo>
                  <a:cubicBezTo>
                    <a:pt x="132281" y="336933"/>
                    <a:pt x="132281" y="336933"/>
                    <a:pt x="132281" y="336933"/>
                  </a:cubicBezTo>
                  <a:cubicBezTo>
                    <a:pt x="133541" y="331893"/>
                    <a:pt x="133541" y="325594"/>
                    <a:pt x="134801" y="318036"/>
                  </a:cubicBezTo>
                  <a:cubicBezTo>
                    <a:pt x="134801" y="316776"/>
                    <a:pt x="134801" y="315516"/>
                    <a:pt x="134801" y="312996"/>
                  </a:cubicBezTo>
                  <a:cubicBezTo>
                    <a:pt x="133541" y="312996"/>
                    <a:pt x="132281" y="312996"/>
                    <a:pt x="131022" y="312996"/>
                  </a:cubicBezTo>
                  <a:cubicBezTo>
                    <a:pt x="129762" y="312996"/>
                    <a:pt x="127242" y="312996"/>
                    <a:pt x="125982" y="312996"/>
                  </a:cubicBezTo>
                  <a:cubicBezTo>
                    <a:pt x="120943" y="312996"/>
                    <a:pt x="114644" y="311736"/>
                    <a:pt x="110864" y="310476"/>
                  </a:cubicBezTo>
                  <a:cubicBezTo>
                    <a:pt x="109605" y="310476"/>
                    <a:pt x="108345" y="310476"/>
                    <a:pt x="107085" y="309217"/>
                  </a:cubicBezTo>
                  <a:lnTo>
                    <a:pt x="107085" y="309217"/>
                  </a:lnTo>
                  <a:cubicBezTo>
                    <a:pt x="103306" y="307957"/>
                    <a:pt x="98266" y="307957"/>
                    <a:pt x="93227" y="306697"/>
                  </a:cubicBezTo>
                  <a:cubicBezTo>
                    <a:pt x="86928" y="305437"/>
                    <a:pt x="80629" y="302917"/>
                    <a:pt x="74329" y="300398"/>
                  </a:cubicBezTo>
                  <a:cubicBezTo>
                    <a:pt x="66770" y="296618"/>
                    <a:pt x="61731" y="294099"/>
                    <a:pt x="56692" y="291579"/>
                  </a:cubicBezTo>
                  <a:cubicBezTo>
                    <a:pt x="54172" y="290319"/>
                    <a:pt x="51653" y="287800"/>
                    <a:pt x="49133" y="286540"/>
                  </a:cubicBezTo>
                  <a:cubicBezTo>
                    <a:pt x="46614" y="284020"/>
                    <a:pt x="44094" y="282760"/>
                    <a:pt x="41574" y="280241"/>
                  </a:cubicBezTo>
                  <a:cubicBezTo>
                    <a:pt x="37795" y="276461"/>
                    <a:pt x="34015" y="271422"/>
                    <a:pt x="30236" y="265123"/>
                  </a:cubicBezTo>
                  <a:cubicBezTo>
                    <a:pt x="26456" y="258824"/>
                    <a:pt x="23937" y="253784"/>
                    <a:pt x="21417" y="248745"/>
                  </a:cubicBezTo>
                  <a:cubicBezTo>
                    <a:pt x="18897" y="242446"/>
                    <a:pt x="16378" y="234887"/>
                    <a:pt x="13858" y="229848"/>
                  </a:cubicBezTo>
                  <a:cubicBezTo>
                    <a:pt x="12598" y="226068"/>
                    <a:pt x="11338" y="223549"/>
                    <a:pt x="10078" y="218509"/>
                  </a:cubicBezTo>
                  <a:cubicBezTo>
                    <a:pt x="10078" y="218509"/>
                    <a:pt x="10078" y="218509"/>
                    <a:pt x="10078" y="218509"/>
                  </a:cubicBezTo>
                  <a:lnTo>
                    <a:pt x="10078" y="218509"/>
                  </a:lnTo>
                  <a:cubicBezTo>
                    <a:pt x="10078" y="215990"/>
                    <a:pt x="8819" y="214730"/>
                    <a:pt x="8819" y="212210"/>
                  </a:cubicBezTo>
                  <a:cubicBezTo>
                    <a:pt x="7559" y="205911"/>
                    <a:pt x="6299" y="200872"/>
                    <a:pt x="5039" y="194573"/>
                  </a:cubicBezTo>
                  <a:lnTo>
                    <a:pt x="5039" y="193313"/>
                  </a:lnTo>
                  <a:cubicBezTo>
                    <a:pt x="3779" y="187014"/>
                    <a:pt x="2520" y="180715"/>
                    <a:pt x="2520" y="174416"/>
                  </a:cubicBezTo>
                  <a:cubicBezTo>
                    <a:pt x="1260" y="163077"/>
                    <a:pt x="0" y="149219"/>
                    <a:pt x="0" y="135361"/>
                  </a:cubicBezTo>
                  <a:cubicBezTo>
                    <a:pt x="0" y="124023"/>
                    <a:pt x="0" y="111424"/>
                    <a:pt x="0" y="100086"/>
                  </a:cubicBezTo>
                  <a:lnTo>
                    <a:pt x="0" y="96307"/>
                  </a:lnTo>
                  <a:cubicBezTo>
                    <a:pt x="0" y="90007"/>
                    <a:pt x="0" y="84968"/>
                    <a:pt x="1260" y="78669"/>
                  </a:cubicBezTo>
                  <a:cubicBezTo>
                    <a:pt x="1260" y="72370"/>
                    <a:pt x="2520" y="66071"/>
                    <a:pt x="3779" y="59772"/>
                  </a:cubicBezTo>
                  <a:lnTo>
                    <a:pt x="3779" y="55992"/>
                  </a:lnTo>
                  <a:cubicBezTo>
                    <a:pt x="3779" y="54732"/>
                    <a:pt x="3779" y="53473"/>
                    <a:pt x="3779" y="52213"/>
                  </a:cubicBezTo>
                  <a:cubicBezTo>
                    <a:pt x="3779" y="52213"/>
                    <a:pt x="3779" y="52213"/>
                    <a:pt x="5039" y="52213"/>
                  </a:cubicBezTo>
                  <a:cubicBezTo>
                    <a:pt x="6299" y="52213"/>
                    <a:pt x="6299" y="52213"/>
                    <a:pt x="7559" y="52213"/>
                  </a:cubicBezTo>
                  <a:cubicBezTo>
                    <a:pt x="11338" y="52213"/>
                    <a:pt x="13858" y="52213"/>
                    <a:pt x="18897" y="52213"/>
                  </a:cubicBezTo>
                  <a:cubicBezTo>
                    <a:pt x="18897" y="52213"/>
                    <a:pt x="20157" y="52213"/>
                    <a:pt x="20157" y="52213"/>
                  </a:cubicBezTo>
                  <a:cubicBezTo>
                    <a:pt x="21417" y="52213"/>
                    <a:pt x="23937" y="52213"/>
                    <a:pt x="25196" y="53473"/>
                  </a:cubicBezTo>
                  <a:cubicBezTo>
                    <a:pt x="27716" y="53473"/>
                    <a:pt x="31496" y="54732"/>
                    <a:pt x="35275" y="54732"/>
                  </a:cubicBezTo>
                  <a:cubicBezTo>
                    <a:pt x="40314" y="54732"/>
                    <a:pt x="44094" y="54732"/>
                    <a:pt x="47873" y="54732"/>
                  </a:cubicBezTo>
                  <a:lnTo>
                    <a:pt x="47873" y="54732"/>
                  </a:lnTo>
                  <a:cubicBezTo>
                    <a:pt x="54172" y="54732"/>
                    <a:pt x="61731" y="53473"/>
                    <a:pt x="69290" y="53473"/>
                  </a:cubicBezTo>
                  <a:cubicBezTo>
                    <a:pt x="76849" y="52213"/>
                    <a:pt x="83148" y="50953"/>
                    <a:pt x="90707" y="48433"/>
                  </a:cubicBezTo>
                  <a:cubicBezTo>
                    <a:pt x="97007" y="47173"/>
                    <a:pt x="103306" y="44654"/>
                    <a:pt x="108345" y="43394"/>
                  </a:cubicBezTo>
                  <a:cubicBezTo>
                    <a:pt x="109605" y="43394"/>
                    <a:pt x="109605" y="42134"/>
                    <a:pt x="110864" y="42134"/>
                  </a:cubicBezTo>
                  <a:lnTo>
                    <a:pt x="110864" y="42134"/>
                  </a:lnTo>
                  <a:lnTo>
                    <a:pt x="110864" y="42134"/>
                  </a:lnTo>
                  <a:lnTo>
                    <a:pt x="110864" y="42134"/>
                  </a:lnTo>
                  <a:lnTo>
                    <a:pt x="110864" y="42134"/>
                  </a:lnTo>
                  <a:lnTo>
                    <a:pt x="110864" y="42134"/>
                  </a:lnTo>
                  <a:lnTo>
                    <a:pt x="110864" y="42134"/>
                  </a:lnTo>
                  <a:lnTo>
                    <a:pt x="112124" y="42134"/>
                  </a:lnTo>
                  <a:lnTo>
                    <a:pt x="112124" y="42134"/>
                  </a:lnTo>
                  <a:cubicBezTo>
                    <a:pt x="112124" y="42134"/>
                    <a:pt x="112124" y="42134"/>
                    <a:pt x="113384" y="42134"/>
                  </a:cubicBezTo>
                  <a:lnTo>
                    <a:pt x="113384" y="42134"/>
                  </a:lnTo>
                  <a:cubicBezTo>
                    <a:pt x="119683" y="39614"/>
                    <a:pt x="125982" y="35835"/>
                    <a:pt x="131022" y="33315"/>
                  </a:cubicBezTo>
                  <a:cubicBezTo>
                    <a:pt x="137321" y="29536"/>
                    <a:pt x="143620" y="27016"/>
                    <a:pt x="149919" y="21977"/>
                  </a:cubicBezTo>
                  <a:cubicBezTo>
                    <a:pt x="152439" y="19457"/>
                    <a:pt x="156218" y="16938"/>
                    <a:pt x="158738" y="14418"/>
                  </a:cubicBezTo>
                  <a:cubicBezTo>
                    <a:pt x="161257" y="11898"/>
                    <a:pt x="163777" y="9379"/>
                    <a:pt x="166297" y="6859"/>
                  </a:cubicBezTo>
                  <a:cubicBezTo>
                    <a:pt x="167556" y="4339"/>
                    <a:pt x="168816" y="3080"/>
                    <a:pt x="170076" y="1820"/>
                  </a:cubicBezTo>
                  <a:lnTo>
                    <a:pt x="171336" y="560"/>
                  </a:lnTo>
                  <a:lnTo>
                    <a:pt x="171336" y="560"/>
                  </a:lnTo>
                  <a:lnTo>
                    <a:pt x="171336" y="560"/>
                  </a:lnTo>
                  <a:cubicBezTo>
                    <a:pt x="172596" y="-700"/>
                    <a:pt x="172596" y="560"/>
                    <a:pt x="172596" y="560"/>
                  </a:cubicBezTo>
                </a:path>
              </a:pathLst>
            </a:custGeom>
            <a:solidFill>
              <a:srgbClr val="F2A988"/>
            </a:solidFill>
            <a:ln w="12584" cap="flat">
              <a:noFill/>
              <a:prstDash val="solid"/>
              <a:miter/>
            </a:ln>
          </p:spPr>
          <p:txBody>
            <a:bodyPr rtlCol="0" anchor="ctr"/>
            <a:lstStyle/>
            <a:p>
              <a:endParaRPr lang="zh-CN" altLang="en-US"/>
            </a:p>
          </p:txBody>
        </p:sp>
        <p:sp>
          <p:nvSpPr>
            <p:cNvPr id="222" name="任意多边形: 形状 221"/>
            <p:cNvSpPr/>
            <p:nvPr/>
          </p:nvSpPr>
          <p:spPr>
            <a:xfrm>
              <a:off x="9912018" y="3439219"/>
              <a:ext cx="8580" cy="34321"/>
            </a:xfrm>
            <a:custGeom>
              <a:avLst/>
              <a:gdLst>
                <a:gd name="connsiteX0" fmla="*/ 3779 w 12598"/>
                <a:gd name="connsiteY0" fmla="*/ 0 h 50392"/>
                <a:gd name="connsiteX1" fmla="*/ 3779 w 12598"/>
                <a:gd name="connsiteY1" fmla="*/ 0 h 50392"/>
                <a:gd name="connsiteX2" fmla="*/ 3779 w 12598"/>
                <a:gd name="connsiteY2" fmla="*/ 0 h 50392"/>
                <a:gd name="connsiteX3" fmla="*/ 3779 w 12598"/>
                <a:gd name="connsiteY3" fmla="*/ 0 h 50392"/>
                <a:gd name="connsiteX4" fmla="*/ 3779 w 12598"/>
                <a:gd name="connsiteY4" fmla="*/ 0 h 50392"/>
                <a:gd name="connsiteX5" fmla="*/ 5039 w 12598"/>
                <a:gd name="connsiteY5" fmla="*/ 0 h 50392"/>
                <a:gd name="connsiteX6" fmla="*/ 10078 w 12598"/>
                <a:gd name="connsiteY6" fmla="*/ 1260 h 50392"/>
                <a:gd name="connsiteX7" fmla="*/ 12598 w 12598"/>
                <a:gd name="connsiteY7" fmla="*/ 2520 h 50392"/>
                <a:gd name="connsiteX8" fmla="*/ 12598 w 12598"/>
                <a:gd name="connsiteY8" fmla="*/ 6299 h 50392"/>
                <a:gd name="connsiteX9" fmla="*/ 11338 w 12598"/>
                <a:gd name="connsiteY9" fmla="*/ 13858 h 50392"/>
                <a:gd name="connsiteX10" fmla="*/ 10078 w 12598"/>
                <a:gd name="connsiteY10" fmla="*/ 23937 h 50392"/>
                <a:gd name="connsiteX11" fmla="*/ 10078 w 12598"/>
                <a:gd name="connsiteY11" fmla="*/ 23937 h 50392"/>
                <a:gd name="connsiteX12" fmla="*/ 10078 w 12598"/>
                <a:gd name="connsiteY12" fmla="*/ 23937 h 50392"/>
                <a:gd name="connsiteX13" fmla="*/ 10078 w 12598"/>
                <a:gd name="connsiteY13" fmla="*/ 23937 h 50392"/>
                <a:gd name="connsiteX14" fmla="*/ 10078 w 12598"/>
                <a:gd name="connsiteY14" fmla="*/ 23937 h 50392"/>
                <a:gd name="connsiteX15" fmla="*/ 10078 w 12598"/>
                <a:gd name="connsiteY15" fmla="*/ 23937 h 50392"/>
                <a:gd name="connsiteX16" fmla="*/ 10078 w 12598"/>
                <a:gd name="connsiteY16" fmla="*/ 23937 h 50392"/>
                <a:gd name="connsiteX17" fmla="*/ 8819 w 12598"/>
                <a:gd name="connsiteY17" fmla="*/ 41574 h 50392"/>
                <a:gd name="connsiteX18" fmla="*/ 7559 w 12598"/>
                <a:gd name="connsiteY18" fmla="*/ 55432 h 50392"/>
                <a:gd name="connsiteX19" fmla="*/ 7559 w 12598"/>
                <a:gd name="connsiteY19" fmla="*/ 55432 h 50392"/>
                <a:gd name="connsiteX20" fmla="*/ 0 w 12598"/>
                <a:gd name="connsiteY20" fmla="*/ 60472 h 50392"/>
                <a:gd name="connsiteX21" fmla="*/ 0 w 12598"/>
                <a:gd name="connsiteY21" fmla="*/ 56692 h 50392"/>
                <a:gd name="connsiteX22" fmla="*/ 0 w 12598"/>
                <a:gd name="connsiteY22" fmla="*/ 50393 h 50392"/>
                <a:gd name="connsiteX23" fmla="*/ 0 w 12598"/>
                <a:gd name="connsiteY23" fmla="*/ 47873 h 50392"/>
                <a:gd name="connsiteX24" fmla="*/ 1260 w 12598"/>
                <a:gd name="connsiteY24" fmla="*/ 32755 h 50392"/>
                <a:gd name="connsiteX25" fmla="*/ 1260 w 12598"/>
                <a:gd name="connsiteY25" fmla="*/ 28976 h 50392"/>
                <a:gd name="connsiteX26" fmla="*/ 1260 w 12598"/>
                <a:gd name="connsiteY26" fmla="*/ 25196 h 50392"/>
                <a:gd name="connsiteX27" fmla="*/ 1260 w 12598"/>
                <a:gd name="connsiteY27" fmla="*/ 18897 h 50392"/>
                <a:gd name="connsiteX28" fmla="*/ 1260 w 12598"/>
                <a:gd name="connsiteY28" fmla="*/ 17637 h 50392"/>
                <a:gd name="connsiteX29" fmla="*/ 1260 w 12598"/>
                <a:gd name="connsiteY29" fmla="*/ 8819 h 50392"/>
                <a:gd name="connsiteX30" fmla="*/ 1260 w 12598"/>
                <a:gd name="connsiteY30" fmla="*/ 2520 h 50392"/>
                <a:gd name="connsiteX31" fmla="*/ 3779 w 12598"/>
                <a:gd name="connsiteY31" fmla="*/ 0 h 50392"/>
                <a:gd name="connsiteX32" fmla="*/ 3779 w 12598"/>
                <a:gd name="connsiteY32" fmla="*/ 0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98" h="50392">
                  <a:moveTo>
                    <a:pt x="3779" y="0"/>
                  </a:moveTo>
                  <a:lnTo>
                    <a:pt x="3779" y="0"/>
                  </a:lnTo>
                  <a:lnTo>
                    <a:pt x="3779" y="0"/>
                  </a:lnTo>
                  <a:cubicBezTo>
                    <a:pt x="3779" y="0"/>
                    <a:pt x="3779" y="0"/>
                    <a:pt x="3779" y="0"/>
                  </a:cubicBezTo>
                  <a:lnTo>
                    <a:pt x="3779" y="0"/>
                  </a:lnTo>
                  <a:lnTo>
                    <a:pt x="5039" y="0"/>
                  </a:lnTo>
                  <a:cubicBezTo>
                    <a:pt x="6299" y="0"/>
                    <a:pt x="7559" y="1260"/>
                    <a:pt x="10078" y="1260"/>
                  </a:cubicBezTo>
                  <a:cubicBezTo>
                    <a:pt x="11338" y="1260"/>
                    <a:pt x="12598" y="1260"/>
                    <a:pt x="12598" y="2520"/>
                  </a:cubicBezTo>
                  <a:cubicBezTo>
                    <a:pt x="12598" y="3780"/>
                    <a:pt x="12598" y="5039"/>
                    <a:pt x="12598" y="6299"/>
                  </a:cubicBezTo>
                  <a:cubicBezTo>
                    <a:pt x="12598" y="8819"/>
                    <a:pt x="12598" y="11338"/>
                    <a:pt x="11338" y="13858"/>
                  </a:cubicBezTo>
                  <a:cubicBezTo>
                    <a:pt x="11338" y="17637"/>
                    <a:pt x="11338" y="20157"/>
                    <a:pt x="10078" y="23937"/>
                  </a:cubicBezTo>
                  <a:lnTo>
                    <a:pt x="10078" y="23937"/>
                  </a:lnTo>
                  <a:lnTo>
                    <a:pt x="10078" y="23937"/>
                  </a:lnTo>
                  <a:lnTo>
                    <a:pt x="10078" y="23937"/>
                  </a:lnTo>
                  <a:lnTo>
                    <a:pt x="10078" y="23937"/>
                  </a:lnTo>
                  <a:lnTo>
                    <a:pt x="10078" y="23937"/>
                  </a:lnTo>
                  <a:lnTo>
                    <a:pt x="10078" y="23937"/>
                  </a:lnTo>
                  <a:cubicBezTo>
                    <a:pt x="10078" y="30236"/>
                    <a:pt x="8819" y="36535"/>
                    <a:pt x="8819" y="41574"/>
                  </a:cubicBezTo>
                  <a:cubicBezTo>
                    <a:pt x="8819" y="46613"/>
                    <a:pt x="7559" y="51653"/>
                    <a:pt x="7559" y="55432"/>
                  </a:cubicBezTo>
                  <a:cubicBezTo>
                    <a:pt x="7559" y="55432"/>
                    <a:pt x="7559" y="55432"/>
                    <a:pt x="7559" y="55432"/>
                  </a:cubicBezTo>
                  <a:cubicBezTo>
                    <a:pt x="5039" y="56692"/>
                    <a:pt x="2519" y="59212"/>
                    <a:pt x="0" y="60472"/>
                  </a:cubicBezTo>
                  <a:cubicBezTo>
                    <a:pt x="0" y="59212"/>
                    <a:pt x="0" y="57952"/>
                    <a:pt x="0" y="56692"/>
                  </a:cubicBezTo>
                  <a:cubicBezTo>
                    <a:pt x="0" y="54172"/>
                    <a:pt x="0" y="52913"/>
                    <a:pt x="0" y="50393"/>
                  </a:cubicBezTo>
                  <a:lnTo>
                    <a:pt x="0" y="47873"/>
                  </a:lnTo>
                  <a:cubicBezTo>
                    <a:pt x="0" y="41574"/>
                    <a:pt x="0" y="36535"/>
                    <a:pt x="1260" y="32755"/>
                  </a:cubicBezTo>
                  <a:lnTo>
                    <a:pt x="1260" y="28976"/>
                  </a:lnTo>
                  <a:cubicBezTo>
                    <a:pt x="1260" y="27716"/>
                    <a:pt x="1260" y="26456"/>
                    <a:pt x="1260" y="25196"/>
                  </a:cubicBezTo>
                  <a:cubicBezTo>
                    <a:pt x="1260" y="22677"/>
                    <a:pt x="1260" y="21417"/>
                    <a:pt x="1260" y="18897"/>
                  </a:cubicBezTo>
                  <a:lnTo>
                    <a:pt x="1260" y="17637"/>
                  </a:lnTo>
                  <a:cubicBezTo>
                    <a:pt x="1260" y="15118"/>
                    <a:pt x="1260" y="12598"/>
                    <a:pt x="1260" y="8819"/>
                  </a:cubicBezTo>
                  <a:cubicBezTo>
                    <a:pt x="1260" y="6299"/>
                    <a:pt x="1260" y="5039"/>
                    <a:pt x="1260" y="2520"/>
                  </a:cubicBezTo>
                  <a:cubicBezTo>
                    <a:pt x="3779" y="3780"/>
                    <a:pt x="3779" y="1260"/>
                    <a:pt x="3779" y="0"/>
                  </a:cubicBezTo>
                  <a:lnTo>
                    <a:pt x="3779" y="0"/>
                  </a:lnTo>
                  <a:close/>
                </a:path>
              </a:pathLst>
            </a:custGeom>
            <a:solidFill>
              <a:srgbClr val="001675"/>
            </a:solidFill>
            <a:ln w="12584" cap="flat">
              <a:noFill/>
              <a:prstDash val="solid"/>
              <a:miter/>
            </a:ln>
          </p:spPr>
          <p:txBody>
            <a:bodyPr rtlCol="0" anchor="ctr"/>
            <a:lstStyle/>
            <a:p>
              <a:endParaRPr lang="zh-CN" altLang="en-US"/>
            </a:p>
          </p:txBody>
        </p:sp>
        <p:sp>
          <p:nvSpPr>
            <p:cNvPr id="223" name="任意多边形: 形状 222"/>
            <p:cNvSpPr/>
            <p:nvPr/>
          </p:nvSpPr>
          <p:spPr>
            <a:xfrm>
              <a:off x="9896573" y="3438361"/>
              <a:ext cx="17160" cy="85803"/>
            </a:xfrm>
            <a:custGeom>
              <a:avLst/>
              <a:gdLst>
                <a:gd name="connsiteX0" fmla="*/ 25196 w 25196"/>
                <a:gd name="connsiteY0" fmla="*/ 1260 h 125982"/>
                <a:gd name="connsiteX1" fmla="*/ 20157 w 25196"/>
                <a:gd name="connsiteY1" fmla="*/ 0 h 125982"/>
                <a:gd name="connsiteX2" fmla="*/ 17638 w 25196"/>
                <a:gd name="connsiteY2" fmla="*/ 3780 h 125982"/>
                <a:gd name="connsiteX3" fmla="*/ 17638 w 25196"/>
                <a:gd name="connsiteY3" fmla="*/ 6299 h 125982"/>
                <a:gd name="connsiteX4" fmla="*/ 15118 w 25196"/>
                <a:gd name="connsiteY4" fmla="*/ 27716 h 125982"/>
                <a:gd name="connsiteX5" fmla="*/ 12598 w 25196"/>
                <a:gd name="connsiteY5" fmla="*/ 49133 h 125982"/>
                <a:gd name="connsiteX6" fmla="*/ 10079 w 25196"/>
                <a:gd name="connsiteY6" fmla="*/ 69290 h 125982"/>
                <a:gd name="connsiteX7" fmla="*/ 8819 w 25196"/>
                <a:gd name="connsiteY7" fmla="*/ 79369 h 125982"/>
                <a:gd name="connsiteX8" fmla="*/ 7559 w 25196"/>
                <a:gd name="connsiteY8" fmla="*/ 89448 h 125982"/>
                <a:gd name="connsiteX9" fmla="*/ 7559 w 25196"/>
                <a:gd name="connsiteY9" fmla="*/ 91967 h 125982"/>
                <a:gd name="connsiteX10" fmla="*/ 6299 w 25196"/>
                <a:gd name="connsiteY10" fmla="*/ 95747 h 125982"/>
                <a:gd name="connsiteX11" fmla="*/ 6299 w 25196"/>
                <a:gd name="connsiteY11" fmla="*/ 95747 h 125982"/>
                <a:gd name="connsiteX12" fmla="*/ 6299 w 25196"/>
                <a:gd name="connsiteY12" fmla="*/ 95747 h 125982"/>
                <a:gd name="connsiteX13" fmla="*/ 6299 w 25196"/>
                <a:gd name="connsiteY13" fmla="*/ 95747 h 125982"/>
                <a:gd name="connsiteX14" fmla="*/ 6299 w 25196"/>
                <a:gd name="connsiteY14" fmla="*/ 95747 h 125982"/>
                <a:gd name="connsiteX15" fmla="*/ 3780 w 25196"/>
                <a:gd name="connsiteY15" fmla="*/ 109605 h 125982"/>
                <a:gd name="connsiteX16" fmla="*/ 3780 w 25196"/>
                <a:gd name="connsiteY16" fmla="*/ 108345 h 125982"/>
                <a:gd name="connsiteX17" fmla="*/ 3780 w 25196"/>
                <a:gd name="connsiteY17" fmla="*/ 110864 h 125982"/>
                <a:gd name="connsiteX18" fmla="*/ 3780 w 25196"/>
                <a:gd name="connsiteY18" fmla="*/ 109605 h 125982"/>
                <a:gd name="connsiteX19" fmla="*/ 3780 w 25196"/>
                <a:gd name="connsiteY19" fmla="*/ 110864 h 125982"/>
                <a:gd name="connsiteX20" fmla="*/ 2520 w 25196"/>
                <a:gd name="connsiteY20" fmla="*/ 117164 h 125982"/>
                <a:gd name="connsiteX21" fmla="*/ 1260 w 25196"/>
                <a:gd name="connsiteY21" fmla="*/ 123463 h 125982"/>
                <a:gd name="connsiteX22" fmla="*/ 1260 w 25196"/>
                <a:gd name="connsiteY22" fmla="*/ 125982 h 125982"/>
                <a:gd name="connsiteX23" fmla="*/ 1260 w 25196"/>
                <a:gd name="connsiteY23" fmla="*/ 125982 h 125982"/>
                <a:gd name="connsiteX24" fmla="*/ 0 w 25196"/>
                <a:gd name="connsiteY24" fmla="*/ 132281 h 125982"/>
                <a:gd name="connsiteX25" fmla="*/ 3780 w 25196"/>
                <a:gd name="connsiteY25" fmla="*/ 128502 h 125982"/>
                <a:gd name="connsiteX26" fmla="*/ 8819 w 25196"/>
                <a:gd name="connsiteY26" fmla="*/ 123463 h 125982"/>
                <a:gd name="connsiteX27" fmla="*/ 10079 w 25196"/>
                <a:gd name="connsiteY27" fmla="*/ 117164 h 125982"/>
                <a:gd name="connsiteX28" fmla="*/ 12598 w 25196"/>
                <a:gd name="connsiteY28" fmla="*/ 107085 h 125982"/>
                <a:gd name="connsiteX29" fmla="*/ 15118 w 25196"/>
                <a:gd name="connsiteY29" fmla="*/ 86928 h 125982"/>
                <a:gd name="connsiteX30" fmla="*/ 21417 w 25196"/>
                <a:gd name="connsiteY30" fmla="*/ 45354 h 125982"/>
                <a:gd name="connsiteX31" fmla="*/ 22677 w 25196"/>
                <a:gd name="connsiteY31" fmla="*/ 35275 h 125982"/>
                <a:gd name="connsiteX32" fmla="*/ 23937 w 25196"/>
                <a:gd name="connsiteY32" fmla="*/ 23937 h 125982"/>
                <a:gd name="connsiteX33" fmla="*/ 25196 w 25196"/>
                <a:gd name="connsiteY33" fmla="*/ 12598 h 125982"/>
                <a:gd name="connsiteX34" fmla="*/ 26456 w 25196"/>
                <a:gd name="connsiteY34" fmla="*/ 1260 h 125982"/>
                <a:gd name="connsiteX35" fmla="*/ 25196 w 25196"/>
                <a:gd name="connsiteY35" fmla="*/ 1260 h 125982"/>
                <a:gd name="connsiteX36" fmla="*/ 25196 w 25196"/>
                <a:gd name="connsiteY36" fmla="*/ 1260 h 125982"/>
                <a:gd name="connsiteX37" fmla="*/ 3780 w 25196"/>
                <a:gd name="connsiteY37" fmla="*/ 117164 h 125982"/>
                <a:gd name="connsiteX38" fmla="*/ 3780 w 25196"/>
                <a:gd name="connsiteY38" fmla="*/ 117164 h 125982"/>
                <a:gd name="connsiteX39" fmla="*/ 3780 w 25196"/>
                <a:gd name="connsiteY39" fmla="*/ 117164 h 125982"/>
                <a:gd name="connsiteX40" fmla="*/ 2520 w 25196"/>
                <a:gd name="connsiteY40" fmla="*/ 127242 h 125982"/>
                <a:gd name="connsiteX41" fmla="*/ 2520 w 25196"/>
                <a:gd name="connsiteY41" fmla="*/ 127242 h 125982"/>
                <a:gd name="connsiteX42" fmla="*/ 2520 w 25196"/>
                <a:gd name="connsiteY42" fmla="*/ 127242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5196" h="125982">
                  <a:moveTo>
                    <a:pt x="25196" y="1260"/>
                  </a:moveTo>
                  <a:cubicBezTo>
                    <a:pt x="23937" y="1260"/>
                    <a:pt x="21417" y="0"/>
                    <a:pt x="20157" y="0"/>
                  </a:cubicBezTo>
                  <a:cubicBezTo>
                    <a:pt x="18897" y="1260"/>
                    <a:pt x="18897" y="2520"/>
                    <a:pt x="17638" y="3780"/>
                  </a:cubicBezTo>
                  <a:cubicBezTo>
                    <a:pt x="17638" y="5039"/>
                    <a:pt x="17638" y="5039"/>
                    <a:pt x="17638" y="6299"/>
                  </a:cubicBezTo>
                  <a:cubicBezTo>
                    <a:pt x="17638" y="13858"/>
                    <a:pt x="16378" y="20157"/>
                    <a:pt x="15118" y="27716"/>
                  </a:cubicBezTo>
                  <a:cubicBezTo>
                    <a:pt x="13858" y="35275"/>
                    <a:pt x="13858" y="41574"/>
                    <a:pt x="12598" y="49133"/>
                  </a:cubicBezTo>
                  <a:cubicBezTo>
                    <a:pt x="11339" y="55432"/>
                    <a:pt x="11339" y="62991"/>
                    <a:pt x="10079" y="69290"/>
                  </a:cubicBezTo>
                  <a:cubicBezTo>
                    <a:pt x="10079" y="73070"/>
                    <a:pt x="8819" y="75589"/>
                    <a:pt x="8819" y="79369"/>
                  </a:cubicBezTo>
                  <a:cubicBezTo>
                    <a:pt x="8819" y="83148"/>
                    <a:pt x="7559" y="86928"/>
                    <a:pt x="7559" y="89448"/>
                  </a:cubicBezTo>
                  <a:lnTo>
                    <a:pt x="7559" y="91967"/>
                  </a:lnTo>
                  <a:cubicBezTo>
                    <a:pt x="7559" y="93227"/>
                    <a:pt x="7559" y="94487"/>
                    <a:pt x="6299" y="95747"/>
                  </a:cubicBezTo>
                  <a:cubicBezTo>
                    <a:pt x="6299" y="95747"/>
                    <a:pt x="6299" y="95747"/>
                    <a:pt x="6299" y="95747"/>
                  </a:cubicBezTo>
                  <a:cubicBezTo>
                    <a:pt x="6299" y="95747"/>
                    <a:pt x="6299" y="95747"/>
                    <a:pt x="6299" y="95747"/>
                  </a:cubicBezTo>
                  <a:cubicBezTo>
                    <a:pt x="6299" y="95747"/>
                    <a:pt x="6299" y="95747"/>
                    <a:pt x="6299" y="95747"/>
                  </a:cubicBezTo>
                  <a:cubicBezTo>
                    <a:pt x="6299" y="95747"/>
                    <a:pt x="6299" y="95747"/>
                    <a:pt x="6299" y="95747"/>
                  </a:cubicBezTo>
                  <a:cubicBezTo>
                    <a:pt x="5040" y="100786"/>
                    <a:pt x="5040" y="104565"/>
                    <a:pt x="3780" y="109605"/>
                  </a:cubicBezTo>
                  <a:cubicBezTo>
                    <a:pt x="3780" y="109605"/>
                    <a:pt x="3780" y="108345"/>
                    <a:pt x="3780" y="108345"/>
                  </a:cubicBezTo>
                  <a:cubicBezTo>
                    <a:pt x="3780" y="109605"/>
                    <a:pt x="3780" y="109605"/>
                    <a:pt x="3780" y="110864"/>
                  </a:cubicBezTo>
                  <a:lnTo>
                    <a:pt x="3780" y="109605"/>
                  </a:lnTo>
                  <a:cubicBezTo>
                    <a:pt x="3780" y="109605"/>
                    <a:pt x="3780" y="110864"/>
                    <a:pt x="3780" y="110864"/>
                  </a:cubicBezTo>
                  <a:cubicBezTo>
                    <a:pt x="3780" y="113384"/>
                    <a:pt x="2520" y="114644"/>
                    <a:pt x="2520" y="117164"/>
                  </a:cubicBezTo>
                  <a:cubicBezTo>
                    <a:pt x="2520" y="119683"/>
                    <a:pt x="1260" y="120943"/>
                    <a:pt x="1260" y="123463"/>
                  </a:cubicBezTo>
                  <a:cubicBezTo>
                    <a:pt x="1260" y="124723"/>
                    <a:pt x="1260" y="124723"/>
                    <a:pt x="1260" y="125982"/>
                  </a:cubicBezTo>
                  <a:lnTo>
                    <a:pt x="1260" y="125982"/>
                  </a:lnTo>
                  <a:cubicBezTo>
                    <a:pt x="1260" y="128502"/>
                    <a:pt x="0" y="129762"/>
                    <a:pt x="0" y="132281"/>
                  </a:cubicBezTo>
                  <a:cubicBezTo>
                    <a:pt x="1260" y="131022"/>
                    <a:pt x="2520" y="129762"/>
                    <a:pt x="3780" y="128502"/>
                  </a:cubicBezTo>
                  <a:cubicBezTo>
                    <a:pt x="5040" y="127242"/>
                    <a:pt x="7559" y="125982"/>
                    <a:pt x="8819" y="123463"/>
                  </a:cubicBezTo>
                  <a:cubicBezTo>
                    <a:pt x="8819" y="120943"/>
                    <a:pt x="10079" y="118424"/>
                    <a:pt x="10079" y="117164"/>
                  </a:cubicBezTo>
                  <a:cubicBezTo>
                    <a:pt x="11339" y="113384"/>
                    <a:pt x="11339" y="109605"/>
                    <a:pt x="12598" y="107085"/>
                  </a:cubicBezTo>
                  <a:cubicBezTo>
                    <a:pt x="13858" y="100786"/>
                    <a:pt x="15118" y="93227"/>
                    <a:pt x="15118" y="86928"/>
                  </a:cubicBezTo>
                  <a:cubicBezTo>
                    <a:pt x="17638" y="73070"/>
                    <a:pt x="18897" y="59212"/>
                    <a:pt x="21417" y="45354"/>
                  </a:cubicBezTo>
                  <a:cubicBezTo>
                    <a:pt x="21417" y="41574"/>
                    <a:pt x="22677" y="37795"/>
                    <a:pt x="22677" y="35275"/>
                  </a:cubicBezTo>
                  <a:cubicBezTo>
                    <a:pt x="22677" y="31496"/>
                    <a:pt x="23937" y="27716"/>
                    <a:pt x="23937" y="23937"/>
                  </a:cubicBezTo>
                  <a:cubicBezTo>
                    <a:pt x="23937" y="20157"/>
                    <a:pt x="25196" y="16378"/>
                    <a:pt x="25196" y="12598"/>
                  </a:cubicBezTo>
                  <a:cubicBezTo>
                    <a:pt x="25196" y="8819"/>
                    <a:pt x="26456" y="5039"/>
                    <a:pt x="26456" y="1260"/>
                  </a:cubicBezTo>
                  <a:cubicBezTo>
                    <a:pt x="26456" y="2520"/>
                    <a:pt x="26456" y="1260"/>
                    <a:pt x="25196" y="1260"/>
                  </a:cubicBezTo>
                  <a:cubicBezTo>
                    <a:pt x="25196" y="1260"/>
                    <a:pt x="25196" y="1260"/>
                    <a:pt x="25196" y="1260"/>
                  </a:cubicBezTo>
                  <a:moveTo>
                    <a:pt x="3780" y="117164"/>
                  </a:moveTo>
                  <a:cubicBezTo>
                    <a:pt x="3780" y="118424"/>
                    <a:pt x="3780" y="118424"/>
                    <a:pt x="3780" y="117164"/>
                  </a:cubicBezTo>
                  <a:cubicBezTo>
                    <a:pt x="3780" y="118424"/>
                    <a:pt x="3780" y="118424"/>
                    <a:pt x="3780" y="117164"/>
                  </a:cubicBezTo>
                  <a:moveTo>
                    <a:pt x="2520" y="127242"/>
                  </a:moveTo>
                  <a:cubicBezTo>
                    <a:pt x="2520" y="127242"/>
                    <a:pt x="2520" y="127242"/>
                    <a:pt x="2520" y="127242"/>
                  </a:cubicBezTo>
                  <a:cubicBezTo>
                    <a:pt x="2520" y="127242"/>
                    <a:pt x="2520" y="127242"/>
                    <a:pt x="2520" y="127242"/>
                  </a:cubicBezTo>
                </a:path>
              </a:pathLst>
            </a:custGeom>
            <a:solidFill>
              <a:srgbClr val="F2A988"/>
            </a:solidFill>
            <a:ln w="12584" cap="flat">
              <a:noFill/>
              <a:prstDash val="solid"/>
              <a:miter/>
            </a:ln>
          </p:spPr>
          <p:txBody>
            <a:bodyPr rtlCol="0" anchor="ctr"/>
            <a:lstStyle/>
            <a:p>
              <a:endParaRPr lang="zh-CN" altLang="en-US"/>
            </a:p>
          </p:txBody>
        </p:sp>
        <p:sp>
          <p:nvSpPr>
            <p:cNvPr id="224" name="任意多边形: 形状 223"/>
            <p:cNvSpPr/>
            <p:nvPr/>
          </p:nvSpPr>
          <p:spPr>
            <a:xfrm>
              <a:off x="9900005" y="3439740"/>
              <a:ext cx="8580" cy="85803"/>
            </a:xfrm>
            <a:custGeom>
              <a:avLst/>
              <a:gdLst>
                <a:gd name="connsiteX0" fmla="*/ 18897 w 12598"/>
                <a:gd name="connsiteY0" fmla="*/ 3014 h 125982"/>
                <a:gd name="connsiteX1" fmla="*/ 18897 w 12598"/>
                <a:gd name="connsiteY1" fmla="*/ 10573 h 125982"/>
                <a:gd name="connsiteX2" fmla="*/ 18897 w 12598"/>
                <a:gd name="connsiteY2" fmla="*/ 18132 h 125982"/>
                <a:gd name="connsiteX3" fmla="*/ 18897 w 12598"/>
                <a:gd name="connsiteY3" fmla="*/ 23171 h 125982"/>
                <a:gd name="connsiteX4" fmla="*/ 18897 w 12598"/>
                <a:gd name="connsiteY4" fmla="*/ 21911 h 125982"/>
                <a:gd name="connsiteX5" fmla="*/ 20157 w 12598"/>
                <a:gd name="connsiteY5" fmla="*/ 29470 h 125982"/>
                <a:gd name="connsiteX6" fmla="*/ 21417 w 12598"/>
                <a:gd name="connsiteY6" fmla="*/ 38289 h 125982"/>
                <a:gd name="connsiteX7" fmla="*/ 21417 w 12598"/>
                <a:gd name="connsiteY7" fmla="*/ 43328 h 125982"/>
                <a:gd name="connsiteX8" fmla="*/ 21417 w 12598"/>
                <a:gd name="connsiteY8" fmla="*/ 48368 h 125982"/>
                <a:gd name="connsiteX9" fmla="*/ 21417 w 12598"/>
                <a:gd name="connsiteY9" fmla="*/ 57186 h 125982"/>
                <a:gd name="connsiteX10" fmla="*/ 21417 w 12598"/>
                <a:gd name="connsiteY10" fmla="*/ 66005 h 125982"/>
                <a:gd name="connsiteX11" fmla="*/ 21417 w 12598"/>
                <a:gd name="connsiteY11" fmla="*/ 69784 h 125982"/>
                <a:gd name="connsiteX12" fmla="*/ 21417 w 12598"/>
                <a:gd name="connsiteY12" fmla="*/ 69784 h 125982"/>
                <a:gd name="connsiteX13" fmla="*/ 21417 w 12598"/>
                <a:gd name="connsiteY13" fmla="*/ 74824 h 125982"/>
                <a:gd name="connsiteX14" fmla="*/ 21417 w 12598"/>
                <a:gd name="connsiteY14" fmla="*/ 79863 h 125982"/>
                <a:gd name="connsiteX15" fmla="*/ 21417 w 12598"/>
                <a:gd name="connsiteY15" fmla="*/ 81123 h 125982"/>
                <a:gd name="connsiteX16" fmla="*/ 21417 w 12598"/>
                <a:gd name="connsiteY16" fmla="*/ 84903 h 125982"/>
                <a:gd name="connsiteX17" fmla="*/ 21417 w 12598"/>
                <a:gd name="connsiteY17" fmla="*/ 87422 h 125982"/>
                <a:gd name="connsiteX18" fmla="*/ 20157 w 12598"/>
                <a:gd name="connsiteY18" fmla="*/ 93721 h 125982"/>
                <a:gd name="connsiteX19" fmla="*/ 18897 w 12598"/>
                <a:gd name="connsiteY19" fmla="*/ 102540 h 125982"/>
                <a:gd name="connsiteX20" fmla="*/ 17637 w 12598"/>
                <a:gd name="connsiteY20" fmla="*/ 110099 h 125982"/>
                <a:gd name="connsiteX21" fmla="*/ 17637 w 12598"/>
                <a:gd name="connsiteY21" fmla="*/ 112619 h 125982"/>
                <a:gd name="connsiteX22" fmla="*/ 16378 w 12598"/>
                <a:gd name="connsiteY22" fmla="*/ 113878 h 125982"/>
                <a:gd name="connsiteX23" fmla="*/ 7559 w 12598"/>
                <a:gd name="connsiteY23" fmla="*/ 121437 h 125982"/>
                <a:gd name="connsiteX24" fmla="*/ 5039 w 12598"/>
                <a:gd name="connsiteY24" fmla="*/ 123957 h 125982"/>
                <a:gd name="connsiteX25" fmla="*/ 0 w 12598"/>
                <a:gd name="connsiteY25" fmla="*/ 127736 h 125982"/>
                <a:gd name="connsiteX26" fmla="*/ 1260 w 12598"/>
                <a:gd name="connsiteY26" fmla="*/ 121437 h 125982"/>
                <a:gd name="connsiteX27" fmla="*/ 3779 w 12598"/>
                <a:gd name="connsiteY27" fmla="*/ 106319 h 125982"/>
                <a:gd name="connsiteX28" fmla="*/ 5039 w 12598"/>
                <a:gd name="connsiteY28" fmla="*/ 97501 h 125982"/>
                <a:gd name="connsiteX29" fmla="*/ 6299 w 12598"/>
                <a:gd name="connsiteY29" fmla="*/ 88682 h 125982"/>
                <a:gd name="connsiteX30" fmla="*/ 7559 w 12598"/>
                <a:gd name="connsiteY30" fmla="*/ 79863 h 125982"/>
                <a:gd name="connsiteX31" fmla="*/ 8819 w 12598"/>
                <a:gd name="connsiteY31" fmla="*/ 71044 h 125982"/>
                <a:gd name="connsiteX32" fmla="*/ 10078 w 12598"/>
                <a:gd name="connsiteY32" fmla="*/ 53407 h 125982"/>
                <a:gd name="connsiteX33" fmla="*/ 10078 w 12598"/>
                <a:gd name="connsiteY33" fmla="*/ 44588 h 125982"/>
                <a:gd name="connsiteX34" fmla="*/ 10078 w 12598"/>
                <a:gd name="connsiteY34" fmla="*/ 34510 h 125982"/>
                <a:gd name="connsiteX35" fmla="*/ 10078 w 12598"/>
                <a:gd name="connsiteY35" fmla="*/ 29470 h 125982"/>
                <a:gd name="connsiteX36" fmla="*/ 10078 w 12598"/>
                <a:gd name="connsiteY36" fmla="*/ 24431 h 125982"/>
                <a:gd name="connsiteX37" fmla="*/ 8819 w 12598"/>
                <a:gd name="connsiteY37" fmla="*/ 15612 h 125982"/>
                <a:gd name="connsiteX38" fmla="*/ 8819 w 12598"/>
                <a:gd name="connsiteY38" fmla="*/ 8053 h 125982"/>
                <a:gd name="connsiteX39" fmla="*/ 8819 w 12598"/>
                <a:gd name="connsiteY39" fmla="*/ 4274 h 125982"/>
                <a:gd name="connsiteX40" fmla="*/ 12598 w 12598"/>
                <a:gd name="connsiteY40" fmla="*/ 494 h 125982"/>
                <a:gd name="connsiteX41" fmla="*/ 13858 w 12598"/>
                <a:gd name="connsiteY41" fmla="*/ 494 h 125982"/>
                <a:gd name="connsiteX42" fmla="*/ 18897 w 12598"/>
                <a:gd name="connsiteY42" fmla="*/ 3014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98" h="125982">
                  <a:moveTo>
                    <a:pt x="18897" y="3014"/>
                  </a:moveTo>
                  <a:cubicBezTo>
                    <a:pt x="18897" y="5534"/>
                    <a:pt x="18897" y="8053"/>
                    <a:pt x="18897" y="10573"/>
                  </a:cubicBezTo>
                  <a:cubicBezTo>
                    <a:pt x="18897" y="13092"/>
                    <a:pt x="18897" y="15612"/>
                    <a:pt x="18897" y="18132"/>
                  </a:cubicBezTo>
                  <a:cubicBezTo>
                    <a:pt x="18897" y="19392"/>
                    <a:pt x="18897" y="21911"/>
                    <a:pt x="18897" y="23171"/>
                  </a:cubicBezTo>
                  <a:cubicBezTo>
                    <a:pt x="18897" y="23171"/>
                    <a:pt x="18897" y="21911"/>
                    <a:pt x="18897" y="21911"/>
                  </a:cubicBezTo>
                  <a:cubicBezTo>
                    <a:pt x="18897" y="24431"/>
                    <a:pt x="18897" y="26951"/>
                    <a:pt x="20157" y="29470"/>
                  </a:cubicBezTo>
                  <a:cubicBezTo>
                    <a:pt x="20157" y="31990"/>
                    <a:pt x="21417" y="35769"/>
                    <a:pt x="21417" y="38289"/>
                  </a:cubicBezTo>
                  <a:cubicBezTo>
                    <a:pt x="21417" y="39549"/>
                    <a:pt x="21417" y="42068"/>
                    <a:pt x="21417" y="43328"/>
                  </a:cubicBezTo>
                  <a:cubicBezTo>
                    <a:pt x="21417" y="44588"/>
                    <a:pt x="21417" y="45848"/>
                    <a:pt x="21417" y="48368"/>
                  </a:cubicBezTo>
                  <a:cubicBezTo>
                    <a:pt x="21417" y="50887"/>
                    <a:pt x="21417" y="53407"/>
                    <a:pt x="21417" y="57186"/>
                  </a:cubicBezTo>
                  <a:cubicBezTo>
                    <a:pt x="21417" y="59706"/>
                    <a:pt x="21417" y="63485"/>
                    <a:pt x="21417" y="66005"/>
                  </a:cubicBezTo>
                  <a:cubicBezTo>
                    <a:pt x="21417" y="67265"/>
                    <a:pt x="21417" y="68525"/>
                    <a:pt x="21417" y="69784"/>
                  </a:cubicBezTo>
                  <a:cubicBezTo>
                    <a:pt x="21417" y="69784"/>
                    <a:pt x="21417" y="69784"/>
                    <a:pt x="21417" y="69784"/>
                  </a:cubicBezTo>
                  <a:cubicBezTo>
                    <a:pt x="21417" y="71044"/>
                    <a:pt x="21417" y="73564"/>
                    <a:pt x="21417" y="74824"/>
                  </a:cubicBezTo>
                  <a:cubicBezTo>
                    <a:pt x="21417" y="76084"/>
                    <a:pt x="21417" y="77343"/>
                    <a:pt x="21417" y="79863"/>
                  </a:cubicBezTo>
                  <a:lnTo>
                    <a:pt x="21417" y="81123"/>
                  </a:lnTo>
                  <a:cubicBezTo>
                    <a:pt x="21417" y="82383"/>
                    <a:pt x="21417" y="83643"/>
                    <a:pt x="21417" y="84903"/>
                  </a:cubicBezTo>
                  <a:cubicBezTo>
                    <a:pt x="21417" y="86162"/>
                    <a:pt x="21417" y="86162"/>
                    <a:pt x="21417" y="87422"/>
                  </a:cubicBezTo>
                  <a:cubicBezTo>
                    <a:pt x="21417" y="89942"/>
                    <a:pt x="21417" y="91202"/>
                    <a:pt x="20157" y="93721"/>
                  </a:cubicBezTo>
                  <a:cubicBezTo>
                    <a:pt x="20157" y="96241"/>
                    <a:pt x="18897" y="98760"/>
                    <a:pt x="18897" y="102540"/>
                  </a:cubicBezTo>
                  <a:cubicBezTo>
                    <a:pt x="18897" y="105060"/>
                    <a:pt x="18897" y="107579"/>
                    <a:pt x="17637" y="110099"/>
                  </a:cubicBezTo>
                  <a:lnTo>
                    <a:pt x="17637" y="112619"/>
                  </a:lnTo>
                  <a:cubicBezTo>
                    <a:pt x="17637" y="112619"/>
                    <a:pt x="16378" y="113878"/>
                    <a:pt x="16378" y="113878"/>
                  </a:cubicBezTo>
                  <a:cubicBezTo>
                    <a:pt x="13858" y="116398"/>
                    <a:pt x="11338" y="118918"/>
                    <a:pt x="7559" y="121437"/>
                  </a:cubicBezTo>
                  <a:lnTo>
                    <a:pt x="5039" y="123957"/>
                  </a:lnTo>
                  <a:cubicBezTo>
                    <a:pt x="3779" y="125217"/>
                    <a:pt x="1260" y="126477"/>
                    <a:pt x="0" y="127736"/>
                  </a:cubicBezTo>
                  <a:cubicBezTo>
                    <a:pt x="0" y="125217"/>
                    <a:pt x="1260" y="123957"/>
                    <a:pt x="1260" y="121437"/>
                  </a:cubicBezTo>
                  <a:cubicBezTo>
                    <a:pt x="2519" y="116398"/>
                    <a:pt x="2519" y="111359"/>
                    <a:pt x="3779" y="106319"/>
                  </a:cubicBezTo>
                  <a:cubicBezTo>
                    <a:pt x="3779" y="103800"/>
                    <a:pt x="5039" y="101280"/>
                    <a:pt x="5039" y="97501"/>
                  </a:cubicBezTo>
                  <a:cubicBezTo>
                    <a:pt x="5039" y="94981"/>
                    <a:pt x="6299" y="91202"/>
                    <a:pt x="6299" y="88682"/>
                  </a:cubicBezTo>
                  <a:cubicBezTo>
                    <a:pt x="6299" y="86162"/>
                    <a:pt x="7559" y="82383"/>
                    <a:pt x="7559" y="79863"/>
                  </a:cubicBezTo>
                  <a:cubicBezTo>
                    <a:pt x="7559" y="77343"/>
                    <a:pt x="7559" y="73564"/>
                    <a:pt x="8819" y="71044"/>
                  </a:cubicBezTo>
                  <a:cubicBezTo>
                    <a:pt x="8819" y="64745"/>
                    <a:pt x="10078" y="59706"/>
                    <a:pt x="10078" y="53407"/>
                  </a:cubicBezTo>
                  <a:cubicBezTo>
                    <a:pt x="10078" y="50887"/>
                    <a:pt x="10078" y="47108"/>
                    <a:pt x="10078" y="44588"/>
                  </a:cubicBezTo>
                  <a:cubicBezTo>
                    <a:pt x="10078" y="40809"/>
                    <a:pt x="10078" y="38289"/>
                    <a:pt x="10078" y="34510"/>
                  </a:cubicBezTo>
                  <a:cubicBezTo>
                    <a:pt x="10078" y="33250"/>
                    <a:pt x="10078" y="30730"/>
                    <a:pt x="10078" y="29470"/>
                  </a:cubicBezTo>
                  <a:cubicBezTo>
                    <a:pt x="10078" y="28210"/>
                    <a:pt x="10078" y="25691"/>
                    <a:pt x="10078" y="24431"/>
                  </a:cubicBezTo>
                  <a:cubicBezTo>
                    <a:pt x="10078" y="21911"/>
                    <a:pt x="8819" y="18132"/>
                    <a:pt x="8819" y="15612"/>
                  </a:cubicBezTo>
                  <a:cubicBezTo>
                    <a:pt x="8819" y="13092"/>
                    <a:pt x="8819" y="10573"/>
                    <a:pt x="8819" y="8053"/>
                  </a:cubicBezTo>
                  <a:cubicBezTo>
                    <a:pt x="8819" y="6793"/>
                    <a:pt x="8819" y="5534"/>
                    <a:pt x="8819" y="4274"/>
                  </a:cubicBezTo>
                  <a:cubicBezTo>
                    <a:pt x="8819" y="1754"/>
                    <a:pt x="10078" y="494"/>
                    <a:pt x="12598" y="494"/>
                  </a:cubicBezTo>
                  <a:cubicBezTo>
                    <a:pt x="12598" y="494"/>
                    <a:pt x="13858" y="494"/>
                    <a:pt x="13858" y="494"/>
                  </a:cubicBezTo>
                  <a:cubicBezTo>
                    <a:pt x="16378" y="-766"/>
                    <a:pt x="18897" y="494"/>
                    <a:pt x="18897" y="3014"/>
                  </a:cubicBezTo>
                </a:path>
              </a:pathLst>
            </a:custGeom>
            <a:solidFill>
              <a:srgbClr val="F2A988"/>
            </a:solidFill>
            <a:ln w="12584" cap="flat">
              <a:noFill/>
              <a:prstDash val="solid"/>
              <a:miter/>
            </a:ln>
          </p:spPr>
          <p:txBody>
            <a:bodyPr rtlCol="0" anchor="ctr"/>
            <a:lstStyle/>
            <a:p>
              <a:endParaRPr lang="zh-CN" altLang="en-US"/>
            </a:p>
          </p:txBody>
        </p:sp>
        <p:sp>
          <p:nvSpPr>
            <p:cNvPr id="225" name="任意多边形: 形状 224"/>
            <p:cNvSpPr/>
            <p:nvPr/>
          </p:nvSpPr>
          <p:spPr>
            <a:xfrm>
              <a:off x="9873406" y="3539609"/>
              <a:ext cx="34321" cy="42902"/>
            </a:xfrm>
            <a:custGeom>
              <a:avLst/>
              <a:gdLst>
                <a:gd name="connsiteX0" fmla="*/ 49133 w 50392"/>
                <a:gd name="connsiteY0" fmla="*/ 10079 h 62991"/>
                <a:gd name="connsiteX1" fmla="*/ 46613 w 50392"/>
                <a:gd name="connsiteY1" fmla="*/ 17637 h 62991"/>
                <a:gd name="connsiteX2" fmla="*/ 44094 w 50392"/>
                <a:gd name="connsiteY2" fmla="*/ 25196 h 62991"/>
                <a:gd name="connsiteX3" fmla="*/ 31496 w 50392"/>
                <a:gd name="connsiteY3" fmla="*/ 49133 h 62991"/>
                <a:gd name="connsiteX4" fmla="*/ 25196 w 50392"/>
                <a:gd name="connsiteY4" fmla="*/ 59212 h 62991"/>
                <a:gd name="connsiteX5" fmla="*/ 15118 w 50392"/>
                <a:gd name="connsiteY5" fmla="*/ 71810 h 62991"/>
                <a:gd name="connsiteX6" fmla="*/ 8819 w 50392"/>
                <a:gd name="connsiteY6" fmla="*/ 74330 h 62991"/>
                <a:gd name="connsiteX7" fmla="*/ 2519 w 50392"/>
                <a:gd name="connsiteY7" fmla="*/ 71810 h 62991"/>
                <a:gd name="connsiteX8" fmla="*/ 0 w 50392"/>
                <a:gd name="connsiteY8" fmla="*/ 65511 h 62991"/>
                <a:gd name="connsiteX9" fmla="*/ 2519 w 50392"/>
                <a:gd name="connsiteY9" fmla="*/ 59212 h 62991"/>
                <a:gd name="connsiteX10" fmla="*/ 7559 w 50392"/>
                <a:gd name="connsiteY10" fmla="*/ 54172 h 62991"/>
                <a:gd name="connsiteX11" fmla="*/ 13858 w 50392"/>
                <a:gd name="connsiteY11" fmla="*/ 46613 h 62991"/>
                <a:gd name="connsiteX12" fmla="*/ 20157 w 50392"/>
                <a:gd name="connsiteY12" fmla="*/ 37795 h 62991"/>
                <a:gd name="connsiteX13" fmla="*/ 25196 w 50392"/>
                <a:gd name="connsiteY13" fmla="*/ 27716 h 62991"/>
                <a:gd name="connsiteX14" fmla="*/ 28976 w 50392"/>
                <a:gd name="connsiteY14" fmla="*/ 20157 h 62991"/>
                <a:gd name="connsiteX15" fmla="*/ 31496 w 50392"/>
                <a:gd name="connsiteY15" fmla="*/ 13858 h 62991"/>
                <a:gd name="connsiteX16" fmla="*/ 34015 w 50392"/>
                <a:gd name="connsiteY16" fmla="*/ 6299 h 62991"/>
                <a:gd name="connsiteX17" fmla="*/ 34015 w 50392"/>
                <a:gd name="connsiteY17" fmla="*/ 6299 h 62991"/>
                <a:gd name="connsiteX18" fmla="*/ 37795 w 50392"/>
                <a:gd name="connsiteY18" fmla="*/ 7559 h 62991"/>
                <a:gd name="connsiteX19" fmla="*/ 37795 w 50392"/>
                <a:gd name="connsiteY19" fmla="*/ 7559 h 62991"/>
                <a:gd name="connsiteX20" fmla="*/ 42834 w 50392"/>
                <a:gd name="connsiteY20" fmla="*/ 6299 h 62991"/>
                <a:gd name="connsiteX21" fmla="*/ 47873 w 50392"/>
                <a:gd name="connsiteY21" fmla="*/ 2520 h 62991"/>
                <a:gd name="connsiteX22" fmla="*/ 50393 w 50392"/>
                <a:gd name="connsiteY22" fmla="*/ 0 h 62991"/>
                <a:gd name="connsiteX23" fmla="*/ 49133 w 50392"/>
                <a:gd name="connsiteY23" fmla="*/ 10079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0392" h="62991">
                  <a:moveTo>
                    <a:pt x="49133" y="10079"/>
                  </a:moveTo>
                  <a:cubicBezTo>
                    <a:pt x="47873" y="12598"/>
                    <a:pt x="47873" y="15118"/>
                    <a:pt x="46613" y="17637"/>
                  </a:cubicBezTo>
                  <a:cubicBezTo>
                    <a:pt x="45354" y="20157"/>
                    <a:pt x="45354" y="22677"/>
                    <a:pt x="44094" y="25196"/>
                  </a:cubicBezTo>
                  <a:cubicBezTo>
                    <a:pt x="40314" y="32755"/>
                    <a:pt x="36535" y="41574"/>
                    <a:pt x="31496" y="49133"/>
                  </a:cubicBezTo>
                  <a:cubicBezTo>
                    <a:pt x="28976" y="52913"/>
                    <a:pt x="26456" y="55432"/>
                    <a:pt x="25196" y="59212"/>
                  </a:cubicBezTo>
                  <a:cubicBezTo>
                    <a:pt x="22677" y="62991"/>
                    <a:pt x="18897" y="68030"/>
                    <a:pt x="15118" y="71810"/>
                  </a:cubicBezTo>
                  <a:cubicBezTo>
                    <a:pt x="13858" y="73070"/>
                    <a:pt x="11338" y="74330"/>
                    <a:pt x="8819" y="74330"/>
                  </a:cubicBezTo>
                  <a:cubicBezTo>
                    <a:pt x="6299" y="74330"/>
                    <a:pt x="3779" y="73070"/>
                    <a:pt x="2519" y="71810"/>
                  </a:cubicBezTo>
                  <a:cubicBezTo>
                    <a:pt x="1260" y="70550"/>
                    <a:pt x="0" y="68030"/>
                    <a:pt x="0" y="65511"/>
                  </a:cubicBezTo>
                  <a:cubicBezTo>
                    <a:pt x="0" y="62991"/>
                    <a:pt x="1260" y="61731"/>
                    <a:pt x="2519" y="59212"/>
                  </a:cubicBezTo>
                  <a:cubicBezTo>
                    <a:pt x="3779" y="57952"/>
                    <a:pt x="6299" y="55432"/>
                    <a:pt x="7559" y="54172"/>
                  </a:cubicBezTo>
                  <a:cubicBezTo>
                    <a:pt x="10078" y="51653"/>
                    <a:pt x="11338" y="49133"/>
                    <a:pt x="13858" y="46613"/>
                  </a:cubicBezTo>
                  <a:cubicBezTo>
                    <a:pt x="16378" y="44094"/>
                    <a:pt x="17637" y="40314"/>
                    <a:pt x="20157" y="37795"/>
                  </a:cubicBezTo>
                  <a:cubicBezTo>
                    <a:pt x="21417" y="35275"/>
                    <a:pt x="23937" y="31496"/>
                    <a:pt x="25196" y="27716"/>
                  </a:cubicBezTo>
                  <a:cubicBezTo>
                    <a:pt x="26456" y="25196"/>
                    <a:pt x="27716" y="22677"/>
                    <a:pt x="28976" y="20157"/>
                  </a:cubicBezTo>
                  <a:cubicBezTo>
                    <a:pt x="30236" y="17637"/>
                    <a:pt x="30236" y="16378"/>
                    <a:pt x="31496" y="13858"/>
                  </a:cubicBezTo>
                  <a:cubicBezTo>
                    <a:pt x="32755" y="11338"/>
                    <a:pt x="32755" y="8819"/>
                    <a:pt x="34015" y="6299"/>
                  </a:cubicBezTo>
                  <a:cubicBezTo>
                    <a:pt x="34015" y="6299"/>
                    <a:pt x="34015" y="6299"/>
                    <a:pt x="34015" y="6299"/>
                  </a:cubicBezTo>
                  <a:cubicBezTo>
                    <a:pt x="35275" y="7559"/>
                    <a:pt x="36535" y="7559"/>
                    <a:pt x="37795" y="7559"/>
                  </a:cubicBezTo>
                  <a:cubicBezTo>
                    <a:pt x="37795" y="7559"/>
                    <a:pt x="37795" y="7559"/>
                    <a:pt x="37795" y="7559"/>
                  </a:cubicBezTo>
                  <a:cubicBezTo>
                    <a:pt x="39055" y="7559"/>
                    <a:pt x="41574" y="7559"/>
                    <a:pt x="42834" y="6299"/>
                  </a:cubicBezTo>
                  <a:cubicBezTo>
                    <a:pt x="45354" y="5039"/>
                    <a:pt x="46613" y="3780"/>
                    <a:pt x="47873" y="2520"/>
                  </a:cubicBezTo>
                  <a:cubicBezTo>
                    <a:pt x="49133" y="1260"/>
                    <a:pt x="50393" y="1260"/>
                    <a:pt x="50393" y="0"/>
                  </a:cubicBezTo>
                  <a:cubicBezTo>
                    <a:pt x="51653" y="1260"/>
                    <a:pt x="50393" y="6299"/>
                    <a:pt x="49133" y="10079"/>
                  </a:cubicBezTo>
                </a:path>
              </a:pathLst>
            </a:custGeom>
            <a:solidFill>
              <a:srgbClr val="F2A988"/>
            </a:solidFill>
            <a:ln w="12584" cap="flat">
              <a:noFill/>
              <a:prstDash val="solid"/>
              <a:miter/>
            </a:ln>
          </p:spPr>
          <p:txBody>
            <a:bodyPr rtlCol="0" anchor="ctr"/>
            <a:lstStyle/>
            <a:p>
              <a:endParaRPr lang="zh-CN" altLang="en-US"/>
            </a:p>
          </p:txBody>
        </p:sp>
        <p:sp>
          <p:nvSpPr>
            <p:cNvPr id="226" name="任意多边形: 形状 225"/>
            <p:cNvSpPr/>
            <p:nvPr/>
          </p:nvSpPr>
          <p:spPr>
            <a:xfrm>
              <a:off x="9890567" y="3449682"/>
              <a:ext cx="17160" cy="60063"/>
            </a:xfrm>
            <a:custGeom>
              <a:avLst/>
              <a:gdLst>
                <a:gd name="connsiteX0" fmla="*/ 32755 w 25196"/>
                <a:gd name="connsiteY0" fmla="*/ 4794 h 88187"/>
                <a:gd name="connsiteX1" fmla="*/ 31496 w 25196"/>
                <a:gd name="connsiteY1" fmla="*/ 26211 h 88187"/>
                <a:gd name="connsiteX2" fmla="*/ 30236 w 25196"/>
                <a:gd name="connsiteY2" fmla="*/ 48887 h 88187"/>
                <a:gd name="connsiteX3" fmla="*/ 26456 w 25196"/>
                <a:gd name="connsiteY3" fmla="*/ 71564 h 88187"/>
                <a:gd name="connsiteX4" fmla="*/ 23937 w 25196"/>
                <a:gd name="connsiteY4" fmla="*/ 82903 h 88187"/>
                <a:gd name="connsiteX5" fmla="*/ 21417 w 25196"/>
                <a:gd name="connsiteY5" fmla="*/ 91722 h 88187"/>
                <a:gd name="connsiteX6" fmla="*/ 21417 w 25196"/>
                <a:gd name="connsiteY6" fmla="*/ 92981 h 88187"/>
                <a:gd name="connsiteX7" fmla="*/ 20157 w 25196"/>
                <a:gd name="connsiteY7" fmla="*/ 96761 h 88187"/>
                <a:gd name="connsiteX8" fmla="*/ 17637 w 25196"/>
                <a:gd name="connsiteY8" fmla="*/ 99280 h 88187"/>
                <a:gd name="connsiteX9" fmla="*/ 12598 w 25196"/>
                <a:gd name="connsiteY9" fmla="*/ 100540 h 88187"/>
                <a:gd name="connsiteX10" fmla="*/ 10078 w 25196"/>
                <a:gd name="connsiteY10" fmla="*/ 100540 h 88187"/>
                <a:gd name="connsiteX11" fmla="*/ 8819 w 25196"/>
                <a:gd name="connsiteY11" fmla="*/ 100540 h 88187"/>
                <a:gd name="connsiteX12" fmla="*/ 7559 w 25196"/>
                <a:gd name="connsiteY12" fmla="*/ 100540 h 88187"/>
                <a:gd name="connsiteX13" fmla="*/ 0 w 25196"/>
                <a:gd name="connsiteY13" fmla="*/ 92981 h 88187"/>
                <a:gd name="connsiteX14" fmla="*/ 1260 w 25196"/>
                <a:gd name="connsiteY14" fmla="*/ 79123 h 88187"/>
                <a:gd name="connsiteX15" fmla="*/ 1260 w 25196"/>
                <a:gd name="connsiteY15" fmla="*/ 72824 h 88187"/>
                <a:gd name="connsiteX16" fmla="*/ 2519 w 25196"/>
                <a:gd name="connsiteY16" fmla="*/ 62746 h 88187"/>
                <a:gd name="connsiteX17" fmla="*/ 2519 w 25196"/>
                <a:gd name="connsiteY17" fmla="*/ 62746 h 88187"/>
                <a:gd name="connsiteX18" fmla="*/ 2519 w 25196"/>
                <a:gd name="connsiteY18" fmla="*/ 62746 h 88187"/>
                <a:gd name="connsiteX19" fmla="*/ 2519 w 25196"/>
                <a:gd name="connsiteY19" fmla="*/ 62746 h 88187"/>
                <a:gd name="connsiteX20" fmla="*/ 2519 w 25196"/>
                <a:gd name="connsiteY20" fmla="*/ 60226 h 88187"/>
                <a:gd name="connsiteX21" fmla="*/ 5039 w 25196"/>
                <a:gd name="connsiteY21" fmla="*/ 56446 h 88187"/>
                <a:gd name="connsiteX22" fmla="*/ 10078 w 25196"/>
                <a:gd name="connsiteY22" fmla="*/ 53927 h 88187"/>
                <a:gd name="connsiteX23" fmla="*/ 11338 w 25196"/>
                <a:gd name="connsiteY23" fmla="*/ 47628 h 88187"/>
                <a:gd name="connsiteX24" fmla="*/ 13858 w 25196"/>
                <a:gd name="connsiteY24" fmla="*/ 43848 h 88187"/>
                <a:gd name="connsiteX25" fmla="*/ 18897 w 25196"/>
                <a:gd name="connsiteY25" fmla="*/ 42588 h 88187"/>
                <a:gd name="connsiteX26" fmla="*/ 20157 w 25196"/>
                <a:gd name="connsiteY26" fmla="*/ 42588 h 88187"/>
                <a:gd name="connsiteX27" fmla="*/ 21417 w 25196"/>
                <a:gd name="connsiteY27" fmla="*/ 31250 h 88187"/>
                <a:gd name="connsiteX28" fmla="*/ 22677 w 25196"/>
                <a:gd name="connsiteY28" fmla="*/ 6054 h 88187"/>
                <a:gd name="connsiteX29" fmla="*/ 28976 w 25196"/>
                <a:gd name="connsiteY29" fmla="*/ 1014 h 88187"/>
                <a:gd name="connsiteX30" fmla="*/ 28976 w 25196"/>
                <a:gd name="connsiteY30" fmla="*/ 1014 h 88187"/>
                <a:gd name="connsiteX31" fmla="*/ 32755 w 25196"/>
                <a:gd name="connsiteY31" fmla="*/ 4794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196" h="88187">
                  <a:moveTo>
                    <a:pt x="32755" y="4794"/>
                  </a:moveTo>
                  <a:cubicBezTo>
                    <a:pt x="32755" y="12353"/>
                    <a:pt x="32755" y="18652"/>
                    <a:pt x="31496" y="26211"/>
                  </a:cubicBezTo>
                  <a:cubicBezTo>
                    <a:pt x="31496" y="33770"/>
                    <a:pt x="30236" y="41329"/>
                    <a:pt x="30236" y="48887"/>
                  </a:cubicBezTo>
                  <a:cubicBezTo>
                    <a:pt x="28976" y="56446"/>
                    <a:pt x="27716" y="64005"/>
                    <a:pt x="26456" y="71564"/>
                  </a:cubicBezTo>
                  <a:cubicBezTo>
                    <a:pt x="26456" y="75344"/>
                    <a:pt x="25196" y="79123"/>
                    <a:pt x="23937" y="82903"/>
                  </a:cubicBezTo>
                  <a:cubicBezTo>
                    <a:pt x="22677" y="85422"/>
                    <a:pt x="22677" y="89202"/>
                    <a:pt x="21417" y="91722"/>
                  </a:cubicBezTo>
                  <a:cubicBezTo>
                    <a:pt x="21417" y="91722"/>
                    <a:pt x="21417" y="92981"/>
                    <a:pt x="21417" y="92981"/>
                  </a:cubicBezTo>
                  <a:cubicBezTo>
                    <a:pt x="21417" y="94241"/>
                    <a:pt x="21417" y="95501"/>
                    <a:pt x="20157" y="96761"/>
                  </a:cubicBezTo>
                  <a:cubicBezTo>
                    <a:pt x="18897" y="98021"/>
                    <a:pt x="18897" y="99280"/>
                    <a:pt x="17637" y="99280"/>
                  </a:cubicBezTo>
                  <a:cubicBezTo>
                    <a:pt x="16378" y="100540"/>
                    <a:pt x="13858" y="100540"/>
                    <a:pt x="12598" y="100540"/>
                  </a:cubicBezTo>
                  <a:cubicBezTo>
                    <a:pt x="11338" y="100540"/>
                    <a:pt x="11338" y="100540"/>
                    <a:pt x="10078" y="100540"/>
                  </a:cubicBezTo>
                  <a:cubicBezTo>
                    <a:pt x="10078" y="100540"/>
                    <a:pt x="10078" y="100540"/>
                    <a:pt x="8819" y="100540"/>
                  </a:cubicBezTo>
                  <a:cubicBezTo>
                    <a:pt x="8819" y="100540"/>
                    <a:pt x="7559" y="100540"/>
                    <a:pt x="7559" y="100540"/>
                  </a:cubicBezTo>
                  <a:cubicBezTo>
                    <a:pt x="2519" y="100540"/>
                    <a:pt x="0" y="96761"/>
                    <a:pt x="0" y="92981"/>
                  </a:cubicBezTo>
                  <a:cubicBezTo>
                    <a:pt x="0" y="87942"/>
                    <a:pt x="0" y="82903"/>
                    <a:pt x="1260" y="79123"/>
                  </a:cubicBezTo>
                  <a:cubicBezTo>
                    <a:pt x="1260" y="76604"/>
                    <a:pt x="1260" y="74084"/>
                    <a:pt x="1260" y="72824"/>
                  </a:cubicBezTo>
                  <a:cubicBezTo>
                    <a:pt x="1260" y="69045"/>
                    <a:pt x="1260" y="66525"/>
                    <a:pt x="2519" y="62746"/>
                  </a:cubicBezTo>
                  <a:cubicBezTo>
                    <a:pt x="2519" y="62746"/>
                    <a:pt x="2519" y="62746"/>
                    <a:pt x="2519" y="62746"/>
                  </a:cubicBezTo>
                  <a:cubicBezTo>
                    <a:pt x="2519" y="62746"/>
                    <a:pt x="2519" y="62746"/>
                    <a:pt x="2519" y="62746"/>
                  </a:cubicBezTo>
                  <a:lnTo>
                    <a:pt x="2519" y="62746"/>
                  </a:lnTo>
                  <a:cubicBezTo>
                    <a:pt x="2519" y="61486"/>
                    <a:pt x="2519" y="61486"/>
                    <a:pt x="2519" y="60226"/>
                  </a:cubicBezTo>
                  <a:cubicBezTo>
                    <a:pt x="2519" y="58966"/>
                    <a:pt x="3779" y="57706"/>
                    <a:pt x="5039" y="56446"/>
                  </a:cubicBezTo>
                  <a:cubicBezTo>
                    <a:pt x="6299" y="55187"/>
                    <a:pt x="7559" y="55187"/>
                    <a:pt x="10078" y="53927"/>
                  </a:cubicBezTo>
                  <a:cubicBezTo>
                    <a:pt x="10078" y="51407"/>
                    <a:pt x="10078" y="50147"/>
                    <a:pt x="11338" y="47628"/>
                  </a:cubicBezTo>
                  <a:cubicBezTo>
                    <a:pt x="11338" y="46368"/>
                    <a:pt x="12598" y="45108"/>
                    <a:pt x="13858" y="43848"/>
                  </a:cubicBezTo>
                  <a:cubicBezTo>
                    <a:pt x="15118" y="42588"/>
                    <a:pt x="16378" y="42588"/>
                    <a:pt x="18897" y="42588"/>
                  </a:cubicBezTo>
                  <a:cubicBezTo>
                    <a:pt x="18897" y="42588"/>
                    <a:pt x="18897" y="42588"/>
                    <a:pt x="20157" y="42588"/>
                  </a:cubicBezTo>
                  <a:cubicBezTo>
                    <a:pt x="20157" y="38809"/>
                    <a:pt x="21417" y="35029"/>
                    <a:pt x="21417" y="31250"/>
                  </a:cubicBezTo>
                  <a:cubicBezTo>
                    <a:pt x="21417" y="22431"/>
                    <a:pt x="22677" y="14872"/>
                    <a:pt x="22677" y="6054"/>
                  </a:cubicBezTo>
                  <a:cubicBezTo>
                    <a:pt x="22677" y="2274"/>
                    <a:pt x="25196" y="-246"/>
                    <a:pt x="28976" y="1014"/>
                  </a:cubicBezTo>
                  <a:cubicBezTo>
                    <a:pt x="28976" y="1014"/>
                    <a:pt x="28976" y="1014"/>
                    <a:pt x="28976" y="1014"/>
                  </a:cubicBezTo>
                  <a:cubicBezTo>
                    <a:pt x="30236" y="-1505"/>
                    <a:pt x="32755" y="1014"/>
                    <a:pt x="32755" y="4794"/>
                  </a:cubicBezTo>
                </a:path>
              </a:pathLst>
            </a:custGeom>
            <a:solidFill>
              <a:srgbClr val="F2A988"/>
            </a:solidFill>
            <a:ln w="12584" cap="flat">
              <a:noFill/>
              <a:prstDash val="solid"/>
              <a:miter/>
            </a:ln>
          </p:spPr>
          <p:txBody>
            <a:bodyPr rtlCol="0" anchor="ctr"/>
            <a:lstStyle/>
            <a:p>
              <a:endParaRPr lang="zh-CN" altLang="en-US"/>
            </a:p>
          </p:txBody>
        </p:sp>
        <p:sp>
          <p:nvSpPr>
            <p:cNvPr id="227" name="任意多边形: 形状 226"/>
            <p:cNvSpPr/>
            <p:nvPr/>
          </p:nvSpPr>
          <p:spPr>
            <a:xfrm>
              <a:off x="9890339" y="3438361"/>
              <a:ext cx="25741" cy="102964"/>
            </a:xfrm>
            <a:custGeom>
              <a:avLst/>
              <a:gdLst>
                <a:gd name="connsiteX0" fmla="*/ 34350 w 37794"/>
                <a:gd name="connsiteY0" fmla="*/ 1260 h 151178"/>
                <a:gd name="connsiteX1" fmla="*/ 35610 w 37794"/>
                <a:gd name="connsiteY1" fmla="*/ 1260 h 151178"/>
                <a:gd name="connsiteX2" fmla="*/ 35610 w 37794"/>
                <a:gd name="connsiteY2" fmla="*/ 1260 h 151178"/>
                <a:gd name="connsiteX3" fmla="*/ 35610 w 37794"/>
                <a:gd name="connsiteY3" fmla="*/ 1260 h 151178"/>
                <a:gd name="connsiteX4" fmla="*/ 35610 w 37794"/>
                <a:gd name="connsiteY4" fmla="*/ 1260 h 151178"/>
                <a:gd name="connsiteX5" fmla="*/ 35610 w 37794"/>
                <a:gd name="connsiteY5" fmla="*/ 1260 h 151178"/>
                <a:gd name="connsiteX6" fmla="*/ 36870 w 37794"/>
                <a:gd name="connsiteY6" fmla="*/ 1260 h 151178"/>
                <a:gd name="connsiteX7" fmla="*/ 41909 w 37794"/>
                <a:gd name="connsiteY7" fmla="*/ 2520 h 151178"/>
                <a:gd name="connsiteX8" fmla="*/ 44429 w 37794"/>
                <a:gd name="connsiteY8" fmla="*/ 3780 h 151178"/>
                <a:gd name="connsiteX9" fmla="*/ 44429 w 37794"/>
                <a:gd name="connsiteY9" fmla="*/ 7559 h 151178"/>
                <a:gd name="connsiteX10" fmla="*/ 43169 w 37794"/>
                <a:gd name="connsiteY10" fmla="*/ 15118 h 151178"/>
                <a:gd name="connsiteX11" fmla="*/ 41909 w 37794"/>
                <a:gd name="connsiteY11" fmla="*/ 25196 h 151178"/>
                <a:gd name="connsiteX12" fmla="*/ 41909 w 37794"/>
                <a:gd name="connsiteY12" fmla="*/ 25196 h 151178"/>
                <a:gd name="connsiteX13" fmla="*/ 41909 w 37794"/>
                <a:gd name="connsiteY13" fmla="*/ 25196 h 151178"/>
                <a:gd name="connsiteX14" fmla="*/ 41909 w 37794"/>
                <a:gd name="connsiteY14" fmla="*/ 25196 h 151178"/>
                <a:gd name="connsiteX15" fmla="*/ 41909 w 37794"/>
                <a:gd name="connsiteY15" fmla="*/ 25196 h 151178"/>
                <a:gd name="connsiteX16" fmla="*/ 41909 w 37794"/>
                <a:gd name="connsiteY16" fmla="*/ 25196 h 151178"/>
                <a:gd name="connsiteX17" fmla="*/ 41909 w 37794"/>
                <a:gd name="connsiteY17" fmla="*/ 25196 h 151178"/>
                <a:gd name="connsiteX18" fmla="*/ 40649 w 37794"/>
                <a:gd name="connsiteY18" fmla="*/ 42834 h 151178"/>
                <a:gd name="connsiteX19" fmla="*/ 39390 w 37794"/>
                <a:gd name="connsiteY19" fmla="*/ 56692 h 151178"/>
                <a:gd name="connsiteX20" fmla="*/ 38130 w 37794"/>
                <a:gd name="connsiteY20" fmla="*/ 61731 h 151178"/>
                <a:gd name="connsiteX21" fmla="*/ 36870 w 37794"/>
                <a:gd name="connsiteY21" fmla="*/ 69290 h 151178"/>
                <a:gd name="connsiteX22" fmla="*/ 36870 w 37794"/>
                <a:gd name="connsiteY22" fmla="*/ 69290 h 151178"/>
                <a:gd name="connsiteX23" fmla="*/ 36870 w 37794"/>
                <a:gd name="connsiteY23" fmla="*/ 69290 h 151178"/>
                <a:gd name="connsiteX24" fmla="*/ 34350 w 37794"/>
                <a:gd name="connsiteY24" fmla="*/ 78109 h 151178"/>
                <a:gd name="connsiteX25" fmla="*/ 29311 w 37794"/>
                <a:gd name="connsiteY25" fmla="*/ 97006 h 151178"/>
                <a:gd name="connsiteX26" fmla="*/ 24272 w 37794"/>
                <a:gd name="connsiteY26" fmla="*/ 113384 h 151178"/>
                <a:gd name="connsiteX27" fmla="*/ 21752 w 37794"/>
                <a:gd name="connsiteY27" fmla="*/ 120943 h 151178"/>
                <a:gd name="connsiteX28" fmla="*/ 20492 w 37794"/>
                <a:gd name="connsiteY28" fmla="*/ 122203 h 151178"/>
                <a:gd name="connsiteX29" fmla="*/ 14193 w 37794"/>
                <a:gd name="connsiteY29" fmla="*/ 128502 h 151178"/>
                <a:gd name="connsiteX30" fmla="*/ 10414 w 37794"/>
                <a:gd name="connsiteY30" fmla="*/ 132281 h 151178"/>
                <a:gd name="connsiteX31" fmla="*/ 5374 w 37794"/>
                <a:gd name="connsiteY31" fmla="*/ 137321 h 151178"/>
                <a:gd name="connsiteX32" fmla="*/ 4114 w 37794"/>
                <a:gd name="connsiteY32" fmla="*/ 142360 h 151178"/>
                <a:gd name="connsiteX33" fmla="*/ 4114 w 37794"/>
                <a:gd name="connsiteY33" fmla="*/ 143620 h 151178"/>
                <a:gd name="connsiteX34" fmla="*/ 4114 w 37794"/>
                <a:gd name="connsiteY34" fmla="*/ 144880 h 151178"/>
                <a:gd name="connsiteX35" fmla="*/ 6634 w 37794"/>
                <a:gd name="connsiteY35" fmla="*/ 149919 h 151178"/>
                <a:gd name="connsiteX36" fmla="*/ 10414 w 37794"/>
                <a:gd name="connsiteY36" fmla="*/ 152439 h 151178"/>
                <a:gd name="connsiteX37" fmla="*/ 10414 w 37794"/>
                <a:gd name="connsiteY37" fmla="*/ 153698 h 151178"/>
                <a:gd name="connsiteX38" fmla="*/ 7894 w 37794"/>
                <a:gd name="connsiteY38" fmla="*/ 157478 h 151178"/>
                <a:gd name="connsiteX39" fmla="*/ 4114 w 37794"/>
                <a:gd name="connsiteY39" fmla="*/ 157478 h 151178"/>
                <a:gd name="connsiteX40" fmla="*/ 335 w 37794"/>
                <a:gd name="connsiteY40" fmla="*/ 151179 h 151178"/>
                <a:gd name="connsiteX41" fmla="*/ 11673 w 37794"/>
                <a:gd name="connsiteY41" fmla="*/ 115904 h 151178"/>
                <a:gd name="connsiteX42" fmla="*/ 17973 w 37794"/>
                <a:gd name="connsiteY42" fmla="*/ 99526 h 151178"/>
                <a:gd name="connsiteX43" fmla="*/ 23012 w 37794"/>
                <a:gd name="connsiteY43" fmla="*/ 81889 h 151178"/>
                <a:gd name="connsiteX44" fmla="*/ 26791 w 37794"/>
                <a:gd name="connsiteY44" fmla="*/ 68031 h 151178"/>
                <a:gd name="connsiteX45" fmla="*/ 29311 w 37794"/>
                <a:gd name="connsiteY45" fmla="*/ 55432 h 151178"/>
                <a:gd name="connsiteX46" fmla="*/ 31831 w 37794"/>
                <a:gd name="connsiteY46" fmla="*/ 37795 h 151178"/>
                <a:gd name="connsiteX47" fmla="*/ 33091 w 37794"/>
                <a:gd name="connsiteY47" fmla="*/ 28976 h 151178"/>
                <a:gd name="connsiteX48" fmla="*/ 33091 w 37794"/>
                <a:gd name="connsiteY48" fmla="*/ 20157 h 151178"/>
                <a:gd name="connsiteX49" fmla="*/ 34350 w 37794"/>
                <a:gd name="connsiteY49" fmla="*/ 1260 h 151178"/>
                <a:gd name="connsiteX50" fmla="*/ 34350 w 37794"/>
                <a:gd name="connsiteY50" fmla="*/ 0 h 151178"/>
                <a:gd name="connsiteX51" fmla="*/ 34350 w 37794"/>
                <a:gd name="connsiteY51" fmla="*/ 1260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7794" h="151178">
                  <a:moveTo>
                    <a:pt x="34350" y="1260"/>
                  </a:moveTo>
                  <a:cubicBezTo>
                    <a:pt x="34350" y="1260"/>
                    <a:pt x="35610" y="1260"/>
                    <a:pt x="35610" y="1260"/>
                  </a:cubicBezTo>
                  <a:lnTo>
                    <a:pt x="35610" y="1260"/>
                  </a:lnTo>
                  <a:lnTo>
                    <a:pt x="35610" y="1260"/>
                  </a:lnTo>
                  <a:cubicBezTo>
                    <a:pt x="35610" y="1260"/>
                    <a:pt x="35610" y="1260"/>
                    <a:pt x="35610" y="1260"/>
                  </a:cubicBezTo>
                  <a:lnTo>
                    <a:pt x="35610" y="1260"/>
                  </a:lnTo>
                  <a:lnTo>
                    <a:pt x="36870" y="1260"/>
                  </a:lnTo>
                  <a:cubicBezTo>
                    <a:pt x="38130" y="1260"/>
                    <a:pt x="39390" y="2520"/>
                    <a:pt x="41909" y="2520"/>
                  </a:cubicBezTo>
                  <a:cubicBezTo>
                    <a:pt x="43169" y="2520"/>
                    <a:pt x="44429" y="2520"/>
                    <a:pt x="44429" y="3780"/>
                  </a:cubicBezTo>
                  <a:cubicBezTo>
                    <a:pt x="44429" y="5039"/>
                    <a:pt x="44429" y="6299"/>
                    <a:pt x="44429" y="7559"/>
                  </a:cubicBezTo>
                  <a:cubicBezTo>
                    <a:pt x="44429" y="10079"/>
                    <a:pt x="44429" y="12598"/>
                    <a:pt x="43169" y="15118"/>
                  </a:cubicBezTo>
                  <a:cubicBezTo>
                    <a:pt x="43169" y="18897"/>
                    <a:pt x="43169" y="21417"/>
                    <a:pt x="41909" y="25196"/>
                  </a:cubicBezTo>
                  <a:lnTo>
                    <a:pt x="41909" y="25196"/>
                  </a:lnTo>
                  <a:lnTo>
                    <a:pt x="41909" y="25196"/>
                  </a:lnTo>
                  <a:lnTo>
                    <a:pt x="41909" y="25196"/>
                  </a:lnTo>
                  <a:lnTo>
                    <a:pt x="41909" y="25196"/>
                  </a:lnTo>
                  <a:lnTo>
                    <a:pt x="41909" y="25196"/>
                  </a:lnTo>
                  <a:lnTo>
                    <a:pt x="41909" y="25196"/>
                  </a:lnTo>
                  <a:cubicBezTo>
                    <a:pt x="41909" y="31496"/>
                    <a:pt x="40649" y="37795"/>
                    <a:pt x="40649" y="42834"/>
                  </a:cubicBezTo>
                  <a:cubicBezTo>
                    <a:pt x="40649" y="47873"/>
                    <a:pt x="39390" y="52913"/>
                    <a:pt x="39390" y="56692"/>
                  </a:cubicBezTo>
                  <a:cubicBezTo>
                    <a:pt x="39390" y="57952"/>
                    <a:pt x="39390" y="60472"/>
                    <a:pt x="38130" y="61731"/>
                  </a:cubicBezTo>
                  <a:cubicBezTo>
                    <a:pt x="38130" y="64251"/>
                    <a:pt x="36870" y="66771"/>
                    <a:pt x="36870" y="69290"/>
                  </a:cubicBezTo>
                  <a:lnTo>
                    <a:pt x="36870" y="69290"/>
                  </a:lnTo>
                  <a:cubicBezTo>
                    <a:pt x="36870" y="69290"/>
                    <a:pt x="36870" y="69290"/>
                    <a:pt x="36870" y="69290"/>
                  </a:cubicBezTo>
                  <a:cubicBezTo>
                    <a:pt x="35610" y="71810"/>
                    <a:pt x="35610" y="75589"/>
                    <a:pt x="34350" y="78109"/>
                  </a:cubicBezTo>
                  <a:cubicBezTo>
                    <a:pt x="33091" y="84408"/>
                    <a:pt x="31831" y="90707"/>
                    <a:pt x="29311" y="97006"/>
                  </a:cubicBezTo>
                  <a:cubicBezTo>
                    <a:pt x="28051" y="102046"/>
                    <a:pt x="25532" y="108345"/>
                    <a:pt x="24272" y="113384"/>
                  </a:cubicBezTo>
                  <a:cubicBezTo>
                    <a:pt x="23012" y="115904"/>
                    <a:pt x="21752" y="118424"/>
                    <a:pt x="21752" y="120943"/>
                  </a:cubicBezTo>
                  <a:lnTo>
                    <a:pt x="20492" y="122203"/>
                  </a:lnTo>
                  <a:cubicBezTo>
                    <a:pt x="17973" y="124723"/>
                    <a:pt x="15453" y="125982"/>
                    <a:pt x="14193" y="128502"/>
                  </a:cubicBezTo>
                  <a:cubicBezTo>
                    <a:pt x="12933" y="129762"/>
                    <a:pt x="11673" y="131022"/>
                    <a:pt x="10414" y="132281"/>
                  </a:cubicBezTo>
                  <a:cubicBezTo>
                    <a:pt x="9154" y="133541"/>
                    <a:pt x="6634" y="136061"/>
                    <a:pt x="5374" y="137321"/>
                  </a:cubicBezTo>
                  <a:cubicBezTo>
                    <a:pt x="4114" y="138581"/>
                    <a:pt x="4114" y="141100"/>
                    <a:pt x="4114" y="142360"/>
                  </a:cubicBezTo>
                  <a:lnTo>
                    <a:pt x="4114" y="143620"/>
                  </a:lnTo>
                  <a:lnTo>
                    <a:pt x="4114" y="144880"/>
                  </a:lnTo>
                  <a:cubicBezTo>
                    <a:pt x="4114" y="146140"/>
                    <a:pt x="5374" y="148659"/>
                    <a:pt x="6634" y="149919"/>
                  </a:cubicBezTo>
                  <a:cubicBezTo>
                    <a:pt x="7894" y="151179"/>
                    <a:pt x="9154" y="152439"/>
                    <a:pt x="10414" y="152439"/>
                  </a:cubicBezTo>
                  <a:cubicBezTo>
                    <a:pt x="10414" y="152439"/>
                    <a:pt x="10414" y="153698"/>
                    <a:pt x="10414" y="153698"/>
                  </a:cubicBezTo>
                  <a:cubicBezTo>
                    <a:pt x="10414" y="154958"/>
                    <a:pt x="9154" y="156218"/>
                    <a:pt x="7894" y="157478"/>
                  </a:cubicBezTo>
                  <a:cubicBezTo>
                    <a:pt x="6634" y="158738"/>
                    <a:pt x="5374" y="158738"/>
                    <a:pt x="4114" y="157478"/>
                  </a:cubicBezTo>
                  <a:cubicBezTo>
                    <a:pt x="1595" y="156218"/>
                    <a:pt x="-925" y="153698"/>
                    <a:pt x="335" y="151179"/>
                  </a:cubicBezTo>
                  <a:cubicBezTo>
                    <a:pt x="4114" y="139840"/>
                    <a:pt x="7894" y="127242"/>
                    <a:pt x="11673" y="115904"/>
                  </a:cubicBezTo>
                  <a:cubicBezTo>
                    <a:pt x="14193" y="110864"/>
                    <a:pt x="15453" y="104565"/>
                    <a:pt x="17973" y="99526"/>
                  </a:cubicBezTo>
                  <a:cubicBezTo>
                    <a:pt x="19232" y="93227"/>
                    <a:pt x="21752" y="88188"/>
                    <a:pt x="23012" y="81889"/>
                  </a:cubicBezTo>
                  <a:cubicBezTo>
                    <a:pt x="24272" y="76849"/>
                    <a:pt x="25532" y="71810"/>
                    <a:pt x="26791" y="68031"/>
                  </a:cubicBezTo>
                  <a:cubicBezTo>
                    <a:pt x="28051" y="64251"/>
                    <a:pt x="29311" y="59212"/>
                    <a:pt x="29311" y="55432"/>
                  </a:cubicBezTo>
                  <a:cubicBezTo>
                    <a:pt x="30571" y="49133"/>
                    <a:pt x="30571" y="44094"/>
                    <a:pt x="31831" y="37795"/>
                  </a:cubicBezTo>
                  <a:cubicBezTo>
                    <a:pt x="31831" y="35275"/>
                    <a:pt x="31831" y="31496"/>
                    <a:pt x="33091" y="28976"/>
                  </a:cubicBezTo>
                  <a:cubicBezTo>
                    <a:pt x="33091" y="26456"/>
                    <a:pt x="33091" y="22677"/>
                    <a:pt x="33091" y="20157"/>
                  </a:cubicBezTo>
                  <a:cubicBezTo>
                    <a:pt x="33091" y="13858"/>
                    <a:pt x="34350" y="7559"/>
                    <a:pt x="34350" y="1260"/>
                  </a:cubicBezTo>
                  <a:cubicBezTo>
                    <a:pt x="34350" y="1260"/>
                    <a:pt x="34350" y="1260"/>
                    <a:pt x="34350" y="0"/>
                  </a:cubicBezTo>
                  <a:cubicBezTo>
                    <a:pt x="33091" y="0"/>
                    <a:pt x="33091" y="0"/>
                    <a:pt x="34350" y="1260"/>
                  </a:cubicBezTo>
                </a:path>
              </a:pathLst>
            </a:custGeom>
            <a:solidFill>
              <a:srgbClr val="F2A988"/>
            </a:solidFill>
            <a:ln w="12584" cap="flat">
              <a:noFill/>
              <a:prstDash val="solid"/>
              <a:miter/>
            </a:ln>
          </p:spPr>
          <p:txBody>
            <a:bodyPr rtlCol="0" anchor="ctr"/>
            <a:lstStyle/>
            <a:p>
              <a:endParaRPr lang="zh-CN" altLang="en-US"/>
            </a:p>
          </p:txBody>
        </p:sp>
        <p:sp>
          <p:nvSpPr>
            <p:cNvPr id="228" name="任意多边形: 形状 227"/>
            <p:cNvSpPr/>
            <p:nvPr/>
          </p:nvSpPr>
          <p:spPr>
            <a:xfrm>
              <a:off x="9896573" y="3456379"/>
              <a:ext cx="17160" cy="85803"/>
            </a:xfrm>
            <a:custGeom>
              <a:avLst/>
              <a:gdLst>
                <a:gd name="connsiteX0" fmla="*/ 34015 w 25196"/>
                <a:gd name="connsiteY0" fmla="*/ 0 h 125982"/>
                <a:gd name="connsiteX1" fmla="*/ 34015 w 25196"/>
                <a:gd name="connsiteY1" fmla="*/ 0 h 125982"/>
                <a:gd name="connsiteX2" fmla="*/ 34015 w 25196"/>
                <a:gd name="connsiteY2" fmla="*/ 2520 h 125982"/>
                <a:gd name="connsiteX3" fmla="*/ 34015 w 25196"/>
                <a:gd name="connsiteY3" fmla="*/ 5039 h 125982"/>
                <a:gd name="connsiteX4" fmla="*/ 34015 w 25196"/>
                <a:gd name="connsiteY4" fmla="*/ 15118 h 125982"/>
                <a:gd name="connsiteX5" fmla="*/ 34015 w 25196"/>
                <a:gd name="connsiteY5" fmla="*/ 21417 h 125982"/>
                <a:gd name="connsiteX6" fmla="*/ 32755 w 25196"/>
                <a:gd name="connsiteY6" fmla="*/ 34015 h 125982"/>
                <a:gd name="connsiteX7" fmla="*/ 32755 w 25196"/>
                <a:gd name="connsiteY7" fmla="*/ 39054 h 125982"/>
                <a:gd name="connsiteX8" fmla="*/ 30236 w 25196"/>
                <a:gd name="connsiteY8" fmla="*/ 60472 h 125982"/>
                <a:gd name="connsiteX9" fmla="*/ 30236 w 25196"/>
                <a:gd name="connsiteY9" fmla="*/ 60472 h 125982"/>
                <a:gd name="connsiteX10" fmla="*/ 28976 w 25196"/>
                <a:gd name="connsiteY10" fmla="*/ 75589 h 125982"/>
                <a:gd name="connsiteX11" fmla="*/ 27716 w 25196"/>
                <a:gd name="connsiteY11" fmla="*/ 88188 h 125982"/>
                <a:gd name="connsiteX12" fmla="*/ 27716 w 25196"/>
                <a:gd name="connsiteY12" fmla="*/ 88188 h 125982"/>
                <a:gd name="connsiteX13" fmla="*/ 27716 w 25196"/>
                <a:gd name="connsiteY13" fmla="*/ 93227 h 125982"/>
                <a:gd name="connsiteX14" fmla="*/ 23937 w 25196"/>
                <a:gd name="connsiteY14" fmla="*/ 113384 h 125982"/>
                <a:gd name="connsiteX15" fmla="*/ 23937 w 25196"/>
                <a:gd name="connsiteY15" fmla="*/ 114644 h 125982"/>
                <a:gd name="connsiteX16" fmla="*/ 23937 w 25196"/>
                <a:gd name="connsiteY16" fmla="*/ 115904 h 125982"/>
                <a:gd name="connsiteX17" fmla="*/ 23937 w 25196"/>
                <a:gd name="connsiteY17" fmla="*/ 115904 h 125982"/>
                <a:gd name="connsiteX18" fmla="*/ 23937 w 25196"/>
                <a:gd name="connsiteY18" fmla="*/ 115904 h 125982"/>
                <a:gd name="connsiteX19" fmla="*/ 23937 w 25196"/>
                <a:gd name="connsiteY19" fmla="*/ 115904 h 125982"/>
                <a:gd name="connsiteX20" fmla="*/ 23937 w 25196"/>
                <a:gd name="connsiteY20" fmla="*/ 115904 h 125982"/>
                <a:gd name="connsiteX21" fmla="*/ 23937 w 25196"/>
                <a:gd name="connsiteY21" fmla="*/ 115904 h 125982"/>
                <a:gd name="connsiteX22" fmla="*/ 23937 w 25196"/>
                <a:gd name="connsiteY22" fmla="*/ 115904 h 125982"/>
                <a:gd name="connsiteX23" fmla="*/ 22677 w 25196"/>
                <a:gd name="connsiteY23" fmla="*/ 117164 h 125982"/>
                <a:gd name="connsiteX24" fmla="*/ 18897 w 25196"/>
                <a:gd name="connsiteY24" fmla="*/ 120943 h 125982"/>
                <a:gd name="connsiteX25" fmla="*/ 13858 w 25196"/>
                <a:gd name="connsiteY25" fmla="*/ 124722 h 125982"/>
                <a:gd name="connsiteX26" fmla="*/ 8819 w 25196"/>
                <a:gd name="connsiteY26" fmla="*/ 125982 h 125982"/>
                <a:gd name="connsiteX27" fmla="*/ 8819 w 25196"/>
                <a:gd name="connsiteY27" fmla="*/ 125982 h 125982"/>
                <a:gd name="connsiteX28" fmla="*/ 2520 w 25196"/>
                <a:gd name="connsiteY28" fmla="*/ 123463 h 125982"/>
                <a:gd name="connsiteX29" fmla="*/ 0 w 25196"/>
                <a:gd name="connsiteY29" fmla="*/ 118423 h 125982"/>
                <a:gd name="connsiteX30" fmla="*/ 0 w 25196"/>
                <a:gd name="connsiteY30" fmla="*/ 117164 h 125982"/>
                <a:gd name="connsiteX31" fmla="*/ 0 w 25196"/>
                <a:gd name="connsiteY31" fmla="*/ 115904 h 125982"/>
                <a:gd name="connsiteX32" fmla="*/ 1260 w 25196"/>
                <a:gd name="connsiteY32" fmla="*/ 110864 h 125982"/>
                <a:gd name="connsiteX33" fmla="*/ 6299 w 25196"/>
                <a:gd name="connsiteY33" fmla="*/ 105825 h 125982"/>
                <a:gd name="connsiteX34" fmla="*/ 10079 w 25196"/>
                <a:gd name="connsiteY34" fmla="*/ 102046 h 125982"/>
                <a:gd name="connsiteX35" fmla="*/ 16378 w 25196"/>
                <a:gd name="connsiteY35" fmla="*/ 95746 h 125982"/>
                <a:gd name="connsiteX36" fmla="*/ 18897 w 25196"/>
                <a:gd name="connsiteY36" fmla="*/ 93227 h 125982"/>
                <a:gd name="connsiteX37" fmla="*/ 27716 w 25196"/>
                <a:gd name="connsiteY37" fmla="*/ 85668 h 125982"/>
                <a:gd name="connsiteX38" fmla="*/ 28976 w 25196"/>
                <a:gd name="connsiteY38" fmla="*/ 84408 h 125982"/>
                <a:gd name="connsiteX39" fmla="*/ 28976 w 25196"/>
                <a:gd name="connsiteY39" fmla="*/ 81889 h 125982"/>
                <a:gd name="connsiteX40" fmla="*/ 30236 w 25196"/>
                <a:gd name="connsiteY40" fmla="*/ 74330 h 125982"/>
                <a:gd name="connsiteX41" fmla="*/ 31496 w 25196"/>
                <a:gd name="connsiteY41" fmla="*/ 65511 h 125982"/>
                <a:gd name="connsiteX42" fmla="*/ 32755 w 25196"/>
                <a:gd name="connsiteY42" fmla="*/ 59212 h 125982"/>
                <a:gd name="connsiteX43" fmla="*/ 32755 w 25196"/>
                <a:gd name="connsiteY43" fmla="*/ 56692 h 125982"/>
                <a:gd name="connsiteX44" fmla="*/ 32755 w 25196"/>
                <a:gd name="connsiteY44" fmla="*/ 52913 h 125982"/>
                <a:gd name="connsiteX45" fmla="*/ 32755 w 25196"/>
                <a:gd name="connsiteY45" fmla="*/ 51653 h 125982"/>
                <a:gd name="connsiteX46" fmla="*/ 32755 w 25196"/>
                <a:gd name="connsiteY46" fmla="*/ 46613 h 125982"/>
                <a:gd name="connsiteX47" fmla="*/ 32755 w 25196"/>
                <a:gd name="connsiteY47" fmla="*/ 41574 h 125982"/>
                <a:gd name="connsiteX48" fmla="*/ 34015 w 25196"/>
                <a:gd name="connsiteY48" fmla="*/ 34015 h 125982"/>
                <a:gd name="connsiteX49" fmla="*/ 35275 w 25196"/>
                <a:gd name="connsiteY49" fmla="*/ 28976 h 125982"/>
                <a:gd name="connsiteX50" fmla="*/ 36535 w 25196"/>
                <a:gd name="connsiteY50" fmla="*/ 15118 h 125982"/>
                <a:gd name="connsiteX51" fmla="*/ 34015 w 25196"/>
                <a:gd name="connsiteY51" fmla="*/ 0 h 125982"/>
                <a:gd name="connsiteX52" fmla="*/ 34015 w 25196"/>
                <a:gd name="connsiteY52" fmla="*/ 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5196" h="125982">
                  <a:moveTo>
                    <a:pt x="34015" y="0"/>
                  </a:moveTo>
                  <a:cubicBezTo>
                    <a:pt x="34015" y="0"/>
                    <a:pt x="34015" y="1260"/>
                    <a:pt x="34015" y="0"/>
                  </a:cubicBezTo>
                  <a:cubicBezTo>
                    <a:pt x="34015" y="1260"/>
                    <a:pt x="34015" y="1260"/>
                    <a:pt x="34015" y="2520"/>
                  </a:cubicBezTo>
                  <a:cubicBezTo>
                    <a:pt x="34015" y="3780"/>
                    <a:pt x="34015" y="3780"/>
                    <a:pt x="34015" y="5039"/>
                  </a:cubicBezTo>
                  <a:cubicBezTo>
                    <a:pt x="34015" y="8819"/>
                    <a:pt x="34015" y="11338"/>
                    <a:pt x="34015" y="15118"/>
                  </a:cubicBezTo>
                  <a:cubicBezTo>
                    <a:pt x="34015" y="17637"/>
                    <a:pt x="34015" y="20157"/>
                    <a:pt x="34015" y="21417"/>
                  </a:cubicBezTo>
                  <a:cubicBezTo>
                    <a:pt x="34015" y="25196"/>
                    <a:pt x="34015" y="30236"/>
                    <a:pt x="32755" y="34015"/>
                  </a:cubicBezTo>
                  <a:cubicBezTo>
                    <a:pt x="32755" y="35275"/>
                    <a:pt x="32755" y="37795"/>
                    <a:pt x="32755" y="39054"/>
                  </a:cubicBezTo>
                  <a:cubicBezTo>
                    <a:pt x="32755" y="46613"/>
                    <a:pt x="31496" y="52913"/>
                    <a:pt x="30236" y="60472"/>
                  </a:cubicBezTo>
                  <a:lnTo>
                    <a:pt x="30236" y="60472"/>
                  </a:lnTo>
                  <a:cubicBezTo>
                    <a:pt x="30236" y="65511"/>
                    <a:pt x="28976" y="70550"/>
                    <a:pt x="28976" y="75589"/>
                  </a:cubicBezTo>
                  <a:cubicBezTo>
                    <a:pt x="28976" y="79369"/>
                    <a:pt x="27716" y="84408"/>
                    <a:pt x="27716" y="88188"/>
                  </a:cubicBezTo>
                  <a:lnTo>
                    <a:pt x="27716" y="88188"/>
                  </a:lnTo>
                  <a:cubicBezTo>
                    <a:pt x="27716" y="89447"/>
                    <a:pt x="27716" y="90707"/>
                    <a:pt x="27716" y="93227"/>
                  </a:cubicBezTo>
                  <a:cubicBezTo>
                    <a:pt x="26456" y="100786"/>
                    <a:pt x="25196" y="107085"/>
                    <a:pt x="23937" y="113384"/>
                  </a:cubicBezTo>
                  <a:cubicBezTo>
                    <a:pt x="23937" y="113384"/>
                    <a:pt x="23937" y="114644"/>
                    <a:pt x="23937" y="114644"/>
                  </a:cubicBezTo>
                  <a:cubicBezTo>
                    <a:pt x="23937" y="114644"/>
                    <a:pt x="23937" y="115904"/>
                    <a:pt x="23937" y="115904"/>
                  </a:cubicBezTo>
                  <a:cubicBezTo>
                    <a:pt x="23937" y="115904"/>
                    <a:pt x="23937" y="115904"/>
                    <a:pt x="23937" y="115904"/>
                  </a:cubicBezTo>
                  <a:lnTo>
                    <a:pt x="23937" y="115904"/>
                  </a:lnTo>
                  <a:lnTo>
                    <a:pt x="23937" y="115904"/>
                  </a:lnTo>
                  <a:lnTo>
                    <a:pt x="23937" y="115904"/>
                  </a:lnTo>
                  <a:lnTo>
                    <a:pt x="23937" y="115904"/>
                  </a:lnTo>
                  <a:cubicBezTo>
                    <a:pt x="23937" y="115904"/>
                    <a:pt x="23937" y="115904"/>
                    <a:pt x="23937" y="115904"/>
                  </a:cubicBezTo>
                  <a:cubicBezTo>
                    <a:pt x="23937" y="115904"/>
                    <a:pt x="22677" y="117164"/>
                    <a:pt x="22677" y="117164"/>
                  </a:cubicBezTo>
                  <a:cubicBezTo>
                    <a:pt x="21417" y="118423"/>
                    <a:pt x="20157" y="119683"/>
                    <a:pt x="18897" y="120943"/>
                  </a:cubicBezTo>
                  <a:cubicBezTo>
                    <a:pt x="17638" y="122203"/>
                    <a:pt x="15118" y="124722"/>
                    <a:pt x="13858" y="124722"/>
                  </a:cubicBezTo>
                  <a:cubicBezTo>
                    <a:pt x="12598" y="125982"/>
                    <a:pt x="10079" y="125982"/>
                    <a:pt x="8819" y="125982"/>
                  </a:cubicBezTo>
                  <a:cubicBezTo>
                    <a:pt x="8819" y="125982"/>
                    <a:pt x="8819" y="125982"/>
                    <a:pt x="8819" y="125982"/>
                  </a:cubicBezTo>
                  <a:cubicBezTo>
                    <a:pt x="6299" y="125982"/>
                    <a:pt x="3780" y="124722"/>
                    <a:pt x="2520" y="123463"/>
                  </a:cubicBezTo>
                  <a:cubicBezTo>
                    <a:pt x="1260" y="122203"/>
                    <a:pt x="0" y="120943"/>
                    <a:pt x="0" y="118423"/>
                  </a:cubicBezTo>
                  <a:lnTo>
                    <a:pt x="0" y="117164"/>
                  </a:lnTo>
                  <a:lnTo>
                    <a:pt x="0" y="115904"/>
                  </a:lnTo>
                  <a:cubicBezTo>
                    <a:pt x="0" y="114644"/>
                    <a:pt x="0" y="112124"/>
                    <a:pt x="1260" y="110864"/>
                  </a:cubicBezTo>
                  <a:cubicBezTo>
                    <a:pt x="2520" y="108345"/>
                    <a:pt x="3780" y="107085"/>
                    <a:pt x="6299" y="105825"/>
                  </a:cubicBezTo>
                  <a:cubicBezTo>
                    <a:pt x="7559" y="104565"/>
                    <a:pt x="8819" y="103305"/>
                    <a:pt x="10079" y="102046"/>
                  </a:cubicBezTo>
                  <a:cubicBezTo>
                    <a:pt x="12598" y="99526"/>
                    <a:pt x="15118" y="98266"/>
                    <a:pt x="16378" y="95746"/>
                  </a:cubicBezTo>
                  <a:lnTo>
                    <a:pt x="18897" y="93227"/>
                  </a:lnTo>
                  <a:cubicBezTo>
                    <a:pt x="21417" y="90707"/>
                    <a:pt x="23937" y="88188"/>
                    <a:pt x="27716" y="85668"/>
                  </a:cubicBezTo>
                  <a:cubicBezTo>
                    <a:pt x="27716" y="85668"/>
                    <a:pt x="28976" y="84408"/>
                    <a:pt x="28976" y="84408"/>
                  </a:cubicBezTo>
                  <a:lnTo>
                    <a:pt x="28976" y="81889"/>
                  </a:lnTo>
                  <a:cubicBezTo>
                    <a:pt x="28976" y="79369"/>
                    <a:pt x="28976" y="76849"/>
                    <a:pt x="30236" y="74330"/>
                  </a:cubicBezTo>
                  <a:cubicBezTo>
                    <a:pt x="30236" y="70550"/>
                    <a:pt x="31496" y="68030"/>
                    <a:pt x="31496" y="65511"/>
                  </a:cubicBezTo>
                  <a:cubicBezTo>
                    <a:pt x="31496" y="62991"/>
                    <a:pt x="31496" y="61731"/>
                    <a:pt x="32755" y="59212"/>
                  </a:cubicBezTo>
                  <a:cubicBezTo>
                    <a:pt x="32755" y="57952"/>
                    <a:pt x="32755" y="57952"/>
                    <a:pt x="32755" y="56692"/>
                  </a:cubicBezTo>
                  <a:cubicBezTo>
                    <a:pt x="32755" y="55432"/>
                    <a:pt x="32755" y="54172"/>
                    <a:pt x="32755" y="52913"/>
                  </a:cubicBezTo>
                  <a:lnTo>
                    <a:pt x="32755" y="51653"/>
                  </a:lnTo>
                  <a:cubicBezTo>
                    <a:pt x="32755" y="50393"/>
                    <a:pt x="32755" y="49133"/>
                    <a:pt x="32755" y="46613"/>
                  </a:cubicBezTo>
                  <a:cubicBezTo>
                    <a:pt x="32755" y="45354"/>
                    <a:pt x="32755" y="42834"/>
                    <a:pt x="32755" y="41574"/>
                  </a:cubicBezTo>
                  <a:cubicBezTo>
                    <a:pt x="32755" y="39054"/>
                    <a:pt x="34015" y="36535"/>
                    <a:pt x="34015" y="34015"/>
                  </a:cubicBezTo>
                  <a:cubicBezTo>
                    <a:pt x="34015" y="32755"/>
                    <a:pt x="35275" y="30236"/>
                    <a:pt x="35275" y="28976"/>
                  </a:cubicBezTo>
                  <a:cubicBezTo>
                    <a:pt x="36535" y="25196"/>
                    <a:pt x="36535" y="20157"/>
                    <a:pt x="36535" y="15118"/>
                  </a:cubicBezTo>
                  <a:cubicBezTo>
                    <a:pt x="32755" y="12598"/>
                    <a:pt x="32755" y="6299"/>
                    <a:pt x="34015" y="0"/>
                  </a:cubicBezTo>
                  <a:lnTo>
                    <a:pt x="34015" y="0"/>
                  </a:lnTo>
                  <a:close/>
                </a:path>
              </a:pathLst>
            </a:custGeom>
            <a:solidFill>
              <a:srgbClr val="001675"/>
            </a:solidFill>
            <a:ln w="12584" cap="flat">
              <a:noFill/>
              <a:prstDash val="solid"/>
              <a:miter/>
            </a:ln>
          </p:spPr>
          <p:txBody>
            <a:bodyPr rtlCol="0" anchor="ctr"/>
            <a:lstStyle/>
            <a:p>
              <a:endParaRPr lang="zh-CN" altLang="en-US"/>
            </a:p>
          </p:txBody>
        </p:sp>
        <p:sp>
          <p:nvSpPr>
            <p:cNvPr id="229" name="任意多边形: 形状 228"/>
            <p:cNvSpPr/>
            <p:nvPr/>
          </p:nvSpPr>
          <p:spPr>
            <a:xfrm>
              <a:off x="9869974" y="3463244"/>
              <a:ext cx="42902" cy="128705"/>
            </a:xfrm>
            <a:custGeom>
              <a:avLst/>
              <a:gdLst>
                <a:gd name="connsiteX0" fmla="*/ 69290 w 62991"/>
                <a:gd name="connsiteY0" fmla="*/ 3779 h 188973"/>
                <a:gd name="connsiteX1" fmla="*/ 65511 w 62991"/>
                <a:gd name="connsiteY1" fmla="*/ 0 h 188973"/>
                <a:gd name="connsiteX2" fmla="*/ 65511 w 62991"/>
                <a:gd name="connsiteY2" fmla="*/ 0 h 188973"/>
                <a:gd name="connsiteX3" fmla="*/ 61731 w 62991"/>
                <a:gd name="connsiteY3" fmla="*/ 2520 h 188973"/>
                <a:gd name="connsiteX4" fmla="*/ 59211 w 62991"/>
                <a:gd name="connsiteY4" fmla="*/ 13858 h 188973"/>
                <a:gd name="connsiteX5" fmla="*/ 57952 w 62991"/>
                <a:gd name="connsiteY5" fmla="*/ 25196 h 188973"/>
                <a:gd name="connsiteX6" fmla="*/ 55432 w 62991"/>
                <a:gd name="connsiteY6" fmla="*/ 41574 h 188973"/>
                <a:gd name="connsiteX7" fmla="*/ 54172 w 62991"/>
                <a:gd name="connsiteY7" fmla="*/ 57952 h 188973"/>
                <a:gd name="connsiteX8" fmla="*/ 51652 w 62991"/>
                <a:gd name="connsiteY8" fmla="*/ 75589 h 188973"/>
                <a:gd name="connsiteX9" fmla="*/ 49133 w 62991"/>
                <a:gd name="connsiteY9" fmla="*/ 91967 h 188973"/>
                <a:gd name="connsiteX10" fmla="*/ 46613 w 62991"/>
                <a:gd name="connsiteY10" fmla="*/ 104565 h 188973"/>
                <a:gd name="connsiteX11" fmla="*/ 45353 w 62991"/>
                <a:gd name="connsiteY11" fmla="*/ 112124 h 188973"/>
                <a:gd name="connsiteX12" fmla="*/ 44094 w 62991"/>
                <a:gd name="connsiteY12" fmla="*/ 117163 h 188973"/>
                <a:gd name="connsiteX13" fmla="*/ 40314 w 62991"/>
                <a:gd name="connsiteY13" fmla="*/ 128502 h 188973"/>
                <a:gd name="connsiteX14" fmla="*/ 35275 w 62991"/>
                <a:gd name="connsiteY14" fmla="*/ 138581 h 188973"/>
                <a:gd name="connsiteX15" fmla="*/ 26456 w 62991"/>
                <a:gd name="connsiteY15" fmla="*/ 153698 h 188973"/>
                <a:gd name="connsiteX16" fmla="*/ 20157 w 62991"/>
                <a:gd name="connsiteY16" fmla="*/ 161257 h 188973"/>
                <a:gd name="connsiteX17" fmla="*/ 15118 w 62991"/>
                <a:gd name="connsiteY17" fmla="*/ 167556 h 188973"/>
                <a:gd name="connsiteX18" fmla="*/ 12598 w 62991"/>
                <a:gd name="connsiteY18" fmla="*/ 171336 h 188973"/>
                <a:gd name="connsiteX19" fmla="*/ 8819 w 62991"/>
                <a:gd name="connsiteY19" fmla="*/ 175115 h 188973"/>
                <a:gd name="connsiteX20" fmla="*/ 3779 w 62991"/>
                <a:gd name="connsiteY20" fmla="*/ 177635 h 188973"/>
                <a:gd name="connsiteX21" fmla="*/ 0 w 62991"/>
                <a:gd name="connsiteY21" fmla="*/ 181414 h 188973"/>
                <a:gd name="connsiteX22" fmla="*/ 0 w 62991"/>
                <a:gd name="connsiteY22" fmla="*/ 186454 h 188973"/>
                <a:gd name="connsiteX23" fmla="*/ 5039 w 62991"/>
                <a:gd name="connsiteY23" fmla="*/ 190233 h 188973"/>
                <a:gd name="connsiteX24" fmla="*/ 11338 w 62991"/>
                <a:gd name="connsiteY24" fmla="*/ 190233 h 188973"/>
                <a:gd name="connsiteX25" fmla="*/ 20157 w 62991"/>
                <a:gd name="connsiteY25" fmla="*/ 185194 h 188973"/>
                <a:gd name="connsiteX26" fmla="*/ 26456 w 62991"/>
                <a:gd name="connsiteY26" fmla="*/ 178895 h 188973"/>
                <a:gd name="connsiteX27" fmla="*/ 30236 w 62991"/>
                <a:gd name="connsiteY27" fmla="*/ 172596 h 188973"/>
                <a:gd name="connsiteX28" fmla="*/ 35275 w 62991"/>
                <a:gd name="connsiteY28" fmla="*/ 166297 h 188973"/>
                <a:gd name="connsiteX29" fmla="*/ 42834 w 62991"/>
                <a:gd name="connsiteY29" fmla="*/ 153698 h 188973"/>
                <a:gd name="connsiteX30" fmla="*/ 46613 w 62991"/>
                <a:gd name="connsiteY30" fmla="*/ 146139 h 188973"/>
                <a:gd name="connsiteX31" fmla="*/ 49133 w 62991"/>
                <a:gd name="connsiteY31" fmla="*/ 138581 h 188973"/>
                <a:gd name="connsiteX32" fmla="*/ 54172 w 62991"/>
                <a:gd name="connsiteY32" fmla="*/ 122203 h 188973"/>
                <a:gd name="connsiteX33" fmla="*/ 55432 w 62991"/>
                <a:gd name="connsiteY33" fmla="*/ 113384 h 188973"/>
                <a:gd name="connsiteX34" fmla="*/ 56692 w 62991"/>
                <a:gd name="connsiteY34" fmla="*/ 104565 h 188973"/>
                <a:gd name="connsiteX35" fmla="*/ 59211 w 62991"/>
                <a:gd name="connsiteY35" fmla="*/ 85668 h 188973"/>
                <a:gd name="connsiteX36" fmla="*/ 60471 w 62991"/>
                <a:gd name="connsiteY36" fmla="*/ 76849 h 188973"/>
                <a:gd name="connsiteX37" fmla="*/ 61731 w 62991"/>
                <a:gd name="connsiteY37" fmla="*/ 68030 h 188973"/>
                <a:gd name="connsiteX38" fmla="*/ 62991 w 62991"/>
                <a:gd name="connsiteY38" fmla="*/ 51653 h 188973"/>
                <a:gd name="connsiteX39" fmla="*/ 64251 w 62991"/>
                <a:gd name="connsiteY39" fmla="*/ 44094 h 188973"/>
                <a:gd name="connsiteX40" fmla="*/ 65511 w 62991"/>
                <a:gd name="connsiteY40" fmla="*/ 35275 h 188973"/>
                <a:gd name="connsiteX41" fmla="*/ 66770 w 62991"/>
                <a:gd name="connsiteY41" fmla="*/ 18897 h 188973"/>
                <a:gd name="connsiteX42" fmla="*/ 66770 w 62991"/>
                <a:gd name="connsiteY42" fmla="*/ 11338 h 188973"/>
                <a:gd name="connsiteX43" fmla="*/ 66770 w 62991"/>
                <a:gd name="connsiteY43" fmla="*/ 7559 h 188973"/>
                <a:gd name="connsiteX44" fmla="*/ 69290 w 62991"/>
                <a:gd name="connsiteY44" fmla="*/ 3779 h 188973"/>
                <a:gd name="connsiteX45" fmla="*/ 49133 w 62991"/>
                <a:gd name="connsiteY45" fmla="*/ 91967 h 188973"/>
                <a:gd name="connsiteX46" fmla="*/ 49133 w 62991"/>
                <a:gd name="connsiteY46" fmla="*/ 91967 h 188973"/>
                <a:gd name="connsiteX47" fmla="*/ 49133 w 62991"/>
                <a:gd name="connsiteY47" fmla="*/ 91967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991" h="188973">
                  <a:moveTo>
                    <a:pt x="69290" y="3779"/>
                  </a:moveTo>
                  <a:cubicBezTo>
                    <a:pt x="69290" y="1260"/>
                    <a:pt x="68030" y="0"/>
                    <a:pt x="65511" y="0"/>
                  </a:cubicBezTo>
                  <a:cubicBezTo>
                    <a:pt x="65511" y="0"/>
                    <a:pt x="65511" y="0"/>
                    <a:pt x="65511" y="0"/>
                  </a:cubicBezTo>
                  <a:cubicBezTo>
                    <a:pt x="64251" y="0"/>
                    <a:pt x="62991" y="1260"/>
                    <a:pt x="61731" y="2520"/>
                  </a:cubicBezTo>
                  <a:cubicBezTo>
                    <a:pt x="60471" y="6299"/>
                    <a:pt x="59211" y="10078"/>
                    <a:pt x="59211" y="13858"/>
                  </a:cubicBezTo>
                  <a:cubicBezTo>
                    <a:pt x="59211" y="17637"/>
                    <a:pt x="59211" y="21417"/>
                    <a:pt x="57952" y="25196"/>
                  </a:cubicBezTo>
                  <a:cubicBezTo>
                    <a:pt x="56692" y="30236"/>
                    <a:pt x="56692" y="36535"/>
                    <a:pt x="55432" y="41574"/>
                  </a:cubicBezTo>
                  <a:cubicBezTo>
                    <a:pt x="54172" y="46613"/>
                    <a:pt x="54172" y="52913"/>
                    <a:pt x="54172" y="57952"/>
                  </a:cubicBezTo>
                  <a:cubicBezTo>
                    <a:pt x="52912" y="64251"/>
                    <a:pt x="52912" y="69290"/>
                    <a:pt x="51652" y="75589"/>
                  </a:cubicBezTo>
                  <a:cubicBezTo>
                    <a:pt x="50393" y="80629"/>
                    <a:pt x="50393" y="85668"/>
                    <a:pt x="49133" y="91967"/>
                  </a:cubicBezTo>
                  <a:cubicBezTo>
                    <a:pt x="47873" y="95746"/>
                    <a:pt x="47873" y="99526"/>
                    <a:pt x="46613" y="104565"/>
                  </a:cubicBezTo>
                  <a:cubicBezTo>
                    <a:pt x="46613" y="107085"/>
                    <a:pt x="45353" y="109605"/>
                    <a:pt x="45353" y="112124"/>
                  </a:cubicBezTo>
                  <a:cubicBezTo>
                    <a:pt x="45353" y="113384"/>
                    <a:pt x="44094" y="115904"/>
                    <a:pt x="44094" y="117163"/>
                  </a:cubicBezTo>
                  <a:cubicBezTo>
                    <a:pt x="42834" y="120943"/>
                    <a:pt x="41574" y="124722"/>
                    <a:pt x="40314" y="128502"/>
                  </a:cubicBezTo>
                  <a:cubicBezTo>
                    <a:pt x="39054" y="132281"/>
                    <a:pt x="37795" y="134801"/>
                    <a:pt x="35275" y="138581"/>
                  </a:cubicBezTo>
                  <a:cubicBezTo>
                    <a:pt x="32755" y="143620"/>
                    <a:pt x="28976" y="148659"/>
                    <a:pt x="26456" y="153698"/>
                  </a:cubicBezTo>
                  <a:cubicBezTo>
                    <a:pt x="25196" y="156218"/>
                    <a:pt x="22677" y="158738"/>
                    <a:pt x="20157" y="161257"/>
                  </a:cubicBezTo>
                  <a:cubicBezTo>
                    <a:pt x="18897" y="163777"/>
                    <a:pt x="17637" y="165037"/>
                    <a:pt x="15118" y="167556"/>
                  </a:cubicBezTo>
                  <a:cubicBezTo>
                    <a:pt x="13858" y="168816"/>
                    <a:pt x="12598" y="170076"/>
                    <a:pt x="12598" y="171336"/>
                  </a:cubicBezTo>
                  <a:cubicBezTo>
                    <a:pt x="11338" y="172596"/>
                    <a:pt x="10078" y="173855"/>
                    <a:pt x="8819" y="175115"/>
                  </a:cubicBezTo>
                  <a:cubicBezTo>
                    <a:pt x="7559" y="176375"/>
                    <a:pt x="5039" y="177635"/>
                    <a:pt x="3779" y="177635"/>
                  </a:cubicBezTo>
                  <a:cubicBezTo>
                    <a:pt x="2519" y="178895"/>
                    <a:pt x="1260" y="180155"/>
                    <a:pt x="0" y="181414"/>
                  </a:cubicBezTo>
                  <a:cubicBezTo>
                    <a:pt x="0" y="182674"/>
                    <a:pt x="0" y="185194"/>
                    <a:pt x="0" y="186454"/>
                  </a:cubicBezTo>
                  <a:cubicBezTo>
                    <a:pt x="1260" y="187714"/>
                    <a:pt x="2519" y="188974"/>
                    <a:pt x="5039" y="190233"/>
                  </a:cubicBezTo>
                  <a:cubicBezTo>
                    <a:pt x="7559" y="190233"/>
                    <a:pt x="8819" y="190233"/>
                    <a:pt x="11338" y="190233"/>
                  </a:cubicBezTo>
                  <a:cubicBezTo>
                    <a:pt x="13858" y="188974"/>
                    <a:pt x="17637" y="187714"/>
                    <a:pt x="20157" y="185194"/>
                  </a:cubicBezTo>
                  <a:cubicBezTo>
                    <a:pt x="22677" y="182674"/>
                    <a:pt x="25196" y="181414"/>
                    <a:pt x="26456" y="178895"/>
                  </a:cubicBezTo>
                  <a:cubicBezTo>
                    <a:pt x="27716" y="176375"/>
                    <a:pt x="28976" y="175115"/>
                    <a:pt x="30236" y="172596"/>
                  </a:cubicBezTo>
                  <a:cubicBezTo>
                    <a:pt x="31496" y="170076"/>
                    <a:pt x="32755" y="168816"/>
                    <a:pt x="35275" y="166297"/>
                  </a:cubicBezTo>
                  <a:cubicBezTo>
                    <a:pt x="37795" y="162517"/>
                    <a:pt x="40314" y="157478"/>
                    <a:pt x="42834" y="153698"/>
                  </a:cubicBezTo>
                  <a:cubicBezTo>
                    <a:pt x="44094" y="151179"/>
                    <a:pt x="45353" y="148659"/>
                    <a:pt x="46613" y="146139"/>
                  </a:cubicBezTo>
                  <a:cubicBezTo>
                    <a:pt x="47873" y="143620"/>
                    <a:pt x="49133" y="141100"/>
                    <a:pt x="49133" y="138581"/>
                  </a:cubicBezTo>
                  <a:cubicBezTo>
                    <a:pt x="51652" y="133541"/>
                    <a:pt x="52912" y="128502"/>
                    <a:pt x="54172" y="122203"/>
                  </a:cubicBezTo>
                  <a:cubicBezTo>
                    <a:pt x="54172" y="119683"/>
                    <a:pt x="55432" y="117163"/>
                    <a:pt x="55432" y="113384"/>
                  </a:cubicBezTo>
                  <a:cubicBezTo>
                    <a:pt x="55432" y="110864"/>
                    <a:pt x="56692" y="107085"/>
                    <a:pt x="56692" y="104565"/>
                  </a:cubicBezTo>
                  <a:cubicBezTo>
                    <a:pt x="57952" y="98266"/>
                    <a:pt x="59211" y="91967"/>
                    <a:pt x="59211" y="85668"/>
                  </a:cubicBezTo>
                  <a:cubicBezTo>
                    <a:pt x="59211" y="83148"/>
                    <a:pt x="60471" y="80629"/>
                    <a:pt x="60471" y="76849"/>
                  </a:cubicBezTo>
                  <a:cubicBezTo>
                    <a:pt x="60471" y="74330"/>
                    <a:pt x="61731" y="71810"/>
                    <a:pt x="61731" y="68030"/>
                  </a:cubicBezTo>
                  <a:cubicBezTo>
                    <a:pt x="61731" y="62991"/>
                    <a:pt x="62991" y="56692"/>
                    <a:pt x="62991" y="51653"/>
                  </a:cubicBezTo>
                  <a:cubicBezTo>
                    <a:pt x="62991" y="49133"/>
                    <a:pt x="62991" y="46613"/>
                    <a:pt x="64251" y="44094"/>
                  </a:cubicBezTo>
                  <a:cubicBezTo>
                    <a:pt x="64251" y="41574"/>
                    <a:pt x="65511" y="39054"/>
                    <a:pt x="65511" y="35275"/>
                  </a:cubicBezTo>
                  <a:cubicBezTo>
                    <a:pt x="65511" y="30236"/>
                    <a:pt x="66770" y="25196"/>
                    <a:pt x="66770" y="18897"/>
                  </a:cubicBezTo>
                  <a:cubicBezTo>
                    <a:pt x="66770" y="16378"/>
                    <a:pt x="66770" y="13858"/>
                    <a:pt x="66770" y="11338"/>
                  </a:cubicBezTo>
                  <a:cubicBezTo>
                    <a:pt x="66770" y="10078"/>
                    <a:pt x="66770" y="8819"/>
                    <a:pt x="66770" y="7559"/>
                  </a:cubicBezTo>
                  <a:cubicBezTo>
                    <a:pt x="69290" y="6299"/>
                    <a:pt x="69290" y="5039"/>
                    <a:pt x="69290" y="3779"/>
                  </a:cubicBezTo>
                  <a:moveTo>
                    <a:pt x="49133" y="91967"/>
                  </a:moveTo>
                  <a:cubicBezTo>
                    <a:pt x="49133" y="91967"/>
                    <a:pt x="49133" y="91967"/>
                    <a:pt x="49133" y="91967"/>
                  </a:cubicBezTo>
                  <a:cubicBezTo>
                    <a:pt x="49133" y="91967"/>
                    <a:pt x="49133" y="91967"/>
                    <a:pt x="49133" y="91967"/>
                  </a:cubicBezTo>
                </a:path>
              </a:pathLst>
            </a:custGeom>
            <a:solidFill>
              <a:srgbClr val="F2A988"/>
            </a:solidFill>
            <a:ln w="12584" cap="flat">
              <a:noFill/>
              <a:prstDash val="solid"/>
              <a:miter/>
            </a:ln>
          </p:spPr>
          <p:txBody>
            <a:bodyPr rtlCol="0" anchor="ctr"/>
            <a:lstStyle/>
            <a:p>
              <a:endParaRPr lang="zh-CN" altLang="en-US"/>
            </a:p>
          </p:txBody>
        </p:sp>
        <p:sp>
          <p:nvSpPr>
            <p:cNvPr id="230" name="任意多边形: 形状 229"/>
            <p:cNvSpPr/>
            <p:nvPr/>
          </p:nvSpPr>
          <p:spPr>
            <a:xfrm>
              <a:off x="9897431" y="3472897"/>
              <a:ext cx="17160" cy="68643"/>
            </a:xfrm>
            <a:custGeom>
              <a:avLst/>
              <a:gdLst>
                <a:gd name="connsiteX0" fmla="*/ 25196 w 25196"/>
                <a:gd name="connsiteY0" fmla="*/ 945 h 100785"/>
                <a:gd name="connsiteX1" fmla="*/ 26456 w 25196"/>
                <a:gd name="connsiteY1" fmla="*/ 4724 h 100785"/>
                <a:gd name="connsiteX2" fmla="*/ 25196 w 25196"/>
                <a:gd name="connsiteY2" fmla="*/ 13543 h 100785"/>
                <a:gd name="connsiteX3" fmla="*/ 25196 w 25196"/>
                <a:gd name="connsiteY3" fmla="*/ 23622 h 100785"/>
                <a:gd name="connsiteX4" fmla="*/ 23937 w 25196"/>
                <a:gd name="connsiteY4" fmla="*/ 42519 h 100785"/>
                <a:gd name="connsiteX5" fmla="*/ 22677 w 25196"/>
                <a:gd name="connsiteY5" fmla="*/ 51338 h 100785"/>
                <a:gd name="connsiteX6" fmla="*/ 22677 w 25196"/>
                <a:gd name="connsiteY6" fmla="*/ 60157 h 100785"/>
                <a:gd name="connsiteX7" fmla="*/ 21417 w 25196"/>
                <a:gd name="connsiteY7" fmla="*/ 70235 h 100785"/>
                <a:gd name="connsiteX8" fmla="*/ 18897 w 25196"/>
                <a:gd name="connsiteY8" fmla="*/ 79054 h 100785"/>
                <a:gd name="connsiteX9" fmla="*/ 16378 w 25196"/>
                <a:gd name="connsiteY9" fmla="*/ 92912 h 100785"/>
                <a:gd name="connsiteX10" fmla="*/ 13858 w 25196"/>
                <a:gd name="connsiteY10" fmla="*/ 100471 h 100785"/>
                <a:gd name="connsiteX11" fmla="*/ 11338 w 25196"/>
                <a:gd name="connsiteY11" fmla="*/ 108030 h 100785"/>
                <a:gd name="connsiteX12" fmla="*/ 8819 w 25196"/>
                <a:gd name="connsiteY12" fmla="*/ 111809 h 100785"/>
                <a:gd name="connsiteX13" fmla="*/ 3780 w 25196"/>
                <a:gd name="connsiteY13" fmla="*/ 111809 h 100785"/>
                <a:gd name="connsiteX14" fmla="*/ 0 w 25196"/>
                <a:gd name="connsiteY14" fmla="*/ 109290 h 100785"/>
                <a:gd name="connsiteX15" fmla="*/ 0 w 25196"/>
                <a:gd name="connsiteY15" fmla="*/ 108030 h 100785"/>
                <a:gd name="connsiteX16" fmla="*/ 0 w 25196"/>
                <a:gd name="connsiteY16" fmla="*/ 105510 h 100785"/>
                <a:gd name="connsiteX17" fmla="*/ 0 w 25196"/>
                <a:gd name="connsiteY17" fmla="*/ 104250 h 100785"/>
                <a:gd name="connsiteX18" fmla="*/ 0 w 25196"/>
                <a:gd name="connsiteY18" fmla="*/ 104250 h 100785"/>
                <a:gd name="connsiteX19" fmla="*/ 3780 w 25196"/>
                <a:gd name="connsiteY19" fmla="*/ 85353 h 100785"/>
                <a:gd name="connsiteX20" fmla="*/ 6299 w 25196"/>
                <a:gd name="connsiteY20" fmla="*/ 75274 h 100785"/>
                <a:gd name="connsiteX21" fmla="*/ 8819 w 25196"/>
                <a:gd name="connsiteY21" fmla="*/ 66456 h 100785"/>
                <a:gd name="connsiteX22" fmla="*/ 10079 w 25196"/>
                <a:gd name="connsiteY22" fmla="*/ 55117 h 100785"/>
                <a:gd name="connsiteX23" fmla="*/ 12598 w 25196"/>
                <a:gd name="connsiteY23" fmla="*/ 39999 h 100785"/>
                <a:gd name="connsiteX24" fmla="*/ 15118 w 25196"/>
                <a:gd name="connsiteY24" fmla="*/ 23622 h 100785"/>
                <a:gd name="connsiteX25" fmla="*/ 16378 w 25196"/>
                <a:gd name="connsiteY25" fmla="*/ 14803 h 100785"/>
                <a:gd name="connsiteX26" fmla="*/ 17637 w 25196"/>
                <a:gd name="connsiteY26" fmla="*/ 5984 h 100785"/>
                <a:gd name="connsiteX27" fmla="*/ 18897 w 25196"/>
                <a:gd name="connsiteY27" fmla="*/ 2205 h 100785"/>
                <a:gd name="connsiteX28" fmla="*/ 22677 w 25196"/>
                <a:gd name="connsiteY28" fmla="*/ 945 h 100785"/>
                <a:gd name="connsiteX29" fmla="*/ 22677 w 25196"/>
                <a:gd name="connsiteY29" fmla="*/ 945 h 100785"/>
                <a:gd name="connsiteX30" fmla="*/ 25196 w 25196"/>
                <a:gd name="connsiteY30" fmla="*/ 94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5196" h="100785">
                  <a:moveTo>
                    <a:pt x="25196" y="945"/>
                  </a:moveTo>
                  <a:cubicBezTo>
                    <a:pt x="26456" y="2205"/>
                    <a:pt x="26456" y="3465"/>
                    <a:pt x="26456" y="4724"/>
                  </a:cubicBezTo>
                  <a:cubicBezTo>
                    <a:pt x="26456" y="7244"/>
                    <a:pt x="25196" y="11024"/>
                    <a:pt x="25196" y="13543"/>
                  </a:cubicBezTo>
                  <a:cubicBezTo>
                    <a:pt x="25196" y="17323"/>
                    <a:pt x="25196" y="19842"/>
                    <a:pt x="25196" y="23622"/>
                  </a:cubicBezTo>
                  <a:cubicBezTo>
                    <a:pt x="25196" y="29921"/>
                    <a:pt x="23937" y="36220"/>
                    <a:pt x="23937" y="42519"/>
                  </a:cubicBezTo>
                  <a:cubicBezTo>
                    <a:pt x="23937" y="45039"/>
                    <a:pt x="23937" y="48818"/>
                    <a:pt x="22677" y="51338"/>
                  </a:cubicBezTo>
                  <a:cubicBezTo>
                    <a:pt x="22677" y="53857"/>
                    <a:pt x="22677" y="57637"/>
                    <a:pt x="22677" y="60157"/>
                  </a:cubicBezTo>
                  <a:cubicBezTo>
                    <a:pt x="22677" y="63936"/>
                    <a:pt x="21417" y="66456"/>
                    <a:pt x="21417" y="70235"/>
                  </a:cubicBezTo>
                  <a:cubicBezTo>
                    <a:pt x="21417" y="72755"/>
                    <a:pt x="20157" y="76534"/>
                    <a:pt x="18897" y="79054"/>
                  </a:cubicBezTo>
                  <a:cubicBezTo>
                    <a:pt x="17637" y="84093"/>
                    <a:pt x="17637" y="87873"/>
                    <a:pt x="16378" y="92912"/>
                  </a:cubicBezTo>
                  <a:cubicBezTo>
                    <a:pt x="16378" y="95432"/>
                    <a:pt x="15118" y="97951"/>
                    <a:pt x="13858" y="100471"/>
                  </a:cubicBezTo>
                  <a:cubicBezTo>
                    <a:pt x="12598" y="102991"/>
                    <a:pt x="11338" y="105510"/>
                    <a:pt x="11338" y="108030"/>
                  </a:cubicBezTo>
                  <a:cubicBezTo>
                    <a:pt x="10079" y="109290"/>
                    <a:pt x="10079" y="110550"/>
                    <a:pt x="8819" y="111809"/>
                  </a:cubicBezTo>
                  <a:cubicBezTo>
                    <a:pt x="7559" y="113069"/>
                    <a:pt x="6299" y="113069"/>
                    <a:pt x="3780" y="111809"/>
                  </a:cubicBezTo>
                  <a:cubicBezTo>
                    <a:pt x="2520" y="111809"/>
                    <a:pt x="1260" y="110550"/>
                    <a:pt x="0" y="109290"/>
                  </a:cubicBezTo>
                  <a:cubicBezTo>
                    <a:pt x="0" y="109290"/>
                    <a:pt x="0" y="108030"/>
                    <a:pt x="0" y="108030"/>
                  </a:cubicBezTo>
                  <a:cubicBezTo>
                    <a:pt x="0" y="106770"/>
                    <a:pt x="0" y="105510"/>
                    <a:pt x="0" y="105510"/>
                  </a:cubicBezTo>
                  <a:cubicBezTo>
                    <a:pt x="0" y="105510"/>
                    <a:pt x="0" y="104250"/>
                    <a:pt x="0" y="104250"/>
                  </a:cubicBezTo>
                  <a:cubicBezTo>
                    <a:pt x="0" y="104250"/>
                    <a:pt x="0" y="104250"/>
                    <a:pt x="0" y="104250"/>
                  </a:cubicBezTo>
                  <a:cubicBezTo>
                    <a:pt x="1260" y="97951"/>
                    <a:pt x="2520" y="91652"/>
                    <a:pt x="3780" y="85353"/>
                  </a:cubicBezTo>
                  <a:cubicBezTo>
                    <a:pt x="5039" y="81574"/>
                    <a:pt x="5039" y="79054"/>
                    <a:pt x="6299" y="75274"/>
                  </a:cubicBezTo>
                  <a:cubicBezTo>
                    <a:pt x="7559" y="72755"/>
                    <a:pt x="7559" y="68975"/>
                    <a:pt x="8819" y="66456"/>
                  </a:cubicBezTo>
                  <a:cubicBezTo>
                    <a:pt x="8819" y="62676"/>
                    <a:pt x="10079" y="58897"/>
                    <a:pt x="10079" y="55117"/>
                  </a:cubicBezTo>
                  <a:cubicBezTo>
                    <a:pt x="11338" y="50078"/>
                    <a:pt x="11338" y="45039"/>
                    <a:pt x="12598" y="39999"/>
                  </a:cubicBezTo>
                  <a:cubicBezTo>
                    <a:pt x="13858" y="34960"/>
                    <a:pt x="13858" y="28661"/>
                    <a:pt x="15118" y="23622"/>
                  </a:cubicBezTo>
                  <a:cubicBezTo>
                    <a:pt x="15118" y="21102"/>
                    <a:pt x="15118" y="17323"/>
                    <a:pt x="16378" y="14803"/>
                  </a:cubicBezTo>
                  <a:cubicBezTo>
                    <a:pt x="16378" y="12283"/>
                    <a:pt x="17637" y="8504"/>
                    <a:pt x="17637" y="5984"/>
                  </a:cubicBezTo>
                  <a:cubicBezTo>
                    <a:pt x="17637" y="4724"/>
                    <a:pt x="17637" y="3465"/>
                    <a:pt x="18897" y="2205"/>
                  </a:cubicBezTo>
                  <a:cubicBezTo>
                    <a:pt x="20157" y="945"/>
                    <a:pt x="21417" y="945"/>
                    <a:pt x="22677" y="945"/>
                  </a:cubicBezTo>
                  <a:cubicBezTo>
                    <a:pt x="22677" y="945"/>
                    <a:pt x="22677" y="945"/>
                    <a:pt x="22677" y="945"/>
                  </a:cubicBezTo>
                  <a:cubicBezTo>
                    <a:pt x="22677" y="-315"/>
                    <a:pt x="23937" y="-315"/>
                    <a:pt x="25196" y="945"/>
                  </a:cubicBezTo>
                </a:path>
              </a:pathLst>
            </a:custGeom>
            <a:solidFill>
              <a:srgbClr val="F2A988"/>
            </a:solidFill>
            <a:ln w="12584" cap="flat">
              <a:noFill/>
              <a:prstDash val="solid"/>
              <a:miter/>
            </a:ln>
          </p:spPr>
          <p:txBody>
            <a:bodyPr rtlCol="0" anchor="ctr"/>
            <a:lstStyle/>
            <a:p>
              <a:endParaRPr lang="zh-CN" altLang="en-US"/>
            </a:p>
          </p:txBody>
        </p:sp>
        <p:sp>
          <p:nvSpPr>
            <p:cNvPr id="231" name="任意多边形: 形状 230"/>
            <p:cNvSpPr/>
            <p:nvPr/>
          </p:nvSpPr>
          <p:spPr>
            <a:xfrm>
              <a:off x="9874265" y="3439219"/>
              <a:ext cx="42902" cy="145866"/>
            </a:xfrm>
            <a:custGeom>
              <a:avLst/>
              <a:gdLst>
                <a:gd name="connsiteX0" fmla="*/ 59211 w 62991"/>
                <a:gd name="connsiteY0" fmla="*/ 0 h 214169"/>
                <a:gd name="connsiteX1" fmla="*/ 59211 w 62991"/>
                <a:gd name="connsiteY1" fmla="*/ 0 h 214169"/>
                <a:gd name="connsiteX2" fmla="*/ 59211 w 62991"/>
                <a:gd name="connsiteY2" fmla="*/ 0 h 214169"/>
                <a:gd name="connsiteX3" fmla="*/ 59211 w 62991"/>
                <a:gd name="connsiteY3" fmla="*/ 0 h 214169"/>
                <a:gd name="connsiteX4" fmla="*/ 60471 w 62991"/>
                <a:gd name="connsiteY4" fmla="*/ 0 h 214169"/>
                <a:gd name="connsiteX5" fmla="*/ 65511 w 62991"/>
                <a:gd name="connsiteY5" fmla="*/ 1260 h 214169"/>
                <a:gd name="connsiteX6" fmla="*/ 68030 w 62991"/>
                <a:gd name="connsiteY6" fmla="*/ 2520 h 214169"/>
                <a:gd name="connsiteX7" fmla="*/ 68030 w 62991"/>
                <a:gd name="connsiteY7" fmla="*/ 6299 h 214169"/>
                <a:gd name="connsiteX8" fmla="*/ 66770 w 62991"/>
                <a:gd name="connsiteY8" fmla="*/ 13858 h 214169"/>
                <a:gd name="connsiteX9" fmla="*/ 66770 w 62991"/>
                <a:gd name="connsiteY9" fmla="*/ 17637 h 214169"/>
                <a:gd name="connsiteX10" fmla="*/ 66770 w 62991"/>
                <a:gd name="connsiteY10" fmla="*/ 22677 h 214169"/>
                <a:gd name="connsiteX11" fmla="*/ 66770 w 62991"/>
                <a:gd name="connsiteY11" fmla="*/ 23937 h 214169"/>
                <a:gd name="connsiteX12" fmla="*/ 66770 w 62991"/>
                <a:gd name="connsiteY12" fmla="*/ 23937 h 214169"/>
                <a:gd name="connsiteX13" fmla="*/ 66770 w 62991"/>
                <a:gd name="connsiteY13" fmla="*/ 23937 h 214169"/>
                <a:gd name="connsiteX14" fmla="*/ 66770 w 62991"/>
                <a:gd name="connsiteY14" fmla="*/ 23937 h 214169"/>
                <a:gd name="connsiteX15" fmla="*/ 66770 w 62991"/>
                <a:gd name="connsiteY15" fmla="*/ 23937 h 214169"/>
                <a:gd name="connsiteX16" fmla="*/ 66770 w 62991"/>
                <a:gd name="connsiteY16" fmla="*/ 23937 h 214169"/>
                <a:gd name="connsiteX17" fmla="*/ 66770 w 62991"/>
                <a:gd name="connsiteY17" fmla="*/ 23937 h 214169"/>
                <a:gd name="connsiteX18" fmla="*/ 66770 w 62991"/>
                <a:gd name="connsiteY18" fmla="*/ 23937 h 214169"/>
                <a:gd name="connsiteX19" fmla="*/ 66770 w 62991"/>
                <a:gd name="connsiteY19" fmla="*/ 23937 h 214169"/>
                <a:gd name="connsiteX20" fmla="*/ 66770 w 62991"/>
                <a:gd name="connsiteY20" fmla="*/ 25196 h 214169"/>
                <a:gd name="connsiteX21" fmla="*/ 66770 w 62991"/>
                <a:gd name="connsiteY21" fmla="*/ 26456 h 214169"/>
                <a:gd name="connsiteX22" fmla="*/ 66770 w 62991"/>
                <a:gd name="connsiteY22" fmla="*/ 28976 h 214169"/>
                <a:gd name="connsiteX23" fmla="*/ 66770 w 62991"/>
                <a:gd name="connsiteY23" fmla="*/ 39054 h 214169"/>
                <a:gd name="connsiteX24" fmla="*/ 66770 w 62991"/>
                <a:gd name="connsiteY24" fmla="*/ 45354 h 214169"/>
                <a:gd name="connsiteX25" fmla="*/ 65511 w 62991"/>
                <a:gd name="connsiteY25" fmla="*/ 57952 h 214169"/>
                <a:gd name="connsiteX26" fmla="*/ 65511 w 62991"/>
                <a:gd name="connsiteY26" fmla="*/ 62991 h 214169"/>
                <a:gd name="connsiteX27" fmla="*/ 62991 w 62991"/>
                <a:gd name="connsiteY27" fmla="*/ 84408 h 214169"/>
                <a:gd name="connsiteX28" fmla="*/ 62991 w 62991"/>
                <a:gd name="connsiteY28" fmla="*/ 84408 h 214169"/>
                <a:gd name="connsiteX29" fmla="*/ 61731 w 62991"/>
                <a:gd name="connsiteY29" fmla="*/ 99526 h 214169"/>
                <a:gd name="connsiteX30" fmla="*/ 60471 w 62991"/>
                <a:gd name="connsiteY30" fmla="*/ 112124 h 214169"/>
                <a:gd name="connsiteX31" fmla="*/ 60471 w 62991"/>
                <a:gd name="connsiteY31" fmla="*/ 112124 h 214169"/>
                <a:gd name="connsiteX32" fmla="*/ 60471 w 62991"/>
                <a:gd name="connsiteY32" fmla="*/ 117164 h 214169"/>
                <a:gd name="connsiteX33" fmla="*/ 56692 w 62991"/>
                <a:gd name="connsiteY33" fmla="*/ 137321 h 214169"/>
                <a:gd name="connsiteX34" fmla="*/ 56692 w 62991"/>
                <a:gd name="connsiteY34" fmla="*/ 138581 h 214169"/>
                <a:gd name="connsiteX35" fmla="*/ 56692 w 62991"/>
                <a:gd name="connsiteY35" fmla="*/ 139840 h 214169"/>
                <a:gd name="connsiteX36" fmla="*/ 56692 w 62991"/>
                <a:gd name="connsiteY36" fmla="*/ 139840 h 214169"/>
                <a:gd name="connsiteX37" fmla="*/ 56692 w 62991"/>
                <a:gd name="connsiteY37" fmla="*/ 139840 h 214169"/>
                <a:gd name="connsiteX38" fmla="*/ 56692 w 62991"/>
                <a:gd name="connsiteY38" fmla="*/ 139840 h 214169"/>
                <a:gd name="connsiteX39" fmla="*/ 56692 w 62991"/>
                <a:gd name="connsiteY39" fmla="*/ 139840 h 214169"/>
                <a:gd name="connsiteX40" fmla="*/ 56692 w 62991"/>
                <a:gd name="connsiteY40" fmla="*/ 139840 h 214169"/>
                <a:gd name="connsiteX41" fmla="*/ 55432 w 62991"/>
                <a:gd name="connsiteY41" fmla="*/ 144880 h 214169"/>
                <a:gd name="connsiteX42" fmla="*/ 52912 w 62991"/>
                <a:gd name="connsiteY42" fmla="*/ 153698 h 214169"/>
                <a:gd name="connsiteX43" fmla="*/ 46613 w 62991"/>
                <a:gd name="connsiteY43" fmla="*/ 171336 h 214169"/>
                <a:gd name="connsiteX44" fmla="*/ 39054 w 62991"/>
                <a:gd name="connsiteY44" fmla="*/ 188974 h 214169"/>
                <a:gd name="connsiteX45" fmla="*/ 30236 w 62991"/>
                <a:gd name="connsiteY45" fmla="*/ 202831 h 214169"/>
                <a:gd name="connsiteX46" fmla="*/ 22677 w 62991"/>
                <a:gd name="connsiteY46" fmla="*/ 211650 h 214169"/>
                <a:gd name="connsiteX47" fmla="*/ 17637 w 62991"/>
                <a:gd name="connsiteY47" fmla="*/ 215430 h 214169"/>
                <a:gd name="connsiteX48" fmla="*/ 12598 w 62991"/>
                <a:gd name="connsiteY48" fmla="*/ 219209 h 214169"/>
                <a:gd name="connsiteX49" fmla="*/ 7559 w 62991"/>
                <a:gd name="connsiteY49" fmla="*/ 221729 h 214169"/>
                <a:gd name="connsiteX50" fmla="*/ 2519 w 62991"/>
                <a:gd name="connsiteY50" fmla="*/ 219209 h 214169"/>
                <a:gd name="connsiteX51" fmla="*/ 0 w 62991"/>
                <a:gd name="connsiteY51" fmla="*/ 214170 h 214169"/>
                <a:gd name="connsiteX52" fmla="*/ 2519 w 62991"/>
                <a:gd name="connsiteY52" fmla="*/ 209131 h 214169"/>
                <a:gd name="connsiteX53" fmla="*/ 13858 w 62991"/>
                <a:gd name="connsiteY53" fmla="*/ 200312 h 214169"/>
                <a:gd name="connsiteX54" fmla="*/ 17637 w 62991"/>
                <a:gd name="connsiteY54" fmla="*/ 195273 h 214169"/>
                <a:gd name="connsiteX55" fmla="*/ 21417 w 62991"/>
                <a:gd name="connsiteY55" fmla="*/ 188974 h 214169"/>
                <a:gd name="connsiteX56" fmla="*/ 28976 w 62991"/>
                <a:gd name="connsiteY56" fmla="*/ 175115 h 214169"/>
                <a:gd name="connsiteX57" fmla="*/ 30236 w 62991"/>
                <a:gd name="connsiteY57" fmla="*/ 171336 h 214169"/>
                <a:gd name="connsiteX58" fmla="*/ 32755 w 62991"/>
                <a:gd name="connsiteY58" fmla="*/ 165037 h 214169"/>
                <a:gd name="connsiteX59" fmla="*/ 35275 w 62991"/>
                <a:gd name="connsiteY59" fmla="*/ 158738 h 214169"/>
                <a:gd name="connsiteX60" fmla="*/ 37795 w 62991"/>
                <a:gd name="connsiteY60" fmla="*/ 152439 h 214169"/>
                <a:gd name="connsiteX61" fmla="*/ 41574 w 62991"/>
                <a:gd name="connsiteY61" fmla="*/ 138581 h 214169"/>
                <a:gd name="connsiteX62" fmla="*/ 44094 w 62991"/>
                <a:gd name="connsiteY62" fmla="*/ 127242 h 214169"/>
                <a:gd name="connsiteX63" fmla="*/ 46613 w 62991"/>
                <a:gd name="connsiteY63" fmla="*/ 109605 h 214169"/>
                <a:gd name="connsiteX64" fmla="*/ 49133 w 62991"/>
                <a:gd name="connsiteY64" fmla="*/ 90707 h 214169"/>
                <a:gd name="connsiteX65" fmla="*/ 51652 w 62991"/>
                <a:gd name="connsiteY65" fmla="*/ 73070 h 214169"/>
                <a:gd name="connsiteX66" fmla="*/ 52912 w 62991"/>
                <a:gd name="connsiteY66" fmla="*/ 64251 h 214169"/>
                <a:gd name="connsiteX67" fmla="*/ 54172 w 62991"/>
                <a:gd name="connsiteY67" fmla="*/ 54172 h 214169"/>
                <a:gd name="connsiteX68" fmla="*/ 56692 w 62991"/>
                <a:gd name="connsiteY68" fmla="*/ 36535 h 214169"/>
                <a:gd name="connsiteX69" fmla="*/ 57952 w 62991"/>
                <a:gd name="connsiteY69" fmla="*/ 27716 h 214169"/>
                <a:gd name="connsiteX70" fmla="*/ 59211 w 62991"/>
                <a:gd name="connsiteY70" fmla="*/ 20157 h 214169"/>
                <a:gd name="connsiteX71" fmla="*/ 60471 w 62991"/>
                <a:gd name="connsiteY71" fmla="*/ 16378 h 214169"/>
                <a:gd name="connsiteX72" fmla="*/ 61731 w 62991"/>
                <a:gd name="connsiteY72" fmla="*/ 7559 h 214169"/>
                <a:gd name="connsiteX73" fmla="*/ 61731 w 62991"/>
                <a:gd name="connsiteY73" fmla="*/ 7559 h 214169"/>
                <a:gd name="connsiteX74" fmla="*/ 62991 w 62991"/>
                <a:gd name="connsiteY74" fmla="*/ 1260 h 214169"/>
                <a:gd name="connsiteX75" fmla="*/ 59211 w 62991"/>
                <a:gd name="connsiteY75" fmla="*/ 0 h 214169"/>
                <a:gd name="connsiteX76" fmla="*/ 59211 w 62991"/>
                <a:gd name="connsiteY76" fmla="*/ 0 h 21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2991" h="214169">
                  <a:moveTo>
                    <a:pt x="59211" y="0"/>
                  </a:moveTo>
                  <a:lnTo>
                    <a:pt x="59211" y="0"/>
                  </a:lnTo>
                  <a:cubicBezTo>
                    <a:pt x="59211" y="0"/>
                    <a:pt x="59211" y="0"/>
                    <a:pt x="59211" y="0"/>
                  </a:cubicBezTo>
                  <a:lnTo>
                    <a:pt x="59211" y="0"/>
                  </a:lnTo>
                  <a:lnTo>
                    <a:pt x="60471" y="0"/>
                  </a:lnTo>
                  <a:cubicBezTo>
                    <a:pt x="61731" y="0"/>
                    <a:pt x="62991" y="1260"/>
                    <a:pt x="65511" y="1260"/>
                  </a:cubicBezTo>
                  <a:cubicBezTo>
                    <a:pt x="66770" y="1260"/>
                    <a:pt x="68030" y="1260"/>
                    <a:pt x="68030" y="2520"/>
                  </a:cubicBezTo>
                  <a:cubicBezTo>
                    <a:pt x="68030" y="3780"/>
                    <a:pt x="68030" y="5039"/>
                    <a:pt x="68030" y="6299"/>
                  </a:cubicBezTo>
                  <a:cubicBezTo>
                    <a:pt x="68030" y="8819"/>
                    <a:pt x="66770" y="11338"/>
                    <a:pt x="66770" y="13858"/>
                  </a:cubicBezTo>
                  <a:cubicBezTo>
                    <a:pt x="66770" y="15118"/>
                    <a:pt x="66770" y="16378"/>
                    <a:pt x="66770" y="17637"/>
                  </a:cubicBezTo>
                  <a:cubicBezTo>
                    <a:pt x="66770" y="18897"/>
                    <a:pt x="66770" y="20157"/>
                    <a:pt x="66770" y="22677"/>
                  </a:cubicBezTo>
                  <a:cubicBezTo>
                    <a:pt x="66770" y="22677"/>
                    <a:pt x="66770" y="23937"/>
                    <a:pt x="66770" y="23937"/>
                  </a:cubicBezTo>
                  <a:cubicBezTo>
                    <a:pt x="66770" y="23937"/>
                    <a:pt x="66770" y="23937"/>
                    <a:pt x="66770" y="23937"/>
                  </a:cubicBezTo>
                  <a:lnTo>
                    <a:pt x="66770" y="23937"/>
                  </a:lnTo>
                  <a:lnTo>
                    <a:pt x="66770" y="23937"/>
                  </a:lnTo>
                  <a:lnTo>
                    <a:pt x="66770" y="23937"/>
                  </a:lnTo>
                  <a:lnTo>
                    <a:pt x="66770" y="23937"/>
                  </a:lnTo>
                  <a:lnTo>
                    <a:pt x="66770" y="23937"/>
                  </a:lnTo>
                  <a:lnTo>
                    <a:pt x="66770" y="23937"/>
                  </a:lnTo>
                  <a:lnTo>
                    <a:pt x="66770" y="23937"/>
                  </a:lnTo>
                  <a:cubicBezTo>
                    <a:pt x="66770" y="23937"/>
                    <a:pt x="66770" y="25196"/>
                    <a:pt x="66770" y="25196"/>
                  </a:cubicBezTo>
                  <a:cubicBezTo>
                    <a:pt x="66770" y="25196"/>
                    <a:pt x="66770" y="26456"/>
                    <a:pt x="66770" y="26456"/>
                  </a:cubicBezTo>
                  <a:cubicBezTo>
                    <a:pt x="66770" y="27716"/>
                    <a:pt x="66770" y="27716"/>
                    <a:pt x="66770" y="28976"/>
                  </a:cubicBezTo>
                  <a:cubicBezTo>
                    <a:pt x="66770" y="32755"/>
                    <a:pt x="66770" y="35275"/>
                    <a:pt x="66770" y="39054"/>
                  </a:cubicBezTo>
                  <a:cubicBezTo>
                    <a:pt x="66770" y="41574"/>
                    <a:pt x="66770" y="44094"/>
                    <a:pt x="66770" y="45354"/>
                  </a:cubicBezTo>
                  <a:cubicBezTo>
                    <a:pt x="66770" y="49133"/>
                    <a:pt x="66770" y="54172"/>
                    <a:pt x="65511" y="57952"/>
                  </a:cubicBezTo>
                  <a:cubicBezTo>
                    <a:pt x="65511" y="59212"/>
                    <a:pt x="65511" y="61731"/>
                    <a:pt x="65511" y="62991"/>
                  </a:cubicBezTo>
                  <a:cubicBezTo>
                    <a:pt x="65511" y="70550"/>
                    <a:pt x="64251" y="76849"/>
                    <a:pt x="62991" y="84408"/>
                  </a:cubicBezTo>
                  <a:lnTo>
                    <a:pt x="62991" y="84408"/>
                  </a:lnTo>
                  <a:cubicBezTo>
                    <a:pt x="62991" y="89447"/>
                    <a:pt x="61731" y="94487"/>
                    <a:pt x="61731" y="99526"/>
                  </a:cubicBezTo>
                  <a:cubicBezTo>
                    <a:pt x="61731" y="103305"/>
                    <a:pt x="60471" y="108345"/>
                    <a:pt x="60471" y="112124"/>
                  </a:cubicBezTo>
                  <a:lnTo>
                    <a:pt x="60471" y="112124"/>
                  </a:lnTo>
                  <a:cubicBezTo>
                    <a:pt x="60471" y="113384"/>
                    <a:pt x="60471" y="114644"/>
                    <a:pt x="60471" y="117164"/>
                  </a:cubicBezTo>
                  <a:cubicBezTo>
                    <a:pt x="59211" y="124722"/>
                    <a:pt x="57952" y="131022"/>
                    <a:pt x="56692" y="137321"/>
                  </a:cubicBezTo>
                  <a:cubicBezTo>
                    <a:pt x="56692" y="137321"/>
                    <a:pt x="56692" y="138581"/>
                    <a:pt x="56692" y="138581"/>
                  </a:cubicBezTo>
                  <a:cubicBezTo>
                    <a:pt x="56692" y="138581"/>
                    <a:pt x="56692" y="139840"/>
                    <a:pt x="56692" y="139840"/>
                  </a:cubicBezTo>
                  <a:cubicBezTo>
                    <a:pt x="56692" y="139840"/>
                    <a:pt x="56692" y="139840"/>
                    <a:pt x="56692" y="139840"/>
                  </a:cubicBezTo>
                  <a:lnTo>
                    <a:pt x="56692" y="139840"/>
                  </a:lnTo>
                  <a:lnTo>
                    <a:pt x="56692" y="139840"/>
                  </a:lnTo>
                  <a:lnTo>
                    <a:pt x="56692" y="139840"/>
                  </a:lnTo>
                  <a:lnTo>
                    <a:pt x="56692" y="139840"/>
                  </a:lnTo>
                  <a:cubicBezTo>
                    <a:pt x="56692" y="141100"/>
                    <a:pt x="55432" y="143620"/>
                    <a:pt x="55432" y="144880"/>
                  </a:cubicBezTo>
                  <a:cubicBezTo>
                    <a:pt x="54172" y="147399"/>
                    <a:pt x="54172" y="151179"/>
                    <a:pt x="52912" y="153698"/>
                  </a:cubicBezTo>
                  <a:cubicBezTo>
                    <a:pt x="51652" y="159998"/>
                    <a:pt x="49133" y="165037"/>
                    <a:pt x="46613" y="171336"/>
                  </a:cubicBezTo>
                  <a:cubicBezTo>
                    <a:pt x="44094" y="177635"/>
                    <a:pt x="41574" y="183934"/>
                    <a:pt x="39054" y="188974"/>
                  </a:cubicBezTo>
                  <a:cubicBezTo>
                    <a:pt x="36535" y="194013"/>
                    <a:pt x="34015" y="199052"/>
                    <a:pt x="30236" y="202831"/>
                  </a:cubicBezTo>
                  <a:cubicBezTo>
                    <a:pt x="27716" y="205351"/>
                    <a:pt x="25196" y="209131"/>
                    <a:pt x="22677" y="211650"/>
                  </a:cubicBezTo>
                  <a:cubicBezTo>
                    <a:pt x="21417" y="212910"/>
                    <a:pt x="20157" y="214170"/>
                    <a:pt x="17637" y="215430"/>
                  </a:cubicBezTo>
                  <a:cubicBezTo>
                    <a:pt x="16378" y="216690"/>
                    <a:pt x="13858" y="217949"/>
                    <a:pt x="12598" y="219209"/>
                  </a:cubicBezTo>
                  <a:cubicBezTo>
                    <a:pt x="11338" y="220469"/>
                    <a:pt x="8819" y="221729"/>
                    <a:pt x="7559" y="221729"/>
                  </a:cubicBezTo>
                  <a:cubicBezTo>
                    <a:pt x="5039" y="221729"/>
                    <a:pt x="3779" y="220469"/>
                    <a:pt x="2519" y="219209"/>
                  </a:cubicBezTo>
                  <a:cubicBezTo>
                    <a:pt x="1260" y="217949"/>
                    <a:pt x="0" y="215430"/>
                    <a:pt x="0" y="214170"/>
                  </a:cubicBezTo>
                  <a:cubicBezTo>
                    <a:pt x="0" y="212910"/>
                    <a:pt x="1260" y="210390"/>
                    <a:pt x="2519" y="209131"/>
                  </a:cubicBezTo>
                  <a:cubicBezTo>
                    <a:pt x="6299" y="206611"/>
                    <a:pt x="10078" y="202831"/>
                    <a:pt x="13858" y="200312"/>
                  </a:cubicBezTo>
                  <a:cubicBezTo>
                    <a:pt x="15118" y="199052"/>
                    <a:pt x="16378" y="196532"/>
                    <a:pt x="17637" y="195273"/>
                  </a:cubicBezTo>
                  <a:cubicBezTo>
                    <a:pt x="18897" y="192753"/>
                    <a:pt x="20157" y="190233"/>
                    <a:pt x="21417" y="188974"/>
                  </a:cubicBezTo>
                  <a:cubicBezTo>
                    <a:pt x="23937" y="183934"/>
                    <a:pt x="26456" y="178895"/>
                    <a:pt x="28976" y="175115"/>
                  </a:cubicBezTo>
                  <a:cubicBezTo>
                    <a:pt x="28976" y="173856"/>
                    <a:pt x="30236" y="172596"/>
                    <a:pt x="30236" y="171336"/>
                  </a:cubicBezTo>
                  <a:cubicBezTo>
                    <a:pt x="31496" y="168816"/>
                    <a:pt x="31496" y="167557"/>
                    <a:pt x="32755" y="165037"/>
                  </a:cubicBezTo>
                  <a:cubicBezTo>
                    <a:pt x="34015" y="162517"/>
                    <a:pt x="34015" y="161257"/>
                    <a:pt x="35275" y="158738"/>
                  </a:cubicBezTo>
                  <a:cubicBezTo>
                    <a:pt x="36535" y="156218"/>
                    <a:pt x="36535" y="154958"/>
                    <a:pt x="37795" y="152439"/>
                  </a:cubicBezTo>
                  <a:cubicBezTo>
                    <a:pt x="39054" y="147399"/>
                    <a:pt x="40314" y="143620"/>
                    <a:pt x="41574" y="138581"/>
                  </a:cubicBezTo>
                  <a:cubicBezTo>
                    <a:pt x="42834" y="134801"/>
                    <a:pt x="42834" y="131022"/>
                    <a:pt x="44094" y="127242"/>
                  </a:cubicBezTo>
                  <a:cubicBezTo>
                    <a:pt x="45353" y="122203"/>
                    <a:pt x="45353" y="115904"/>
                    <a:pt x="46613" y="109605"/>
                  </a:cubicBezTo>
                  <a:cubicBezTo>
                    <a:pt x="47873" y="103305"/>
                    <a:pt x="47873" y="97006"/>
                    <a:pt x="49133" y="90707"/>
                  </a:cubicBezTo>
                  <a:cubicBezTo>
                    <a:pt x="50393" y="84408"/>
                    <a:pt x="50393" y="78109"/>
                    <a:pt x="51652" y="73070"/>
                  </a:cubicBezTo>
                  <a:cubicBezTo>
                    <a:pt x="51652" y="70550"/>
                    <a:pt x="52912" y="66771"/>
                    <a:pt x="52912" y="64251"/>
                  </a:cubicBezTo>
                  <a:cubicBezTo>
                    <a:pt x="52912" y="60472"/>
                    <a:pt x="54172" y="57952"/>
                    <a:pt x="54172" y="54172"/>
                  </a:cubicBezTo>
                  <a:cubicBezTo>
                    <a:pt x="55432" y="47873"/>
                    <a:pt x="55432" y="42834"/>
                    <a:pt x="56692" y="36535"/>
                  </a:cubicBezTo>
                  <a:cubicBezTo>
                    <a:pt x="56692" y="34015"/>
                    <a:pt x="57952" y="30236"/>
                    <a:pt x="57952" y="27716"/>
                  </a:cubicBezTo>
                  <a:cubicBezTo>
                    <a:pt x="57952" y="25196"/>
                    <a:pt x="59211" y="22677"/>
                    <a:pt x="59211" y="20157"/>
                  </a:cubicBezTo>
                  <a:cubicBezTo>
                    <a:pt x="59211" y="18897"/>
                    <a:pt x="59211" y="17637"/>
                    <a:pt x="60471" y="16378"/>
                  </a:cubicBezTo>
                  <a:cubicBezTo>
                    <a:pt x="60471" y="13858"/>
                    <a:pt x="61731" y="10079"/>
                    <a:pt x="61731" y="7559"/>
                  </a:cubicBezTo>
                  <a:cubicBezTo>
                    <a:pt x="61731" y="7559"/>
                    <a:pt x="61731" y="7559"/>
                    <a:pt x="61731" y="7559"/>
                  </a:cubicBezTo>
                  <a:cubicBezTo>
                    <a:pt x="61731" y="5039"/>
                    <a:pt x="62991" y="3780"/>
                    <a:pt x="62991" y="1260"/>
                  </a:cubicBezTo>
                  <a:cubicBezTo>
                    <a:pt x="57952" y="2520"/>
                    <a:pt x="59211" y="1260"/>
                    <a:pt x="59211" y="0"/>
                  </a:cubicBezTo>
                  <a:lnTo>
                    <a:pt x="59211" y="0"/>
                  </a:lnTo>
                  <a:close/>
                </a:path>
              </a:pathLst>
            </a:custGeom>
            <a:solidFill>
              <a:srgbClr val="F2A988"/>
            </a:solidFill>
            <a:ln w="12584" cap="flat">
              <a:noFill/>
              <a:prstDash val="solid"/>
              <a:miter/>
            </a:ln>
          </p:spPr>
          <p:txBody>
            <a:bodyPr rtlCol="0" anchor="ctr"/>
            <a:lstStyle/>
            <a:p>
              <a:endParaRPr lang="zh-CN" altLang="en-US"/>
            </a:p>
          </p:txBody>
        </p:sp>
        <p:sp>
          <p:nvSpPr>
            <p:cNvPr id="232" name="任意多边形: 形状 231"/>
            <p:cNvSpPr/>
            <p:nvPr/>
          </p:nvSpPr>
          <p:spPr>
            <a:xfrm>
              <a:off x="9883703" y="3507004"/>
              <a:ext cx="17160" cy="42902"/>
            </a:xfrm>
            <a:custGeom>
              <a:avLst/>
              <a:gdLst>
                <a:gd name="connsiteX0" fmla="*/ 30236 w 25196"/>
                <a:gd name="connsiteY0" fmla="*/ 1260 h 62991"/>
                <a:gd name="connsiteX1" fmla="*/ 27716 w 25196"/>
                <a:gd name="connsiteY1" fmla="*/ 0 h 62991"/>
                <a:gd name="connsiteX2" fmla="*/ 25196 w 25196"/>
                <a:gd name="connsiteY2" fmla="*/ 0 h 62991"/>
                <a:gd name="connsiteX3" fmla="*/ 22677 w 25196"/>
                <a:gd name="connsiteY3" fmla="*/ 5039 h 62991"/>
                <a:gd name="connsiteX4" fmla="*/ 22677 w 25196"/>
                <a:gd name="connsiteY4" fmla="*/ 7559 h 62991"/>
                <a:gd name="connsiteX5" fmla="*/ 22677 w 25196"/>
                <a:gd name="connsiteY5" fmla="*/ 13858 h 62991"/>
                <a:gd name="connsiteX6" fmla="*/ 22677 w 25196"/>
                <a:gd name="connsiteY6" fmla="*/ 13858 h 62991"/>
                <a:gd name="connsiteX7" fmla="*/ 21417 w 25196"/>
                <a:gd name="connsiteY7" fmla="*/ 18897 h 62991"/>
                <a:gd name="connsiteX8" fmla="*/ 21417 w 25196"/>
                <a:gd name="connsiteY8" fmla="*/ 20157 h 62991"/>
                <a:gd name="connsiteX9" fmla="*/ 15118 w 25196"/>
                <a:gd name="connsiteY9" fmla="*/ 23937 h 62991"/>
                <a:gd name="connsiteX10" fmla="*/ 13858 w 25196"/>
                <a:gd name="connsiteY10" fmla="*/ 25196 h 62991"/>
                <a:gd name="connsiteX11" fmla="*/ 10079 w 25196"/>
                <a:gd name="connsiteY11" fmla="*/ 27716 h 62991"/>
                <a:gd name="connsiteX12" fmla="*/ 7559 w 25196"/>
                <a:gd name="connsiteY12" fmla="*/ 31496 h 62991"/>
                <a:gd name="connsiteX13" fmla="*/ 3780 w 25196"/>
                <a:gd name="connsiteY13" fmla="*/ 42834 h 62991"/>
                <a:gd name="connsiteX14" fmla="*/ 1260 w 25196"/>
                <a:gd name="connsiteY14" fmla="*/ 50393 h 62991"/>
                <a:gd name="connsiteX15" fmla="*/ 0 w 25196"/>
                <a:gd name="connsiteY15" fmla="*/ 52913 h 62991"/>
                <a:gd name="connsiteX16" fmla="*/ 0 w 25196"/>
                <a:gd name="connsiteY16" fmla="*/ 57952 h 62991"/>
                <a:gd name="connsiteX17" fmla="*/ 2520 w 25196"/>
                <a:gd name="connsiteY17" fmla="*/ 61731 h 62991"/>
                <a:gd name="connsiteX18" fmla="*/ 2520 w 25196"/>
                <a:gd name="connsiteY18" fmla="*/ 61731 h 62991"/>
                <a:gd name="connsiteX19" fmla="*/ 6299 w 25196"/>
                <a:gd name="connsiteY19" fmla="*/ 64251 h 62991"/>
                <a:gd name="connsiteX20" fmla="*/ 7559 w 25196"/>
                <a:gd name="connsiteY20" fmla="*/ 64251 h 62991"/>
                <a:gd name="connsiteX21" fmla="*/ 11339 w 25196"/>
                <a:gd name="connsiteY21" fmla="*/ 66771 h 62991"/>
                <a:gd name="connsiteX22" fmla="*/ 16378 w 25196"/>
                <a:gd name="connsiteY22" fmla="*/ 66771 h 62991"/>
                <a:gd name="connsiteX23" fmla="*/ 18897 w 25196"/>
                <a:gd name="connsiteY23" fmla="*/ 65511 h 62991"/>
                <a:gd name="connsiteX24" fmla="*/ 22677 w 25196"/>
                <a:gd name="connsiteY24" fmla="*/ 61731 h 62991"/>
                <a:gd name="connsiteX25" fmla="*/ 23937 w 25196"/>
                <a:gd name="connsiteY25" fmla="*/ 59212 h 62991"/>
                <a:gd name="connsiteX26" fmla="*/ 23937 w 25196"/>
                <a:gd name="connsiteY26" fmla="*/ 57952 h 62991"/>
                <a:gd name="connsiteX27" fmla="*/ 25196 w 25196"/>
                <a:gd name="connsiteY27" fmla="*/ 54172 h 62991"/>
                <a:gd name="connsiteX28" fmla="*/ 26456 w 25196"/>
                <a:gd name="connsiteY28" fmla="*/ 45354 h 62991"/>
                <a:gd name="connsiteX29" fmla="*/ 27716 w 25196"/>
                <a:gd name="connsiteY29" fmla="*/ 36535 h 62991"/>
                <a:gd name="connsiteX30" fmla="*/ 28976 w 25196"/>
                <a:gd name="connsiteY30" fmla="*/ 26456 h 62991"/>
                <a:gd name="connsiteX31" fmla="*/ 28976 w 25196"/>
                <a:gd name="connsiteY31" fmla="*/ 23937 h 62991"/>
                <a:gd name="connsiteX32" fmla="*/ 28976 w 25196"/>
                <a:gd name="connsiteY32" fmla="*/ 21417 h 62991"/>
                <a:gd name="connsiteX33" fmla="*/ 30236 w 25196"/>
                <a:gd name="connsiteY33" fmla="*/ 10079 h 62991"/>
                <a:gd name="connsiteX34" fmla="*/ 30236 w 25196"/>
                <a:gd name="connsiteY34" fmla="*/ 5039 h 62991"/>
                <a:gd name="connsiteX35" fmla="*/ 30236 w 25196"/>
                <a:gd name="connsiteY35" fmla="*/ 2520 h 62991"/>
                <a:gd name="connsiteX36" fmla="*/ 30236 w 25196"/>
                <a:gd name="connsiteY36" fmla="*/ 0 h 62991"/>
                <a:gd name="connsiteX37" fmla="*/ 30236 w 25196"/>
                <a:gd name="connsiteY37" fmla="*/ 1260 h 62991"/>
                <a:gd name="connsiteX38" fmla="*/ 22677 w 25196"/>
                <a:gd name="connsiteY38" fmla="*/ 3780 h 62991"/>
                <a:gd name="connsiteX39" fmla="*/ 22677 w 25196"/>
                <a:gd name="connsiteY39" fmla="*/ 3780 h 62991"/>
                <a:gd name="connsiteX40" fmla="*/ 22677 w 25196"/>
                <a:gd name="connsiteY40" fmla="*/ 3780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5196" h="62991">
                  <a:moveTo>
                    <a:pt x="30236" y="1260"/>
                  </a:moveTo>
                  <a:cubicBezTo>
                    <a:pt x="30236" y="0"/>
                    <a:pt x="28976" y="0"/>
                    <a:pt x="27716" y="0"/>
                  </a:cubicBezTo>
                  <a:cubicBezTo>
                    <a:pt x="26456" y="0"/>
                    <a:pt x="26456" y="0"/>
                    <a:pt x="25196" y="0"/>
                  </a:cubicBezTo>
                  <a:cubicBezTo>
                    <a:pt x="22677" y="1260"/>
                    <a:pt x="22677" y="3780"/>
                    <a:pt x="22677" y="5039"/>
                  </a:cubicBezTo>
                  <a:cubicBezTo>
                    <a:pt x="22677" y="6299"/>
                    <a:pt x="22677" y="6299"/>
                    <a:pt x="22677" y="7559"/>
                  </a:cubicBezTo>
                  <a:cubicBezTo>
                    <a:pt x="22677" y="10079"/>
                    <a:pt x="22677" y="11339"/>
                    <a:pt x="22677" y="13858"/>
                  </a:cubicBezTo>
                  <a:cubicBezTo>
                    <a:pt x="22677" y="13858"/>
                    <a:pt x="22677" y="13858"/>
                    <a:pt x="22677" y="13858"/>
                  </a:cubicBezTo>
                  <a:cubicBezTo>
                    <a:pt x="22677" y="15118"/>
                    <a:pt x="22677" y="17638"/>
                    <a:pt x="21417" y="18897"/>
                  </a:cubicBezTo>
                  <a:cubicBezTo>
                    <a:pt x="21417" y="18897"/>
                    <a:pt x="21417" y="20157"/>
                    <a:pt x="21417" y="20157"/>
                  </a:cubicBezTo>
                  <a:cubicBezTo>
                    <a:pt x="18897" y="20157"/>
                    <a:pt x="16378" y="21417"/>
                    <a:pt x="15118" y="23937"/>
                  </a:cubicBezTo>
                  <a:cubicBezTo>
                    <a:pt x="15118" y="23937"/>
                    <a:pt x="15118" y="25196"/>
                    <a:pt x="13858" y="25196"/>
                  </a:cubicBezTo>
                  <a:cubicBezTo>
                    <a:pt x="12598" y="25196"/>
                    <a:pt x="11339" y="26456"/>
                    <a:pt x="10079" y="27716"/>
                  </a:cubicBezTo>
                  <a:cubicBezTo>
                    <a:pt x="8819" y="28976"/>
                    <a:pt x="7559" y="30236"/>
                    <a:pt x="7559" y="31496"/>
                  </a:cubicBezTo>
                  <a:cubicBezTo>
                    <a:pt x="6299" y="35275"/>
                    <a:pt x="5040" y="39055"/>
                    <a:pt x="3780" y="42834"/>
                  </a:cubicBezTo>
                  <a:cubicBezTo>
                    <a:pt x="2520" y="45354"/>
                    <a:pt x="1260" y="47873"/>
                    <a:pt x="1260" y="50393"/>
                  </a:cubicBezTo>
                  <a:cubicBezTo>
                    <a:pt x="0" y="51653"/>
                    <a:pt x="0" y="51653"/>
                    <a:pt x="0" y="52913"/>
                  </a:cubicBezTo>
                  <a:cubicBezTo>
                    <a:pt x="0" y="54172"/>
                    <a:pt x="0" y="56692"/>
                    <a:pt x="0" y="57952"/>
                  </a:cubicBezTo>
                  <a:cubicBezTo>
                    <a:pt x="0" y="59212"/>
                    <a:pt x="1260" y="60472"/>
                    <a:pt x="2520" y="61731"/>
                  </a:cubicBezTo>
                  <a:cubicBezTo>
                    <a:pt x="2520" y="61731"/>
                    <a:pt x="2520" y="61731"/>
                    <a:pt x="2520" y="61731"/>
                  </a:cubicBezTo>
                  <a:cubicBezTo>
                    <a:pt x="3780" y="62991"/>
                    <a:pt x="5040" y="64251"/>
                    <a:pt x="6299" y="64251"/>
                  </a:cubicBezTo>
                  <a:cubicBezTo>
                    <a:pt x="6299" y="64251"/>
                    <a:pt x="7559" y="64251"/>
                    <a:pt x="7559" y="64251"/>
                  </a:cubicBezTo>
                  <a:cubicBezTo>
                    <a:pt x="8819" y="65511"/>
                    <a:pt x="10079" y="66771"/>
                    <a:pt x="11339" y="66771"/>
                  </a:cubicBezTo>
                  <a:cubicBezTo>
                    <a:pt x="12598" y="66771"/>
                    <a:pt x="15118" y="66771"/>
                    <a:pt x="16378" y="66771"/>
                  </a:cubicBezTo>
                  <a:lnTo>
                    <a:pt x="18897" y="65511"/>
                  </a:lnTo>
                  <a:cubicBezTo>
                    <a:pt x="20157" y="64251"/>
                    <a:pt x="21417" y="64251"/>
                    <a:pt x="22677" y="61731"/>
                  </a:cubicBezTo>
                  <a:cubicBezTo>
                    <a:pt x="22677" y="60472"/>
                    <a:pt x="23937" y="60472"/>
                    <a:pt x="23937" y="59212"/>
                  </a:cubicBezTo>
                  <a:cubicBezTo>
                    <a:pt x="23937" y="59212"/>
                    <a:pt x="23937" y="57952"/>
                    <a:pt x="23937" y="57952"/>
                  </a:cubicBezTo>
                  <a:cubicBezTo>
                    <a:pt x="23937" y="56692"/>
                    <a:pt x="23937" y="55432"/>
                    <a:pt x="25196" y="54172"/>
                  </a:cubicBezTo>
                  <a:cubicBezTo>
                    <a:pt x="26456" y="51653"/>
                    <a:pt x="26456" y="49133"/>
                    <a:pt x="26456" y="45354"/>
                  </a:cubicBezTo>
                  <a:cubicBezTo>
                    <a:pt x="26456" y="42834"/>
                    <a:pt x="27716" y="39055"/>
                    <a:pt x="27716" y="36535"/>
                  </a:cubicBezTo>
                  <a:cubicBezTo>
                    <a:pt x="27716" y="32755"/>
                    <a:pt x="28976" y="30236"/>
                    <a:pt x="28976" y="26456"/>
                  </a:cubicBezTo>
                  <a:cubicBezTo>
                    <a:pt x="28976" y="25196"/>
                    <a:pt x="28976" y="25196"/>
                    <a:pt x="28976" y="23937"/>
                  </a:cubicBezTo>
                  <a:cubicBezTo>
                    <a:pt x="28976" y="22677"/>
                    <a:pt x="28976" y="22677"/>
                    <a:pt x="28976" y="21417"/>
                  </a:cubicBezTo>
                  <a:cubicBezTo>
                    <a:pt x="28976" y="17638"/>
                    <a:pt x="30236" y="13858"/>
                    <a:pt x="30236" y="10079"/>
                  </a:cubicBezTo>
                  <a:cubicBezTo>
                    <a:pt x="30236" y="8819"/>
                    <a:pt x="30236" y="6299"/>
                    <a:pt x="30236" y="5039"/>
                  </a:cubicBezTo>
                  <a:cubicBezTo>
                    <a:pt x="30236" y="3780"/>
                    <a:pt x="30236" y="3780"/>
                    <a:pt x="30236" y="2520"/>
                  </a:cubicBezTo>
                  <a:cubicBezTo>
                    <a:pt x="30236" y="1260"/>
                    <a:pt x="30236" y="1260"/>
                    <a:pt x="30236" y="0"/>
                  </a:cubicBezTo>
                  <a:cubicBezTo>
                    <a:pt x="30236" y="2520"/>
                    <a:pt x="30236" y="1260"/>
                    <a:pt x="30236" y="1260"/>
                  </a:cubicBezTo>
                  <a:moveTo>
                    <a:pt x="22677" y="3780"/>
                  </a:moveTo>
                  <a:cubicBezTo>
                    <a:pt x="22677" y="3780"/>
                    <a:pt x="22677" y="3780"/>
                    <a:pt x="22677" y="3780"/>
                  </a:cubicBezTo>
                  <a:cubicBezTo>
                    <a:pt x="22677" y="3780"/>
                    <a:pt x="22677" y="3780"/>
                    <a:pt x="22677" y="3780"/>
                  </a:cubicBezTo>
                </a:path>
              </a:pathLst>
            </a:custGeom>
            <a:solidFill>
              <a:srgbClr val="F2A988"/>
            </a:solidFill>
            <a:ln w="12584" cap="flat">
              <a:noFill/>
              <a:prstDash val="solid"/>
              <a:miter/>
            </a:ln>
          </p:spPr>
          <p:txBody>
            <a:bodyPr rtlCol="0" anchor="ctr"/>
            <a:lstStyle/>
            <a:p>
              <a:endParaRPr lang="zh-CN" altLang="en-US"/>
            </a:p>
          </p:txBody>
        </p:sp>
        <p:sp>
          <p:nvSpPr>
            <p:cNvPr id="233" name="任意多边形: 形状 232"/>
            <p:cNvSpPr/>
            <p:nvPr/>
          </p:nvSpPr>
          <p:spPr>
            <a:xfrm>
              <a:off x="9695793" y="3266754"/>
              <a:ext cx="274571" cy="265991"/>
            </a:xfrm>
            <a:custGeom>
              <a:avLst/>
              <a:gdLst>
                <a:gd name="connsiteX0" fmla="*/ 200312 w 403143"/>
                <a:gd name="connsiteY0" fmla="*/ 0 h 390545"/>
                <a:gd name="connsiteX1" fmla="*/ 200312 w 403143"/>
                <a:gd name="connsiteY1" fmla="*/ 0 h 390545"/>
                <a:gd name="connsiteX2" fmla="*/ 214170 w 403143"/>
                <a:gd name="connsiteY2" fmla="*/ 2520 h 390545"/>
                <a:gd name="connsiteX3" fmla="*/ 219209 w 403143"/>
                <a:gd name="connsiteY3" fmla="*/ 3780 h 390545"/>
                <a:gd name="connsiteX4" fmla="*/ 229288 w 403143"/>
                <a:gd name="connsiteY4" fmla="*/ 5039 h 390545"/>
                <a:gd name="connsiteX5" fmla="*/ 245666 w 403143"/>
                <a:gd name="connsiteY5" fmla="*/ 11338 h 390545"/>
                <a:gd name="connsiteX6" fmla="*/ 254484 w 403143"/>
                <a:gd name="connsiteY6" fmla="*/ 16378 h 390545"/>
                <a:gd name="connsiteX7" fmla="*/ 273382 w 403143"/>
                <a:gd name="connsiteY7" fmla="*/ 30236 h 390545"/>
                <a:gd name="connsiteX8" fmla="*/ 277161 w 403143"/>
                <a:gd name="connsiteY8" fmla="*/ 32755 h 390545"/>
                <a:gd name="connsiteX9" fmla="*/ 280941 w 403143"/>
                <a:gd name="connsiteY9" fmla="*/ 36535 h 390545"/>
                <a:gd name="connsiteX10" fmla="*/ 284720 w 403143"/>
                <a:gd name="connsiteY10" fmla="*/ 40314 h 390545"/>
                <a:gd name="connsiteX11" fmla="*/ 289759 w 403143"/>
                <a:gd name="connsiteY11" fmla="*/ 47873 h 390545"/>
                <a:gd name="connsiteX12" fmla="*/ 291019 w 403143"/>
                <a:gd name="connsiteY12" fmla="*/ 49133 h 390545"/>
                <a:gd name="connsiteX13" fmla="*/ 291019 w 403143"/>
                <a:gd name="connsiteY13" fmla="*/ 49133 h 390545"/>
                <a:gd name="connsiteX14" fmla="*/ 297318 w 403143"/>
                <a:gd name="connsiteY14" fmla="*/ 52913 h 390545"/>
                <a:gd name="connsiteX15" fmla="*/ 313696 w 403143"/>
                <a:gd name="connsiteY15" fmla="*/ 50393 h 390545"/>
                <a:gd name="connsiteX16" fmla="*/ 323775 w 403143"/>
                <a:gd name="connsiteY16" fmla="*/ 50393 h 390545"/>
                <a:gd name="connsiteX17" fmla="*/ 325035 w 403143"/>
                <a:gd name="connsiteY17" fmla="*/ 50393 h 390545"/>
                <a:gd name="connsiteX18" fmla="*/ 325035 w 403143"/>
                <a:gd name="connsiteY18" fmla="*/ 50393 h 390545"/>
                <a:gd name="connsiteX19" fmla="*/ 332593 w 403143"/>
                <a:gd name="connsiteY19" fmla="*/ 51653 h 390545"/>
                <a:gd name="connsiteX20" fmla="*/ 337633 w 403143"/>
                <a:gd name="connsiteY20" fmla="*/ 52913 h 390545"/>
                <a:gd name="connsiteX21" fmla="*/ 350231 w 403143"/>
                <a:gd name="connsiteY21" fmla="*/ 57952 h 390545"/>
                <a:gd name="connsiteX22" fmla="*/ 360310 w 403143"/>
                <a:gd name="connsiteY22" fmla="*/ 64251 h 390545"/>
                <a:gd name="connsiteX23" fmla="*/ 376687 w 403143"/>
                <a:gd name="connsiteY23" fmla="*/ 79369 h 390545"/>
                <a:gd name="connsiteX24" fmla="*/ 389285 w 403143"/>
                <a:gd name="connsiteY24" fmla="*/ 98266 h 390545"/>
                <a:gd name="connsiteX25" fmla="*/ 394325 w 403143"/>
                <a:gd name="connsiteY25" fmla="*/ 110864 h 390545"/>
                <a:gd name="connsiteX26" fmla="*/ 398104 w 403143"/>
                <a:gd name="connsiteY26" fmla="*/ 120943 h 390545"/>
                <a:gd name="connsiteX27" fmla="*/ 403143 w 403143"/>
                <a:gd name="connsiteY27" fmla="*/ 144880 h 390545"/>
                <a:gd name="connsiteX28" fmla="*/ 405663 w 403143"/>
                <a:gd name="connsiteY28" fmla="*/ 173856 h 390545"/>
                <a:gd name="connsiteX29" fmla="*/ 405663 w 403143"/>
                <a:gd name="connsiteY29" fmla="*/ 176375 h 390545"/>
                <a:gd name="connsiteX30" fmla="*/ 405663 w 403143"/>
                <a:gd name="connsiteY30" fmla="*/ 177635 h 390545"/>
                <a:gd name="connsiteX31" fmla="*/ 405663 w 403143"/>
                <a:gd name="connsiteY31" fmla="*/ 191493 h 390545"/>
                <a:gd name="connsiteX32" fmla="*/ 404403 w 403143"/>
                <a:gd name="connsiteY32" fmla="*/ 207871 h 390545"/>
                <a:gd name="connsiteX33" fmla="*/ 404403 w 403143"/>
                <a:gd name="connsiteY33" fmla="*/ 207871 h 390545"/>
                <a:gd name="connsiteX34" fmla="*/ 400624 w 403143"/>
                <a:gd name="connsiteY34" fmla="*/ 229288 h 390545"/>
                <a:gd name="connsiteX35" fmla="*/ 396844 w 403143"/>
                <a:gd name="connsiteY35" fmla="*/ 244406 h 390545"/>
                <a:gd name="connsiteX36" fmla="*/ 395584 w 403143"/>
                <a:gd name="connsiteY36" fmla="*/ 249445 h 390545"/>
                <a:gd name="connsiteX37" fmla="*/ 390545 w 403143"/>
                <a:gd name="connsiteY37" fmla="*/ 268342 h 390545"/>
                <a:gd name="connsiteX38" fmla="*/ 381727 w 403143"/>
                <a:gd name="connsiteY38" fmla="*/ 288500 h 390545"/>
                <a:gd name="connsiteX39" fmla="*/ 381727 w 403143"/>
                <a:gd name="connsiteY39" fmla="*/ 288500 h 390545"/>
                <a:gd name="connsiteX40" fmla="*/ 379207 w 403143"/>
                <a:gd name="connsiteY40" fmla="*/ 294799 h 390545"/>
                <a:gd name="connsiteX41" fmla="*/ 377947 w 403143"/>
                <a:gd name="connsiteY41" fmla="*/ 298578 h 390545"/>
                <a:gd name="connsiteX42" fmla="*/ 374168 w 403143"/>
                <a:gd name="connsiteY42" fmla="*/ 308657 h 390545"/>
                <a:gd name="connsiteX43" fmla="*/ 370388 w 403143"/>
                <a:gd name="connsiteY43" fmla="*/ 317475 h 390545"/>
                <a:gd name="connsiteX44" fmla="*/ 370388 w 403143"/>
                <a:gd name="connsiteY44" fmla="*/ 318735 h 390545"/>
                <a:gd name="connsiteX45" fmla="*/ 360310 w 403143"/>
                <a:gd name="connsiteY45" fmla="*/ 337633 h 390545"/>
                <a:gd name="connsiteX46" fmla="*/ 360310 w 403143"/>
                <a:gd name="connsiteY46" fmla="*/ 337633 h 390545"/>
                <a:gd name="connsiteX47" fmla="*/ 359050 w 403143"/>
                <a:gd name="connsiteY47" fmla="*/ 338893 h 390545"/>
                <a:gd name="connsiteX48" fmla="*/ 348971 w 403143"/>
                <a:gd name="connsiteY48" fmla="*/ 356530 h 390545"/>
                <a:gd name="connsiteX49" fmla="*/ 336373 w 403143"/>
                <a:gd name="connsiteY49" fmla="*/ 374167 h 390545"/>
                <a:gd name="connsiteX50" fmla="*/ 327554 w 403143"/>
                <a:gd name="connsiteY50" fmla="*/ 382986 h 390545"/>
                <a:gd name="connsiteX51" fmla="*/ 322515 w 403143"/>
                <a:gd name="connsiteY51" fmla="*/ 388026 h 390545"/>
                <a:gd name="connsiteX52" fmla="*/ 321255 w 403143"/>
                <a:gd name="connsiteY52" fmla="*/ 389286 h 390545"/>
                <a:gd name="connsiteX53" fmla="*/ 314956 w 403143"/>
                <a:gd name="connsiteY53" fmla="*/ 394325 h 390545"/>
                <a:gd name="connsiteX54" fmla="*/ 314956 w 403143"/>
                <a:gd name="connsiteY54" fmla="*/ 394325 h 390545"/>
                <a:gd name="connsiteX55" fmla="*/ 314956 w 403143"/>
                <a:gd name="connsiteY55" fmla="*/ 394325 h 390545"/>
                <a:gd name="connsiteX56" fmla="*/ 314956 w 403143"/>
                <a:gd name="connsiteY56" fmla="*/ 394325 h 390545"/>
                <a:gd name="connsiteX57" fmla="*/ 314956 w 403143"/>
                <a:gd name="connsiteY57" fmla="*/ 394325 h 390545"/>
                <a:gd name="connsiteX58" fmla="*/ 314956 w 403143"/>
                <a:gd name="connsiteY58" fmla="*/ 393065 h 390545"/>
                <a:gd name="connsiteX59" fmla="*/ 314956 w 403143"/>
                <a:gd name="connsiteY59" fmla="*/ 391805 h 390545"/>
                <a:gd name="connsiteX60" fmla="*/ 318736 w 403143"/>
                <a:gd name="connsiteY60" fmla="*/ 371648 h 390545"/>
                <a:gd name="connsiteX61" fmla="*/ 318736 w 403143"/>
                <a:gd name="connsiteY61" fmla="*/ 366609 h 390545"/>
                <a:gd name="connsiteX62" fmla="*/ 318736 w 403143"/>
                <a:gd name="connsiteY62" fmla="*/ 366609 h 390545"/>
                <a:gd name="connsiteX63" fmla="*/ 319995 w 403143"/>
                <a:gd name="connsiteY63" fmla="*/ 354010 h 390545"/>
                <a:gd name="connsiteX64" fmla="*/ 321255 w 403143"/>
                <a:gd name="connsiteY64" fmla="*/ 338893 h 390545"/>
                <a:gd name="connsiteX65" fmla="*/ 321255 w 403143"/>
                <a:gd name="connsiteY65" fmla="*/ 338893 h 390545"/>
                <a:gd name="connsiteX66" fmla="*/ 323775 w 403143"/>
                <a:gd name="connsiteY66" fmla="*/ 317475 h 390545"/>
                <a:gd name="connsiteX67" fmla="*/ 323775 w 403143"/>
                <a:gd name="connsiteY67" fmla="*/ 312436 h 390545"/>
                <a:gd name="connsiteX68" fmla="*/ 325035 w 403143"/>
                <a:gd name="connsiteY68" fmla="*/ 299838 h 390545"/>
                <a:gd name="connsiteX69" fmla="*/ 325035 w 403143"/>
                <a:gd name="connsiteY69" fmla="*/ 293539 h 390545"/>
                <a:gd name="connsiteX70" fmla="*/ 325035 w 403143"/>
                <a:gd name="connsiteY70" fmla="*/ 283460 h 390545"/>
                <a:gd name="connsiteX71" fmla="*/ 325035 w 403143"/>
                <a:gd name="connsiteY71" fmla="*/ 280941 h 390545"/>
                <a:gd name="connsiteX72" fmla="*/ 325035 w 403143"/>
                <a:gd name="connsiteY72" fmla="*/ 279681 h 390545"/>
                <a:gd name="connsiteX73" fmla="*/ 325035 w 403143"/>
                <a:gd name="connsiteY73" fmla="*/ 278421 h 390545"/>
                <a:gd name="connsiteX74" fmla="*/ 325035 w 403143"/>
                <a:gd name="connsiteY74" fmla="*/ 278421 h 390545"/>
                <a:gd name="connsiteX75" fmla="*/ 325035 w 403143"/>
                <a:gd name="connsiteY75" fmla="*/ 278421 h 390545"/>
                <a:gd name="connsiteX76" fmla="*/ 325035 w 403143"/>
                <a:gd name="connsiteY76" fmla="*/ 278421 h 390545"/>
                <a:gd name="connsiteX77" fmla="*/ 325035 w 403143"/>
                <a:gd name="connsiteY77" fmla="*/ 278421 h 390545"/>
                <a:gd name="connsiteX78" fmla="*/ 325035 w 403143"/>
                <a:gd name="connsiteY78" fmla="*/ 278421 h 390545"/>
                <a:gd name="connsiteX79" fmla="*/ 325035 w 403143"/>
                <a:gd name="connsiteY79" fmla="*/ 278421 h 390545"/>
                <a:gd name="connsiteX80" fmla="*/ 326294 w 403143"/>
                <a:gd name="connsiteY80" fmla="*/ 268342 h 390545"/>
                <a:gd name="connsiteX81" fmla="*/ 327554 w 403143"/>
                <a:gd name="connsiteY81" fmla="*/ 260783 h 390545"/>
                <a:gd name="connsiteX82" fmla="*/ 327554 w 403143"/>
                <a:gd name="connsiteY82" fmla="*/ 257004 h 390545"/>
                <a:gd name="connsiteX83" fmla="*/ 325035 w 403143"/>
                <a:gd name="connsiteY83" fmla="*/ 255744 h 390545"/>
                <a:gd name="connsiteX84" fmla="*/ 319995 w 403143"/>
                <a:gd name="connsiteY84" fmla="*/ 254484 h 390545"/>
                <a:gd name="connsiteX85" fmla="*/ 318736 w 403143"/>
                <a:gd name="connsiteY85" fmla="*/ 254484 h 390545"/>
                <a:gd name="connsiteX86" fmla="*/ 318736 w 403143"/>
                <a:gd name="connsiteY86" fmla="*/ 254484 h 390545"/>
                <a:gd name="connsiteX87" fmla="*/ 318736 w 403143"/>
                <a:gd name="connsiteY87" fmla="*/ 254484 h 390545"/>
                <a:gd name="connsiteX88" fmla="*/ 318736 w 403143"/>
                <a:gd name="connsiteY88" fmla="*/ 254484 h 390545"/>
                <a:gd name="connsiteX89" fmla="*/ 317476 w 403143"/>
                <a:gd name="connsiteY89" fmla="*/ 254484 h 390545"/>
                <a:gd name="connsiteX90" fmla="*/ 309917 w 403143"/>
                <a:gd name="connsiteY90" fmla="*/ 251965 h 390545"/>
                <a:gd name="connsiteX91" fmla="*/ 299838 w 403143"/>
                <a:gd name="connsiteY91" fmla="*/ 246925 h 390545"/>
                <a:gd name="connsiteX92" fmla="*/ 299838 w 403143"/>
                <a:gd name="connsiteY92" fmla="*/ 246925 h 390545"/>
                <a:gd name="connsiteX93" fmla="*/ 296058 w 403143"/>
                <a:gd name="connsiteY93" fmla="*/ 245666 h 390545"/>
                <a:gd name="connsiteX94" fmla="*/ 288499 w 403143"/>
                <a:gd name="connsiteY94" fmla="*/ 243146 h 390545"/>
                <a:gd name="connsiteX95" fmla="*/ 273382 w 403143"/>
                <a:gd name="connsiteY95" fmla="*/ 236847 h 390545"/>
                <a:gd name="connsiteX96" fmla="*/ 262043 w 403143"/>
                <a:gd name="connsiteY96" fmla="*/ 229288 h 390545"/>
                <a:gd name="connsiteX97" fmla="*/ 255744 w 403143"/>
                <a:gd name="connsiteY97" fmla="*/ 224249 h 390545"/>
                <a:gd name="connsiteX98" fmla="*/ 244406 w 403143"/>
                <a:gd name="connsiteY98" fmla="*/ 214170 h 390545"/>
                <a:gd name="connsiteX99" fmla="*/ 241886 w 403143"/>
                <a:gd name="connsiteY99" fmla="*/ 210390 h 390545"/>
                <a:gd name="connsiteX100" fmla="*/ 241886 w 403143"/>
                <a:gd name="connsiteY100" fmla="*/ 210390 h 390545"/>
                <a:gd name="connsiteX101" fmla="*/ 239366 w 403143"/>
                <a:gd name="connsiteY101" fmla="*/ 206611 h 390545"/>
                <a:gd name="connsiteX102" fmla="*/ 239366 w 403143"/>
                <a:gd name="connsiteY102" fmla="*/ 205351 h 390545"/>
                <a:gd name="connsiteX103" fmla="*/ 234327 w 403143"/>
                <a:gd name="connsiteY103" fmla="*/ 194013 h 390545"/>
                <a:gd name="connsiteX104" fmla="*/ 233067 w 403143"/>
                <a:gd name="connsiteY104" fmla="*/ 192753 h 390545"/>
                <a:gd name="connsiteX105" fmla="*/ 231807 w 403143"/>
                <a:gd name="connsiteY105" fmla="*/ 194013 h 390545"/>
                <a:gd name="connsiteX106" fmla="*/ 230548 w 403143"/>
                <a:gd name="connsiteY106" fmla="*/ 195273 h 390545"/>
                <a:gd name="connsiteX107" fmla="*/ 226768 w 403143"/>
                <a:gd name="connsiteY107" fmla="*/ 200312 h 390545"/>
                <a:gd name="connsiteX108" fmla="*/ 219209 w 403143"/>
                <a:gd name="connsiteY108" fmla="*/ 207871 h 390545"/>
                <a:gd name="connsiteX109" fmla="*/ 210391 w 403143"/>
                <a:gd name="connsiteY109" fmla="*/ 215430 h 390545"/>
                <a:gd name="connsiteX110" fmla="*/ 191493 w 403143"/>
                <a:gd name="connsiteY110" fmla="*/ 226768 h 390545"/>
                <a:gd name="connsiteX111" fmla="*/ 173856 w 403143"/>
                <a:gd name="connsiteY111" fmla="*/ 235587 h 390545"/>
                <a:gd name="connsiteX112" fmla="*/ 173856 w 403143"/>
                <a:gd name="connsiteY112" fmla="*/ 235587 h 390545"/>
                <a:gd name="connsiteX113" fmla="*/ 172596 w 403143"/>
                <a:gd name="connsiteY113" fmla="*/ 235587 h 390545"/>
                <a:gd name="connsiteX114" fmla="*/ 172596 w 403143"/>
                <a:gd name="connsiteY114" fmla="*/ 235587 h 390545"/>
                <a:gd name="connsiteX115" fmla="*/ 171336 w 403143"/>
                <a:gd name="connsiteY115" fmla="*/ 235587 h 390545"/>
                <a:gd name="connsiteX116" fmla="*/ 171336 w 403143"/>
                <a:gd name="connsiteY116" fmla="*/ 235587 h 390545"/>
                <a:gd name="connsiteX117" fmla="*/ 171336 w 403143"/>
                <a:gd name="connsiteY117" fmla="*/ 235587 h 390545"/>
                <a:gd name="connsiteX118" fmla="*/ 171336 w 403143"/>
                <a:gd name="connsiteY118" fmla="*/ 235587 h 390545"/>
                <a:gd name="connsiteX119" fmla="*/ 172596 w 403143"/>
                <a:gd name="connsiteY119" fmla="*/ 235587 h 390545"/>
                <a:gd name="connsiteX120" fmla="*/ 152439 w 403143"/>
                <a:gd name="connsiteY120" fmla="*/ 243146 h 390545"/>
                <a:gd name="connsiteX121" fmla="*/ 131022 w 403143"/>
                <a:gd name="connsiteY121" fmla="*/ 248185 h 390545"/>
                <a:gd name="connsiteX122" fmla="*/ 109605 w 403143"/>
                <a:gd name="connsiteY122" fmla="*/ 249445 h 390545"/>
                <a:gd name="connsiteX123" fmla="*/ 109605 w 403143"/>
                <a:gd name="connsiteY123" fmla="*/ 249445 h 390545"/>
                <a:gd name="connsiteX124" fmla="*/ 97007 w 403143"/>
                <a:gd name="connsiteY124" fmla="*/ 249445 h 390545"/>
                <a:gd name="connsiteX125" fmla="*/ 86928 w 403143"/>
                <a:gd name="connsiteY125" fmla="*/ 248185 h 390545"/>
                <a:gd name="connsiteX126" fmla="*/ 81889 w 403143"/>
                <a:gd name="connsiteY126" fmla="*/ 246925 h 390545"/>
                <a:gd name="connsiteX127" fmla="*/ 80629 w 403143"/>
                <a:gd name="connsiteY127" fmla="*/ 246925 h 390545"/>
                <a:gd name="connsiteX128" fmla="*/ 69290 w 403143"/>
                <a:gd name="connsiteY128" fmla="*/ 246925 h 390545"/>
                <a:gd name="connsiteX129" fmla="*/ 66771 w 403143"/>
                <a:gd name="connsiteY129" fmla="*/ 246925 h 390545"/>
                <a:gd name="connsiteX130" fmla="*/ 61731 w 403143"/>
                <a:gd name="connsiteY130" fmla="*/ 246925 h 390545"/>
                <a:gd name="connsiteX131" fmla="*/ 60472 w 403143"/>
                <a:gd name="connsiteY131" fmla="*/ 246925 h 390545"/>
                <a:gd name="connsiteX132" fmla="*/ 59212 w 403143"/>
                <a:gd name="connsiteY132" fmla="*/ 246925 h 390545"/>
                <a:gd name="connsiteX133" fmla="*/ 50393 w 403143"/>
                <a:gd name="connsiteY133" fmla="*/ 244406 h 390545"/>
                <a:gd name="connsiteX134" fmla="*/ 31496 w 403143"/>
                <a:gd name="connsiteY134" fmla="*/ 235587 h 390545"/>
                <a:gd name="connsiteX135" fmla="*/ 25196 w 403143"/>
                <a:gd name="connsiteY135" fmla="*/ 231808 h 390545"/>
                <a:gd name="connsiteX136" fmla="*/ 22677 w 403143"/>
                <a:gd name="connsiteY136" fmla="*/ 229288 h 390545"/>
                <a:gd name="connsiteX137" fmla="*/ 22677 w 403143"/>
                <a:gd name="connsiteY137" fmla="*/ 229288 h 390545"/>
                <a:gd name="connsiteX138" fmla="*/ 20157 w 403143"/>
                <a:gd name="connsiteY138" fmla="*/ 228028 h 390545"/>
                <a:gd name="connsiteX139" fmla="*/ 13858 w 403143"/>
                <a:gd name="connsiteY139" fmla="*/ 220469 h 390545"/>
                <a:gd name="connsiteX140" fmla="*/ 8819 w 403143"/>
                <a:gd name="connsiteY140" fmla="*/ 212910 h 390545"/>
                <a:gd name="connsiteX141" fmla="*/ 2520 w 403143"/>
                <a:gd name="connsiteY141" fmla="*/ 197792 h 390545"/>
                <a:gd name="connsiteX142" fmla="*/ 0 w 403143"/>
                <a:gd name="connsiteY142" fmla="*/ 185194 h 390545"/>
                <a:gd name="connsiteX143" fmla="*/ 0 w 403143"/>
                <a:gd name="connsiteY143" fmla="*/ 183934 h 390545"/>
                <a:gd name="connsiteX144" fmla="*/ 0 w 403143"/>
                <a:gd name="connsiteY144" fmla="*/ 180155 h 390545"/>
                <a:gd name="connsiteX145" fmla="*/ 0 w 403143"/>
                <a:gd name="connsiteY145" fmla="*/ 178895 h 390545"/>
                <a:gd name="connsiteX146" fmla="*/ 0 w 403143"/>
                <a:gd name="connsiteY146" fmla="*/ 170076 h 390545"/>
                <a:gd name="connsiteX147" fmla="*/ 0 w 403143"/>
                <a:gd name="connsiteY147" fmla="*/ 168816 h 390545"/>
                <a:gd name="connsiteX148" fmla="*/ 0 w 403143"/>
                <a:gd name="connsiteY148" fmla="*/ 168816 h 390545"/>
                <a:gd name="connsiteX149" fmla="*/ 0 w 403143"/>
                <a:gd name="connsiteY149" fmla="*/ 165037 h 390545"/>
                <a:gd name="connsiteX150" fmla="*/ 0 w 403143"/>
                <a:gd name="connsiteY150" fmla="*/ 158738 h 390545"/>
                <a:gd name="connsiteX151" fmla="*/ 1260 w 403143"/>
                <a:gd name="connsiteY151" fmla="*/ 147399 h 390545"/>
                <a:gd name="connsiteX152" fmla="*/ 1260 w 403143"/>
                <a:gd name="connsiteY152" fmla="*/ 146140 h 390545"/>
                <a:gd name="connsiteX153" fmla="*/ 2520 w 403143"/>
                <a:gd name="connsiteY153" fmla="*/ 136061 h 390545"/>
                <a:gd name="connsiteX154" fmla="*/ 5039 w 403143"/>
                <a:gd name="connsiteY154" fmla="*/ 125982 h 390545"/>
                <a:gd name="connsiteX155" fmla="*/ 8819 w 403143"/>
                <a:gd name="connsiteY155" fmla="*/ 115904 h 390545"/>
                <a:gd name="connsiteX156" fmla="*/ 13858 w 403143"/>
                <a:gd name="connsiteY156" fmla="*/ 107085 h 390545"/>
                <a:gd name="connsiteX157" fmla="*/ 26456 w 403143"/>
                <a:gd name="connsiteY157" fmla="*/ 88188 h 390545"/>
                <a:gd name="connsiteX158" fmla="*/ 32755 w 403143"/>
                <a:gd name="connsiteY158" fmla="*/ 79369 h 390545"/>
                <a:gd name="connsiteX159" fmla="*/ 39055 w 403143"/>
                <a:gd name="connsiteY159" fmla="*/ 73070 h 390545"/>
                <a:gd name="connsiteX160" fmla="*/ 39055 w 403143"/>
                <a:gd name="connsiteY160" fmla="*/ 73070 h 390545"/>
                <a:gd name="connsiteX161" fmla="*/ 39055 w 403143"/>
                <a:gd name="connsiteY161" fmla="*/ 73070 h 390545"/>
                <a:gd name="connsiteX162" fmla="*/ 46614 w 403143"/>
                <a:gd name="connsiteY162" fmla="*/ 65511 h 390545"/>
                <a:gd name="connsiteX163" fmla="*/ 66771 w 403143"/>
                <a:gd name="connsiteY163" fmla="*/ 49133 h 390545"/>
                <a:gd name="connsiteX164" fmla="*/ 69290 w 403143"/>
                <a:gd name="connsiteY164" fmla="*/ 47873 h 390545"/>
                <a:gd name="connsiteX165" fmla="*/ 75589 w 403143"/>
                <a:gd name="connsiteY165" fmla="*/ 42834 h 390545"/>
                <a:gd name="connsiteX166" fmla="*/ 78109 w 403143"/>
                <a:gd name="connsiteY166" fmla="*/ 41574 h 390545"/>
                <a:gd name="connsiteX167" fmla="*/ 78109 w 403143"/>
                <a:gd name="connsiteY167" fmla="*/ 41574 h 390545"/>
                <a:gd name="connsiteX168" fmla="*/ 84408 w 403143"/>
                <a:gd name="connsiteY168" fmla="*/ 36535 h 390545"/>
                <a:gd name="connsiteX169" fmla="*/ 85668 w 403143"/>
                <a:gd name="connsiteY169" fmla="*/ 36535 h 390545"/>
                <a:gd name="connsiteX170" fmla="*/ 94487 w 403143"/>
                <a:gd name="connsiteY170" fmla="*/ 31496 h 390545"/>
                <a:gd name="connsiteX171" fmla="*/ 103306 w 403143"/>
                <a:gd name="connsiteY171" fmla="*/ 26456 h 390545"/>
                <a:gd name="connsiteX172" fmla="*/ 124722 w 403143"/>
                <a:gd name="connsiteY172" fmla="*/ 17638 h 390545"/>
                <a:gd name="connsiteX173" fmla="*/ 131022 w 403143"/>
                <a:gd name="connsiteY173" fmla="*/ 16378 h 390545"/>
                <a:gd name="connsiteX174" fmla="*/ 132281 w 403143"/>
                <a:gd name="connsiteY174" fmla="*/ 16378 h 390545"/>
                <a:gd name="connsiteX175" fmla="*/ 134801 w 403143"/>
                <a:gd name="connsiteY175" fmla="*/ 15118 h 390545"/>
                <a:gd name="connsiteX176" fmla="*/ 144880 w 403143"/>
                <a:gd name="connsiteY176" fmla="*/ 12598 h 390545"/>
                <a:gd name="connsiteX177" fmla="*/ 168816 w 403143"/>
                <a:gd name="connsiteY177" fmla="*/ 8819 h 390545"/>
                <a:gd name="connsiteX178" fmla="*/ 175115 w 403143"/>
                <a:gd name="connsiteY178" fmla="*/ 8819 h 390545"/>
                <a:gd name="connsiteX179" fmla="*/ 175115 w 403143"/>
                <a:gd name="connsiteY179" fmla="*/ 8819 h 390545"/>
                <a:gd name="connsiteX180" fmla="*/ 177635 w 403143"/>
                <a:gd name="connsiteY180" fmla="*/ 8819 h 390545"/>
                <a:gd name="connsiteX181" fmla="*/ 187714 w 403143"/>
                <a:gd name="connsiteY181" fmla="*/ 8819 h 390545"/>
                <a:gd name="connsiteX182" fmla="*/ 200312 w 403143"/>
                <a:gd name="connsiteY182" fmla="*/ 0 h 39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403143" h="390545">
                  <a:moveTo>
                    <a:pt x="200312" y="0"/>
                  </a:moveTo>
                  <a:cubicBezTo>
                    <a:pt x="201572" y="0"/>
                    <a:pt x="201572" y="0"/>
                    <a:pt x="200312" y="0"/>
                  </a:cubicBezTo>
                  <a:cubicBezTo>
                    <a:pt x="205351" y="0"/>
                    <a:pt x="209131" y="1260"/>
                    <a:pt x="214170" y="2520"/>
                  </a:cubicBezTo>
                  <a:cubicBezTo>
                    <a:pt x="215430" y="2520"/>
                    <a:pt x="216690" y="3780"/>
                    <a:pt x="219209" y="3780"/>
                  </a:cubicBezTo>
                  <a:cubicBezTo>
                    <a:pt x="222989" y="3780"/>
                    <a:pt x="226768" y="5039"/>
                    <a:pt x="229288" y="5039"/>
                  </a:cubicBezTo>
                  <a:cubicBezTo>
                    <a:pt x="235587" y="6299"/>
                    <a:pt x="240626" y="8819"/>
                    <a:pt x="245666" y="11338"/>
                  </a:cubicBezTo>
                  <a:cubicBezTo>
                    <a:pt x="249445" y="12598"/>
                    <a:pt x="251965" y="15118"/>
                    <a:pt x="254484" y="16378"/>
                  </a:cubicBezTo>
                  <a:cubicBezTo>
                    <a:pt x="262043" y="20157"/>
                    <a:pt x="267083" y="25196"/>
                    <a:pt x="273382" y="30236"/>
                  </a:cubicBezTo>
                  <a:cubicBezTo>
                    <a:pt x="274642" y="31496"/>
                    <a:pt x="275901" y="32755"/>
                    <a:pt x="277161" y="32755"/>
                  </a:cubicBezTo>
                  <a:cubicBezTo>
                    <a:pt x="278421" y="34015"/>
                    <a:pt x="279681" y="35275"/>
                    <a:pt x="280941" y="36535"/>
                  </a:cubicBezTo>
                  <a:cubicBezTo>
                    <a:pt x="282200" y="37795"/>
                    <a:pt x="283460" y="39055"/>
                    <a:pt x="284720" y="40314"/>
                  </a:cubicBezTo>
                  <a:cubicBezTo>
                    <a:pt x="287240" y="42834"/>
                    <a:pt x="288499" y="45354"/>
                    <a:pt x="289759" y="47873"/>
                  </a:cubicBezTo>
                  <a:lnTo>
                    <a:pt x="291019" y="49133"/>
                  </a:lnTo>
                  <a:lnTo>
                    <a:pt x="291019" y="49133"/>
                  </a:lnTo>
                  <a:cubicBezTo>
                    <a:pt x="293539" y="50393"/>
                    <a:pt x="296058" y="51653"/>
                    <a:pt x="297318" y="52913"/>
                  </a:cubicBezTo>
                  <a:cubicBezTo>
                    <a:pt x="303617" y="51653"/>
                    <a:pt x="308657" y="50393"/>
                    <a:pt x="313696" y="50393"/>
                  </a:cubicBezTo>
                  <a:cubicBezTo>
                    <a:pt x="317476" y="50393"/>
                    <a:pt x="319995" y="50393"/>
                    <a:pt x="323775" y="50393"/>
                  </a:cubicBezTo>
                  <a:cubicBezTo>
                    <a:pt x="323775" y="50393"/>
                    <a:pt x="323775" y="50393"/>
                    <a:pt x="325035" y="50393"/>
                  </a:cubicBezTo>
                  <a:lnTo>
                    <a:pt x="325035" y="50393"/>
                  </a:lnTo>
                  <a:cubicBezTo>
                    <a:pt x="327554" y="50393"/>
                    <a:pt x="330074" y="50393"/>
                    <a:pt x="332593" y="51653"/>
                  </a:cubicBezTo>
                  <a:cubicBezTo>
                    <a:pt x="333853" y="51653"/>
                    <a:pt x="336373" y="52913"/>
                    <a:pt x="337633" y="52913"/>
                  </a:cubicBezTo>
                  <a:cubicBezTo>
                    <a:pt x="341412" y="54172"/>
                    <a:pt x="346451" y="55432"/>
                    <a:pt x="350231" y="57952"/>
                  </a:cubicBezTo>
                  <a:cubicBezTo>
                    <a:pt x="354010" y="59212"/>
                    <a:pt x="356530" y="61731"/>
                    <a:pt x="360310" y="64251"/>
                  </a:cubicBezTo>
                  <a:cubicBezTo>
                    <a:pt x="365349" y="68031"/>
                    <a:pt x="370388" y="73070"/>
                    <a:pt x="376687" y="79369"/>
                  </a:cubicBezTo>
                  <a:cubicBezTo>
                    <a:pt x="382986" y="85668"/>
                    <a:pt x="386766" y="91967"/>
                    <a:pt x="389285" y="98266"/>
                  </a:cubicBezTo>
                  <a:cubicBezTo>
                    <a:pt x="391805" y="103305"/>
                    <a:pt x="393065" y="107085"/>
                    <a:pt x="394325" y="110864"/>
                  </a:cubicBezTo>
                  <a:cubicBezTo>
                    <a:pt x="395584" y="114644"/>
                    <a:pt x="396844" y="118424"/>
                    <a:pt x="398104" y="120943"/>
                  </a:cubicBezTo>
                  <a:cubicBezTo>
                    <a:pt x="400624" y="127242"/>
                    <a:pt x="401884" y="134801"/>
                    <a:pt x="403143" y="144880"/>
                  </a:cubicBezTo>
                  <a:cubicBezTo>
                    <a:pt x="404403" y="154958"/>
                    <a:pt x="404403" y="163777"/>
                    <a:pt x="405663" y="173856"/>
                  </a:cubicBezTo>
                  <a:lnTo>
                    <a:pt x="405663" y="176375"/>
                  </a:lnTo>
                  <a:lnTo>
                    <a:pt x="405663" y="177635"/>
                  </a:lnTo>
                  <a:cubicBezTo>
                    <a:pt x="405663" y="182674"/>
                    <a:pt x="405663" y="187714"/>
                    <a:pt x="405663" y="191493"/>
                  </a:cubicBezTo>
                  <a:cubicBezTo>
                    <a:pt x="405663" y="196533"/>
                    <a:pt x="405663" y="201572"/>
                    <a:pt x="404403" y="207871"/>
                  </a:cubicBezTo>
                  <a:lnTo>
                    <a:pt x="404403" y="207871"/>
                  </a:lnTo>
                  <a:cubicBezTo>
                    <a:pt x="403143" y="215430"/>
                    <a:pt x="403143" y="222989"/>
                    <a:pt x="400624" y="229288"/>
                  </a:cubicBezTo>
                  <a:cubicBezTo>
                    <a:pt x="399364" y="234327"/>
                    <a:pt x="398104" y="239366"/>
                    <a:pt x="396844" y="244406"/>
                  </a:cubicBezTo>
                  <a:cubicBezTo>
                    <a:pt x="396844" y="245666"/>
                    <a:pt x="395584" y="248185"/>
                    <a:pt x="395584" y="249445"/>
                  </a:cubicBezTo>
                  <a:cubicBezTo>
                    <a:pt x="394325" y="255744"/>
                    <a:pt x="391805" y="262043"/>
                    <a:pt x="390545" y="268342"/>
                  </a:cubicBezTo>
                  <a:cubicBezTo>
                    <a:pt x="388026" y="274642"/>
                    <a:pt x="385506" y="282201"/>
                    <a:pt x="381727" y="288500"/>
                  </a:cubicBezTo>
                  <a:lnTo>
                    <a:pt x="381727" y="288500"/>
                  </a:lnTo>
                  <a:cubicBezTo>
                    <a:pt x="380467" y="289759"/>
                    <a:pt x="380467" y="292279"/>
                    <a:pt x="379207" y="294799"/>
                  </a:cubicBezTo>
                  <a:cubicBezTo>
                    <a:pt x="379207" y="296058"/>
                    <a:pt x="377947" y="297318"/>
                    <a:pt x="377947" y="298578"/>
                  </a:cubicBezTo>
                  <a:cubicBezTo>
                    <a:pt x="376687" y="302358"/>
                    <a:pt x="375428" y="306137"/>
                    <a:pt x="374168" y="308657"/>
                  </a:cubicBezTo>
                  <a:cubicBezTo>
                    <a:pt x="372908" y="312436"/>
                    <a:pt x="371648" y="314956"/>
                    <a:pt x="370388" y="317475"/>
                  </a:cubicBezTo>
                  <a:lnTo>
                    <a:pt x="370388" y="318735"/>
                  </a:lnTo>
                  <a:cubicBezTo>
                    <a:pt x="367869" y="325034"/>
                    <a:pt x="364089" y="331334"/>
                    <a:pt x="360310" y="337633"/>
                  </a:cubicBezTo>
                  <a:lnTo>
                    <a:pt x="360310" y="337633"/>
                  </a:lnTo>
                  <a:lnTo>
                    <a:pt x="359050" y="338893"/>
                  </a:lnTo>
                  <a:cubicBezTo>
                    <a:pt x="355270" y="345192"/>
                    <a:pt x="351491" y="351491"/>
                    <a:pt x="348971" y="356530"/>
                  </a:cubicBezTo>
                  <a:cubicBezTo>
                    <a:pt x="345192" y="362829"/>
                    <a:pt x="340152" y="369128"/>
                    <a:pt x="336373" y="374167"/>
                  </a:cubicBezTo>
                  <a:cubicBezTo>
                    <a:pt x="333853" y="376687"/>
                    <a:pt x="331334" y="380467"/>
                    <a:pt x="327554" y="382986"/>
                  </a:cubicBezTo>
                  <a:cubicBezTo>
                    <a:pt x="326294" y="385506"/>
                    <a:pt x="323775" y="386766"/>
                    <a:pt x="322515" y="388026"/>
                  </a:cubicBezTo>
                  <a:lnTo>
                    <a:pt x="321255" y="389286"/>
                  </a:lnTo>
                  <a:cubicBezTo>
                    <a:pt x="318736" y="390545"/>
                    <a:pt x="317476" y="393065"/>
                    <a:pt x="314956" y="394325"/>
                  </a:cubicBezTo>
                  <a:lnTo>
                    <a:pt x="314956" y="394325"/>
                  </a:lnTo>
                  <a:lnTo>
                    <a:pt x="314956" y="394325"/>
                  </a:lnTo>
                  <a:lnTo>
                    <a:pt x="314956" y="394325"/>
                  </a:lnTo>
                  <a:lnTo>
                    <a:pt x="314956" y="394325"/>
                  </a:lnTo>
                  <a:cubicBezTo>
                    <a:pt x="314956" y="394325"/>
                    <a:pt x="314956" y="393065"/>
                    <a:pt x="314956" y="393065"/>
                  </a:cubicBezTo>
                  <a:cubicBezTo>
                    <a:pt x="314956" y="393065"/>
                    <a:pt x="314956" y="391805"/>
                    <a:pt x="314956" y="391805"/>
                  </a:cubicBezTo>
                  <a:cubicBezTo>
                    <a:pt x="316216" y="385506"/>
                    <a:pt x="317476" y="379207"/>
                    <a:pt x="318736" y="371648"/>
                  </a:cubicBezTo>
                  <a:cubicBezTo>
                    <a:pt x="318736" y="370388"/>
                    <a:pt x="318736" y="369128"/>
                    <a:pt x="318736" y="366609"/>
                  </a:cubicBezTo>
                  <a:lnTo>
                    <a:pt x="318736" y="366609"/>
                  </a:lnTo>
                  <a:cubicBezTo>
                    <a:pt x="318736" y="362829"/>
                    <a:pt x="319995" y="357790"/>
                    <a:pt x="319995" y="354010"/>
                  </a:cubicBezTo>
                  <a:cubicBezTo>
                    <a:pt x="319995" y="348971"/>
                    <a:pt x="321255" y="343932"/>
                    <a:pt x="321255" y="338893"/>
                  </a:cubicBezTo>
                  <a:lnTo>
                    <a:pt x="321255" y="338893"/>
                  </a:lnTo>
                  <a:cubicBezTo>
                    <a:pt x="322515" y="332593"/>
                    <a:pt x="322515" y="325034"/>
                    <a:pt x="323775" y="317475"/>
                  </a:cubicBezTo>
                  <a:cubicBezTo>
                    <a:pt x="323775" y="316216"/>
                    <a:pt x="323775" y="313696"/>
                    <a:pt x="323775" y="312436"/>
                  </a:cubicBezTo>
                  <a:cubicBezTo>
                    <a:pt x="323775" y="308657"/>
                    <a:pt x="325035" y="303618"/>
                    <a:pt x="325035" y="299838"/>
                  </a:cubicBezTo>
                  <a:cubicBezTo>
                    <a:pt x="325035" y="297318"/>
                    <a:pt x="325035" y="294799"/>
                    <a:pt x="325035" y="293539"/>
                  </a:cubicBezTo>
                  <a:cubicBezTo>
                    <a:pt x="325035" y="291019"/>
                    <a:pt x="325035" y="287240"/>
                    <a:pt x="325035" y="283460"/>
                  </a:cubicBezTo>
                  <a:cubicBezTo>
                    <a:pt x="325035" y="282201"/>
                    <a:pt x="325035" y="282201"/>
                    <a:pt x="325035" y="280941"/>
                  </a:cubicBezTo>
                  <a:cubicBezTo>
                    <a:pt x="325035" y="280941"/>
                    <a:pt x="325035" y="279681"/>
                    <a:pt x="325035" y="279681"/>
                  </a:cubicBezTo>
                  <a:cubicBezTo>
                    <a:pt x="325035" y="279681"/>
                    <a:pt x="325035" y="278421"/>
                    <a:pt x="325035" y="278421"/>
                  </a:cubicBezTo>
                  <a:lnTo>
                    <a:pt x="325035" y="278421"/>
                  </a:lnTo>
                  <a:lnTo>
                    <a:pt x="325035" y="278421"/>
                  </a:lnTo>
                  <a:lnTo>
                    <a:pt x="325035" y="278421"/>
                  </a:lnTo>
                  <a:lnTo>
                    <a:pt x="325035" y="278421"/>
                  </a:lnTo>
                  <a:lnTo>
                    <a:pt x="325035" y="278421"/>
                  </a:lnTo>
                  <a:lnTo>
                    <a:pt x="325035" y="278421"/>
                  </a:lnTo>
                  <a:cubicBezTo>
                    <a:pt x="325035" y="274642"/>
                    <a:pt x="325035" y="272122"/>
                    <a:pt x="326294" y="268342"/>
                  </a:cubicBezTo>
                  <a:cubicBezTo>
                    <a:pt x="326294" y="265823"/>
                    <a:pt x="326294" y="263303"/>
                    <a:pt x="327554" y="260783"/>
                  </a:cubicBezTo>
                  <a:cubicBezTo>
                    <a:pt x="327554" y="259524"/>
                    <a:pt x="327554" y="258264"/>
                    <a:pt x="327554" y="257004"/>
                  </a:cubicBezTo>
                  <a:cubicBezTo>
                    <a:pt x="326294" y="257004"/>
                    <a:pt x="325035" y="257004"/>
                    <a:pt x="325035" y="255744"/>
                  </a:cubicBezTo>
                  <a:cubicBezTo>
                    <a:pt x="323775" y="255744"/>
                    <a:pt x="322515" y="254484"/>
                    <a:pt x="319995" y="254484"/>
                  </a:cubicBezTo>
                  <a:lnTo>
                    <a:pt x="318736" y="254484"/>
                  </a:lnTo>
                  <a:lnTo>
                    <a:pt x="318736" y="254484"/>
                  </a:lnTo>
                  <a:lnTo>
                    <a:pt x="318736" y="254484"/>
                  </a:lnTo>
                  <a:lnTo>
                    <a:pt x="318736" y="254484"/>
                  </a:lnTo>
                  <a:cubicBezTo>
                    <a:pt x="318736" y="254484"/>
                    <a:pt x="317476" y="254484"/>
                    <a:pt x="317476" y="254484"/>
                  </a:cubicBezTo>
                  <a:cubicBezTo>
                    <a:pt x="314956" y="253225"/>
                    <a:pt x="312436" y="253225"/>
                    <a:pt x="309917" y="251965"/>
                  </a:cubicBezTo>
                  <a:cubicBezTo>
                    <a:pt x="306137" y="250705"/>
                    <a:pt x="302358" y="248185"/>
                    <a:pt x="299838" y="246925"/>
                  </a:cubicBezTo>
                  <a:lnTo>
                    <a:pt x="299838" y="246925"/>
                  </a:lnTo>
                  <a:cubicBezTo>
                    <a:pt x="298578" y="246925"/>
                    <a:pt x="297318" y="245666"/>
                    <a:pt x="296058" y="245666"/>
                  </a:cubicBezTo>
                  <a:cubicBezTo>
                    <a:pt x="293539" y="244406"/>
                    <a:pt x="291019" y="244406"/>
                    <a:pt x="288499" y="243146"/>
                  </a:cubicBezTo>
                  <a:cubicBezTo>
                    <a:pt x="283460" y="241886"/>
                    <a:pt x="277161" y="239366"/>
                    <a:pt x="273382" y="236847"/>
                  </a:cubicBezTo>
                  <a:cubicBezTo>
                    <a:pt x="269602" y="234327"/>
                    <a:pt x="265823" y="231808"/>
                    <a:pt x="262043" y="229288"/>
                  </a:cubicBezTo>
                  <a:cubicBezTo>
                    <a:pt x="259524" y="228028"/>
                    <a:pt x="258264" y="226768"/>
                    <a:pt x="255744" y="224249"/>
                  </a:cubicBezTo>
                  <a:cubicBezTo>
                    <a:pt x="251965" y="221729"/>
                    <a:pt x="246925" y="217949"/>
                    <a:pt x="244406" y="214170"/>
                  </a:cubicBezTo>
                  <a:cubicBezTo>
                    <a:pt x="243146" y="212910"/>
                    <a:pt x="243146" y="211650"/>
                    <a:pt x="241886" y="210390"/>
                  </a:cubicBezTo>
                  <a:lnTo>
                    <a:pt x="241886" y="210390"/>
                  </a:lnTo>
                  <a:cubicBezTo>
                    <a:pt x="240626" y="209131"/>
                    <a:pt x="240626" y="207871"/>
                    <a:pt x="239366" y="206611"/>
                  </a:cubicBezTo>
                  <a:lnTo>
                    <a:pt x="239366" y="205351"/>
                  </a:lnTo>
                  <a:cubicBezTo>
                    <a:pt x="238107" y="201572"/>
                    <a:pt x="235587" y="197792"/>
                    <a:pt x="234327" y="194013"/>
                  </a:cubicBezTo>
                  <a:cubicBezTo>
                    <a:pt x="234327" y="194013"/>
                    <a:pt x="234327" y="192753"/>
                    <a:pt x="233067" y="192753"/>
                  </a:cubicBezTo>
                  <a:lnTo>
                    <a:pt x="231807" y="194013"/>
                  </a:lnTo>
                  <a:lnTo>
                    <a:pt x="230548" y="195273"/>
                  </a:lnTo>
                  <a:cubicBezTo>
                    <a:pt x="229288" y="196533"/>
                    <a:pt x="228028" y="197792"/>
                    <a:pt x="226768" y="200312"/>
                  </a:cubicBezTo>
                  <a:cubicBezTo>
                    <a:pt x="224249" y="202832"/>
                    <a:pt x="221729" y="205351"/>
                    <a:pt x="219209" y="207871"/>
                  </a:cubicBezTo>
                  <a:cubicBezTo>
                    <a:pt x="216690" y="210390"/>
                    <a:pt x="212910" y="212910"/>
                    <a:pt x="210391" y="215430"/>
                  </a:cubicBezTo>
                  <a:cubicBezTo>
                    <a:pt x="204092" y="219209"/>
                    <a:pt x="197792" y="222989"/>
                    <a:pt x="191493" y="226768"/>
                  </a:cubicBezTo>
                  <a:cubicBezTo>
                    <a:pt x="186454" y="229288"/>
                    <a:pt x="180155" y="233067"/>
                    <a:pt x="173856" y="235587"/>
                  </a:cubicBezTo>
                  <a:lnTo>
                    <a:pt x="173856" y="235587"/>
                  </a:lnTo>
                  <a:cubicBezTo>
                    <a:pt x="173856" y="235587"/>
                    <a:pt x="173856" y="235587"/>
                    <a:pt x="172596" y="235587"/>
                  </a:cubicBezTo>
                  <a:lnTo>
                    <a:pt x="172596" y="235587"/>
                  </a:lnTo>
                  <a:lnTo>
                    <a:pt x="171336" y="235587"/>
                  </a:lnTo>
                  <a:lnTo>
                    <a:pt x="171336" y="235587"/>
                  </a:lnTo>
                  <a:lnTo>
                    <a:pt x="171336" y="235587"/>
                  </a:lnTo>
                  <a:lnTo>
                    <a:pt x="171336" y="235587"/>
                  </a:lnTo>
                  <a:lnTo>
                    <a:pt x="172596" y="235587"/>
                  </a:lnTo>
                  <a:cubicBezTo>
                    <a:pt x="166297" y="238107"/>
                    <a:pt x="159998" y="240626"/>
                    <a:pt x="152439" y="243146"/>
                  </a:cubicBezTo>
                  <a:cubicBezTo>
                    <a:pt x="144880" y="245666"/>
                    <a:pt x="137321" y="246925"/>
                    <a:pt x="131022" y="248185"/>
                  </a:cubicBezTo>
                  <a:cubicBezTo>
                    <a:pt x="123463" y="249445"/>
                    <a:pt x="115904" y="249445"/>
                    <a:pt x="109605" y="249445"/>
                  </a:cubicBezTo>
                  <a:lnTo>
                    <a:pt x="109605" y="249445"/>
                  </a:lnTo>
                  <a:cubicBezTo>
                    <a:pt x="105825" y="249445"/>
                    <a:pt x="100786" y="249445"/>
                    <a:pt x="97007" y="249445"/>
                  </a:cubicBezTo>
                  <a:cubicBezTo>
                    <a:pt x="93227" y="249445"/>
                    <a:pt x="89448" y="248185"/>
                    <a:pt x="86928" y="248185"/>
                  </a:cubicBezTo>
                  <a:cubicBezTo>
                    <a:pt x="85668" y="248185"/>
                    <a:pt x="83148" y="248185"/>
                    <a:pt x="81889" y="246925"/>
                  </a:cubicBezTo>
                  <a:cubicBezTo>
                    <a:pt x="81889" y="246925"/>
                    <a:pt x="80629" y="246925"/>
                    <a:pt x="80629" y="246925"/>
                  </a:cubicBezTo>
                  <a:cubicBezTo>
                    <a:pt x="76849" y="246925"/>
                    <a:pt x="73070" y="246925"/>
                    <a:pt x="69290" y="246925"/>
                  </a:cubicBezTo>
                  <a:cubicBezTo>
                    <a:pt x="68030" y="246925"/>
                    <a:pt x="68030" y="246925"/>
                    <a:pt x="66771" y="246925"/>
                  </a:cubicBezTo>
                  <a:cubicBezTo>
                    <a:pt x="65511" y="246925"/>
                    <a:pt x="64251" y="246925"/>
                    <a:pt x="61731" y="246925"/>
                  </a:cubicBezTo>
                  <a:lnTo>
                    <a:pt x="60472" y="246925"/>
                  </a:lnTo>
                  <a:lnTo>
                    <a:pt x="59212" y="246925"/>
                  </a:lnTo>
                  <a:cubicBezTo>
                    <a:pt x="56692" y="246925"/>
                    <a:pt x="52913" y="245666"/>
                    <a:pt x="50393" y="244406"/>
                  </a:cubicBezTo>
                  <a:cubicBezTo>
                    <a:pt x="44094" y="241886"/>
                    <a:pt x="37795" y="239366"/>
                    <a:pt x="31496" y="235587"/>
                  </a:cubicBezTo>
                  <a:cubicBezTo>
                    <a:pt x="28976" y="234327"/>
                    <a:pt x="27716" y="233067"/>
                    <a:pt x="25196" y="231808"/>
                  </a:cubicBezTo>
                  <a:cubicBezTo>
                    <a:pt x="23937" y="230548"/>
                    <a:pt x="22677" y="229288"/>
                    <a:pt x="22677" y="229288"/>
                  </a:cubicBezTo>
                  <a:lnTo>
                    <a:pt x="22677" y="229288"/>
                  </a:lnTo>
                  <a:cubicBezTo>
                    <a:pt x="21417" y="229288"/>
                    <a:pt x="21417" y="228028"/>
                    <a:pt x="20157" y="228028"/>
                  </a:cubicBezTo>
                  <a:cubicBezTo>
                    <a:pt x="17637" y="225508"/>
                    <a:pt x="16378" y="224249"/>
                    <a:pt x="13858" y="220469"/>
                  </a:cubicBezTo>
                  <a:cubicBezTo>
                    <a:pt x="11338" y="217949"/>
                    <a:pt x="10079" y="215430"/>
                    <a:pt x="8819" y="212910"/>
                  </a:cubicBezTo>
                  <a:cubicBezTo>
                    <a:pt x="6299" y="209131"/>
                    <a:pt x="3780" y="204091"/>
                    <a:pt x="2520" y="197792"/>
                  </a:cubicBezTo>
                  <a:cubicBezTo>
                    <a:pt x="1260" y="192753"/>
                    <a:pt x="1260" y="188974"/>
                    <a:pt x="0" y="185194"/>
                  </a:cubicBezTo>
                  <a:lnTo>
                    <a:pt x="0" y="183934"/>
                  </a:lnTo>
                  <a:cubicBezTo>
                    <a:pt x="0" y="182674"/>
                    <a:pt x="0" y="181415"/>
                    <a:pt x="0" y="180155"/>
                  </a:cubicBezTo>
                  <a:lnTo>
                    <a:pt x="0" y="178895"/>
                  </a:lnTo>
                  <a:cubicBezTo>
                    <a:pt x="0" y="176375"/>
                    <a:pt x="0" y="172596"/>
                    <a:pt x="0" y="170076"/>
                  </a:cubicBezTo>
                  <a:cubicBezTo>
                    <a:pt x="0" y="170076"/>
                    <a:pt x="0" y="168816"/>
                    <a:pt x="0" y="168816"/>
                  </a:cubicBezTo>
                  <a:lnTo>
                    <a:pt x="0" y="168816"/>
                  </a:lnTo>
                  <a:cubicBezTo>
                    <a:pt x="0" y="167557"/>
                    <a:pt x="0" y="166297"/>
                    <a:pt x="0" y="165037"/>
                  </a:cubicBezTo>
                  <a:lnTo>
                    <a:pt x="0" y="158738"/>
                  </a:lnTo>
                  <a:cubicBezTo>
                    <a:pt x="0" y="154958"/>
                    <a:pt x="1260" y="151179"/>
                    <a:pt x="1260" y="147399"/>
                  </a:cubicBezTo>
                  <a:lnTo>
                    <a:pt x="1260" y="146140"/>
                  </a:lnTo>
                  <a:cubicBezTo>
                    <a:pt x="1260" y="142360"/>
                    <a:pt x="2520" y="139840"/>
                    <a:pt x="2520" y="136061"/>
                  </a:cubicBezTo>
                  <a:cubicBezTo>
                    <a:pt x="3780" y="132281"/>
                    <a:pt x="3780" y="129762"/>
                    <a:pt x="5039" y="125982"/>
                  </a:cubicBezTo>
                  <a:cubicBezTo>
                    <a:pt x="6299" y="122203"/>
                    <a:pt x="7559" y="119683"/>
                    <a:pt x="8819" y="115904"/>
                  </a:cubicBezTo>
                  <a:cubicBezTo>
                    <a:pt x="10079" y="113384"/>
                    <a:pt x="11338" y="110864"/>
                    <a:pt x="13858" y="107085"/>
                  </a:cubicBezTo>
                  <a:cubicBezTo>
                    <a:pt x="17637" y="99526"/>
                    <a:pt x="22677" y="93227"/>
                    <a:pt x="26456" y="88188"/>
                  </a:cubicBezTo>
                  <a:cubicBezTo>
                    <a:pt x="28976" y="84408"/>
                    <a:pt x="30236" y="81889"/>
                    <a:pt x="32755" y="79369"/>
                  </a:cubicBezTo>
                  <a:cubicBezTo>
                    <a:pt x="34015" y="76849"/>
                    <a:pt x="36535" y="74330"/>
                    <a:pt x="39055" y="73070"/>
                  </a:cubicBezTo>
                  <a:lnTo>
                    <a:pt x="39055" y="73070"/>
                  </a:lnTo>
                  <a:lnTo>
                    <a:pt x="39055" y="73070"/>
                  </a:lnTo>
                  <a:cubicBezTo>
                    <a:pt x="41574" y="70550"/>
                    <a:pt x="44094" y="68031"/>
                    <a:pt x="46614" y="65511"/>
                  </a:cubicBezTo>
                  <a:cubicBezTo>
                    <a:pt x="52913" y="60472"/>
                    <a:pt x="59212" y="55432"/>
                    <a:pt x="66771" y="49133"/>
                  </a:cubicBezTo>
                  <a:cubicBezTo>
                    <a:pt x="68030" y="49133"/>
                    <a:pt x="68030" y="47873"/>
                    <a:pt x="69290" y="47873"/>
                  </a:cubicBezTo>
                  <a:cubicBezTo>
                    <a:pt x="70550" y="46614"/>
                    <a:pt x="73070" y="45354"/>
                    <a:pt x="75589" y="42834"/>
                  </a:cubicBezTo>
                  <a:lnTo>
                    <a:pt x="78109" y="41574"/>
                  </a:lnTo>
                  <a:lnTo>
                    <a:pt x="78109" y="41574"/>
                  </a:lnTo>
                  <a:cubicBezTo>
                    <a:pt x="80629" y="40314"/>
                    <a:pt x="81889" y="39055"/>
                    <a:pt x="84408" y="36535"/>
                  </a:cubicBezTo>
                  <a:lnTo>
                    <a:pt x="85668" y="36535"/>
                  </a:lnTo>
                  <a:cubicBezTo>
                    <a:pt x="88188" y="34015"/>
                    <a:pt x="91967" y="32755"/>
                    <a:pt x="94487" y="31496"/>
                  </a:cubicBezTo>
                  <a:cubicBezTo>
                    <a:pt x="98266" y="28976"/>
                    <a:pt x="100786" y="27716"/>
                    <a:pt x="103306" y="26456"/>
                  </a:cubicBezTo>
                  <a:cubicBezTo>
                    <a:pt x="109605" y="23937"/>
                    <a:pt x="117164" y="20157"/>
                    <a:pt x="124722" y="17638"/>
                  </a:cubicBezTo>
                  <a:cubicBezTo>
                    <a:pt x="127242" y="16378"/>
                    <a:pt x="128502" y="16378"/>
                    <a:pt x="131022" y="16378"/>
                  </a:cubicBezTo>
                  <a:lnTo>
                    <a:pt x="132281" y="16378"/>
                  </a:lnTo>
                  <a:cubicBezTo>
                    <a:pt x="133541" y="16378"/>
                    <a:pt x="133541" y="16378"/>
                    <a:pt x="134801" y="15118"/>
                  </a:cubicBezTo>
                  <a:cubicBezTo>
                    <a:pt x="138581" y="13858"/>
                    <a:pt x="142360" y="13858"/>
                    <a:pt x="144880" y="12598"/>
                  </a:cubicBezTo>
                  <a:cubicBezTo>
                    <a:pt x="152439" y="10079"/>
                    <a:pt x="161258" y="10079"/>
                    <a:pt x="168816" y="8819"/>
                  </a:cubicBezTo>
                  <a:cubicBezTo>
                    <a:pt x="171336" y="8819"/>
                    <a:pt x="173856" y="8819"/>
                    <a:pt x="175115" y="8819"/>
                  </a:cubicBezTo>
                  <a:lnTo>
                    <a:pt x="175115" y="8819"/>
                  </a:lnTo>
                  <a:cubicBezTo>
                    <a:pt x="176375" y="8819"/>
                    <a:pt x="176375" y="8819"/>
                    <a:pt x="177635" y="8819"/>
                  </a:cubicBezTo>
                  <a:cubicBezTo>
                    <a:pt x="181414" y="8819"/>
                    <a:pt x="185194" y="8819"/>
                    <a:pt x="187714" y="8819"/>
                  </a:cubicBezTo>
                  <a:cubicBezTo>
                    <a:pt x="194013" y="0"/>
                    <a:pt x="197792" y="0"/>
                    <a:pt x="200312" y="0"/>
                  </a:cubicBezTo>
                </a:path>
              </a:pathLst>
            </a:custGeom>
            <a:solidFill>
              <a:srgbClr val="001675"/>
            </a:solidFill>
            <a:ln w="12584" cap="flat">
              <a:noFill/>
              <a:prstDash val="solid"/>
              <a:miter/>
            </a:ln>
          </p:spPr>
          <p:txBody>
            <a:bodyPr rtlCol="0" anchor="ctr"/>
            <a:lstStyle/>
            <a:p>
              <a:endParaRPr lang="zh-CN" altLang="en-US"/>
            </a:p>
          </p:txBody>
        </p:sp>
        <p:sp>
          <p:nvSpPr>
            <p:cNvPr id="234" name="任意多边形: 形状 233"/>
            <p:cNvSpPr/>
            <p:nvPr/>
          </p:nvSpPr>
          <p:spPr>
            <a:xfrm>
              <a:off x="9868258" y="3280482"/>
              <a:ext cx="34321" cy="42902"/>
            </a:xfrm>
            <a:custGeom>
              <a:avLst/>
              <a:gdLst>
                <a:gd name="connsiteX0" fmla="*/ 7559 w 50392"/>
                <a:gd name="connsiteY0" fmla="*/ 1260 h 62991"/>
                <a:gd name="connsiteX1" fmla="*/ 23937 w 50392"/>
                <a:gd name="connsiteY1" fmla="*/ 13858 h 62991"/>
                <a:gd name="connsiteX2" fmla="*/ 31496 w 50392"/>
                <a:gd name="connsiteY2" fmla="*/ 18897 h 62991"/>
                <a:gd name="connsiteX3" fmla="*/ 39055 w 50392"/>
                <a:gd name="connsiteY3" fmla="*/ 25196 h 62991"/>
                <a:gd name="connsiteX4" fmla="*/ 45354 w 50392"/>
                <a:gd name="connsiteY4" fmla="*/ 31496 h 62991"/>
                <a:gd name="connsiteX5" fmla="*/ 50393 w 50392"/>
                <a:gd name="connsiteY5" fmla="*/ 37795 h 62991"/>
                <a:gd name="connsiteX6" fmla="*/ 55432 w 50392"/>
                <a:gd name="connsiteY6" fmla="*/ 45354 h 62991"/>
                <a:gd name="connsiteX7" fmla="*/ 59212 w 50392"/>
                <a:gd name="connsiteY7" fmla="*/ 54172 h 62991"/>
                <a:gd name="connsiteX8" fmla="*/ 61731 w 50392"/>
                <a:gd name="connsiteY8" fmla="*/ 62991 h 62991"/>
                <a:gd name="connsiteX9" fmla="*/ 61731 w 50392"/>
                <a:gd name="connsiteY9" fmla="*/ 64251 h 62991"/>
                <a:gd name="connsiteX10" fmla="*/ 61731 w 50392"/>
                <a:gd name="connsiteY10" fmla="*/ 65511 h 62991"/>
                <a:gd name="connsiteX11" fmla="*/ 60471 w 50392"/>
                <a:gd name="connsiteY11" fmla="*/ 68030 h 62991"/>
                <a:gd name="connsiteX12" fmla="*/ 57952 w 50392"/>
                <a:gd name="connsiteY12" fmla="*/ 70550 h 62991"/>
                <a:gd name="connsiteX13" fmla="*/ 51653 w 50392"/>
                <a:gd name="connsiteY13" fmla="*/ 66771 h 62991"/>
                <a:gd name="connsiteX14" fmla="*/ 49133 w 50392"/>
                <a:gd name="connsiteY14" fmla="*/ 60472 h 62991"/>
                <a:gd name="connsiteX15" fmla="*/ 44094 w 50392"/>
                <a:gd name="connsiteY15" fmla="*/ 50393 h 62991"/>
                <a:gd name="connsiteX16" fmla="*/ 36535 w 50392"/>
                <a:gd name="connsiteY16" fmla="*/ 39055 h 62991"/>
                <a:gd name="connsiteX17" fmla="*/ 20157 w 50392"/>
                <a:gd name="connsiteY17" fmla="*/ 23937 h 62991"/>
                <a:gd name="connsiteX18" fmla="*/ 1260 w 50392"/>
                <a:gd name="connsiteY18" fmla="*/ 8819 h 62991"/>
                <a:gd name="connsiteX19" fmla="*/ 0 w 50392"/>
                <a:gd name="connsiteY19" fmla="*/ 5039 h 62991"/>
                <a:gd name="connsiteX20" fmla="*/ 1260 w 50392"/>
                <a:gd name="connsiteY20" fmla="*/ 1260 h 62991"/>
                <a:gd name="connsiteX21" fmla="*/ 5039 w 50392"/>
                <a:gd name="connsiteY21" fmla="*/ 0 h 62991"/>
                <a:gd name="connsiteX22" fmla="*/ 6299 w 50392"/>
                <a:gd name="connsiteY22" fmla="*/ 0 h 62991"/>
                <a:gd name="connsiteX23" fmla="*/ 7559 w 50392"/>
                <a:gd name="connsiteY23" fmla="*/ 1260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0392" h="62991">
                  <a:moveTo>
                    <a:pt x="7559" y="1260"/>
                  </a:moveTo>
                  <a:cubicBezTo>
                    <a:pt x="12598" y="5039"/>
                    <a:pt x="18897" y="10079"/>
                    <a:pt x="23937" y="13858"/>
                  </a:cubicBezTo>
                  <a:cubicBezTo>
                    <a:pt x="26456" y="15118"/>
                    <a:pt x="28976" y="17637"/>
                    <a:pt x="31496" y="18897"/>
                  </a:cubicBezTo>
                  <a:cubicBezTo>
                    <a:pt x="34015" y="21417"/>
                    <a:pt x="36535" y="22677"/>
                    <a:pt x="39055" y="25196"/>
                  </a:cubicBezTo>
                  <a:cubicBezTo>
                    <a:pt x="41574" y="27716"/>
                    <a:pt x="44094" y="28976"/>
                    <a:pt x="45354" y="31496"/>
                  </a:cubicBezTo>
                  <a:cubicBezTo>
                    <a:pt x="46614" y="32755"/>
                    <a:pt x="47873" y="35275"/>
                    <a:pt x="50393" y="37795"/>
                  </a:cubicBezTo>
                  <a:cubicBezTo>
                    <a:pt x="51653" y="40314"/>
                    <a:pt x="54172" y="42834"/>
                    <a:pt x="55432" y="45354"/>
                  </a:cubicBezTo>
                  <a:cubicBezTo>
                    <a:pt x="56692" y="47873"/>
                    <a:pt x="57952" y="51653"/>
                    <a:pt x="59212" y="54172"/>
                  </a:cubicBezTo>
                  <a:cubicBezTo>
                    <a:pt x="60471" y="56692"/>
                    <a:pt x="60471" y="60472"/>
                    <a:pt x="61731" y="62991"/>
                  </a:cubicBezTo>
                  <a:cubicBezTo>
                    <a:pt x="61731" y="62991"/>
                    <a:pt x="61731" y="62991"/>
                    <a:pt x="61731" y="64251"/>
                  </a:cubicBezTo>
                  <a:cubicBezTo>
                    <a:pt x="61731" y="64251"/>
                    <a:pt x="61731" y="65511"/>
                    <a:pt x="61731" y="65511"/>
                  </a:cubicBezTo>
                  <a:cubicBezTo>
                    <a:pt x="61731" y="66771"/>
                    <a:pt x="61731" y="66771"/>
                    <a:pt x="60471" y="68030"/>
                  </a:cubicBezTo>
                  <a:cubicBezTo>
                    <a:pt x="59212" y="69290"/>
                    <a:pt x="59212" y="70550"/>
                    <a:pt x="57952" y="70550"/>
                  </a:cubicBezTo>
                  <a:cubicBezTo>
                    <a:pt x="55432" y="71810"/>
                    <a:pt x="51653" y="69290"/>
                    <a:pt x="51653" y="66771"/>
                  </a:cubicBezTo>
                  <a:cubicBezTo>
                    <a:pt x="50393" y="64251"/>
                    <a:pt x="50393" y="62991"/>
                    <a:pt x="49133" y="60472"/>
                  </a:cubicBezTo>
                  <a:cubicBezTo>
                    <a:pt x="47873" y="56692"/>
                    <a:pt x="45354" y="54172"/>
                    <a:pt x="44094" y="50393"/>
                  </a:cubicBezTo>
                  <a:cubicBezTo>
                    <a:pt x="41574" y="46613"/>
                    <a:pt x="39055" y="42834"/>
                    <a:pt x="36535" y="39055"/>
                  </a:cubicBezTo>
                  <a:cubicBezTo>
                    <a:pt x="31496" y="34015"/>
                    <a:pt x="25196" y="28976"/>
                    <a:pt x="20157" y="23937"/>
                  </a:cubicBezTo>
                  <a:cubicBezTo>
                    <a:pt x="13858" y="18897"/>
                    <a:pt x="7559" y="13858"/>
                    <a:pt x="1260" y="8819"/>
                  </a:cubicBezTo>
                  <a:cubicBezTo>
                    <a:pt x="0" y="7559"/>
                    <a:pt x="0" y="6299"/>
                    <a:pt x="0" y="5039"/>
                  </a:cubicBezTo>
                  <a:cubicBezTo>
                    <a:pt x="0" y="3779"/>
                    <a:pt x="0" y="2520"/>
                    <a:pt x="1260" y="1260"/>
                  </a:cubicBezTo>
                  <a:cubicBezTo>
                    <a:pt x="2520" y="0"/>
                    <a:pt x="3779" y="0"/>
                    <a:pt x="5039" y="0"/>
                  </a:cubicBezTo>
                  <a:cubicBezTo>
                    <a:pt x="5039" y="0"/>
                    <a:pt x="5039" y="0"/>
                    <a:pt x="6299" y="0"/>
                  </a:cubicBezTo>
                  <a:cubicBezTo>
                    <a:pt x="5039" y="0"/>
                    <a:pt x="6299" y="0"/>
                    <a:pt x="7559" y="1260"/>
                  </a:cubicBezTo>
                </a:path>
              </a:pathLst>
            </a:custGeom>
            <a:solidFill>
              <a:srgbClr val="001675"/>
            </a:solidFill>
            <a:ln w="12584" cap="flat">
              <a:noFill/>
              <a:prstDash val="solid"/>
              <a:miter/>
            </a:ln>
          </p:spPr>
          <p:txBody>
            <a:bodyPr rtlCol="0" anchor="ctr"/>
            <a:lstStyle/>
            <a:p>
              <a:endParaRPr lang="zh-CN" altLang="en-US"/>
            </a:p>
          </p:txBody>
        </p:sp>
        <p:sp>
          <p:nvSpPr>
            <p:cNvPr id="235" name="任意多边形: 形状 234"/>
            <p:cNvSpPr/>
            <p:nvPr/>
          </p:nvSpPr>
          <p:spPr>
            <a:xfrm>
              <a:off x="9850239" y="3367144"/>
              <a:ext cx="94384" cy="94384"/>
            </a:xfrm>
            <a:custGeom>
              <a:avLst/>
              <a:gdLst>
                <a:gd name="connsiteX0" fmla="*/ 15118 w 138580"/>
                <a:gd name="connsiteY0" fmla="*/ 0 h 138580"/>
                <a:gd name="connsiteX1" fmla="*/ 15118 w 138580"/>
                <a:gd name="connsiteY1" fmla="*/ 0 h 138580"/>
                <a:gd name="connsiteX2" fmla="*/ 8819 w 138580"/>
                <a:gd name="connsiteY2" fmla="*/ 1260 h 138580"/>
                <a:gd name="connsiteX3" fmla="*/ 5039 w 138580"/>
                <a:gd name="connsiteY3" fmla="*/ 6299 h 138580"/>
                <a:gd name="connsiteX4" fmla="*/ 2520 w 138580"/>
                <a:gd name="connsiteY4" fmla="*/ 15118 h 138580"/>
                <a:gd name="connsiteX5" fmla="*/ 1260 w 138580"/>
                <a:gd name="connsiteY5" fmla="*/ 22677 h 138580"/>
                <a:gd name="connsiteX6" fmla="*/ 0 w 138580"/>
                <a:gd name="connsiteY6" fmla="*/ 35275 h 138580"/>
                <a:gd name="connsiteX7" fmla="*/ 1260 w 138580"/>
                <a:gd name="connsiteY7" fmla="*/ 46614 h 138580"/>
                <a:gd name="connsiteX8" fmla="*/ 3780 w 138580"/>
                <a:gd name="connsiteY8" fmla="*/ 56692 h 138580"/>
                <a:gd name="connsiteX9" fmla="*/ 8819 w 138580"/>
                <a:gd name="connsiteY9" fmla="*/ 68031 h 138580"/>
                <a:gd name="connsiteX10" fmla="*/ 20157 w 138580"/>
                <a:gd name="connsiteY10" fmla="*/ 84408 h 138580"/>
                <a:gd name="connsiteX11" fmla="*/ 35275 w 138580"/>
                <a:gd name="connsiteY11" fmla="*/ 103306 h 138580"/>
                <a:gd name="connsiteX12" fmla="*/ 42834 w 138580"/>
                <a:gd name="connsiteY12" fmla="*/ 110864 h 138580"/>
                <a:gd name="connsiteX13" fmla="*/ 52913 w 138580"/>
                <a:gd name="connsiteY13" fmla="*/ 118424 h 138580"/>
                <a:gd name="connsiteX14" fmla="*/ 71810 w 138580"/>
                <a:gd name="connsiteY14" fmla="*/ 129762 h 138580"/>
                <a:gd name="connsiteX15" fmla="*/ 83148 w 138580"/>
                <a:gd name="connsiteY15" fmla="*/ 134801 h 138580"/>
                <a:gd name="connsiteX16" fmla="*/ 93227 w 138580"/>
                <a:gd name="connsiteY16" fmla="*/ 137321 h 138580"/>
                <a:gd name="connsiteX17" fmla="*/ 109605 w 138580"/>
                <a:gd name="connsiteY17" fmla="*/ 138581 h 138580"/>
                <a:gd name="connsiteX18" fmla="*/ 115904 w 138580"/>
                <a:gd name="connsiteY18" fmla="*/ 138581 h 138580"/>
                <a:gd name="connsiteX19" fmla="*/ 123463 w 138580"/>
                <a:gd name="connsiteY19" fmla="*/ 139840 h 138580"/>
                <a:gd name="connsiteX20" fmla="*/ 125982 w 138580"/>
                <a:gd name="connsiteY20" fmla="*/ 139840 h 138580"/>
                <a:gd name="connsiteX21" fmla="*/ 131022 w 138580"/>
                <a:gd name="connsiteY21" fmla="*/ 139840 h 138580"/>
                <a:gd name="connsiteX22" fmla="*/ 136061 w 138580"/>
                <a:gd name="connsiteY22" fmla="*/ 138581 h 138580"/>
                <a:gd name="connsiteX23" fmla="*/ 142360 w 138580"/>
                <a:gd name="connsiteY23" fmla="*/ 132281 h 138580"/>
                <a:gd name="connsiteX24" fmla="*/ 143620 w 138580"/>
                <a:gd name="connsiteY24" fmla="*/ 124723 h 138580"/>
                <a:gd name="connsiteX25" fmla="*/ 141100 w 138580"/>
                <a:gd name="connsiteY25" fmla="*/ 120943 h 138580"/>
                <a:gd name="connsiteX26" fmla="*/ 133541 w 138580"/>
                <a:gd name="connsiteY26" fmla="*/ 118424 h 138580"/>
                <a:gd name="connsiteX27" fmla="*/ 128502 w 138580"/>
                <a:gd name="connsiteY27" fmla="*/ 118424 h 138580"/>
                <a:gd name="connsiteX28" fmla="*/ 118423 w 138580"/>
                <a:gd name="connsiteY28" fmla="*/ 117164 h 138580"/>
                <a:gd name="connsiteX29" fmla="*/ 109605 w 138580"/>
                <a:gd name="connsiteY29" fmla="*/ 115904 h 138580"/>
                <a:gd name="connsiteX30" fmla="*/ 104566 w 138580"/>
                <a:gd name="connsiteY30" fmla="*/ 115904 h 138580"/>
                <a:gd name="connsiteX31" fmla="*/ 89448 w 138580"/>
                <a:gd name="connsiteY31" fmla="*/ 113384 h 138580"/>
                <a:gd name="connsiteX32" fmla="*/ 76849 w 138580"/>
                <a:gd name="connsiteY32" fmla="*/ 107085 h 138580"/>
                <a:gd name="connsiteX33" fmla="*/ 70550 w 138580"/>
                <a:gd name="connsiteY33" fmla="*/ 103306 h 138580"/>
                <a:gd name="connsiteX34" fmla="*/ 64251 w 138580"/>
                <a:gd name="connsiteY34" fmla="*/ 99526 h 138580"/>
                <a:gd name="connsiteX35" fmla="*/ 57952 w 138580"/>
                <a:gd name="connsiteY35" fmla="*/ 94487 h 138580"/>
                <a:gd name="connsiteX36" fmla="*/ 51653 w 138580"/>
                <a:gd name="connsiteY36" fmla="*/ 88188 h 138580"/>
                <a:gd name="connsiteX37" fmla="*/ 40314 w 138580"/>
                <a:gd name="connsiteY37" fmla="*/ 75589 h 138580"/>
                <a:gd name="connsiteX38" fmla="*/ 23937 w 138580"/>
                <a:gd name="connsiteY38" fmla="*/ 52913 h 138580"/>
                <a:gd name="connsiteX39" fmla="*/ 21417 w 138580"/>
                <a:gd name="connsiteY39" fmla="*/ 45354 h 138580"/>
                <a:gd name="connsiteX40" fmla="*/ 18897 w 138580"/>
                <a:gd name="connsiteY40" fmla="*/ 37795 h 138580"/>
                <a:gd name="connsiteX41" fmla="*/ 18897 w 138580"/>
                <a:gd name="connsiteY41" fmla="*/ 20157 h 138580"/>
                <a:gd name="connsiteX42" fmla="*/ 20157 w 138580"/>
                <a:gd name="connsiteY42" fmla="*/ 15118 h 138580"/>
                <a:gd name="connsiteX43" fmla="*/ 21417 w 138580"/>
                <a:gd name="connsiteY43" fmla="*/ 8819 h 138580"/>
                <a:gd name="connsiteX44" fmla="*/ 15118 w 138580"/>
                <a:gd name="connsiteY44" fmla="*/ 0 h 138580"/>
                <a:gd name="connsiteX45" fmla="*/ 133541 w 138580"/>
                <a:gd name="connsiteY45" fmla="*/ 119683 h 138580"/>
                <a:gd name="connsiteX46" fmla="*/ 133541 w 138580"/>
                <a:gd name="connsiteY46" fmla="*/ 119683 h 138580"/>
                <a:gd name="connsiteX47" fmla="*/ 133541 w 138580"/>
                <a:gd name="connsiteY47" fmla="*/ 119683 h 138580"/>
                <a:gd name="connsiteX48" fmla="*/ 133541 w 138580"/>
                <a:gd name="connsiteY48" fmla="*/ 119683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38580" h="138580">
                  <a:moveTo>
                    <a:pt x="15118" y="0"/>
                  </a:moveTo>
                  <a:cubicBezTo>
                    <a:pt x="15118" y="0"/>
                    <a:pt x="15118" y="0"/>
                    <a:pt x="15118" y="0"/>
                  </a:cubicBezTo>
                  <a:cubicBezTo>
                    <a:pt x="12598" y="0"/>
                    <a:pt x="10079" y="0"/>
                    <a:pt x="8819" y="1260"/>
                  </a:cubicBezTo>
                  <a:cubicBezTo>
                    <a:pt x="7559" y="2520"/>
                    <a:pt x="6299" y="3780"/>
                    <a:pt x="5039" y="6299"/>
                  </a:cubicBezTo>
                  <a:cubicBezTo>
                    <a:pt x="3780" y="8819"/>
                    <a:pt x="3780" y="11339"/>
                    <a:pt x="2520" y="15118"/>
                  </a:cubicBezTo>
                  <a:cubicBezTo>
                    <a:pt x="1260" y="17638"/>
                    <a:pt x="1260" y="20157"/>
                    <a:pt x="1260" y="22677"/>
                  </a:cubicBezTo>
                  <a:cubicBezTo>
                    <a:pt x="1260" y="26456"/>
                    <a:pt x="1260" y="31496"/>
                    <a:pt x="0" y="35275"/>
                  </a:cubicBezTo>
                  <a:cubicBezTo>
                    <a:pt x="0" y="39055"/>
                    <a:pt x="0" y="42834"/>
                    <a:pt x="1260" y="46614"/>
                  </a:cubicBezTo>
                  <a:cubicBezTo>
                    <a:pt x="2520" y="50393"/>
                    <a:pt x="2520" y="54172"/>
                    <a:pt x="3780" y="56692"/>
                  </a:cubicBezTo>
                  <a:cubicBezTo>
                    <a:pt x="5039" y="60472"/>
                    <a:pt x="6299" y="64251"/>
                    <a:pt x="8819" y="68031"/>
                  </a:cubicBezTo>
                  <a:cubicBezTo>
                    <a:pt x="12598" y="74330"/>
                    <a:pt x="16378" y="79369"/>
                    <a:pt x="20157" y="84408"/>
                  </a:cubicBezTo>
                  <a:cubicBezTo>
                    <a:pt x="25196" y="90707"/>
                    <a:pt x="30236" y="97007"/>
                    <a:pt x="35275" y="103306"/>
                  </a:cubicBezTo>
                  <a:cubicBezTo>
                    <a:pt x="37795" y="105825"/>
                    <a:pt x="40314" y="108345"/>
                    <a:pt x="42834" y="110864"/>
                  </a:cubicBezTo>
                  <a:cubicBezTo>
                    <a:pt x="46614" y="113384"/>
                    <a:pt x="49133" y="115904"/>
                    <a:pt x="52913" y="118424"/>
                  </a:cubicBezTo>
                  <a:cubicBezTo>
                    <a:pt x="59212" y="122203"/>
                    <a:pt x="65511" y="125982"/>
                    <a:pt x="71810" y="129762"/>
                  </a:cubicBezTo>
                  <a:cubicBezTo>
                    <a:pt x="75589" y="131022"/>
                    <a:pt x="79369" y="133541"/>
                    <a:pt x="83148" y="134801"/>
                  </a:cubicBezTo>
                  <a:cubicBezTo>
                    <a:pt x="86928" y="136061"/>
                    <a:pt x="90707" y="137321"/>
                    <a:pt x="93227" y="137321"/>
                  </a:cubicBezTo>
                  <a:cubicBezTo>
                    <a:pt x="98266" y="138581"/>
                    <a:pt x="104566" y="138581"/>
                    <a:pt x="109605" y="138581"/>
                  </a:cubicBezTo>
                  <a:cubicBezTo>
                    <a:pt x="112124" y="138581"/>
                    <a:pt x="113384" y="138581"/>
                    <a:pt x="115904" y="138581"/>
                  </a:cubicBezTo>
                  <a:cubicBezTo>
                    <a:pt x="118423" y="138581"/>
                    <a:pt x="120943" y="138581"/>
                    <a:pt x="123463" y="139840"/>
                  </a:cubicBezTo>
                  <a:cubicBezTo>
                    <a:pt x="124722" y="139840"/>
                    <a:pt x="124722" y="139840"/>
                    <a:pt x="125982" y="139840"/>
                  </a:cubicBezTo>
                  <a:cubicBezTo>
                    <a:pt x="127242" y="139840"/>
                    <a:pt x="129762" y="139840"/>
                    <a:pt x="131022" y="139840"/>
                  </a:cubicBezTo>
                  <a:cubicBezTo>
                    <a:pt x="132281" y="139840"/>
                    <a:pt x="133541" y="139840"/>
                    <a:pt x="136061" y="138581"/>
                  </a:cubicBezTo>
                  <a:cubicBezTo>
                    <a:pt x="138581" y="137321"/>
                    <a:pt x="141100" y="136061"/>
                    <a:pt x="142360" y="132281"/>
                  </a:cubicBezTo>
                  <a:cubicBezTo>
                    <a:pt x="143620" y="129762"/>
                    <a:pt x="143620" y="127242"/>
                    <a:pt x="143620" y="124723"/>
                  </a:cubicBezTo>
                  <a:cubicBezTo>
                    <a:pt x="143620" y="123463"/>
                    <a:pt x="142360" y="122203"/>
                    <a:pt x="141100" y="120943"/>
                  </a:cubicBezTo>
                  <a:cubicBezTo>
                    <a:pt x="138581" y="118424"/>
                    <a:pt x="136061" y="118424"/>
                    <a:pt x="133541" y="118424"/>
                  </a:cubicBezTo>
                  <a:cubicBezTo>
                    <a:pt x="132281" y="118424"/>
                    <a:pt x="131022" y="118424"/>
                    <a:pt x="128502" y="118424"/>
                  </a:cubicBezTo>
                  <a:cubicBezTo>
                    <a:pt x="124722" y="118424"/>
                    <a:pt x="122203" y="117164"/>
                    <a:pt x="118423" y="117164"/>
                  </a:cubicBezTo>
                  <a:cubicBezTo>
                    <a:pt x="115904" y="117164"/>
                    <a:pt x="112124" y="117164"/>
                    <a:pt x="109605" y="115904"/>
                  </a:cubicBezTo>
                  <a:cubicBezTo>
                    <a:pt x="108345" y="115904"/>
                    <a:pt x="105825" y="115904"/>
                    <a:pt x="104566" y="115904"/>
                  </a:cubicBezTo>
                  <a:cubicBezTo>
                    <a:pt x="99526" y="114644"/>
                    <a:pt x="94487" y="114644"/>
                    <a:pt x="89448" y="113384"/>
                  </a:cubicBezTo>
                  <a:cubicBezTo>
                    <a:pt x="84408" y="112124"/>
                    <a:pt x="80629" y="109605"/>
                    <a:pt x="76849" y="107085"/>
                  </a:cubicBezTo>
                  <a:cubicBezTo>
                    <a:pt x="74329" y="105825"/>
                    <a:pt x="71810" y="104565"/>
                    <a:pt x="70550" y="103306"/>
                  </a:cubicBezTo>
                  <a:cubicBezTo>
                    <a:pt x="68030" y="102046"/>
                    <a:pt x="66771" y="100786"/>
                    <a:pt x="64251" y="99526"/>
                  </a:cubicBezTo>
                  <a:cubicBezTo>
                    <a:pt x="61731" y="98266"/>
                    <a:pt x="60472" y="97007"/>
                    <a:pt x="57952" y="94487"/>
                  </a:cubicBezTo>
                  <a:cubicBezTo>
                    <a:pt x="55432" y="91967"/>
                    <a:pt x="52913" y="90707"/>
                    <a:pt x="51653" y="88188"/>
                  </a:cubicBezTo>
                  <a:cubicBezTo>
                    <a:pt x="47874" y="84408"/>
                    <a:pt x="44094" y="80629"/>
                    <a:pt x="40314" y="75589"/>
                  </a:cubicBezTo>
                  <a:cubicBezTo>
                    <a:pt x="34015" y="68031"/>
                    <a:pt x="28976" y="60472"/>
                    <a:pt x="23937" y="52913"/>
                  </a:cubicBezTo>
                  <a:cubicBezTo>
                    <a:pt x="22677" y="50393"/>
                    <a:pt x="21417" y="47873"/>
                    <a:pt x="21417" y="45354"/>
                  </a:cubicBezTo>
                  <a:cubicBezTo>
                    <a:pt x="20157" y="42834"/>
                    <a:pt x="20157" y="40315"/>
                    <a:pt x="18897" y="37795"/>
                  </a:cubicBezTo>
                  <a:cubicBezTo>
                    <a:pt x="17637" y="31496"/>
                    <a:pt x="17637" y="25196"/>
                    <a:pt x="18897" y="20157"/>
                  </a:cubicBezTo>
                  <a:cubicBezTo>
                    <a:pt x="18897" y="18897"/>
                    <a:pt x="18897" y="16378"/>
                    <a:pt x="20157" y="15118"/>
                  </a:cubicBezTo>
                  <a:cubicBezTo>
                    <a:pt x="21417" y="12598"/>
                    <a:pt x="21417" y="11339"/>
                    <a:pt x="21417" y="8819"/>
                  </a:cubicBezTo>
                  <a:cubicBezTo>
                    <a:pt x="22677" y="5039"/>
                    <a:pt x="18897" y="1260"/>
                    <a:pt x="15118" y="0"/>
                  </a:cubicBezTo>
                  <a:moveTo>
                    <a:pt x="133541" y="119683"/>
                  </a:moveTo>
                  <a:cubicBezTo>
                    <a:pt x="133541" y="119683"/>
                    <a:pt x="133541" y="119683"/>
                    <a:pt x="133541" y="119683"/>
                  </a:cubicBezTo>
                  <a:lnTo>
                    <a:pt x="133541" y="119683"/>
                  </a:lnTo>
                  <a:cubicBezTo>
                    <a:pt x="133541" y="119683"/>
                    <a:pt x="133541" y="119683"/>
                    <a:pt x="133541" y="119683"/>
                  </a:cubicBezTo>
                </a:path>
              </a:pathLst>
            </a:custGeom>
            <a:solidFill>
              <a:srgbClr val="001675"/>
            </a:solidFill>
            <a:ln w="12584" cap="flat">
              <a:noFill/>
              <a:prstDash val="solid"/>
              <a:miter/>
            </a:ln>
          </p:spPr>
          <p:txBody>
            <a:bodyPr rtlCol="0" anchor="ctr"/>
            <a:lstStyle/>
            <a:p>
              <a:endParaRPr lang="zh-CN" altLang="en-US"/>
            </a:p>
          </p:txBody>
        </p:sp>
        <p:sp>
          <p:nvSpPr>
            <p:cNvPr id="236" name="任意多边形: 形状 235"/>
            <p:cNvSpPr/>
            <p:nvPr/>
          </p:nvSpPr>
          <p:spPr>
            <a:xfrm>
              <a:off x="9871905" y="3407471"/>
              <a:ext cx="68643" cy="51482"/>
            </a:xfrm>
            <a:custGeom>
              <a:avLst/>
              <a:gdLst>
                <a:gd name="connsiteX0" fmla="*/ 12283 w 100785"/>
                <a:gd name="connsiteY0" fmla="*/ 0 h 75589"/>
                <a:gd name="connsiteX1" fmla="*/ 16063 w 100785"/>
                <a:gd name="connsiteY1" fmla="*/ 1260 h 75589"/>
                <a:gd name="connsiteX2" fmla="*/ 23622 w 100785"/>
                <a:gd name="connsiteY2" fmla="*/ 5039 h 75589"/>
                <a:gd name="connsiteX3" fmla="*/ 31181 w 100785"/>
                <a:gd name="connsiteY3" fmla="*/ 16378 h 75589"/>
                <a:gd name="connsiteX4" fmla="*/ 42519 w 100785"/>
                <a:gd name="connsiteY4" fmla="*/ 26456 h 75589"/>
                <a:gd name="connsiteX5" fmla="*/ 53858 w 100785"/>
                <a:gd name="connsiteY5" fmla="*/ 35275 h 75589"/>
                <a:gd name="connsiteX6" fmla="*/ 56377 w 100785"/>
                <a:gd name="connsiteY6" fmla="*/ 37795 h 75589"/>
                <a:gd name="connsiteX7" fmla="*/ 65196 w 100785"/>
                <a:gd name="connsiteY7" fmla="*/ 41574 h 75589"/>
                <a:gd name="connsiteX8" fmla="*/ 76534 w 100785"/>
                <a:gd name="connsiteY8" fmla="*/ 47873 h 75589"/>
                <a:gd name="connsiteX9" fmla="*/ 82833 w 100785"/>
                <a:gd name="connsiteY9" fmla="*/ 51653 h 75589"/>
                <a:gd name="connsiteX10" fmla="*/ 91652 w 100785"/>
                <a:gd name="connsiteY10" fmla="*/ 56692 h 75589"/>
                <a:gd name="connsiteX11" fmla="*/ 100471 w 100785"/>
                <a:gd name="connsiteY11" fmla="*/ 57952 h 75589"/>
                <a:gd name="connsiteX12" fmla="*/ 106770 w 100785"/>
                <a:gd name="connsiteY12" fmla="*/ 61731 h 75589"/>
                <a:gd name="connsiteX13" fmla="*/ 108030 w 100785"/>
                <a:gd name="connsiteY13" fmla="*/ 69290 h 75589"/>
                <a:gd name="connsiteX14" fmla="*/ 104251 w 100785"/>
                <a:gd name="connsiteY14" fmla="*/ 75589 h 75589"/>
                <a:gd name="connsiteX15" fmla="*/ 101731 w 100785"/>
                <a:gd name="connsiteY15" fmla="*/ 76849 h 75589"/>
                <a:gd name="connsiteX16" fmla="*/ 96692 w 100785"/>
                <a:gd name="connsiteY16" fmla="*/ 76849 h 75589"/>
                <a:gd name="connsiteX17" fmla="*/ 90392 w 100785"/>
                <a:gd name="connsiteY17" fmla="*/ 75589 h 75589"/>
                <a:gd name="connsiteX18" fmla="*/ 77794 w 100785"/>
                <a:gd name="connsiteY18" fmla="*/ 70550 h 75589"/>
                <a:gd name="connsiteX19" fmla="*/ 67715 w 100785"/>
                <a:gd name="connsiteY19" fmla="*/ 65511 h 75589"/>
                <a:gd name="connsiteX20" fmla="*/ 61416 w 100785"/>
                <a:gd name="connsiteY20" fmla="*/ 62991 h 75589"/>
                <a:gd name="connsiteX21" fmla="*/ 52598 w 100785"/>
                <a:gd name="connsiteY21" fmla="*/ 62991 h 75589"/>
                <a:gd name="connsiteX22" fmla="*/ 46299 w 100785"/>
                <a:gd name="connsiteY22" fmla="*/ 59212 h 75589"/>
                <a:gd name="connsiteX23" fmla="*/ 38740 w 100785"/>
                <a:gd name="connsiteY23" fmla="*/ 54172 h 75589"/>
                <a:gd name="connsiteX24" fmla="*/ 36220 w 100785"/>
                <a:gd name="connsiteY24" fmla="*/ 51653 h 75589"/>
                <a:gd name="connsiteX25" fmla="*/ 31181 w 100785"/>
                <a:gd name="connsiteY25" fmla="*/ 49133 h 75589"/>
                <a:gd name="connsiteX26" fmla="*/ 17322 w 100785"/>
                <a:gd name="connsiteY26" fmla="*/ 39054 h 75589"/>
                <a:gd name="connsiteX27" fmla="*/ 2205 w 100785"/>
                <a:gd name="connsiteY27" fmla="*/ 20157 h 75589"/>
                <a:gd name="connsiteX28" fmla="*/ 945 w 100785"/>
                <a:gd name="connsiteY28" fmla="*/ 17637 h 75589"/>
                <a:gd name="connsiteX29" fmla="*/ 945 w 100785"/>
                <a:gd name="connsiteY29" fmla="*/ 10078 h 75589"/>
                <a:gd name="connsiteX30" fmla="*/ 4724 w 100785"/>
                <a:gd name="connsiteY30" fmla="*/ 5039 h 75589"/>
                <a:gd name="connsiteX31" fmla="*/ 11023 w 100785"/>
                <a:gd name="connsiteY31" fmla="*/ 3779 h 75589"/>
                <a:gd name="connsiteX32" fmla="*/ 12283 w 100785"/>
                <a:gd name="connsiteY32" fmla="*/ 0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785" h="75589">
                  <a:moveTo>
                    <a:pt x="12283" y="0"/>
                  </a:moveTo>
                  <a:cubicBezTo>
                    <a:pt x="13543" y="0"/>
                    <a:pt x="14803" y="1260"/>
                    <a:pt x="16063" y="1260"/>
                  </a:cubicBezTo>
                  <a:cubicBezTo>
                    <a:pt x="18582" y="1260"/>
                    <a:pt x="22362" y="2520"/>
                    <a:pt x="23622" y="5039"/>
                  </a:cubicBezTo>
                  <a:cubicBezTo>
                    <a:pt x="26141" y="8819"/>
                    <a:pt x="28661" y="12598"/>
                    <a:pt x="31181" y="16378"/>
                  </a:cubicBezTo>
                  <a:cubicBezTo>
                    <a:pt x="34960" y="20157"/>
                    <a:pt x="38740" y="22677"/>
                    <a:pt x="42519" y="26456"/>
                  </a:cubicBezTo>
                  <a:cubicBezTo>
                    <a:pt x="46299" y="28976"/>
                    <a:pt x="50078" y="32755"/>
                    <a:pt x="53858" y="35275"/>
                  </a:cubicBezTo>
                  <a:cubicBezTo>
                    <a:pt x="55117" y="36535"/>
                    <a:pt x="56377" y="36535"/>
                    <a:pt x="56377" y="37795"/>
                  </a:cubicBezTo>
                  <a:cubicBezTo>
                    <a:pt x="58897" y="39054"/>
                    <a:pt x="62676" y="40314"/>
                    <a:pt x="65196" y="41574"/>
                  </a:cubicBezTo>
                  <a:cubicBezTo>
                    <a:pt x="68975" y="44094"/>
                    <a:pt x="72755" y="45354"/>
                    <a:pt x="76534" y="47873"/>
                  </a:cubicBezTo>
                  <a:cubicBezTo>
                    <a:pt x="79054" y="49133"/>
                    <a:pt x="80314" y="50393"/>
                    <a:pt x="82833" y="51653"/>
                  </a:cubicBezTo>
                  <a:cubicBezTo>
                    <a:pt x="85353" y="52913"/>
                    <a:pt x="89133" y="55432"/>
                    <a:pt x="91652" y="56692"/>
                  </a:cubicBezTo>
                  <a:cubicBezTo>
                    <a:pt x="94172" y="57952"/>
                    <a:pt x="96692" y="57952"/>
                    <a:pt x="100471" y="57952"/>
                  </a:cubicBezTo>
                  <a:cubicBezTo>
                    <a:pt x="102991" y="57952"/>
                    <a:pt x="105510" y="60471"/>
                    <a:pt x="106770" y="61731"/>
                  </a:cubicBezTo>
                  <a:cubicBezTo>
                    <a:pt x="108030" y="64251"/>
                    <a:pt x="108030" y="66770"/>
                    <a:pt x="108030" y="69290"/>
                  </a:cubicBezTo>
                  <a:cubicBezTo>
                    <a:pt x="108030" y="71810"/>
                    <a:pt x="105510" y="74330"/>
                    <a:pt x="104251" y="75589"/>
                  </a:cubicBezTo>
                  <a:cubicBezTo>
                    <a:pt x="102991" y="75589"/>
                    <a:pt x="102991" y="76849"/>
                    <a:pt x="101731" y="76849"/>
                  </a:cubicBezTo>
                  <a:cubicBezTo>
                    <a:pt x="100471" y="76849"/>
                    <a:pt x="97951" y="76849"/>
                    <a:pt x="96692" y="76849"/>
                  </a:cubicBezTo>
                  <a:cubicBezTo>
                    <a:pt x="94172" y="76849"/>
                    <a:pt x="92912" y="76849"/>
                    <a:pt x="90392" y="75589"/>
                  </a:cubicBezTo>
                  <a:cubicBezTo>
                    <a:pt x="85353" y="74330"/>
                    <a:pt x="81574" y="73070"/>
                    <a:pt x="77794" y="70550"/>
                  </a:cubicBezTo>
                  <a:cubicBezTo>
                    <a:pt x="74015" y="69290"/>
                    <a:pt x="71495" y="66770"/>
                    <a:pt x="67715" y="65511"/>
                  </a:cubicBezTo>
                  <a:cubicBezTo>
                    <a:pt x="65196" y="64251"/>
                    <a:pt x="63936" y="62991"/>
                    <a:pt x="61416" y="62991"/>
                  </a:cubicBezTo>
                  <a:cubicBezTo>
                    <a:pt x="58897" y="64251"/>
                    <a:pt x="56377" y="64251"/>
                    <a:pt x="52598" y="62991"/>
                  </a:cubicBezTo>
                  <a:cubicBezTo>
                    <a:pt x="50078" y="61731"/>
                    <a:pt x="48818" y="60471"/>
                    <a:pt x="46299" y="59212"/>
                  </a:cubicBezTo>
                  <a:cubicBezTo>
                    <a:pt x="43779" y="57952"/>
                    <a:pt x="41259" y="55432"/>
                    <a:pt x="38740" y="54172"/>
                  </a:cubicBezTo>
                  <a:cubicBezTo>
                    <a:pt x="37480" y="52913"/>
                    <a:pt x="37480" y="52913"/>
                    <a:pt x="36220" y="51653"/>
                  </a:cubicBezTo>
                  <a:cubicBezTo>
                    <a:pt x="33700" y="50393"/>
                    <a:pt x="32441" y="49133"/>
                    <a:pt x="31181" y="49133"/>
                  </a:cubicBezTo>
                  <a:cubicBezTo>
                    <a:pt x="26141" y="46613"/>
                    <a:pt x="21102" y="42834"/>
                    <a:pt x="17322" y="39054"/>
                  </a:cubicBezTo>
                  <a:cubicBezTo>
                    <a:pt x="11023" y="34015"/>
                    <a:pt x="5984" y="27716"/>
                    <a:pt x="2205" y="20157"/>
                  </a:cubicBezTo>
                  <a:cubicBezTo>
                    <a:pt x="2205" y="18897"/>
                    <a:pt x="945" y="17637"/>
                    <a:pt x="945" y="17637"/>
                  </a:cubicBezTo>
                  <a:cubicBezTo>
                    <a:pt x="-315" y="15118"/>
                    <a:pt x="-315" y="12598"/>
                    <a:pt x="945" y="10078"/>
                  </a:cubicBezTo>
                  <a:cubicBezTo>
                    <a:pt x="945" y="7559"/>
                    <a:pt x="3465" y="6299"/>
                    <a:pt x="4724" y="5039"/>
                  </a:cubicBezTo>
                  <a:cubicBezTo>
                    <a:pt x="5984" y="3779"/>
                    <a:pt x="8504" y="3779"/>
                    <a:pt x="11023" y="3779"/>
                  </a:cubicBezTo>
                  <a:cubicBezTo>
                    <a:pt x="11023" y="0"/>
                    <a:pt x="12283" y="0"/>
                    <a:pt x="12283" y="0"/>
                  </a:cubicBezTo>
                </a:path>
              </a:pathLst>
            </a:custGeom>
            <a:solidFill>
              <a:srgbClr val="001675"/>
            </a:solidFill>
            <a:ln w="12584" cap="flat">
              <a:noFill/>
              <a:prstDash val="solid"/>
              <a:miter/>
            </a:ln>
          </p:spPr>
          <p:txBody>
            <a:bodyPr rtlCol="0" anchor="ctr"/>
            <a:lstStyle/>
            <a:p>
              <a:endParaRPr lang="zh-CN" altLang="en-US"/>
            </a:p>
          </p:txBody>
        </p:sp>
        <p:sp>
          <p:nvSpPr>
            <p:cNvPr id="237" name="任意多边形: 形状 236"/>
            <p:cNvSpPr/>
            <p:nvPr/>
          </p:nvSpPr>
          <p:spPr>
            <a:xfrm>
              <a:off x="9490723" y="3601387"/>
              <a:ext cx="660687" cy="531981"/>
            </a:xfrm>
            <a:custGeom>
              <a:avLst/>
              <a:gdLst>
                <a:gd name="connsiteX0" fmla="*/ 151179 w 970063"/>
                <a:gd name="connsiteY0" fmla="*/ 12598 h 781090"/>
                <a:gd name="connsiteX1" fmla="*/ 157478 w 970063"/>
                <a:gd name="connsiteY1" fmla="*/ 22677 h 781090"/>
                <a:gd name="connsiteX2" fmla="*/ 166297 w 970063"/>
                <a:gd name="connsiteY2" fmla="*/ 30236 h 781090"/>
                <a:gd name="connsiteX3" fmla="*/ 173855 w 970063"/>
                <a:gd name="connsiteY3" fmla="*/ 35275 h 781090"/>
                <a:gd name="connsiteX4" fmla="*/ 185194 w 970063"/>
                <a:gd name="connsiteY4" fmla="*/ 40314 h 781090"/>
                <a:gd name="connsiteX5" fmla="*/ 194013 w 970063"/>
                <a:gd name="connsiteY5" fmla="*/ 44094 h 781090"/>
                <a:gd name="connsiteX6" fmla="*/ 204092 w 970063"/>
                <a:gd name="connsiteY6" fmla="*/ 47873 h 781090"/>
                <a:gd name="connsiteX7" fmla="*/ 205351 w 970063"/>
                <a:gd name="connsiteY7" fmla="*/ 47873 h 781090"/>
                <a:gd name="connsiteX8" fmla="*/ 205351 w 970063"/>
                <a:gd name="connsiteY8" fmla="*/ 47873 h 781090"/>
                <a:gd name="connsiteX9" fmla="*/ 216690 w 970063"/>
                <a:gd name="connsiteY9" fmla="*/ 55432 h 781090"/>
                <a:gd name="connsiteX10" fmla="*/ 225508 w 970063"/>
                <a:gd name="connsiteY10" fmla="*/ 60472 h 781090"/>
                <a:gd name="connsiteX11" fmla="*/ 229288 w 970063"/>
                <a:gd name="connsiteY11" fmla="*/ 62991 h 781090"/>
                <a:gd name="connsiteX12" fmla="*/ 234327 w 970063"/>
                <a:gd name="connsiteY12" fmla="*/ 65511 h 781090"/>
                <a:gd name="connsiteX13" fmla="*/ 255744 w 970063"/>
                <a:gd name="connsiteY13" fmla="*/ 75589 h 781090"/>
                <a:gd name="connsiteX14" fmla="*/ 272122 w 970063"/>
                <a:gd name="connsiteY14" fmla="*/ 80629 h 781090"/>
                <a:gd name="connsiteX15" fmla="*/ 287240 w 970063"/>
                <a:gd name="connsiteY15" fmla="*/ 83148 h 781090"/>
                <a:gd name="connsiteX16" fmla="*/ 288499 w 970063"/>
                <a:gd name="connsiteY16" fmla="*/ 83148 h 781090"/>
                <a:gd name="connsiteX17" fmla="*/ 294799 w 970063"/>
                <a:gd name="connsiteY17" fmla="*/ 84408 h 781090"/>
                <a:gd name="connsiteX18" fmla="*/ 301098 w 970063"/>
                <a:gd name="connsiteY18" fmla="*/ 85668 h 781090"/>
                <a:gd name="connsiteX19" fmla="*/ 302358 w 970063"/>
                <a:gd name="connsiteY19" fmla="*/ 85668 h 781090"/>
                <a:gd name="connsiteX20" fmla="*/ 304877 w 970063"/>
                <a:gd name="connsiteY20" fmla="*/ 85668 h 781090"/>
                <a:gd name="connsiteX21" fmla="*/ 312436 w 970063"/>
                <a:gd name="connsiteY21" fmla="*/ 88188 h 781090"/>
                <a:gd name="connsiteX22" fmla="*/ 309917 w 970063"/>
                <a:gd name="connsiteY22" fmla="*/ 86928 h 781090"/>
                <a:gd name="connsiteX23" fmla="*/ 323775 w 970063"/>
                <a:gd name="connsiteY23" fmla="*/ 91967 h 781090"/>
                <a:gd name="connsiteX24" fmla="*/ 330074 w 970063"/>
                <a:gd name="connsiteY24" fmla="*/ 93227 h 781090"/>
                <a:gd name="connsiteX25" fmla="*/ 336373 w 970063"/>
                <a:gd name="connsiteY25" fmla="*/ 94487 h 781090"/>
                <a:gd name="connsiteX26" fmla="*/ 343932 w 970063"/>
                <a:gd name="connsiteY26" fmla="*/ 95747 h 781090"/>
                <a:gd name="connsiteX27" fmla="*/ 354010 w 970063"/>
                <a:gd name="connsiteY27" fmla="*/ 98266 h 781090"/>
                <a:gd name="connsiteX28" fmla="*/ 362829 w 970063"/>
                <a:gd name="connsiteY28" fmla="*/ 100786 h 781090"/>
                <a:gd name="connsiteX29" fmla="*/ 371648 w 970063"/>
                <a:gd name="connsiteY29" fmla="*/ 103305 h 781090"/>
                <a:gd name="connsiteX30" fmla="*/ 379207 w 970063"/>
                <a:gd name="connsiteY30" fmla="*/ 103305 h 781090"/>
                <a:gd name="connsiteX31" fmla="*/ 384246 w 970063"/>
                <a:gd name="connsiteY31" fmla="*/ 103305 h 781090"/>
                <a:gd name="connsiteX32" fmla="*/ 394325 w 970063"/>
                <a:gd name="connsiteY32" fmla="*/ 103305 h 781090"/>
                <a:gd name="connsiteX33" fmla="*/ 415742 w 970063"/>
                <a:gd name="connsiteY33" fmla="*/ 99526 h 781090"/>
                <a:gd name="connsiteX34" fmla="*/ 419521 w 970063"/>
                <a:gd name="connsiteY34" fmla="*/ 98266 h 781090"/>
                <a:gd name="connsiteX35" fmla="*/ 430860 w 970063"/>
                <a:gd name="connsiteY35" fmla="*/ 95747 h 781090"/>
                <a:gd name="connsiteX36" fmla="*/ 439678 w 970063"/>
                <a:gd name="connsiteY36" fmla="*/ 93227 h 781090"/>
                <a:gd name="connsiteX37" fmla="*/ 458576 w 970063"/>
                <a:gd name="connsiteY37" fmla="*/ 86928 h 781090"/>
                <a:gd name="connsiteX38" fmla="*/ 467395 w 970063"/>
                <a:gd name="connsiteY38" fmla="*/ 84408 h 781090"/>
                <a:gd name="connsiteX39" fmla="*/ 474954 w 970063"/>
                <a:gd name="connsiteY39" fmla="*/ 81889 h 781090"/>
                <a:gd name="connsiteX40" fmla="*/ 482512 w 970063"/>
                <a:gd name="connsiteY40" fmla="*/ 78109 h 781090"/>
                <a:gd name="connsiteX41" fmla="*/ 486292 w 970063"/>
                <a:gd name="connsiteY41" fmla="*/ 75589 h 781090"/>
                <a:gd name="connsiteX42" fmla="*/ 486292 w 970063"/>
                <a:gd name="connsiteY42" fmla="*/ 75589 h 781090"/>
                <a:gd name="connsiteX43" fmla="*/ 486292 w 970063"/>
                <a:gd name="connsiteY43" fmla="*/ 75589 h 781090"/>
                <a:gd name="connsiteX44" fmla="*/ 487552 w 970063"/>
                <a:gd name="connsiteY44" fmla="*/ 83148 h 781090"/>
                <a:gd name="connsiteX45" fmla="*/ 490071 w 970063"/>
                <a:gd name="connsiteY45" fmla="*/ 90707 h 781090"/>
                <a:gd name="connsiteX46" fmla="*/ 492591 w 970063"/>
                <a:gd name="connsiteY46" fmla="*/ 97006 h 781090"/>
                <a:gd name="connsiteX47" fmla="*/ 497630 w 970063"/>
                <a:gd name="connsiteY47" fmla="*/ 103305 h 781090"/>
                <a:gd name="connsiteX48" fmla="*/ 503929 w 970063"/>
                <a:gd name="connsiteY48" fmla="*/ 108345 h 781090"/>
                <a:gd name="connsiteX49" fmla="*/ 516528 w 970063"/>
                <a:gd name="connsiteY49" fmla="*/ 114644 h 781090"/>
                <a:gd name="connsiteX50" fmla="*/ 524087 w 970063"/>
                <a:gd name="connsiteY50" fmla="*/ 117164 h 781090"/>
                <a:gd name="connsiteX51" fmla="*/ 531646 w 970063"/>
                <a:gd name="connsiteY51" fmla="*/ 118424 h 781090"/>
                <a:gd name="connsiteX52" fmla="*/ 532905 w 970063"/>
                <a:gd name="connsiteY52" fmla="*/ 118424 h 781090"/>
                <a:gd name="connsiteX53" fmla="*/ 541724 w 970063"/>
                <a:gd name="connsiteY53" fmla="*/ 118424 h 781090"/>
                <a:gd name="connsiteX54" fmla="*/ 551802 w 970063"/>
                <a:gd name="connsiteY54" fmla="*/ 118424 h 781090"/>
                <a:gd name="connsiteX55" fmla="*/ 569440 w 970063"/>
                <a:gd name="connsiteY55" fmla="*/ 113384 h 781090"/>
                <a:gd name="connsiteX56" fmla="*/ 575739 w 970063"/>
                <a:gd name="connsiteY56" fmla="*/ 109605 h 781090"/>
                <a:gd name="connsiteX57" fmla="*/ 576999 w 970063"/>
                <a:gd name="connsiteY57" fmla="*/ 108345 h 781090"/>
                <a:gd name="connsiteX58" fmla="*/ 585818 w 970063"/>
                <a:gd name="connsiteY58" fmla="*/ 103305 h 781090"/>
                <a:gd name="connsiteX59" fmla="*/ 598416 w 970063"/>
                <a:gd name="connsiteY59" fmla="*/ 90707 h 781090"/>
                <a:gd name="connsiteX60" fmla="*/ 603455 w 970063"/>
                <a:gd name="connsiteY60" fmla="*/ 84408 h 781090"/>
                <a:gd name="connsiteX61" fmla="*/ 607235 w 970063"/>
                <a:gd name="connsiteY61" fmla="*/ 75589 h 781090"/>
                <a:gd name="connsiteX62" fmla="*/ 608494 w 970063"/>
                <a:gd name="connsiteY62" fmla="*/ 71810 h 781090"/>
                <a:gd name="connsiteX63" fmla="*/ 608494 w 970063"/>
                <a:gd name="connsiteY63" fmla="*/ 70550 h 781090"/>
                <a:gd name="connsiteX64" fmla="*/ 608494 w 970063"/>
                <a:gd name="connsiteY64" fmla="*/ 66771 h 781090"/>
                <a:gd name="connsiteX65" fmla="*/ 608494 w 970063"/>
                <a:gd name="connsiteY65" fmla="*/ 62991 h 781090"/>
                <a:gd name="connsiteX66" fmla="*/ 608494 w 970063"/>
                <a:gd name="connsiteY66" fmla="*/ 62991 h 781090"/>
                <a:gd name="connsiteX67" fmla="*/ 608494 w 970063"/>
                <a:gd name="connsiteY67" fmla="*/ 62991 h 781090"/>
                <a:gd name="connsiteX68" fmla="*/ 612274 w 970063"/>
                <a:gd name="connsiteY68" fmla="*/ 64251 h 781090"/>
                <a:gd name="connsiteX69" fmla="*/ 612274 w 970063"/>
                <a:gd name="connsiteY69" fmla="*/ 64251 h 781090"/>
                <a:gd name="connsiteX70" fmla="*/ 613534 w 970063"/>
                <a:gd name="connsiteY70" fmla="*/ 64251 h 781090"/>
                <a:gd name="connsiteX71" fmla="*/ 614794 w 970063"/>
                <a:gd name="connsiteY71" fmla="*/ 64251 h 781090"/>
                <a:gd name="connsiteX72" fmla="*/ 616054 w 970063"/>
                <a:gd name="connsiteY72" fmla="*/ 64251 h 781090"/>
                <a:gd name="connsiteX73" fmla="*/ 626132 w 970063"/>
                <a:gd name="connsiteY73" fmla="*/ 66771 h 781090"/>
                <a:gd name="connsiteX74" fmla="*/ 629912 w 970063"/>
                <a:gd name="connsiteY74" fmla="*/ 68031 h 781090"/>
                <a:gd name="connsiteX75" fmla="*/ 631172 w 970063"/>
                <a:gd name="connsiteY75" fmla="*/ 68031 h 781090"/>
                <a:gd name="connsiteX76" fmla="*/ 632431 w 970063"/>
                <a:gd name="connsiteY76" fmla="*/ 68031 h 781090"/>
                <a:gd name="connsiteX77" fmla="*/ 633691 w 970063"/>
                <a:gd name="connsiteY77" fmla="*/ 68031 h 781090"/>
                <a:gd name="connsiteX78" fmla="*/ 639990 w 970063"/>
                <a:gd name="connsiteY78" fmla="*/ 69290 h 781090"/>
                <a:gd name="connsiteX79" fmla="*/ 643770 w 970063"/>
                <a:gd name="connsiteY79" fmla="*/ 69290 h 781090"/>
                <a:gd name="connsiteX80" fmla="*/ 656368 w 970063"/>
                <a:gd name="connsiteY80" fmla="*/ 71810 h 781090"/>
                <a:gd name="connsiteX81" fmla="*/ 668966 w 970063"/>
                <a:gd name="connsiteY81" fmla="*/ 75589 h 781090"/>
                <a:gd name="connsiteX82" fmla="*/ 670226 w 970063"/>
                <a:gd name="connsiteY82" fmla="*/ 75589 h 781090"/>
                <a:gd name="connsiteX83" fmla="*/ 680305 w 970063"/>
                <a:gd name="connsiteY83" fmla="*/ 78109 h 781090"/>
                <a:gd name="connsiteX84" fmla="*/ 702981 w 970063"/>
                <a:gd name="connsiteY84" fmla="*/ 86928 h 781090"/>
                <a:gd name="connsiteX85" fmla="*/ 714320 w 970063"/>
                <a:gd name="connsiteY85" fmla="*/ 93227 h 781090"/>
                <a:gd name="connsiteX86" fmla="*/ 714320 w 970063"/>
                <a:gd name="connsiteY86" fmla="*/ 93227 h 781090"/>
                <a:gd name="connsiteX87" fmla="*/ 721879 w 970063"/>
                <a:gd name="connsiteY87" fmla="*/ 97006 h 781090"/>
                <a:gd name="connsiteX88" fmla="*/ 740776 w 970063"/>
                <a:gd name="connsiteY88" fmla="*/ 107085 h 781090"/>
                <a:gd name="connsiteX89" fmla="*/ 750855 w 970063"/>
                <a:gd name="connsiteY89" fmla="*/ 114644 h 781090"/>
                <a:gd name="connsiteX90" fmla="*/ 758414 w 970063"/>
                <a:gd name="connsiteY90" fmla="*/ 122203 h 781090"/>
                <a:gd name="connsiteX91" fmla="*/ 772272 w 970063"/>
                <a:gd name="connsiteY91" fmla="*/ 137321 h 781090"/>
                <a:gd name="connsiteX92" fmla="*/ 777311 w 970063"/>
                <a:gd name="connsiteY92" fmla="*/ 143620 h 781090"/>
                <a:gd name="connsiteX93" fmla="*/ 783610 w 970063"/>
                <a:gd name="connsiteY93" fmla="*/ 149919 h 781090"/>
                <a:gd name="connsiteX94" fmla="*/ 791169 w 970063"/>
                <a:gd name="connsiteY94" fmla="*/ 157478 h 781090"/>
                <a:gd name="connsiteX95" fmla="*/ 796208 w 970063"/>
                <a:gd name="connsiteY95" fmla="*/ 165037 h 781090"/>
                <a:gd name="connsiteX96" fmla="*/ 808807 w 970063"/>
                <a:gd name="connsiteY96" fmla="*/ 178895 h 781090"/>
                <a:gd name="connsiteX97" fmla="*/ 812586 w 970063"/>
                <a:gd name="connsiteY97" fmla="*/ 183934 h 781090"/>
                <a:gd name="connsiteX98" fmla="*/ 813846 w 970063"/>
                <a:gd name="connsiteY98" fmla="*/ 185194 h 781090"/>
                <a:gd name="connsiteX99" fmla="*/ 815106 w 970063"/>
                <a:gd name="connsiteY99" fmla="*/ 186454 h 781090"/>
                <a:gd name="connsiteX100" fmla="*/ 816365 w 970063"/>
                <a:gd name="connsiteY100" fmla="*/ 187714 h 781090"/>
                <a:gd name="connsiteX101" fmla="*/ 822664 w 970063"/>
                <a:gd name="connsiteY101" fmla="*/ 195273 h 781090"/>
                <a:gd name="connsiteX102" fmla="*/ 834003 w 970063"/>
                <a:gd name="connsiteY102" fmla="*/ 206611 h 781090"/>
                <a:gd name="connsiteX103" fmla="*/ 834003 w 970063"/>
                <a:gd name="connsiteY103" fmla="*/ 206611 h 781090"/>
                <a:gd name="connsiteX104" fmla="*/ 836523 w 970063"/>
                <a:gd name="connsiteY104" fmla="*/ 209131 h 781090"/>
                <a:gd name="connsiteX105" fmla="*/ 837782 w 970063"/>
                <a:gd name="connsiteY105" fmla="*/ 210390 h 781090"/>
                <a:gd name="connsiteX106" fmla="*/ 846601 w 970063"/>
                <a:gd name="connsiteY106" fmla="*/ 220469 h 781090"/>
                <a:gd name="connsiteX107" fmla="*/ 851641 w 970063"/>
                <a:gd name="connsiteY107" fmla="*/ 226768 h 781090"/>
                <a:gd name="connsiteX108" fmla="*/ 861719 w 970063"/>
                <a:gd name="connsiteY108" fmla="*/ 239366 h 781090"/>
                <a:gd name="connsiteX109" fmla="*/ 861719 w 970063"/>
                <a:gd name="connsiteY109" fmla="*/ 239366 h 781090"/>
                <a:gd name="connsiteX110" fmla="*/ 861719 w 970063"/>
                <a:gd name="connsiteY110" fmla="*/ 239366 h 781090"/>
                <a:gd name="connsiteX111" fmla="*/ 865499 w 970063"/>
                <a:gd name="connsiteY111" fmla="*/ 243146 h 781090"/>
                <a:gd name="connsiteX112" fmla="*/ 869278 w 970063"/>
                <a:gd name="connsiteY112" fmla="*/ 246925 h 781090"/>
                <a:gd name="connsiteX113" fmla="*/ 869278 w 970063"/>
                <a:gd name="connsiteY113" fmla="*/ 246925 h 781090"/>
                <a:gd name="connsiteX114" fmla="*/ 869278 w 970063"/>
                <a:gd name="connsiteY114" fmla="*/ 246925 h 781090"/>
                <a:gd name="connsiteX115" fmla="*/ 869278 w 970063"/>
                <a:gd name="connsiteY115" fmla="*/ 246925 h 781090"/>
                <a:gd name="connsiteX116" fmla="*/ 878097 w 970063"/>
                <a:gd name="connsiteY116" fmla="*/ 258264 h 781090"/>
                <a:gd name="connsiteX117" fmla="*/ 888175 w 970063"/>
                <a:gd name="connsiteY117" fmla="*/ 273382 h 781090"/>
                <a:gd name="connsiteX118" fmla="*/ 889435 w 970063"/>
                <a:gd name="connsiteY118" fmla="*/ 274642 h 781090"/>
                <a:gd name="connsiteX119" fmla="*/ 889435 w 970063"/>
                <a:gd name="connsiteY119" fmla="*/ 275901 h 781090"/>
                <a:gd name="connsiteX120" fmla="*/ 890695 w 970063"/>
                <a:gd name="connsiteY120" fmla="*/ 278421 h 781090"/>
                <a:gd name="connsiteX121" fmla="*/ 902034 w 970063"/>
                <a:gd name="connsiteY121" fmla="*/ 294799 h 781090"/>
                <a:gd name="connsiteX122" fmla="*/ 902034 w 970063"/>
                <a:gd name="connsiteY122" fmla="*/ 296058 h 781090"/>
                <a:gd name="connsiteX123" fmla="*/ 903293 w 970063"/>
                <a:gd name="connsiteY123" fmla="*/ 297318 h 781090"/>
                <a:gd name="connsiteX124" fmla="*/ 908333 w 970063"/>
                <a:gd name="connsiteY124" fmla="*/ 306137 h 781090"/>
                <a:gd name="connsiteX125" fmla="*/ 912112 w 970063"/>
                <a:gd name="connsiteY125" fmla="*/ 311176 h 781090"/>
                <a:gd name="connsiteX126" fmla="*/ 912112 w 970063"/>
                <a:gd name="connsiteY126" fmla="*/ 311176 h 781090"/>
                <a:gd name="connsiteX127" fmla="*/ 914632 w 970063"/>
                <a:gd name="connsiteY127" fmla="*/ 314956 h 781090"/>
                <a:gd name="connsiteX128" fmla="*/ 925970 w 970063"/>
                <a:gd name="connsiteY128" fmla="*/ 332593 h 781090"/>
                <a:gd name="connsiteX129" fmla="*/ 943608 w 970063"/>
                <a:gd name="connsiteY129" fmla="*/ 362829 h 781090"/>
                <a:gd name="connsiteX130" fmla="*/ 947387 w 970063"/>
                <a:gd name="connsiteY130" fmla="*/ 369128 h 781090"/>
                <a:gd name="connsiteX131" fmla="*/ 948647 w 970063"/>
                <a:gd name="connsiteY131" fmla="*/ 371648 h 781090"/>
                <a:gd name="connsiteX132" fmla="*/ 948647 w 970063"/>
                <a:gd name="connsiteY132" fmla="*/ 371648 h 781090"/>
                <a:gd name="connsiteX133" fmla="*/ 948647 w 970063"/>
                <a:gd name="connsiteY133" fmla="*/ 371648 h 781090"/>
                <a:gd name="connsiteX134" fmla="*/ 956206 w 970063"/>
                <a:gd name="connsiteY134" fmla="*/ 385506 h 781090"/>
                <a:gd name="connsiteX135" fmla="*/ 957466 w 970063"/>
                <a:gd name="connsiteY135" fmla="*/ 388026 h 781090"/>
                <a:gd name="connsiteX136" fmla="*/ 957466 w 970063"/>
                <a:gd name="connsiteY136" fmla="*/ 388026 h 781090"/>
                <a:gd name="connsiteX137" fmla="*/ 957466 w 970063"/>
                <a:gd name="connsiteY137" fmla="*/ 388026 h 781090"/>
                <a:gd name="connsiteX138" fmla="*/ 959985 w 970063"/>
                <a:gd name="connsiteY138" fmla="*/ 393065 h 781090"/>
                <a:gd name="connsiteX139" fmla="*/ 963765 w 970063"/>
                <a:gd name="connsiteY139" fmla="*/ 403143 h 781090"/>
                <a:gd name="connsiteX140" fmla="*/ 963765 w 970063"/>
                <a:gd name="connsiteY140" fmla="*/ 403143 h 781090"/>
                <a:gd name="connsiteX141" fmla="*/ 966285 w 970063"/>
                <a:gd name="connsiteY141" fmla="*/ 411962 h 781090"/>
                <a:gd name="connsiteX142" fmla="*/ 968804 w 970063"/>
                <a:gd name="connsiteY142" fmla="*/ 420781 h 781090"/>
                <a:gd name="connsiteX143" fmla="*/ 971324 w 970063"/>
                <a:gd name="connsiteY143" fmla="*/ 442198 h 781090"/>
                <a:gd name="connsiteX144" fmla="*/ 968804 w 970063"/>
                <a:gd name="connsiteY144" fmla="*/ 462355 h 781090"/>
                <a:gd name="connsiteX145" fmla="*/ 966285 w 970063"/>
                <a:gd name="connsiteY145" fmla="*/ 473694 h 781090"/>
                <a:gd name="connsiteX146" fmla="*/ 961245 w 970063"/>
                <a:gd name="connsiteY146" fmla="*/ 483772 h 781090"/>
                <a:gd name="connsiteX147" fmla="*/ 958726 w 970063"/>
                <a:gd name="connsiteY147" fmla="*/ 486292 h 781090"/>
                <a:gd name="connsiteX148" fmla="*/ 958726 w 970063"/>
                <a:gd name="connsiteY148" fmla="*/ 486292 h 781090"/>
                <a:gd name="connsiteX149" fmla="*/ 959985 w 970063"/>
                <a:gd name="connsiteY149" fmla="*/ 467395 h 781090"/>
                <a:gd name="connsiteX150" fmla="*/ 959985 w 970063"/>
                <a:gd name="connsiteY150" fmla="*/ 448497 h 781090"/>
                <a:gd name="connsiteX151" fmla="*/ 958726 w 970063"/>
                <a:gd name="connsiteY151" fmla="*/ 440938 h 781090"/>
                <a:gd name="connsiteX152" fmla="*/ 958726 w 970063"/>
                <a:gd name="connsiteY152" fmla="*/ 440938 h 781090"/>
                <a:gd name="connsiteX153" fmla="*/ 958726 w 970063"/>
                <a:gd name="connsiteY153" fmla="*/ 440938 h 781090"/>
                <a:gd name="connsiteX154" fmla="*/ 956206 w 970063"/>
                <a:gd name="connsiteY154" fmla="*/ 430860 h 781090"/>
                <a:gd name="connsiteX155" fmla="*/ 951167 w 970063"/>
                <a:gd name="connsiteY155" fmla="*/ 419521 h 781090"/>
                <a:gd name="connsiteX156" fmla="*/ 947387 w 970063"/>
                <a:gd name="connsiteY156" fmla="*/ 415742 h 781090"/>
                <a:gd name="connsiteX157" fmla="*/ 939828 w 970063"/>
                <a:gd name="connsiteY157" fmla="*/ 411962 h 781090"/>
                <a:gd name="connsiteX158" fmla="*/ 938568 w 970063"/>
                <a:gd name="connsiteY158" fmla="*/ 410702 h 781090"/>
                <a:gd name="connsiteX159" fmla="*/ 931009 w 970063"/>
                <a:gd name="connsiteY159" fmla="*/ 406923 h 781090"/>
                <a:gd name="connsiteX160" fmla="*/ 924710 w 970063"/>
                <a:gd name="connsiteY160" fmla="*/ 405663 h 781090"/>
                <a:gd name="connsiteX161" fmla="*/ 923450 w 970063"/>
                <a:gd name="connsiteY161" fmla="*/ 405663 h 781090"/>
                <a:gd name="connsiteX162" fmla="*/ 912112 w 970063"/>
                <a:gd name="connsiteY162" fmla="*/ 405663 h 781090"/>
                <a:gd name="connsiteX163" fmla="*/ 899514 w 970063"/>
                <a:gd name="connsiteY163" fmla="*/ 406923 h 781090"/>
                <a:gd name="connsiteX164" fmla="*/ 878097 w 970063"/>
                <a:gd name="connsiteY164" fmla="*/ 413222 h 781090"/>
                <a:gd name="connsiteX165" fmla="*/ 860459 w 970063"/>
                <a:gd name="connsiteY165" fmla="*/ 422041 h 781090"/>
                <a:gd name="connsiteX166" fmla="*/ 854160 w 970063"/>
                <a:gd name="connsiteY166" fmla="*/ 425820 h 781090"/>
                <a:gd name="connsiteX167" fmla="*/ 854160 w 970063"/>
                <a:gd name="connsiteY167" fmla="*/ 425820 h 781090"/>
                <a:gd name="connsiteX168" fmla="*/ 850381 w 970063"/>
                <a:gd name="connsiteY168" fmla="*/ 428340 h 781090"/>
                <a:gd name="connsiteX169" fmla="*/ 841562 w 970063"/>
                <a:gd name="connsiteY169" fmla="*/ 433379 h 781090"/>
                <a:gd name="connsiteX170" fmla="*/ 836523 w 970063"/>
                <a:gd name="connsiteY170" fmla="*/ 437159 h 781090"/>
                <a:gd name="connsiteX171" fmla="*/ 831483 w 970063"/>
                <a:gd name="connsiteY171" fmla="*/ 440938 h 781090"/>
                <a:gd name="connsiteX172" fmla="*/ 820145 w 970063"/>
                <a:gd name="connsiteY172" fmla="*/ 449757 h 781090"/>
                <a:gd name="connsiteX173" fmla="*/ 820145 w 970063"/>
                <a:gd name="connsiteY173" fmla="*/ 449757 h 781090"/>
                <a:gd name="connsiteX174" fmla="*/ 820145 w 970063"/>
                <a:gd name="connsiteY174" fmla="*/ 449757 h 781090"/>
                <a:gd name="connsiteX175" fmla="*/ 820145 w 970063"/>
                <a:gd name="connsiteY175" fmla="*/ 449757 h 781090"/>
                <a:gd name="connsiteX176" fmla="*/ 820145 w 970063"/>
                <a:gd name="connsiteY176" fmla="*/ 449757 h 781090"/>
                <a:gd name="connsiteX177" fmla="*/ 820145 w 970063"/>
                <a:gd name="connsiteY177" fmla="*/ 449757 h 781090"/>
                <a:gd name="connsiteX178" fmla="*/ 820145 w 970063"/>
                <a:gd name="connsiteY178" fmla="*/ 449757 h 781090"/>
                <a:gd name="connsiteX179" fmla="*/ 821405 w 970063"/>
                <a:gd name="connsiteY179" fmla="*/ 449757 h 781090"/>
                <a:gd name="connsiteX180" fmla="*/ 821405 w 970063"/>
                <a:gd name="connsiteY180" fmla="*/ 449757 h 781090"/>
                <a:gd name="connsiteX181" fmla="*/ 817625 w 970063"/>
                <a:gd name="connsiteY181" fmla="*/ 452277 h 781090"/>
                <a:gd name="connsiteX182" fmla="*/ 817625 w 970063"/>
                <a:gd name="connsiteY182" fmla="*/ 452277 h 781090"/>
                <a:gd name="connsiteX183" fmla="*/ 817625 w 970063"/>
                <a:gd name="connsiteY183" fmla="*/ 452277 h 781090"/>
                <a:gd name="connsiteX184" fmla="*/ 817625 w 970063"/>
                <a:gd name="connsiteY184" fmla="*/ 452277 h 781090"/>
                <a:gd name="connsiteX185" fmla="*/ 817625 w 970063"/>
                <a:gd name="connsiteY185" fmla="*/ 452277 h 781090"/>
                <a:gd name="connsiteX186" fmla="*/ 817625 w 970063"/>
                <a:gd name="connsiteY186" fmla="*/ 452277 h 781090"/>
                <a:gd name="connsiteX187" fmla="*/ 816365 w 970063"/>
                <a:gd name="connsiteY187" fmla="*/ 451017 h 781090"/>
                <a:gd name="connsiteX188" fmla="*/ 815106 w 970063"/>
                <a:gd name="connsiteY188" fmla="*/ 449757 h 781090"/>
                <a:gd name="connsiteX189" fmla="*/ 811326 w 970063"/>
                <a:gd name="connsiteY189" fmla="*/ 443458 h 781090"/>
                <a:gd name="connsiteX190" fmla="*/ 799988 w 970063"/>
                <a:gd name="connsiteY190" fmla="*/ 425820 h 781090"/>
                <a:gd name="connsiteX191" fmla="*/ 789909 w 970063"/>
                <a:gd name="connsiteY191" fmla="*/ 410702 h 781090"/>
                <a:gd name="connsiteX192" fmla="*/ 789909 w 970063"/>
                <a:gd name="connsiteY192" fmla="*/ 409443 h 781090"/>
                <a:gd name="connsiteX193" fmla="*/ 789909 w 970063"/>
                <a:gd name="connsiteY193" fmla="*/ 409443 h 781090"/>
                <a:gd name="connsiteX194" fmla="*/ 777311 w 970063"/>
                <a:gd name="connsiteY194" fmla="*/ 389286 h 781090"/>
                <a:gd name="connsiteX195" fmla="*/ 769752 w 970063"/>
                <a:gd name="connsiteY195" fmla="*/ 376687 h 781090"/>
                <a:gd name="connsiteX196" fmla="*/ 769752 w 970063"/>
                <a:gd name="connsiteY196" fmla="*/ 376687 h 781090"/>
                <a:gd name="connsiteX197" fmla="*/ 768492 w 970063"/>
                <a:gd name="connsiteY197" fmla="*/ 375427 h 781090"/>
                <a:gd name="connsiteX198" fmla="*/ 765972 w 970063"/>
                <a:gd name="connsiteY198" fmla="*/ 371648 h 781090"/>
                <a:gd name="connsiteX199" fmla="*/ 765972 w 970063"/>
                <a:gd name="connsiteY199" fmla="*/ 370388 h 781090"/>
                <a:gd name="connsiteX200" fmla="*/ 760933 w 970063"/>
                <a:gd name="connsiteY200" fmla="*/ 362829 h 781090"/>
                <a:gd name="connsiteX201" fmla="*/ 754634 w 970063"/>
                <a:gd name="connsiteY201" fmla="*/ 354010 h 781090"/>
                <a:gd name="connsiteX202" fmla="*/ 750855 w 970063"/>
                <a:gd name="connsiteY202" fmla="*/ 348971 h 781090"/>
                <a:gd name="connsiteX203" fmla="*/ 750855 w 970063"/>
                <a:gd name="connsiteY203" fmla="*/ 347711 h 781090"/>
                <a:gd name="connsiteX204" fmla="*/ 749595 w 970063"/>
                <a:gd name="connsiteY204" fmla="*/ 346451 h 781090"/>
                <a:gd name="connsiteX205" fmla="*/ 742036 w 970063"/>
                <a:gd name="connsiteY205" fmla="*/ 336373 h 781090"/>
                <a:gd name="connsiteX206" fmla="*/ 735737 w 970063"/>
                <a:gd name="connsiteY206" fmla="*/ 326294 h 781090"/>
                <a:gd name="connsiteX207" fmla="*/ 734477 w 970063"/>
                <a:gd name="connsiteY207" fmla="*/ 325034 h 781090"/>
                <a:gd name="connsiteX208" fmla="*/ 734477 w 970063"/>
                <a:gd name="connsiteY208" fmla="*/ 325034 h 781090"/>
                <a:gd name="connsiteX209" fmla="*/ 734477 w 970063"/>
                <a:gd name="connsiteY209" fmla="*/ 325034 h 781090"/>
                <a:gd name="connsiteX210" fmla="*/ 733217 w 970063"/>
                <a:gd name="connsiteY210" fmla="*/ 322515 h 781090"/>
                <a:gd name="connsiteX211" fmla="*/ 730698 w 970063"/>
                <a:gd name="connsiteY211" fmla="*/ 319995 h 781090"/>
                <a:gd name="connsiteX212" fmla="*/ 729438 w 970063"/>
                <a:gd name="connsiteY212" fmla="*/ 318735 h 781090"/>
                <a:gd name="connsiteX213" fmla="*/ 728178 w 970063"/>
                <a:gd name="connsiteY213" fmla="*/ 316216 h 781090"/>
                <a:gd name="connsiteX214" fmla="*/ 728178 w 970063"/>
                <a:gd name="connsiteY214" fmla="*/ 316216 h 781090"/>
                <a:gd name="connsiteX215" fmla="*/ 728178 w 970063"/>
                <a:gd name="connsiteY215" fmla="*/ 316216 h 781090"/>
                <a:gd name="connsiteX216" fmla="*/ 728178 w 970063"/>
                <a:gd name="connsiteY216" fmla="*/ 316216 h 781090"/>
                <a:gd name="connsiteX217" fmla="*/ 728178 w 970063"/>
                <a:gd name="connsiteY217" fmla="*/ 314956 h 781090"/>
                <a:gd name="connsiteX218" fmla="*/ 726918 w 970063"/>
                <a:gd name="connsiteY218" fmla="*/ 313696 h 781090"/>
                <a:gd name="connsiteX219" fmla="*/ 723138 w 970063"/>
                <a:gd name="connsiteY219" fmla="*/ 308657 h 781090"/>
                <a:gd name="connsiteX220" fmla="*/ 721879 w 970063"/>
                <a:gd name="connsiteY220" fmla="*/ 306137 h 781090"/>
                <a:gd name="connsiteX221" fmla="*/ 721879 w 970063"/>
                <a:gd name="connsiteY221" fmla="*/ 304877 h 781090"/>
                <a:gd name="connsiteX222" fmla="*/ 720619 w 970063"/>
                <a:gd name="connsiteY222" fmla="*/ 302358 h 781090"/>
                <a:gd name="connsiteX223" fmla="*/ 716839 w 970063"/>
                <a:gd name="connsiteY223" fmla="*/ 297318 h 781090"/>
                <a:gd name="connsiteX224" fmla="*/ 715579 w 970063"/>
                <a:gd name="connsiteY224" fmla="*/ 296058 h 781090"/>
                <a:gd name="connsiteX225" fmla="*/ 715579 w 970063"/>
                <a:gd name="connsiteY225" fmla="*/ 296058 h 781090"/>
                <a:gd name="connsiteX226" fmla="*/ 713060 w 970063"/>
                <a:gd name="connsiteY226" fmla="*/ 293539 h 781090"/>
                <a:gd name="connsiteX227" fmla="*/ 710540 w 970063"/>
                <a:gd name="connsiteY227" fmla="*/ 291019 h 781090"/>
                <a:gd name="connsiteX228" fmla="*/ 709280 w 970063"/>
                <a:gd name="connsiteY228" fmla="*/ 289759 h 781090"/>
                <a:gd name="connsiteX229" fmla="*/ 706761 w 970063"/>
                <a:gd name="connsiteY229" fmla="*/ 287240 h 781090"/>
                <a:gd name="connsiteX230" fmla="*/ 705501 w 970063"/>
                <a:gd name="connsiteY230" fmla="*/ 285980 h 781090"/>
                <a:gd name="connsiteX231" fmla="*/ 704241 w 970063"/>
                <a:gd name="connsiteY231" fmla="*/ 284720 h 781090"/>
                <a:gd name="connsiteX232" fmla="*/ 704241 w 970063"/>
                <a:gd name="connsiteY232" fmla="*/ 284720 h 781090"/>
                <a:gd name="connsiteX233" fmla="*/ 702981 w 970063"/>
                <a:gd name="connsiteY233" fmla="*/ 283460 h 781090"/>
                <a:gd name="connsiteX234" fmla="*/ 700462 w 970063"/>
                <a:gd name="connsiteY234" fmla="*/ 280941 h 781090"/>
                <a:gd name="connsiteX235" fmla="*/ 697942 w 970063"/>
                <a:gd name="connsiteY235" fmla="*/ 278421 h 781090"/>
                <a:gd name="connsiteX236" fmla="*/ 697942 w 970063"/>
                <a:gd name="connsiteY236" fmla="*/ 278421 h 781090"/>
                <a:gd name="connsiteX237" fmla="*/ 697942 w 970063"/>
                <a:gd name="connsiteY237" fmla="*/ 278421 h 781090"/>
                <a:gd name="connsiteX238" fmla="*/ 695423 w 970063"/>
                <a:gd name="connsiteY238" fmla="*/ 277161 h 781090"/>
                <a:gd name="connsiteX239" fmla="*/ 695423 w 970063"/>
                <a:gd name="connsiteY239" fmla="*/ 277161 h 781090"/>
                <a:gd name="connsiteX240" fmla="*/ 695423 w 970063"/>
                <a:gd name="connsiteY240" fmla="*/ 277161 h 781090"/>
                <a:gd name="connsiteX241" fmla="*/ 694163 w 970063"/>
                <a:gd name="connsiteY241" fmla="*/ 275901 h 781090"/>
                <a:gd name="connsiteX242" fmla="*/ 694163 w 970063"/>
                <a:gd name="connsiteY242" fmla="*/ 275901 h 781090"/>
                <a:gd name="connsiteX243" fmla="*/ 692903 w 970063"/>
                <a:gd name="connsiteY243" fmla="*/ 275901 h 781090"/>
                <a:gd name="connsiteX244" fmla="*/ 692903 w 970063"/>
                <a:gd name="connsiteY244" fmla="*/ 275901 h 781090"/>
                <a:gd name="connsiteX245" fmla="*/ 692903 w 970063"/>
                <a:gd name="connsiteY245" fmla="*/ 277161 h 781090"/>
                <a:gd name="connsiteX246" fmla="*/ 692903 w 970063"/>
                <a:gd name="connsiteY246" fmla="*/ 277161 h 781090"/>
                <a:gd name="connsiteX247" fmla="*/ 692903 w 970063"/>
                <a:gd name="connsiteY247" fmla="*/ 277161 h 781090"/>
                <a:gd name="connsiteX248" fmla="*/ 692903 w 970063"/>
                <a:gd name="connsiteY248" fmla="*/ 277161 h 781090"/>
                <a:gd name="connsiteX249" fmla="*/ 692903 w 970063"/>
                <a:gd name="connsiteY249" fmla="*/ 278421 h 781090"/>
                <a:gd name="connsiteX250" fmla="*/ 692903 w 970063"/>
                <a:gd name="connsiteY250" fmla="*/ 278421 h 781090"/>
                <a:gd name="connsiteX251" fmla="*/ 692903 w 970063"/>
                <a:gd name="connsiteY251" fmla="*/ 280941 h 781090"/>
                <a:gd name="connsiteX252" fmla="*/ 692903 w 970063"/>
                <a:gd name="connsiteY252" fmla="*/ 283460 h 781090"/>
                <a:gd name="connsiteX253" fmla="*/ 692903 w 970063"/>
                <a:gd name="connsiteY253" fmla="*/ 284720 h 781090"/>
                <a:gd name="connsiteX254" fmla="*/ 692903 w 970063"/>
                <a:gd name="connsiteY254" fmla="*/ 285980 h 781090"/>
                <a:gd name="connsiteX255" fmla="*/ 692903 w 970063"/>
                <a:gd name="connsiteY255" fmla="*/ 289759 h 781090"/>
                <a:gd name="connsiteX256" fmla="*/ 692903 w 970063"/>
                <a:gd name="connsiteY256" fmla="*/ 292279 h 781090"/>
                <a:gd name="connsiteX257" fmla="*/ 692903 w 970063"/>
                <a:gd name="connsiteY257" fmla="*/ 293539 h 781090"/>
                <a:gd name="connsiteX258" fmla="*/ 692903 w 970063"/>
                <a:gd name="connsiteY258" fmla="*/ 297318 h 781090"/>
                <a:gd name="connsiteX259" fmla="*/ 692903 w 970063"/>
                <a:gd name="connsiteY259" fmla="*/ 297318 h 781090"/>
                <a:gd name="connsiteX260" fmla="*/ 692903 w 970063"/>
                <a:gd name="connsiteY260" fmla="*/ 297318 h 781090"/>
                <a:gd name="connsiteX261" fmla="*/ 692903 w 970063"/>
                <a:gd name="connsiteY261" fmla="*/ 298578 h 781090"/>
                <a:gd name="connsiteX262" fmla="*/ 692903 w 970063"/>
                <a:gd name="connsiteY262" fmla="*/ 301098 h 781090"/>
                <a:gd name="connsiteX263" fmla="*/ 692903 w 970063"/>
                <a:gd name="connsiteY263" fmla="*/ 301098 h 781090"/>
                <a:gd name="connsiteX264" fmla="*/ 692903 w 970063"/>
                <a:gd name="connsiteY264" fmla="*/ 301098 h 781090"/>
                <a:gd name="connsiteX265" fmla="*/ 692903 w 970063"/>
                <a:gd name="connsiteY265" fmla="*/ 302358 h 781090"/>
                <a:gd name="connsiteX266" fmla="*/ 692903 w 970063"/>
                <a:gd name="connsiteY266" fmla="*/ 303618 h 781090"/>
                <a:gd name="connsiteX267" fmla="*/ 692903 w 970063"/>
                <a:gd name="connsiteY267" fmla="*/ 304877 h 781090"/>
                <a:gd name="connsiteX268" fmla="*/ 694163 w 970063"/>
                <a:gd name="connsiteY268" fmla="*/ 308657 h 781090"/>
                <a:gd name="connsiteX269" fmla="*/ 694163 w 970063"/>
                <a:gd name="connsiteY269" fmla="*/ 309917 h 781090"/>
                <a:gd name="connsiteX270" fmla="*/ 695423 w 970063"/>
                <a:gd name="connsiteY270" fmla="*/ 312436 h 781090"/>
                <a:gd name="connsiteX271" fmla="*/ 695423 w 970063"/>
                <a:gd name="connsiteY271" fmla="*/ 312436 h 781090"/>
                <a:gd name="connsiteX272" fmla="*/ 695423 w 970063"/>
                <a:gd name="connsiteY272" fmla="*/ 314956 h 781090"/>
                <a:gd name="connsiteX273" fmla="*/ 697942 w 970063"/>
                <a:gd name="connsiteY273" fmla="*/ 326294 h 781090"/>
                <a:gd name="connsiteX274" fmla="*/ 699202 w 970063"/>
                <a:gd name="connsiteY274" fmla="*/ 330074 h 781090"/>
                <a:gd name="connsiteX275" fmla="*/ 699202 w 970063"/>
                <a:gd name="connsiteY275" fmla="*/ 331334 h 781090"/>
                <a:gd name="connsiteX276" fmla="*/ 700462 w 970063"/>
                <a:gd name="connsiteY276" fmla="*/ 337633 h 781090"/>
                <a:gd name="connsiteX277" fmla="*/ 701722 w 970063"/>
                <a:gd name="connsiteY277" fmla="*/ 342672 h 781090"/>
                <a:gd name="connsiteX278" fmla="*/ 701722 w 970063"/>
                <a:gd name="connsiteY278" fmla="*/ 342672 h 781090"/>
                <a:gd name="connsiteX279" fmla="*/ 701722 w 970063"/>
                <a:gd name="connsiteY279" fmla="*/ 343932 h 781090"/>
                <a:gd name="connsiteX280" fmla="*/ 702981 w 970063"/>
                <a:gd name="connsiteY280" fmla="*/ 347711 h 781090"/>
                <a:gd name="connsiteX281" fmla="*/ 702981 w 970063"/>
                <a:gd name="connsiteY281" fmla="*/ 350231 h 781090"/>
                <a:gd name="connsiteX282" fmla="*/ 702981 w 970063"/>
                <a:gd name="connsiteY282" fmla="*/ 351491 h 781090"/>
                <a:gd name="connsiteX283" fmla="*/ 702981 w 970063"/>
                <a:gd name="connsiteY283" fmla="*/ 355270 h 781090"/>
                <a:gd name="connsiteX284" fmla="*/ 704241 w 970063"/>
                <a:gd name="connsiteY284" fmla="*/ 361569 h 781090"/>
                <a:gd name="connsiteX285" fmla="*/ 704241 w 970063"/>
                <a:gd name="connsiteY285" fmla="*/ 362829 h 781090"/>
                <a:gd name="connsiteX286" fmla="*/ 706761 w 970063"/>
                <a:gd name="connsiteY286" fmla="*/ 377947 h 781090"/>
                <a:gd name="connsiteX287" fmla="*/ 706761 w 970063"/>
                <a:gd name="connsiteY287" fmla="*/ 377947 h 781090"/>
                <a:gd name="connsiteX288" fmla="*/ 708021 w 970063"/>
                <a:gd name="connsiteY288" fmla="*/ 388026 h 781090"/>
                <a:gd name="connsiteX289" fmla="*/ 708021 w 970063"/>
                <a:gd name="connsiteY289" fmla="*/ 393065 h 781090"/>
                <a:gd name="connsiteX290" fmla="*/ 708021 w 970063"/>
                <a:gd name="connsiteY290" fmla="*/ 394325 h 781090"/>
                <a:gd name="connsiteX291" fmla="*/ 708021 w 970063"/>
                <a:gd name="connsiteY291" fmla="*/ 395585 h 781090"/>
                <a:gd name="connsiteX292" fmla="*/ 708021 w 970063"/>
                <a:gd name="connsiteY292" fmla="*/ 398104 h 781090"/>
                <a:gd name="connsiteX293" fmla="*/ 708021 w 970063"/>
                <a:gd name="connsiteY293" fmla="*/ 403143 h 781090"/>
                <a:gd name="connsiteX294" fmla="*/ 708021 w 970063"/>
                <a:gd name="connsiteY294" fmla="*/ 404403 h 781090"/>
                <a:gd name="connsiteX295" fmla="*/ 708021 w 970063"/>
                <a:gd name="connsiteY295" fmla="*/ 409443 h 781090"/>
                <a:gd name="connsiteX296" fmla="*/ 709280 w 970063"/>
                <a:gd name="connsiteY296" fmla="*/ 419521 h 781090"/>
                <a:gd name="connsiteX297" fmla="*/ 710540 w 970063"/>
                <a:gd name="connsiteY297" fmla="*/ 430860 h 781090"/>
                <a:gd name="connsiteX298" fmla="*/ 710540 w 970063"/>
                <a:gd name="connsiteY298" fmla="*/ 434639 h 781090"/>
                <a:gd name="connsiteX299" fmla="*/ 710540 w 970063"/>
                <a:gd name="connsiteY299" fmla="*/ 435899 h 781090"/>
                <a:gd name="connsiteX300" fmla="*/ 711800 w 970063"/>
                <a:gd name="connsiteY300" fmla="*/ 440938 h 781090"/>
                <a:gd name="connsiteX301" fmla="*/ 713060 w 970063"/>
                <a:gd name="connsiteY301" fmla="*/ 449757 h 781090"/>
                <a:gd name="connsiteX302" fmla="*/ 713060 w 970063"/>
                <a:gd name="connsiteY302" fmla="*/ 449757 h 781090"/>
                <a:gd name="connsiteX303" fmla="*/ 713060 w 970063"/>
                <a:gd name="connsiteY303" fmla="*/ 449757 h 781090"/>
                <a:gd name="connsiteX304" fmla="*/ 713060 w 970063"/>
                <a:gd name="connsiteY304" fmla="*/ 449757 h 781090"/>
                <a:gd name="connsiteX305" fmla="*/ 714320 w 970063"/>
                <a:gd name="connsiteY305" fmla="*/ 454796 h 781090"/>
                <a:gd name="connsiteX306" fmla="*/ 714320 w 970063"/>
                <a:gd name="connsiteY306" fmla="*/ 454796 h 781090"/>
                <a:gd name="connsiteX307" fmla="*/ 715579 w 970063"/>
                <a:gd name="connsiteY307" fmla="*/ 459836 h 781090"/>
                <a:gd name="connsiteX308" fmla="*/ 716839 w 970063"/>
                <a:gd name="connsiteY308" fmla="*/ 461095 h 781090"/>
                <a:gd name="connsiteX309" fmla="*/ 718099 w 970063"/>
                <a:gd name="connsiteY309" fmla="*/ 461095 h 781090"/>
                <a:gd name="connsiteX310" fmla="*/ 719359 w 970063"/>
                <a:gd name="connsiteY310" fmla="*/ 461095 h 781090"/>
                <a:gd name="connsiteX311" fmla="*/ 720619 w 970063"/>
                <a:gd name="connsiteY311" fmla="*/ 461095 h 781090"/>
                <a:gd name="connsiteX312" fmla="*/ 721879 w 970063"/>
                <a:gd name="connsiteY312" fmla="*/ 459836 h 781090"/>
                <a:gd name="connsiteX313" fmla="*/ 721879 w 970063"/>
                <a:gd name="connsiteY313" fmla="*/ 468654 h 781090"/>
                <a:gd name="connsiteX314" fmla="*/ 721879 w 970063"/>
                <a:gd name="connsiteY314" fmla="*/ 473694 h 781090"/>
                <a:gd name="connsiteX315" fmla="*/ 721879 w 970063"/>
                <a:gd name="connsiteY315" fmla="*/ 474953 h 781090"/>
                <a:gd name="connsiteX316" fmla="*/ 721879 w 970063"/>
                <a:gd name="connsiteY316" fmla="*/ 476213 h 781090"/>
                <a:gd name="connsiteX317" fmla="*/ 721879 w 970063"/>
                <a:gd name="connsiteY317" fmla="*/ 477473 h 781090"/>
                <a:gd name="connsiteX318" fmla="*/ 721879 w 970063"/>
                <a:gd name="connsiteY318" fmla="*/ 478733 h 781090"/>
                <a:gd name="connsiteX319" fmla="*/ 721879 w 970063"/>
                <a:gd name="connsiteY319" fmla="*/ 485032 h 781090"/>
                <a:gd name="connsiteX320" fmla="*/ 721879 w 970063"/>
                <a:gd name="connsiteY320" fmla="*/ 487552 h 781090"/>
                <a:gd name="connsiteX321" fmla="*/ 721879 w 970063"/>
                <a:gd name="connsiteY321" fmla="*/ 490071 h 781090"/>
                <a:gd name="connsiteX322" fmla="*/ 721879 w 970063"/>
                <a:gd name="connsiteY322" fmla="*/ 492591 h 781090"/>
                <a:gd name="connsiteX323" fmla="*/ 720619 w 970063"/>
                <a:gd name="connsiteY323" fmla="*/ 510228 h 781090"/>
                <a:gd name="connsiteX324" fmla="*/ 719359 w 970063"/>
                <a:gd name="connsiteY324" fmla="*/ 534165 h 781090"/>
                <a:gd name="connsiteX325" fmla="*/ 719359 w 970063"/>
                <a:gd name="connsiteY325" fmla="*/ 534165 h 781090"/>
                <a:gd name="connsiteX326" fmla="*/ 719359 w 970063"/>
                <a:gd name="connsiteY326" fmla="*/ 534165 h 781090"/>
                <a:gd name="connsiteX327" fmla="*/ 710540 w 970063"/>
                <a:gd name="connsiteY327" fmla="*/ 541724 h 781090"/>
                <a:gd name="connsiteX328" fmla="*/ 686604 w 970063"/>
                <a:gd name="connsiteY328" fmla="*/ 566921 h 781090"/>
                <a:gd name="connsiteX329" fmla="*/ 684084 w 970063"/>
                <a:gd name="connsiteY329" fmla="*/ 569440 h 781090"/>
                <a:gd name="connsiteX330" fmla="*/ 663927 w 970063"/>
                <a:gd name="connsiteY330" fmla="*/ 593377 h 781090"/>
                <a:gd name="connsiteX331" fmla="*/ 652588 w 970063"/>
                <a:gd name="connsiteY331" fmla="*/ 608495 h 781090"/>
                <a:gd name="connsiteX332" fmla="*/ 642510 w 970063"/>
                <a:gd name="connsiteY332" fmla="*/ 623613 h 781090"/>
                <a:gd name="connsiteX333" fmla="*/ 634951 w 970063"/>
                <a:gd name="connsiteY333" fmla="*/ 637471 h 781090"/>
                <a:gd name="connsiteX334" fmla="*/ 634951 w 970063"/>
                <a:gd name="connsiteY334" fmla="*/ 637471 h 781090"/>
                <a:gd name="connsiteX335" fmla="*/ 629912 w 970063"/>
                <a:gd name="connsiteY335" fmla="*/ 646289 h 781090"/>
                <a:gd name="connsiteX336" fmla="*/ 627392 w 970063"/>
                <a:gd name="connsiteY336" fmla="*/ 651329 h 781090"/>
                <a:gd name="connsiteX337" fmla="*/ 627392 w 970063"/>
                <a:gd name="connsiteY337" fmla="*/ 651329 h 781090"/>
                <a:gd name="connsiteX338" fmla="*/ 626132 w 970063"/>
                <a:gd name="connsiteY338" fmla="*/ 653848 h 781090"/>
                <a:gd name="connsiteX339" fmla="*/ 619833 w 970063"/>
                <a:gd name="connsiteY339" fmla="*/ 667706 h 781090"/>
                <a:gd name="connsiteX340" fmla="*/ 619833 w 970063"/>
                <a:gd name="connsiteY340" fmla="*/ 667706 h 781090"/>
                <a:gd name="connsiteX341" fmla="*/ 619833 w 970063"/>
                <a:gd name="connsiteY341" fmla="*/ 668966 h 781090"/>
                <a:gd name="connsiteX342" fmla="*/ 617313 w 970063"/>
                <a:gd name="connsiteY342" fmla="*/ 677785 h 781090"/>
                <a:gd name="connsiteX343" fmla="*/ 617313 w 970063"/>
                <a:gd name="connsiteY343" fmla="*/ 679045 h 781090"/>
                <a:gd name="connsiteX344" fmla="*/ 617313 w 970063"/>
                <a:gd name="connsiteY344" fmla="*/ 679045 h 781090"/>
                <a:gd name="connsiteX345" fmla="*/ 614794 w 970063"/>
                <a:gd name="connsiteY345" fmla="*/ 686604 h 781090"/>
                <a:gd name="connsiteX346" fmla="*/ 614794 w 970063"/>
                <a:gd name="connsiteY346" fmla="*/ 691643 h 781090"/>
                <a:gd name="connsiteX347" fmla="*/ 614794 w 970063"/>
                <a:gd name="connsiteY347" fmla="*/ 694163 h 781090"/>
                <a:gd name="connsiteX348" fmla="*/ 614794 w 970063"/>
                <a:gd name="connsiteY348" fmla="*/ 696682 h 781090"/>
                <a:gd name="connsiteX349" fmla="*/ 614794 w 970063"/>
                <a:gd name="connsiteY349" fmla="*/ 701722 h 781090"/>
                <a:gd name="connsiteX350" fmla="*/ 614794 w 970063"/>
                <a:gd name="connsiteY350" fmla="*/ 701722 h 781090"/>
                <a:gd name="connsiteX351" fmla="*/ 614794 w 970063"/>
                <a:gd name="connsiteY351" fmla="*/ 701722 h 781090"/>
                <a:gd name="connsiteX352" fmla="*/ 614794 w 970063"/>
                <a:gd name="connsiteY352" fmla="*/ 704241 h 781090"/>
                <a:gd name="connsiteX353" fmla="*/ 614794 w 970063"/>
                <a:gd name="connsiteY353" fmla="*/ 710540 h 781090"/>
                <a:gd name="connsiteX354" fmla="*/ 614794 w 970063"/>
                <a:gd name="connsiteY354" fmla="*/ 713060 h 781090"/>
                <a:gd name="connsiteX355" fmla="*/ 614794 w 970063"/>
                <a:gd name="connsiteY355" fmla="*/ 720619 h 781090"/>
                <a:gd name="connsiteX356" fmla="*/ 618573 w 970063"/>
                <a:gd name="connsiteY356" fmla="*/ 738257 h 781090"/>
                <a:gd name="connsiteX357" fmla="*/ 618573 w 970063"/>
                <a:gd name="connsiteY357" fmla="*/ 739516 h 781090"/>
                <a:gd name="connsiteX358" fmla="*/ 622353 w 970063"/>
                <a:gd name="connsiteY358" fmla="*/ 749595 h 781090"/>
                <a:gd name="connsiteX359" fmla="*/ 626132 w 970063"/>
                <a:gd name="connsiteY359" fmla="*/ 758414 h 781090"/>
                <a:gd name="connsiteX360" fmla="*/ 628652 w 970063"/>
                <a:gd name="connsiteY360" fmla="*/ 762193 h 781090"/>
                <a:gd name="connsiteX361" fmla="*/ 629912 w 970063"/>
                <a:gd name="connsiteY361" fmla="*/ 764713 h 781090"/>
                <a:gd name="connsiteX362" fmla="*/ 629912 w 970063"/>
                <a:gd name="connsiteY362" fmla="*/ 765973 h 781090"/>
                <a:gd name="connsiteX363" fmla="*/ 636211 w 970063"/>
                <a:gd name="connsiteY363" fmla="*/ 773532 h 781090"/>
                <a:gd name="connsiteX364" fmla="*/ 636211 w 970063"/>
                <a:gd name="connsiteY364" fmla="*/ 773532 h 781090"/>
                <a:gd name="connsiteX365" fmla="*/ 638731 w 970063"/>
                <a:gd name="connsiteY365" fmla="*/ 776051 h 781090"/>
                <a:gd name="connsiteX366" fmla="*/ 642510 w 970063"/>
                <a:gd name="connsiteY366" fmla="*/ 778571 h 781090"/>
                <a:gd name="connsiteX367" fmla="*/ 643770 w 970063"/>
                <a:gd name="connsiteY367" fmla="*/ 778571 h 781090"/>
                <a:gd name="connsiteX368" fmla="*/ 646289 w 970063"/>
                <a:gd name="connsiteY368" fmla="*/ 779831 h 781090"/>
                <a:gd name="connsiteX369" fmla="*/ 653848 w 970063"/>
                <a:gd name="connsiteY369" fmla="*/ 783610 h 781090"/>
                <a:gd name="connsiteX370" fmla="*/ 653848 w 970063"/>
                <a:gd name="connsiteY370" fmla="*/ 783610 h 781090"/>
                <a:gd name="connsiteX371" fmla="*/ 662667 w 970063"/>
                <a:gd name="connsiteY371" fmla="*/ 786130 h 781090"/>
                <a:gd name="connsiteX372" fmla="*/ 662667 w 970063"/>
                <a:gd name="connsiteY372" fmla="*/ 786130 h 781090"/>
                <a:gd name="connsiteX373" fmla="*/ 662667 w 970063"/>
                <a:gd name="connsiteY373" fmla="*/ 786130 h 781090"/>
                <a:gd name="connsiteX374" fmla="*/ 662667 w 970063"/>
                <a:gd name="connsiteY374" fmla="*/ 786130 h 781090"/>
                <a:gd name="connsiteX375" fmla="*/ 661407 w 970063"/>
                <a:gd name="connsiteY375" fmla="*/ 786130 h 781090"/>
                <a:gd name="connsiteX376" fmla="*/ 660147 w 970063"/>
                <a:gd name="connsiteY376" fmla="*/ 786130 h 781090"/>
                <a:gd name="connsiteX377" fmla="*/ 656368 w 970063"/>
                <a:gd name="connsiteY377" fmla="*/ 786130 h 781090"/>
                <a:gd name="connsiteX378" fmla="*/ 651329 w 970063"/>
                <a:gd name="connsiteY378" fmla="*/ 786130 h 781090"/>
                <a:gd name="connsiteX379" fmla="*/ 631172 w 970063"/>
                <a:gd name="connsiteY379" fmla="*/ 787390 h 781090"/>
                <a:gd name="connsiteX380" fmla="*/ 603455 w 970063"/>
                <a:gd name="connsiteY380" fmla="*/ 787390 h 781090"/>
                <a:gd name="connsiteX381" fmla="*/ 595896 w 970063"/>
                <a:gd name="connsiteY381" fmla="*/ 787390 h 781090"/>
                <a:gd name="connsiteX382" fmla="*/ 593377 w 970063"/>
                <a:gd name="connsiteY382" fmla="*/ 787390 h 781090"/>
                <a:gd name="connsiteX383" fmla="*/ 593377 w 970063"/>
                <a:gd name="connsiteY383" fmla="*/ 787390 h 781090"/>
                <a:gd name="connsiteX384" fmla="*/ 587078 w 970063"/>
                <a:gd name="connsiteY384" fmla="*/ 787390 h 781090"/>
                <a:gd name="connsiteX385" fmla="*/ 578259 w 970063"/>
                <a:gd name="connsiteY385" fmla="*/ 787390 h 781090"/>
                <a:gd name="connsiteX386" fmla="*/ 573220 w 970063"/>
                <a:gd name="connsiteY386" fmla="*/ 787390 h 781090"/>
                <a:gd name="connsiteX387" fmla="*/ 573220 w 970063"/>
                <a:gd name="connsiteY387" fmla="*/ 787390 h 781090"/>
                <a:gd name="connsiteX388" fmla="*/ 573220 w 970063"/>
                <a:gd name="connsiteY388" fmla="*/ 787390 h 781090"/>
                <a:gd name="connsiteX389" fmla="*/ 560621 w 970063"/>
                <a:gd name="connsiteY389" fmla="*/ 787390 h 781090"/>
                <a:gd name="connsiteX390" fmla="*/ 554322 w 970063"/>
                <a:gd name="connsiteY390" fmla="*/ 787390 h 781090"/>
                <a:gd name="connsiteX391" fmla="*/ 553062 w 970063"/>
                <a:gd name="connsiteY391" fmla="*/ 787390 h 781090"/>
                <a:gd name="connsiteX392" fmla="*/ 541724 w 970063"/>
                <a:gd name="connsiteY392" fmla="*/ 787390 h 781090"/>
                <a:gd name="connsiteX393" fmla="*/ 536685 w 970063"/>
                <a:gd name="connsiteY393" fmla="*/ 787390 h 781090"/>
                <a:gd name="connsiteX394" fmla="*/ 535425 w 970063"/>
                <a:gd name="connsiteY394" fmla="*/ 787390 h 781090"/>
                <a:gd name="connsiteX395" fmla="*/ 535425 w 970063"/>
                <a:gd name="connsiteY395" fmla="*/ 787390 h 781090"/>
                <a:gd name="connsiteX396" fmla="*/ 535425 w 970063"/>
                <a:gd name="connsiteY396" fmla="*/ 787390 h 781090"/>
                <a:gd name="connsiteX397" fmla="*/ 524087 w 970063"/>
                <a:gd name="connsiteY397" fmla="*/ 787390 h 781090"/>
                <a:gd name="connsiteX398" fmla="*/ 516528 w 970063"/>
                <a:gd name="connsiteY398" fmla="*/ 787390 h 781090"/>
                <a:gd name="connsiteX399" fmla="*/ 506449 w 970063"/>
                <a:gd name="connsiteY399" fmla="*/ 787390 h 781090"/>
                <a:gd name="connsiteX400" fmla="*/ 488811 w 970063"/>
                <a:gd name="connsiteY400" fmla="*/ 786130 h 781090"/>
                <a:gd name="connsiteX401" fmla="*/ 487552 w 970063"/>
                <a:gd name="connsiteY401" fmla="*/ 786130 h 781090"/>
                <a:gd name="connsiteX402" fmla="*/ 478733 w 970063"/>
                <a:gd name="connsiteY402" fmla="*/ 784870 h 781090"/>
                <a:gd name="connsiteX403" fmla="*/ 477473 w 970063"/>
                <a:gd name="connsiteY403" fmla="*/ 784870 h 781090"/>
                <a:gd name="connsiteX404" fmla="*/ 477473 w 970063"/>
                <a:gd name="connsiteY404" fmla="*/ 784870 h 781090"/>
                <a:gd name="connsiteX405" fmla="*/ 471174 w 970063"/>
                <a:gd name="connsiteY405" fmla="*/ 783610 h 781090"/>
                <a:gd name="connsiteX406" fmla="*/ 468654 w 970063"/>
                <a:gd name="connsiteY406" fmla="*/ 783610 h 781090"/>
                <a:gd name="connsiteX407" fmla="*/ 461095 w 970063"/>
                <a:gd name="connsiteY407" fmla="*/ 783610 h 781090"/>
                <a:gd name="connsiteX408" fmla="*/ 454796 w 970063"/>
                <a:gd name="connsiteY408" fmla="*/ 783610 h 781090"/>
                <a:gd name="connsiteX409" fmla="*/ 453536 w 970063"/>
                <a:gd name="connsiteY409" fmla="*/ 783610 h 781090"/>
                <a:gd name="connsiteX410" fmla="*/ 452276 w 970063"/>
                <a:gd name="connsiteY410" fmla="*/ 783610 h 781090"/>
                <a:gd name="connsiteX411" fmla="*/ 448497 w 970063"/>
                <a:gd name="connsiteY411" fmla="*/ 783610 h 781090"/>
                <a:gd name="connsiteX412" fmla="*/ 448497 w 970063"/>
                <a:gd name="connsiteY412" fmla="*/ 783610 h 781090"/>
                <a:gd name="connsiteX413" fmla="*/ 443458 w 970063"/>
                <a:gd name="connsiteY413" fmla="*/ 783610 h 781090"/>
                <a:gd name="connsiteX414" fmla="*/ 437159 w 970063"/>
                <a:gd name="connsiteY414" fmla="*/ 783610 h 781090"/>
                <a:gd name="connsiteX415" fmla="*/ 434639 w 970063"/>
                <a:gd name="connsiteY415" fmla="*/ 783610 h 781090"/>
                <a:gd name="connsiteX416" fmla="*/ 434639 w 970063"/>
                <a:gd name="connsiteY416" fmla="*/ 783610 h 781090"/>
                <a:gd name="connsiteX417" fmla="*/ 433379 w 970063"/>
                <a:gd name="connsiteY417" fmla="*/ 783610 h 781090"/>
                <a:gd name="connsiteX418" fmla="*/ 423301 w 970063"/>
                <a:gd name="connsiteY418" fmla="*/ 783610 h 781090"/>
                <a:gd name="connsiteX419" fmla="*/ 414482 w 970063"/>
                <a:gd name="connsiteY419" fmla="*/ 783610 h 781090"/>
                <a:gd name="connsiteX420" fmla="*/ 414482 w 970063"/>
                <a:gd name="connsiteY420" fmla="*/ 783610 h 781090"/>
                <a:gd name="connsiteX421" fmla="*/ 413222 w 970063"/>
                <a:gd name="connsiteY421" fmla="*/ 783610 h 781090"/>
                <a:gd name="connsiteX422" fmla="*/ 405663 w 970063"/>
                <a:gd name="connsiteY422" fmla="*/ 783610 h 781090"/>
                <a:gd name="connsiteX423" fmla="*/ 405663 w 970063"/>
                <a:gd name="connsiteY423" fmla="*/ 783610 h 781090"/>
                <a:gd name="connsiteX424" fmla="*/ 405663 w 970063"/>
                <a:gd name="connsiteY424" fmla="*/ 783610 h 781090"/>
                <a:gd name="connsiteX425" fmla="*/ 376687 w 970063"/>
                <a:gd name="connsiteY425" fmla="*/ 784870 h 781090"/>
                <a:gd name="connsiteX426" fmla="*/ 359050 w 970063"/>
                <a:gd name="connsiteY426" fmla="*/ 784870 h 781090"/>
                <a:gd name="connsiteX427" fmla="*/ 357790 w 970063"/>
                <a:gd name="connsiteY427" fmla="*/ 784870 h 781090"/>
                <a:gd name="connsiteX428" fmla="*/ 356530 w 970063"/>
                <a:gd name="connsiteY428" fmla="*/ 784870 h 781090"/>
                <a:gd name="connsiteX429" fmla="*/ 356530 w 970063"/>
                <a:gd name="connsiteY429" fmla="*/ 784870 h 781090"/>
                <a:gd name="connsiteX430" fmla="*/ 355270 w 970063"/>
                <a:gd name="connsiteY430" fmla="*/ 784870 h 781090"/>
                <a:gd name="connsiteX431" fmla="*/ 350231 w 970063"/>
                <a:gd name="connsiteY431" fmla="*/ 784870 h 781090"/>
                <a:gd name="connsiteX432" fmla="*/ 346451 w 970063"/>
                <a:gd name="connsiteY432" fmla="*/ 784870 h 781090"/>
                <a:gd name="connsiteX433" fmla="*/ 342672 w 970063"/>
                <a:gd name="connsiteY433" fmla="*/ 784870 h 781090"/>
                <a:gd name="connsiteX434" fmla="*/ 342672 w 970063"/>
                <a:gd name="connsiteY434" fmla="*/ 784870 h 781090"/>
                <a:gd name="connsiteX435" fmla="*/ 340152 w 970063"/>
                <a:gd name="connsiteY435" fmla="*/ 783610 h 781090"/>
                <a:gd name="connsiteX436" fmla="*/ 337632 w 970063"/>
                <a:gd name="connsiteY436" fmla="*/ 782350 h 781090"/>
                <a:gd name="connsiteX437" fmla="*/ 335113 w 970063"/>
                <a:gd name="connsiteY437" fmla="*/ 779831 h 781090"/>
                <a:gd name="connsiteX438" fmla="*/ 333853 w 970063"/>
                <a:gd name="connsiteY438" fmla="*/ 774791 h 781090"/>
                <a:gd name="connsiteX439" fmla="*/ 333853 w 970063"/>
                <a:gd name="connsiteY439" fmla="*/ 769752 h 781090"/>
                <a:gd name="connsiteX440" fmla="*/ 332593 w 970063"/>
                <a:gd name="connsiteY440" fmla="*/ 764713 h 781090"/>
                <a:gd name="connsiteX441" fmla="*/ 332593 w 970063"/>
                <a:gd name="connsiteY441" fmla="*/ 764713 h 781090"/>
                <a:gd name="connsiteX442" fmla="*/ 332593 w 970063"/>
                <a:gd name="connsiteY442" fmla="*/ 759674 h 781090"/>
                <a:gd name="connsiteX443" fmla="*/ 332593 w 970063"/>
                <a:gd name="connsiteY443" fmla="*/ 759674 h 781090"/>
                <a:gd name="connsiteX444" fmla="*/ 332593 w 970063"/>
                <a:gd name="connsiteY444" fmla="*/ 759674 h 781090"/>
                <a:gd name="connsiteX445" fmla="*/ 332593 w 970063"/>
                <a:gd name="connsiteY445" fmla="*/ 755894 h 781090"/>
                <a:gd name="connsiteX446" fmla="*/ 332593 w 970063"/>
                <a:gd name="connsiteY446" fmla="*/ 752114 h 781090"/>
                <a:gd name="connsiteX447" fmla="*/ 330074 w 970063"/>
                <a:gd name="connsiteY447" fmla="*/ 724398 h 781090"/>
                <a:gd name="connsiteX448" fmla="*/ 328814 w 970063"/>
                <a:gd name="connsiteY448" fmla="*/ 705501 h 781090"/>
                <a:gd name="connsiteX449" fmla="*/ 328814 w 970063"/>
                <a:gd name="connsiteY449" fmla="*/ 696682 h 781090"/>
                <a:gd name="connsiteX450" fmla="*/ 328814 w 970063"/>
                <a:gd name="connsiteY450" fmla="*/ 684084 h 781090"/>
                <a:gd name="connsiteX451" fmla="*/ 328814 w 970063"/>
                <a:gd name="connsiteY451" fmla="*/ 675265 h 781090"/>
                <a:gd name="connsiteX452" fmla="*/ 328814 w 970063"/>
                <a:gd name="connsiteY452" fmla="*/ 661407 h 781090"/>
                <a:gd name="connsiteX453" fmla="*/ 327554 w 970063"/>
                <a:gd name="connsiteY453" fmla="*/ 617313 h 781090"/>
                <a:gd name="connsiteX454" fmla="*/ 327554 w 970063"/>
                <a:gd name="connsiteY454" fmla="*/ 614794 h 781090"/>
                <a:gd name="connsiteX455" fmla="*/ 326294 w 970063"/>
                <a:gd name="connsiteY455" fmla="*/ 592117 h 781090"/>
                <a:gd name="connsiteX456" fmla="*/ 326294 w 970063"/>
                <a:gd name="connsiteY456" fmla="*/ 578259 h 781090"/>
                <a:gd name="connsiteX457" fmla="*/ 326294 w 970063"/>
                <a:gd name="connsiteY457" fmla="*/ 570700 h 781090"/>
                <a:gd name="connsiteX458" fmla="*/ 326294 w 970063"/>
                <a:gd name="connsiteY458" fmla="*/ 548023 h 781090"/>
                <a:gd name="connsiteX459" fmla="*/ 326294 w 970063"/>
                <a:gd name="connsiteY459" fmla="*/ 540464 h 781090"/>
                <a:gd name="connsiteX460" fmla="*/ 326294 w 970063"/>
                <a:gd name="connsiteY460" fmla="*/ 525346 h 781090"/>
                <a:gd name="connsiteX461" fmla="*/ 326294 w 970063"/>
                <a:gd name="connsiteY461" fmla="*/ 508969 h 781090"/>
                <a:gd name="connsiteX462" fmla="*/ 326294 w 970063"/>
                <a:gd name="connsiteY462" fmla="*/ 501410 h 781090"/>
                <a:gd name="connsiteX463" fmla="*/ 326294 w 970063"/>
                <a:gd name="connsiteY463" fmla="*/ 479993 h 781090"/>
                <a:gd name="connsiteX464" fmla="*/ 326294 w 970063"/>
                <a:gd name="connsiteY464" fmla="*/ 462355 h 781090"/>
                <a:gd name="connsiteX465" fmla="*/ 326294 w 970063"/>
                <a:gd name="connsiteY465" fmla="*/ 433379 h 781090"/>
                <a:gd name="connsiteX466" fmla="*/ 326294 w 970063"/>
                <a:gd name="connsiteY466" fmla="*/ 433379 h 781090"/>
                <a:gd name="connsiteX467" fmla="*/ 326294 w 970063"/>
                <a:gd name="connsiteY467" fmla="*/ 410702 h 781090"/>
                <a:gd name="connsiteX468" fmla="*/ 326294 w 970063"/>
                <a:gd name="connsiteY468" fmla="*/ 396844 h 781090"/>
                <a:gd name="connsiteX469" fmla="*/ 326294 w 970063"/>
                <a:gd name="connsiteY469" fmla="*/ 388026 h 781090"/>
                <a:gd name="connsiteX470" fmla="*/ 326294 w 970063"/>
                <a:gd name="connsiteY470" fmla="*/ 377947 h 781090"/>
                <a:gd name="connsiteX471" fmla="*/ 326294 w 970063"/>
                <a:gd name="connsiteY471" fmla="*/ 365349 h 781090"/>
                <a:gd name="connsiteX472" fmla="*/ 326294 w 970063"/>
                <a:gd name="connsiteY472" fmla="*/ 356530 h 781090"/>
                <a:gd name="connsiteX473" fmla="*/ 326294 w 970063"/>
                <a:gd name="connsiteY473" fmla="*/ 352751 h 781090"/>
                <a:gd name="connsiteX474" fmla="*/ 326294 w 970063"/>
                <a:gd name="connsiteY474" fmla="*/ 340152 h 781090"/>
                <a:gd name="connsiteX475" fmla="*/ 326294 w 970063"/>
                <a:gd name="connsiteY475" fmla="*/ 326294 h 781090"/>
                <a:gd name="connsiteX476" fmla="*/ 326294 w 970063"/>
                <a:gd name="connsiteY476" fmla="*/ 318735 h 781090"/>
                <a:gd name="connsiteX477" fmla="*/ 326294 w 970063"/>
                <a:gd name="connsiteY477" fmla="*/ 299838 h 781090"/>
                <a:gd name="connsiteX478" fmla="*/ 326294 w 970063"/>
                <a:gd name="connsiteY478" fmla="*/ 296058 h 781090"/>
                <a:gd name="connsiteX479" fmla="*/ 326294 w 970063"/>
                <a:gd name="connsiteY479" fmla="*/ 279681 h 781090"/>
                <a:gd name="connsiteX480" fmla="*/ 327554 w 970063"/>
                <a:gd name="connsiteY480" fmla="*/ 279681 h 781090"/>
                <a:gd name="connsiteX481" fmla="*/ 328814 w 970063"/>
                <a:gd name="connsiteY481" fmla="*/ 278421 h 781090"/>
                <a:gd name="connsiteX482" fmla="*/ 330074 w 970063"/>
                <a:gd name="connsiteY482" fmla="*/ 275901 h 781090"/>
                <a:gd name="connsiteX483" fmla="*/ 328814 w 970063"/>
                <a:gd name="connsiteY483" fmla="*/ 273382 h 781090"/>
                <a:gd name="connsiteX484" fmla="*/ 328814 w 970063"/>
                <a:gd name="connsiteY484" fmla="*/ 273382 h 781090"/>
                <a:gd name="connsiteX485" fmla="*/ 328814 w 970063"/>
                <a:gd name="connsiteY485" fmla="*/ 273382 h 781090"/>
                <a:gd name="connsiteX486" fmla="*/ 328814 w 970063"/>
                <a:gd name="connsiteY486" fmla="*/ 273382 h 781090"/>
                <a:gd name="connsiteX487" fmla="*/ 328814 w 970063"/>
                <a:gd name="connsiteY487" fmla="*/ 264563 h 781090"/>
                <a:gd name="connsiteX488" fmla="*/ 330074 w 970063"/>
                <a:gd name="connsiteY488" fmla="*/ 251965 h 781090"/>
                <a:gd name="connsiteX489" fmla="*/ 331333 w 970063"/>
                <a:gd name="connsiteY489" fmla="*/ 238107 h 781090"/>
                <a:gd name="connsiteX490" fmla="*/ 331333 w 970063"/>
                <a:gd name="connsiteY490" fmla="*/ 234327 h 781090"/>
                <a:gd name="connsiteX491" fmla="*/ 331333 w 970063"/>
                <a:gd name="connsiteY491" fmla="*/ 231808 h 781090"/>
                <a:gd name="connsiteX492" fmla="*/ 331333 w 970063"/>
                <a:gd name="connsiteY492" fmla="*/ 229288 h 781090"/>
                <a:gd name="connsiteX493" fmla="*/ 331333 w 970063"/>
                <a:gd name="connsiteY493" fmla="*/ 225508 h 781090"/>
                <a:gd name="connsiteX494" fmla="*/ 331333 w 970063"/>
                <a:gd name="connsiteY494" fmla="*/ 219209 h 781090"/>
                <a:gd name="connsiteX495" fmla="*/ 331333 w 970063"/>
                <a:gd name="connsiteY495" fmla="*/ 216690 h 781090"/>
                <a:gd name="connsiteX496" fmla="*/ 331333 w 970063"/>
                <a:gd name="connsiteY496" fmla="*/ 212910 h 781090"/>
                <a:gd name="connsiteX497" fmla="*/ 331333 w 970063"/>
                <a:gd name="connsiteY497" fmla="*/ 210390 h 781090"/>
                <a:gd name="connsiteX498" fmla="*/ 331333 w 970063"/>
                <a:gd name="connsiteY498" fmla="*/ 206611 h 781090"/>
                <a:gd name="connsiteX499" fmla="*/ 331333 w 970063"/>
                <a:gd name="connsiteY499" fmla="*/ 204091 h 781090"/>
                <a:gd name="connsiteX500" fmla="*/ 331333 w 970063"/>
                <a:gd name="connsiteY500" fmla="*/ 200312 h 781090"/>
                <a:gd name="connsiteX501" fmla="*/ 331333 w 970063"/>
                <a:gd name="connsiteY501" fmla="*/ 199052 h 781090"/>
                <a:gd name="connsiteX502" fmla="*/ 331333 w 970063"/>
                <a:gd name="connsiteY502" fmla="*/ 197792 h 781090"/>
                <a:gd name="connsiteX503" fmla="*/ 331333 w 970063"/>
                <a:gd name="connsiteY503" fmla="*/ 195273 h 781090"/>
                <a:gd name="connsiteX504" fmla="*/ 330074 w 970063"/>
                <a:gd name="connsiteY504" fmla="*/ 195273 h 781090"/>
                <a:gd name="connsiteX505" fmla="*/ 328814 w 970063"/>
                <a:gd name="connsiteY505" fmla="*/ 195273 h 781090"/>
                <a:gd name="connsiteX506" fmla="*/ 327554 w 970063"/>
                <a:gd name="connsiteY506" fmla="*/ 195273 h 781090"/>
                <a:gd name="connsiteX507" fmla="*/ 327554 w 970063"/>
                <a:gd name="connsiteY507" fmla="*/ 195273 h 781090"/>
                <a:gd name="connsiteX508" fmla="*/ 327554 w 970063"/>
                <a:gd name="connsiteY508" fmla="*/ 195273 h 781090"/>
                <a:gd name="connsiteX509" fmla="*/ 326294 w 970063"/>
                <a:gd name="connsiteY509" fmla="*/ 195273 h 781090"/>
                <a:gd name="connsiteX510" fmla="*/ 323775 w 970063"/>
                <a:gd name="connsiteY510" fmla="*/ 196533 h 781090"/>
                <a:gd name="connsiteX511" fmla="*/ 321255 w 970063"/>
                <a:gd name="connsiteY511" fmla="*/ 197792 h 781090"/>
                <a:gd name="connsiteX512" fmla="*/ 317476 w 970063"/>
                <a:gd name="connsiteY512" fmla="*/ 199052 h 781090"/>
                <a:gd name="connsiteX513" fmla="*/ 311177 w 970063"/>
                <a:gd name="connsiteY513" fmla="*/ 201572 h 781090"/>
                <a:gd name="connsiteX514" fmla="*/ 311177 w 970063"/>
                <a:gd name="connsiteY514" fmla="*/ 201572 h 781090"/>
                <a:gd name="connsiteX515" fmla="*/ 304877 w 970063"/>
                <a:gd name="connsiteY515" fmla="*/ 204091 h 781090"/>
                <a:gd name="connsiteX516" fmla="*/ 301098 w 970063"/>
                <a:gd name="connsiteY516" fmla="*/ 205351 h 781090"/>
                <a:gd name="connsiteX517" fmla="*/ 298578 w 970063"/>
                <a:gd name="connsiteY517" fmla="*/ 206611 h 781090"/>
                <a:gd name="connsiteX518" fmla="*/ 298578 w 970063"/>
                <a:gd name="connsiteY518" fmla="*/ 206611 h 781090"/>
                <a:gd name="connsiteX519" fmla="*/ 292279 w 970063"/>
                <a:gd name="connsiteY519" fmla="*/ 207871 h 781090"/>
                <a:gd name="connsiteX520" fmla="*/ 288499 w 970063"/>
                <a:gd name="connsiteY520" fmla="*/ 209131 h 781090"/>
                <a:gd name="connsiteX521" fmla="*/ 285980 w 970063"/>
                <a:gd name="connsiteY521" fmla="*/ 209131 h 781090"/>
                <a:gd name="connsiteX522" fmla="*/ 279681 w 970063"/>
                <a:gd name="connsiteY522" fmla="*/ 210390 h 781090"/>
                <a:gd name="connsiteX523" fmla="*/ 264563 w 970063"/>
                <a:gd name="connsiteY523" fmla="*/ 212910 h 781090"/>
                <a:gd name="connsiteX524" fmla="*/ 263303 w 970063"/>
                <a:gd name="connsiteY524" fmla="*/ 212910 h 781090"/>
                <a:gd name="connsiteX525" fmla="*/ 258264 w 970063"/>
                <a:gd name="connsiteY525" fmla="*/ 214170 h 781090"/>
                <a:gd name="connsiteX526" fmla="*/ 254484 w 970063"/>
                <a:gd name="connsiteY526" fmla="*/ 214170 h 781090"/>
                <a:gd name="connsiteX527" fmla="*/ 250705 w 970063"/>
                <a:gd name="connsiteY527" fmla="*/ 214170 h 781090"/>
                <a:gd name="connsiteX528" fmla="*/ 246925 w 970063"/>
                <a:gd name="connsiteY528" fmla="*/ 214170 h 781090"/>
                <a:gd name="connsiteX529" fmla="*/ 244406 w 970063"/>
                <a:gd name="connsiteY529" fmla="*/ 214170 h 781090"/>
                <a:gd name="connsiteX530" fmla="*/ 244406 w 970063"/>
                <a:gd name="connsiteY530" fmla="*/ 214170 h 781090"/>
                <a:gd name="connsiteX531" fmla="*/ 236847 w 970063"/>
                <a:gd name="connsiteY531" fmla="*/ 214170 h 781090"/>
                <a:gd name="connsiteX532" fmla="*/ 222989 w 970063"/>
                <a:gd name="connsiteY532" fmla="*/ 215430 h 781090"/>
                <a:gd name="connsiteX533" fmla="*/ 215430 w 970063"/>
                <a:gd name="connsiteY533" fmla="*/ 216690 h 781090"/>
                <a:gd name="connsiteX534" fmla="*/ 209131 w 970063"/>
                <a:gd name="connsiteY534" fmla="*/ 217949 h 781090"/>
                <a:gd name="connsiteX535" fmla="*/ 207871 w 970063"/>
                <a:gd name="connsiteY535" fmla="*/ 217949 h 781090"/>
                <a:gd name="connsiteX536" fmla="*/ 207871 w 970063"/>
                <a:gd name="connsiteY536" fmla="*/ 217949 h 781090"/>
                <a:gd name="connsiteX537" fmla="*/ 206611 w 970063"/>
                <a:gd name="connsiteY537" fmla="*/ 217949 h 781090"/>
                <a:gd name="connsiteX538" fmla="*/ 200312 w 970063"/>
                <a:gd name="connsiteY538" fmla="*/ 215430 h 781090"/>
                <a:gd name="connsiteX539" fmla="*/ 200312 w 970063"/>
                <a:gd name="connsiteY539" fmla="*/ 215430 h 781090"/>
                <a:gd name="connsiteX540" fmla="*/ 197792 w 970063"/>
                <a:gd name="connsiteY540" fmla="*/ 215430 h 781090"/>
                <a:gd name="connsiteX541" fmla="*/ 194013 w 970063"/>
                <a:gd name="connsiteY541" fmla="*/ 215430 h 781090"/>
                <a:gd name="connsiteX542" fmla="*/ 194013 w 970063"/>
                <a:gd name="connsiteY542" fmla="*/ 215430 h 781090"/>
                <a:gd name="connsiteX543" fmla="*/ 191493 w 970063"/>
                <a:gd name="connsiteY543" fmla="*/ 216690 h 781090"/>
                <a:gd name="connsiteX544" fmla="*/ 191493 w 970063"/>
                <a:gd name="connsiteY544" fmla="*/ 216690 h 781090"/>
                <a:gd name="connsiteX545" fmla="*/ 190233 w 970063"/>
                <a:gd name="connsiteY545" fmla="*/ 216690 h 781090"/>
                <a:gd name="connsiteX546" fmla="*/ 181414 w 970063"/>
                <a:gd name="connsiteY546" fmla="*/ 212910 h 781090"/>
                <a:gd name="connsiteX547" fmla="*/ 175115 w 970063"/>
                <a:gd name="connsiteY547" fmla="*/ 210390 h 781090"/>
                <a:gd name="connsiteX548" fmla="*/ 172596 w 970063"/>
                <a:gd name="connsiteY548" fmla="*/ 209131 h 781090"/>
                <a:gd name="connsiteX549" fmla="*/ 165037 w 970063"/>
                <a:gd name="connsiteY549" fmla="*/ 204091 h 781090"/>
                <a:gd name="connsiteX550" fmla="*/ 154958 w 970063"/>
                <a:gd name="connsiteY550" fmla="*/ 199052 h 781090"/>
                <a:gd name="connsiteX551" fmla="*/ 146140 w 970063"/>
                <a:gd name="connsiteY551" fmla="*/ 194013 h 781090"/>
                <a:gd name="connsiteX552" fmla="*/ 138581 w 970063"/>
                <a:gd name="connsiteY552" fmla="*/ 190233 h 781090"/>
                <a:gd name="connsiteX553" fmla="*/ 99526 w 970063"/>
                <a:gd name="connsiteY553" fmla="*/ 165037 h 781090"/>
                <a:gd name="connsiteX554" fmla="*/ 99526 w 970063"/>
                <a:gd name="connsiteY554" fmla="*/ 165037 h 781090"/>
                <a:gd name="connsiteX555" fmla="*/ 79369 w 970063"/>
                <a:gd name="connsiteY555" fmla="*/ 151179 h 781090"/>
                <a:gd name="connsiteX556" fmla="*/ 64251 w 970063"/>
                <a:gd name="connsiteY556" fmla="*/ 138581 h 781090"/>
                <a:gd name="connsiteX557" fmla="*/ 60471 w 970063"/>
                <a:gd name="connsiteY557" fmla="*/ 136061 h 781090"/>
                <a:gd name="connsiteX558" fmla="*/ 42834 w 970063"/>
                <a:gd name="connsiteY558" fmla="*/ 120943 h 781090"/>
                <a:gd name="connsiteX559" fmla="*/ 41574 w 970063"/>
                <a:gd name="connsiteY559" fmla="*/ 120943 h 781090"/>
                <a:gd name="connsiteX560" fmla="*/ 25196 w 970063"/>
                <a:gd name="connsiteY560" fmla="*/ 105825 h 781090"/>
                <a:gd name="connsiteX561" fmla="*/ 17637 w 970063"/>
                <a:gd name="connsiteY561" fmla="*/ 95747 h 781090"/>
                <a:gd name="connsiteX562" fmla="*/ 11338 w 970063"/>
                <a:gd name="connsiteY562" fmla="*/ 85668 h 781090"/>
                <a:gd name="connsiteX563" fmla="*/ 1260 w 970063"/>
                <a:gd name="connsiteY563" fmla="*/ 69290 h 781090"/>
                <a:gd name="connsiteX564" fmla="*/ 0 w 970063"/>
                <a:gd name="connsiteY564" fmla="*/ 66771 h 781090"/>
                <a:gd name="connsiteX565" fmla="*/ 8819 w 970063"/>
                <a:gd name="connsiteY565" fmla="*/ 74330 h 781090"/>
                <a:gd name="connsiteX566" fmla="*/ 15118 w 970063"/>
                <a:gd name="connsiteY566" fmla="*/ 79369 h 781090"/>
                <a:gd name="connsiteX567" fmla="*/ 16378 w 970063"/>
                <a:gd name="connsiteY567" fmla="*/ 80629 h 781090"/>
                <a:gd name="connsiteX568" fmla="*/ 21417 w 970063"/>
                <a:gd name="connsiteY568" fmla="*/ 83148 h 781090"/>
                <a:gd name="connsiteX569" fmla="*/ 35275 w 970063"/>
                <a:gd name="connsiteY569" fmla="*/ 89448 h 781090"/>
                <a:gd name="connsiteX570" fmla="*/ 41574 w 970063"/>
                <a:gd name="connsiteY570" fmla="*/ 90707 h 781090"/>
                <a:gd name="connsiteX571" fmla="*/ 44094 w 970063"/>
                <a:gd name="connsiteY571" fmla="*/ 90707 h 781090"/>
                <a:gd name="connsiteX572" fmla="*/ 47873 w 970063"/>
                <a:gd name="connsiteY572" fmla="*/ 91967 h 781090"/>
                <a:gd name="connsiteX573" fmla="*/ 52913 w 970063"/>
                <a:gd name="connsiteY573" fmla="*/ 93227 h 781090"/>
                <a:gd name="connsiteX574" fmla="*/ 56692 w 970063"/>
                <a:gd name="connsiteY574" fmla="*/ 93227 h 781090"/>
                <a:gd name="connsiteX575" fmla="*/ 62991 w 970063"/>
                <a:gd name="connsiteY575" fmla="*/ 93227 h 781090"/>
                <a:gd name="connsiteX576" fmla="*/ 66770 w 970063"/>
                <a:gd name="connsiteY576" fmla="*/ 93227 h 781090"/>
                <a:gd name="connsiteX577" fmla="*/ 66770 w 970063"/>
                <a:gd name="connsiteY577" fmla="*/ 93227 h 781090"/>
                <a:gd name="connsiteX578" fmla="*/ 70550 w 970063"/>
                <a:gd name="connsiteY578" fmla="*/ 93227 h 781090"/>
                <a:gd name="connsiteX579" fmla="*/ 79369 w 970063"/>
                <a:gd name="connsiteY579" fmla="*/ 91967 h 781090"/>
                <a:gd name="connsiteX580" fmla="*/ 86928 w 970063"/>
                <a:gd name="connsiteY580" fmla="*/ 90707 h 781090"/>
                <a:gd name="connsiteX581" fmla="*/ 93227 w 970063"/>
                <a:gd name="connsiteY581" fmla="*/ 88188 h 781090"/>
                <a:gd name="connsiteX582" fmla="*/ 97007 w 970063"/>
                <a:gd name="connsiteY582" fmla="*/ 86928 h 781090"/>
                <a:gd name="connsiteX583" fmla="*/ 97007 w 970063"/>
                <a:gd name="connsiteY583" fmla="*/ 86928 h 781090"/>
                <a:gd name="connsiteX584" fmla="*/ 98266 w 970063"/>
                <a:gd name="connsiteY584" fmla="*/ 85668 h 781090"/>
                <a:gd name="connsiteX585" fmla="*/ 99526 w 970063"/>
                <a:gd name="connsiteY585" fmla="*/ 84408 h 781090"/>
                <a:gd name="connsiteX586" fmla="*/ 99526 w 970063"/>
                <a:gd name="connsiteY586" fmla="*/ 84408 h 781090"/>
                <a:gd name="connsiteX587" fmla="*/ 104565 w 970063"/>
                <a:gd name="connsiteY587" fmla="*/ 81889 h 781090"/>
                <a:gd name="connsiteX588" fmla="*/ 105825 w 970063"/>
                <a:gd name="connsiteY588" fmla="*/ 81889 h 781090"/>
                <a:gd name="connsiteX589" fmla="*/ 112124 w 970063"/>
                <a:gd name="connsiteY589" fmla="*/ 78109 h 781090"/>
                <a:gd name="connsiteX590" fmla="*/ 118423 w 970063"/>
                <a:gd name="connsiteY590" fmla="*/ 74330 h 781090"/>
                <a:gd name="connsiteX591" fmla="*/ 124722 w 970063"/>
                <a:gd name="connsiteY591" fmla="*/ 68031 h 781090"/>
                <a:gd name="connsiteX592" fmla="*/ 127242 w 970063"/>
                <a:gd name="connsiteY592" fmla="*/ 64251 h 781090"/>
                <a:gd name="connsiteX593" fmla="*/ 127242 w 970063"/>
                <a:gd name="connsiteY593" fmla="*/ 64251 h 781090"/>
                <a:gd name="connsiteX594" fmla="*/ 128502 w 970063"/>
                <a:gd name="connsiteY594" fmla="*/ 61731 h 781090"/>
                <a:gd name="connsiteX595" fmla="*/ 133541 w 970063"/>
                <a:gd name="connsiteY595" fmla="*/ 51653 h 781090"/>
                <a:gd name="connsiteX596" fmla="*/ 134801 w 970063"/>
                <a:gd name="connsiteY596" fmla="*/ 49133 h 781090"/>
                <a:gd name="connsiteX597" fmla="*/ 134801 w 970063"/>
                <a:gd name="connsiteY597" fmla="*/ 49133 h 781090"/>
                <a:gd name="connsiteX598" fmla="*/ 134801 w 970063"/>
                <a:gd name="connsiteY598" fmla="*/ 49133 h 781090"/>
                <a:gd name="connsiteX599" fmla="*/ 134801 w 970063"/>
                <a:gd name="connsiteY599" fmla="*/ 49133 h 781090"/>
                <a:gd name="connsiteX600" fmla="*/ 134801 w 970063"/>
                <a:gd name="connsiteY600" fmla="*/ 49133 h 781090"/>
                <a:gd name="connsiteX601" fmla="*/ 134801 w 970063"/>
                <a:gd name="connsiteY601" fmla="*/ 49133 h 781090"/>
                <a:gd name="connsiteX602" fmla="*/ 134801 w 970063"/>
                <a:gd name="connsiteY602" fmla="*/ 49133 h 781090"/>
                <a:gd name="connsiteX603" fmla="*/ 139840 w 970063"/>
                <a:gd name="connsiteY603" fmla="*/ 35275 h 781090"/>
                <a:gd name="connsiteX604" fmla="*/ 139840 w 970063"/>
                <a:gd name="connsiteY604" fmla="*/ 34015 h 781090"/>
                <a:gd name="connsiteX605" fmla="*/ 141100 w 970063"/>
                <a:gd name="connsiteY605" fmla="*/ 28976 h 781090"/>
                <a:gd name="connsiteX606" fmla="*/ 142360 w 970063"/>
                <a:gd name="connsiteY606" fmla="*/ 22677 h 781090"/>
                <a:gd name="connsiteX607" fmla="*/ 142360 w 970063"/>
                <a:gd name="connsiteY607" fmla="*/ 16378 h 781090"/>
                <a:gd name="connsiteX608" fmla="*/ 142360 w 970063"/>
                <a:gd name="connsiteY608" fmla="*/ 15118 h 781090"/>
                <a:gd name="connsiteX609" fmla="*/ 142360 w 970063"/>
                <a:gd name="connsiteY609" fmla="*/ 15118 h 781090"/>
                <a:gd name="connsiteX610" fmla="*/ 142360 w 970063"/>
                <a:gd name="connsiteY610" fmla="*/ 15118 h 781090"/>
                <a:gd name="connsiteX611" fmla="*/ 142360 w 970063"/>
                <a:gd name="connsiteY611" fmla="*/ 12598 h 781090"/>
                <a:gd name="connsiteX612" fmla="*/ 141100 w 970063"/>
                <a:gd name="connsiteY612" fmla="*/ 5039 h 781090"/>
                <a:gd name="connsiteX613" fmla="*/ 139840 w 970063"/>
                <a:gd name="connsiteY613" fmla="*/ 0 h 781090"/>
                <a:gd name="connsiteX614" fmla="*/ 151179 w 970063"/>
                <a:gd name="connsiteY614" fmla="*/ 12598 h 78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Lst>
              <a:rect l="l" t="t" r="r" b="b"/>
              <a:pathLst>
                <a:path w="970063" h="781090">
                  <a:moveTo>
                    <a:pt x="151179" y="12598"/>
                  </a:moveTo>
                  <a:cubicBezTo>
                    <a:pt x="153699" y="16378"/>
                    <a:pt x="154958" y="20157"/>
                    <a:pt x="157478" y="22677"/>
                  </a:cubicBezTo>
                  <a:cubicBezTo>
                    <a:pt x="159998" y="25196"/>
                    <a:pt x="162517" y="27716"/>
                    <a:pt x="166297" y="30236"/>
                  </a:cubicBezTo>
                  <a:cubicBezTo>
                    <a:pt x="168816" y="32755"/>
                    <a:pt x="171336" y="34015"/>
                    <a:pt x="173855" y="35275"/>
                  </a:cubicBezTo>
                  <a:cubicBezTo>
                    <a:pt x="177635" y="36535"/>
                    <a:pt x="181414" y="39055"/>
                    <a:pt x="185194" y="40314"/>
                  </a:cubicBezTo>
                  <a:cubicBezTo>
                    <a:pt x="187714" y="41574"/>
                    <a:pt x="191493" y="42834"/>
                    <a:pt x="194013" y="44094"/>
                  </a:cubicBezTo>
                  <a:cubicBezTo>
                    <a:pt x="196533" y="45354"/>
                    <a:pt x="200312" y="46613"/>
                    <a:pt x="204092" y="47873"/>
                  </a:cubicBezTo>
                  <a:cubicBezTo>
                    <a:pt x="204092" y="47873"/>
                    <a:pt x="205351" y="47873"/>
                    <a:pt x="205351" y="47873"/>
                  </a:cubicBezTo>
                  <a:cubicBezTo>
                    <a:pt x="205351" y="47873"/>
                    <a:pt x="205351" y="47873"/>
                    <a:pt x="205351" y="47873"/>
                  </a:cubicBezTo>
                  <a:cubicBezTo>
                    <a:pt x="209131" y="50393"/>
                    <a:pt x="212910" y="52913"/>
                    <a:pt x="216690" y="55432"/>
                  </a:cubicBezTo>
                  <a:cubicBezTo>
                    <a:pt x="219209" y="56692"/>
                    <a:pt x="222989" y="57952"/>
                    <a:pt x="225508" y="60472"/>
                  </a:cubicBezTo>
                  <a:lnTo>
                    <a:pt x="229288" y="62991"/>
                  </a:lnTo>
                  <a:lnTo>
                    <a:pt x="234327" y="65511"/>
                  </a:lnTo>
                  <a:cubicBezTo>
                    <a:pt x="240626" y="69290"/>
                    <a:pt x="248185" y="73070"/>
                    <a:pt x="255744" y="75589"/>
                  </a:cubicBezTo>
                  <a:cubicBezTo>
                    <a:pt x="262043" y="78109"/>
                    <a:pt x="267083" y="79369"/>
                    <a:pt x="272122" y="80629"/>
                  </a:cubicBezTo>
                  <a:cubicBezTo>
                    <a:pt x="277161" y="81889"/>
                    <a:pt x="282200" y="83148"/>
                    <a:pt x="287240" y="83148"/>
                  </a:cubicBezTo>
                  <a:lnTo>
                    <a:pt x="288499" y="83148"/>
                  </a:lnTo>
                  <a:cubicBezTo>
                    <a:pt x="291019" y="83148"/>
                    <a:pt x="293539" y="84408"/>
                    <a:pt x="294799" y="84408"/>
                  </a:cubicBezTo>
                  <a:cubicBezTo>
                    <a:pt x="297318" y="84408"/>
                    <a:pt x="298578" y="85668"/>
                    <a:pt x="301098" y="85668"/>
                  </a:cubicBezTo>
                  <a:lnTo>
                    <a:pt x="302358" y="85668"/>
                  </a:lnTo>
                  <a:cubicBezTo>
                    <a:pt x="303617" y="85668"/>
                    <a:pt x="303617" y="85668"/>
                    <a:pt x="304877" y="85668"/>
                  </a:cubicBezTo>
                  <a:cubicBezTo>
                    <a:pt x="307397" y="86928"/>
                    <a:pt x="309917" y="86928"/>
                    <a:pt x="312436" y="88188"/>
                  </a:cubicBezTo>
                  <a:lnTo>
                    <a:pt x="309917" y="86928"/>
                  </a:lnTo>
                  <a:cubicBezTo>
                    <a:pt x="314956" y="88188"/>
                    <a:pt x="318735" y="90707"/>
                    <a:pt x="323775" y="91967"/>
                  </a:cubicBezTo>
                  <a:cubicBezTo>
                    <a:pt x="326294" y="91967"/>
                    <a:pt x="327554" y="93227"/>
                    <a:pt x="330074" y="93227"/>
                  </a:cubicBezTo>
                  <a:cubicBezTo>
                    <a:pt x="332593" y="93227"/>
                    <a:pt x="333853" y="94487"/>
                    <a:pt x="336373" y="94487"/>
                  </a:cubicBezTo>
                  <a:cubicBezTo>
                    <a:pt x="338892" y="94487"/>
                    <a:pt x="341412" y="95747"/>
                    <a:pt x="343932" y="95747"/>
                  </a:cubicBezTo>
                  <a:cubicBezTo>
                    <a:pt x="347711" y="95747"/>
                    <a:pt x="350231" y="97006"/>
                    <a:pt x="354010" y="98266"/>
                  </a:cubicBezTo>
                  <a:cubicBezTo>
                    <a:pt x="356530" y="99526"/>
                    <a:pt x="360310" y="99526"/>
                    <a:pt x="362829" y="100786"/>
                  </a:cubicBezTo>
                  <a:cubicBezTo>
                    <a:pt x="365349" y="102046"/>
                    <a:pt x="369128" y="102046"/>
                    <a:pt x="371648" y="103305"/>
                  </a:cubicBezTo>
                  <a:cubicBezTo>
                    <a:pt x="374168" y="103305"/>
                    <a:pt x="376687" y="103305"/>
                    <a:pt x="379207" y="103305"/>
                  </a:cubicBezTo>
                  <a:cubicBezTo>
                    <a:pt x="380467" y="103305"/>
                    <a:pt x="381726" y="103305"/>
                    <a:pt x="384246" y="103305"/>
                  </a:cubicBezTo>
                  <a:cubicBezTo>
                    <a:pt x="388025" y="103305"/>
                    <a:pt x="390545" y="103305"/>
                    <a:pt x="394325" y="103305"/>
                  </a:cubicBezTo>
                  <a:cubicBezTo>
                    <a:pt x="401884" y="102046"/>
                    <a:pt x="408183" y="100786"/>
                    <a:pt x="415742" y="99526"/>
                  </a:cubicBezTo>
                  <a:cubicBezTo>
                    <a:pt x="417002" y="99526"/>
                    <a:pt x="418261" y="99526"/>
                    <a:pt x="419521" y="98266"/>
                  </a:cubicBezTo>
                  <a:cubicBezTo>
                    <a:pt x="423301" y="97006"/>
                    <a:pt x="427080" y="97006"/>
                    <a:pt x="430860" y="95747"/>
                  </a:cubicBezTo>
                  <a:cubicBezTo>
                    <a:pt x="433379" y="94487"/>
                    <a:pt x="437159" y="94487"/>
                    <a:pt x="439678" y="93227"/>
                  </a:cubicBezTo>
                  <a:cubicBezTo>
                    <a:pt x="445977" y="91967"/>
                    <a:pt x="452276" y="89448"/>
                    <a:pt x="458576" y="86928"/>
                  </a:cubicBezTo>
                  <a:lnTo>
                    <a:pt x="467395" y="84408"/>
                  </a:lnTo>
                  <a:cubicBezTo>
                    <a:pt x="469914" y="83148"/>
                    <a:pt x="472434" y="83148"/>
                    <a:pt x="474954" y="81889"/>
                  </a:cubicBezTo>
                  <a:cubicBezTo>
                    <a:pt x="477473" y="80629"/>
                    <a:pt x="481253" y="79369"/>
                    <a:pt x="482512" y="78109"/>
                  </a:cubicBezTo>
                  <a:cubicBezTo>
                    <a:pt x="483772" y="76849"/>
                    <a:pt x="485032" y="76849"/>
                    <a:pt x="486292" y="75589"/>
                  </a:cubicBezTo>
                  <a:cubicBezTo>
                    <a:pt x="486292" y="75589"/>
                    <a:pt x="486292" y="75589"/>
                    <a:pt x="486292" y="75589"/>
                  </a:cubicBezTo>
                  <a:lnTo>
                    <a:pt x="486292" y="75589"/>
                  </a:lnTo>
                  <a:cubicBezTo>
                    <a:pt x="486292" y="78109"/>
                    <a:pt x="486292" y="80629"/>
                    <a:pt x="487552" y="83148"/>
                  </a:cubicBezTo>
                  <a:cubicBezTo>
                    <a:pt x="487552" y="85668"/>
                    <a:pt x="488811" y="88188"/>
                    <a:pt x="490071" y="90707"/>
                  </a:cubicBezTo>
                  <a:cubicBezTo>
                    <a:pt x="491331" y="91967"/>
                    <a:pt x="491331" y="94487"/>
                    <a:pt x="492591" y="97006"/>
                  </a:cubicBezTo>
                  <a:cubicBezTo>
                    <a:pt x="493851" y="98266"/>
                    <a:pt x="495110" y="100786"/>
                    <a:pt x="497630" y="103305"/>
                  </a:cubicBezTo>
                  <a:cubicBezTo>
                    <a:pt x="498890" y="104565"/>
                    <a:pt x="501410" y="107085"/>
                    <a:pt x="503929" y="108345"/>
                  </a:cubicBezTo>
                  <a:cubicBezTo>
                    <a:pt x="508969" y="110864"/>
                    <a:pt x="512748" y="113384"/>
                    <a:pt x="516528" y="114644"/>
                  </a:cubicBezTo>
                  <a:cubicBezTo>
                    <a:pt x="519047" y="115904"/>
                    <a:pt x="521567" y="117164"/>
                    <a:pt x="524087" y="117164"/>
                  </a:cubicBezTo>
                  <a:cubicBezTo>
                    <a:pt x="526606" y="118424"/>
                    <a:pt x="529126" y="118424"/>
                    <a:pt x="531646" y="118424"/>
                  </a:cubicBezTo>
                  <a:cubicBezTo>
                    <a:pt x="531646" y="118424"/>
                    <a:pt x="532905" y="118424"/>
                    <a:pt x="532905" y="118424"/>
                  </a:cubicBezTo>
                  <a:cubicBezTo>
                    <a:pt x="536685" y="118424"/>
                    <a:pt x="539204" y="118424"/>
                    <a:pt x="541724" y="118424"/>
                  </a:cubicBezTo>
                  <a:cubicBezTo>
                    <a:pt x="544244" y="118424"/>
                    <a:pt x="548023" y="118424"/>
                    <a:pt x="551802" y="118424"/>
                  </a:cubicBezTo>
                  <a:cubicBezTo>
                    <a:pt x="558102" y="117164"/>
                    <a:pt x="564401" y="115904"/>
                    <a:pt x="569440" y="113384"/>
                  </a:cubicBezTo>
                  <a:cubicBezTo>
                    <a:pt x="571960" y="112124"/>
                    <a:pt x="574480" y="110864"/>
                    <a:pt x="575739" y="109605"/>
                  </a:cubicBezTo>
                  <a:lnTo>
                    <a:pt x="576999" y="108345"/>
                  </a:lnTo>
                  <a:cubicBezTo>
                    <a:pt x="579519" y="107085"/>
                    <a:pt x="583298" y="104565"/>
                    <a:pt x="585818" y="103305"/>
                  </a:cubicBezTo>
                  <a:cubicBezTo>
                    <a:pt x="590857" y="99526"/>
                    <a:pt x="594637" y="95747"/>
                    <a:pt x="598416" y="90707"/>
                  </a:cubicBezTo>
                  <a:cubicBezTo>
                    <a:pt x="599676" y="88188"/>
                    <a:pt x="602195" y="86928"/>
                    <a:pt x="603455" y="84408"/>
                  </a:cubicBezTo>
                  <a:cubicBezTo>
                    <a:pt x="604715" y="81889"/>
                    <a:pt x="605975" y="78109"/>
                    <a:pt x="607235" y="75589"/>
                  </a:cubicBezTo>
                  <a:cubicBezTo>
                    <a:pt x="607235" y="74330"/>
                    <a:pt x="608494" y="73070"/>
                    <a:pt x="608494" y="71810"/>
                  </a:cubicBezTo>
                  <a:lnTo>
                    <a:pt x="608494" y="70550"/>
                  </a:lnTo>
                  <a:cubicBezTo>
                    <a:pt x="608494" y="69290"/>
                    <a:pt x="608494" y="68031"/>
                    <a:pt x="608494" y="66771"/>
                  </a:cubicBezTo>
                  <a:cubicBezTo>
                    <a:pt x="608494" y="65511"/>
                    <a:pt x="608494" y="64251"/>
                    <a:pt x="608494" y="62991"/>
                  </a:cubicBezTo>
                  <a:lnTo>
                    <a:pt x="608494" y="62991"/>
                  </a:lnTo>
                  <a:lnTo>
                    <a:pt x="608494" y="62991"/>
                  </a:lnTo>
                  <a:cubicBezTo>
                    <a:pt x="609754" y="62991"/>
                    <a:pt x="611014" y="64251"/>
                    <a:pt x="612274" y="64251"/>
                  </a:cubicBezTo>
                  <a:lnTo>
                    <a:pt x="612274" y="64251"/>
                  </a:lnTo>
                  <a:lnTo>
                    <a:pt x="613534" y="64251"/>
                  </a:lnTo>
                  <a:lnTo>
                    <a:pt x="614794" y="64251"/>
                  </a:lnTo>
                  <a:lnTo>
                    <a:pt x="616054" y="64251"/>
                  </a:lnTo>
                  <a:cubicBezTo>
                    <a:pt x="619833" y="65511"/>
                    <a:pt x="623613" y="65511"/>
                    <a:pt x="626132" y="66771"/>
                  </a:cubicBezTo>
                  <a:cubicBezTo>
                    <a:pt x="627392" y="66771"/>
                    <a:pt x="628652" y="68031"/>
                    <a:pt x="629912" y="68031"/>
                  </a:cubicBezTo>
                  <a:lnTo>
                    <a:pt x="631172" y="68031"/>
                  </a:lnTo>
                  <a:lnTo>
                    <a:pt x="632431" y="68031"/>
                  </a:lnTo>
                  <a:lnTo>
                    <a:pt x="633691" y="68031"/>
                  </a:lnTo>
                  <a:cubicBezTo>
                    <a:pt x="636211" y="68031"/>
                    <a:pt x="637471" y="69290"/>
                    <a:pt x="639990" y="69290"/>
                  </a:cubicBezTo>
                  <a:cubicBezTo>
                    <a:pt x="641250" y="69290"/>
                    <a:pt x="642510" y="69290"/>
                    <a:pt x="643770" y="69290"/>
                  </a:cubicBezTo>
                  <a:cubicBezTo>
                    <a:pt x="647549" y="69290"/>
                    <a:pt x="652588" y="70550"/>
                    <a:pt x="656368" y="71810"/>
                  </a:cubicBezTo>
                  <a:cubicBezTo>
                    <a:pt x="660147" y="73070"/>
                    <a:pt x="663927" y="74330"/>
                    <a:pt x="668966" y="75589"/>
                  </a:cubicBezTo>
                  <a:cubicBezTo>
                    <a:pt x="668966" y="75589"/>
                    <a:pt x="670226" y="75589"/>
                    <a:pt x="670226" y="75589"/>
                  </a:cubicBezTo>
                  <a:cubicBezTo>
                    <a:pt x="674005" y="75589"/>
                    <a:pt x="676525" y="76849"/>
                    <a:pt x="680305" y="78109"/>
                  </a:cubicBezTo>
                  <a:cubicBezTo>
                    <a:pt x="686604" y="80629"/>
                    <a:pt x="694163" y="83148"/>
                    <a:pt x="702981" y="86928"/>
                  </a:cubicBezTo>
                  <a:cubicBezTo>
                    <a:pt x="706761" y="89448"/>
                    <a:pt x="711800" y="90707"/>
                    <a:pt x="714320" y="93227"/>
                  </a:cubicBezTo>
                  <a:lnTo>
                    <a:pt x="714320" y="93227"/>
                  </a:lnTo>
                  <a:cubicBezTo>
                    <a:pt x="716839" y="94487"/>
                    <a:pt x="719359" y="95747"/>
                    <a:pt x="721879" y="97006"/>
                  </a:cubicBezTo>
                  <a:cubicBezTo>
                    <a:pt x="729438" y="100786"/>
                    <a:pt x="735737" y="104565"/>
                    <a:pt x="740776" y="107085"/>
                  </a:cubicBezTo>
                  <a:cubicBezTo>
                    <a:pt x="744556" y="109605"/>
                    <a:pt x="748335" y="112124"/>
                    <a:pt x="750855" y="114644"/>
                  </a:cubicBezTo>
                  <a:cubicBezTo>
                    <a:pt x="753374" y="117164"/>
                    <a:pt x="755894" y="119683"/>
                    <a:pt x="758414" y="122203"/>
                  </a:cubicBezTo>
                  <a:cubicBezTo>
                    <a:pt x="763453" y="127242"/>
                    <a:pt x="767232" y="132281"/>
                    <a:pt x="772272" y="137321"/>
                  </a:cubicBezTo>
                  <a:cubicBezTo>
                    <a:pt x="773531" y="139840"/>
                    <a:pt x="776051" y="141100"/>
                    <a:pt x="777311" y="143620"/>
                  </a:cubicBezTo>
                  <a:cubicBezTo>
                    <a:pt x="779831" y="146140"/>
                    <a:pt x="782350" y="147399"/>
                    <a:pt x="783610" y="149919"/>
                  </a:cubicBezTo>
                  <a:cubicBezTo>
                    <a:pt x="786130" y="151179"/>
                    <a:pt x="788649" y="154958"/>
                    <a:pt x="791169" y="157478"/>
                  </a:cubicBezTo>
                  <a:cubicBezTo>
                    <a:pt x="792429" y="159998"/>
                    <a:pt x="794949" y="161257"/>
                    <a:pt x="796208" y="165037"/>
                  </a:cubicBezTo>
                  <a:cubicBezTo>
                    <a:pt x="801248" y="170076"/>
                    <a:pt x="805027" y="175116"/>
                    <a:pt x="808807" y="178895"/>
                  </a:cubicBezTo>
                  <a:lnTo>
                    <a:pt x="812586" y="183934"/>
                  </a:lnTo>
                  <a:lnTo>
                    <a:pt x="813846" y="185194"/>
                  </a:lnTo>
                  <a:lnTo>
                    <a:pt x="815106" y="186454"/>
                  </a:lnTo>
                  <a:lnTo>
                    <a:pt x="816365" y="187714"/>
                  </a:lnTo>
                  <a:cubicBezTo>
                    <a:pt x="818885" y="190233"/>
                    <a:pt x="820145" y="192753"/>
                    <a:pt x="822664" y="195273"/>
                  </a:cubicBezTo>
                  <a:cubicBezTo>
                    <a:pt x="826444" y="199052"/>
                    <a:pt x="830223" y="204091"/>
                    <a:pt x="834003" y="206611"/>
                  </a:cubicBezTo>
                  <a:lnTo>
                    <a:pt x="834003" y="206611"/>
                  </a:lnTo>
                  <a:cubicBezTo>
                    <a:pt x="835263" y="207871"/>
                    <a:pt x="835263" y="207871"/>
                    <a:pt x="836523" y="209131"/>
                  </a:cubicBezTo>
                  <a:lnTo>
                    <a:pt x="837782" y="210390"/>
                  </a:lnTo>
                  <a:cubicBezTo>
                    <a:pt x="840302" y="214170"/>
                    <a:pt x="844082" y="216690"/>
                    <a:pt x="846601" y="220469"/>
                  </a:cubicBezTo>
                  <a:cubicBezTo>
                    <a:pt x="847861" y="222989"/>
                    <a:pt x="850381" y="224249"/>
                    <a:pt x="851641" y="226768"/>
                  </a:cubicBezTo>
                  <a:cubicBezTo>
                    <a:pt x="855420" y="230548"/>
                    <a:pt x="859200" y="235587"/>
                    <a:pt x="861719" y="239366"/>
                  </a:cubicBezTo>
                  <a:lnTo>
                    <a:pt x="861719" y="239366"/>
                  </a:lnTo>
                  <a:lnTo>
                    <a:pt x="861719" y="239366"/>
                  </a:lnTo>
                  <a:lnTo>
                    <a:pt x="865499" y="243146"/>
                  </a:lnTo>
                  <a:cubicBezTo>
                    <a:pt x="866758" y="244406"/>
                    <a:pt x="868018" y="245666"/>
                    <a:pt x="869278" y="246925"/>
                  </a:cubicBezTo>
                  <a:lnTo>
                    <a:pt x="869278" y="246925"/>
                  </a:lnTo>
                  <a:lnTo>
                    <a:pt x="869278" y="246925"/>
                  </a:lnTo>
                  <a:lnTo>
                    <a:pt x="869278" y="246925"/>
                  </a:lnTo>
                  <a:cubicBezTo>
                    <a:pt x="871798" y="250705"/>
                    <a:pt x="875577" y="254484"/>
                    <a:pt x="878097" y="258264"/>
                  </a:cubicBezTo>
                  <a:cubicBezTo>
                    <a:pt x="881876" y="263303"/>
                    <a:pt x="885656" y="268342"/>
                    <a:pt x="888175" y="273382"/>
                  </a:cubicBezTo>
                  <a:lnTo>
                    <a:pt x="889435" y="274642"/>
                  </a:lnTo>
                  <a:lnTo>
                    <a:pt x="889435" y="275901"/>
                  </a:lnTo>
                  <a:cubicBezTo>
                    <a:pt x="889435" y="277161"/>
                    <a:pt x="890695" y="277161"/>
                    <a:pt x="890695" y="278421"/>
                  </a:cubicBezTo>
                  <a:cubicBezTo>
                    <a:pt x="894475" y="283460"/>
                    <a:pt x="898254" y="289759"/>
                    <a:pt x="902034" y="294799"/>
                  </a:cubicBezTo>
                  <a:lnTo>
                    <a:pt x="902034" y="296058"/>
                  </a:lnTo>
                  <a:lnTo>
                    <a:pt x="903293" y="297318"/>
                  </a:lnTo>
                  <a:cubicBezTo>
                    <a:pt x="904553" y="299838"/>
                    <a:pt x="907073" y="302358"/>
                    <a:pt x="908333" y="306137"/>
                  </a:cubicBezTo>
                  <a:cubicBezTo>
                    <a:pt x="909593" y="307397"/>
                    <a:pt x="910852" y="309917"/>
                    <a:pt x="912112" y="311176"/>
                  </a:cubicBezTo>
                  <a:lnTo>
                    <a:pt x="912112" y="311176"/>
                  </a:lnTo>
                  <a:cubicBezTo>
                    <a:pt x="913372" y="312436"/>
                    <a:pt x="913372" y="313696"/>
                    <a:pt x="914632" y="314956"/>
                  </a:cubicBezTo>
                  <a:cubicBezTo>
                    <a:pt x="918411" y="319995"/>
                    <a:pt x="922191" y="326294"/>
                    <a:pt x="925970" y="332593"/>
                  </a:cubicBezTo>
                  <a:cubicBezTo>
                    <a:pt x="932269" y="342672"/>
                    <a:pt x="938568" y="352751"/>
                    <a:pt x="943608" y="362829"/>
                  </a:cubicBezTo>
                  <a:lnTo>
                    <a:pt x="947387" y="369128"/>
                  </a:lnTo>
                  <a:cubicBezTo>
                    <a:pt x="947387" y="370388"/>
                    <a:pt x="948647" y="371648"/>
                    <a:pt x="948647" y="371648"/>
                  </a:cubicBezTo>
                  <a:lnTo>
                    <a:pt x="948647" y="371648"/>
                  </a:lnTo>
                  <a:lnTo>
                    <a:pt x="948647" y="371648"/>
                  </a:lnTo>
                  <a:cubicBezTo>
                    <a:pt x="951167" y="375427"/>
                    <a:pt x="953686" y="380467"/>
                    <a:pt x="956206" y="385506"/>
                  </a:cubicBezTo>
                  <a:lnTo>
                    <a:pt x="957466" y="388026"/>
                  </a:lnTo>
                  <a:lnTo>
                    <a:pt x="957466" y="388026"/>
                  </a:lnTo>
                  <a:lnTo>
                    <a:pt x="957466" y="388026"/>
                  </a:lnTo>
                  <a:cubicBezTo>
                    <a:pt x="958726" y="389286"/>
                    <a:pt x="958726" y="391805"/>
                    <a:pt x="959985" y="393065"/>
                  </a:cubicBezTo>
                  <a:cubicBezTo>
                    <a:pt x="961245" y="395585"/>
                    <a:pt x="962505" y="399364"/>
                    <a:pt x="963765" y="403143"/>
                  </a:cubicBezTo>
                  <a:lnTo>
                    <a:pt x="963765" y="403143"/>
                  </a:lnTo>
                  <a:cubicBezTo>
                    <a:pt x="965025" y="406923"/>
                    <a:pt x="966285" y="409443"/>
                    <a:pt x="966285" y="411962"/>
                  </a:cubicBezTo>
                  <a:cubicBezTo>
                    <a:pt x="967544" y="415742"/>
                    <a:pt x="967544" y="418261"/>
                    <a:pt x="968804" y="420781"/>
                  </a:cubicBezTo>
                  <a:cubicBezTo>
                    <a:pt x="970064" y="428340"/>
                    <a:pt x="971324" y="435899"/>
                    <a:pt x="971324" y="442198"/>
                  </a:cubicBezTo>
                  <a:cubicBezTo>
                    <a:pt x="971324" y="449757"/>
                    <a:pt x="970064" y="456056"/>
                    <a:pt x="968804" y="462355"/>
                  </a:cubicBezTo>
                  <a:cubicBezTo>
                    <a:pt x="968804" y="466135"/>
                    <a:pt x="967544" y="469914"/>
                    <a:pt x="966285" y="473694"/>
                  </a:cubicBezTo>
                  <a:cubicBezTo>
                    <a:pt x="965025" y="477473"/>
                    <a:pt x="963765" y="479993"/>
                    <a:pt x="961245" y="483772"/>
                  </a:cubicBezTo>
                  <a:cubicBezTo>
                    <a:pt x="961245" y="485032"/>
                    <a:pt x="959985" y="485032"/>
                    <a:pt x="958726" y="486292"/>
                  </a:cubicBezTo>
                  <a:lnTo>
                    <a:pt x="958726" y="486292"/>
                  </a:lnTo>
                  <a:cubicBezTo>
                    <a:pt x="959985" y="478733"/>
                    <a:pt x="959985" y="472434"/>
                    <a:pt x="959985" y="467395"/>
                  </a:cubicBezTo>
                  <a:cubicBezTo>
                    <a:pt x="959985" y="462355"/>
                    <a:pt x="959985" y="454796"/>
                    <a:pt x="959985" y="448497"/>
                  </a:cubicBezTo>
                  <a:cubicBezTo>
                    <a:pt x="959985" y="445978"/>
                    <a:pt x="958726" y="443458"/>
                    <a:pt x="958726" y="440938"/>
                  </a:cubicBezTo>
                  <a:lnTo>
                    <a:pt x="958726" y="440938"/>
                  </a:lnTo>
                  <a:lnTo>
                    <a:pt x="958726" y="440938"/>
                  </a:lnTo>
                  <a:cubicBezTo>
                    <a:pt x="957466" y="437159"/>
                    <a:pt x="956206" y="434639"/>
                    <a:pt x="956206" y="430860"/>
                  </a:cubicBezTo>
                  <a:cubicBezTo>
                    <a:pt x="954946" y="427080"/>
                    <a:pt x="952426" y="423301"/>
                    <a:pt x="951167" y="419521"/>
                  </a:cubicBezTo>
                  <a:cubicBezTo>
                    <a:pt x="949907" y="418261"/>
                    <a:pt x="948647" y="417002"/>
                    <a:pt x="947387" y="415742"/>
                  </a:cubicBezTo>
                  <a:cubicBezTo>
                    <a:pt x="944867" y="414482"/>
                    <a:pt x="942348" y="413222"/>
                    <a:pt x="939828" y="411962"/>
                  </a:cubicBezTo>
                  <a:lnTo>
                    <a:pt x="938568" y="410702"/>
                  </a:lnTo>
                  <a:cubicBezTo>
                    <a:pt x="936049" y="409443"/>
                    <a:pt x="933529" y="408183"/>
                    <a:pt x="931009" y="406923"/>
                  </a:cubicBezTo>
                  <a:cubicBezTo>
                    <a:pt x="928490" y="405663"/>
                    <a:pt x="927230" y="405663"/>
                    <a:pt x="924710" y="405663"/>
                  </a:cubicBezTo>
                  <a:lnTo>
                    <a:pt x="923450" y="405663"/>
                  </a:lnTo>
                  <a:cubicBezTo>
                    <a:pt x="919671" y="405663"/>
                    <a:pt x="915892" y="405663"/>
                    <a:pt x="912112" y="405663"/>
                  </a:cubicBezTo>
                  <a:cubicBezTo>
                    <a:pt x="908333" y="405663"/>
                    <a:pt x="903293" y="405663"/>
                    <a:pt x="899514" y="406923"/>
                  </a:cubicBezTo>
                  <a:cubicBezTo>
                    <a:pt x="891955" y="408183"/>
                    <a:pt x="885656" y="410702"/>
                    <a:pt x="878097" y="413222"/>
                  </a:cubicBezTo>
                  <a:cubicBezTo>
                    <a:pt x="871798" y="415742"/>
                    <a:pt x="865499" y="419521"/>
                    <a:pt x="860459" y="422041"/>
                  </a:cubicBezTo>
                  <a:cubicBezTo>
                    <a:pt x="857940" y="423301"/>
                    <a:pt x="856680" y="424560"/>
                    <a:pt x="854160" y="425820"/>
                  </a:cubicBezTo>
                  <a:lnTo>
                    <a:pt x="854160" y="425820"/>
                  </a:lnTo>
                  <a:cubicBezTo>
                    <a:pt x="852901" y="427080"/>
                    <a:pt x="851641" y="427080"/>
                    <a:pt x="850381" y="428340"/>
                  </a:cubicBezTo>
                  <a:cubicBezTo>
                    <a:pt x="847861" y="429600"/>
                    <a:pt x="845341" y="430860"/>
                    <a:pt x="841562" y="433379"/>
                  </a:cubicBezTo>
                  <a:cubicBezTo>
                    <a:pt x="840302" y="434639"/>
                    <a:pt x="837782" y="435899"/>
                    <a:pt x="836523" y="437159"/>
                  </a:cubicBezTo>
                  <a:cubicBezTo>
                    <a:pt x="835263" y="438419"/>
                    <a:pt x="832743" y="439678"/>
                    <a:pt x="831483" y="440938"/>
                  </a:cubicBezTo>
                  <a:cubicBezTo>
                    <a:pt x="826444" y="444718"/>
                    <a:pt x="822664" y="447237"/>
                    <a:pt x="820145" y="449757"/>
                  </a:cubicBezTo>
                  <a:lnTo>
                    <a:pt x="820145" y="449757"/>
                  </a:lnTo>
                  <a:lnTo>
                    <a:pt x="820145" y="449757"/>
                  </a:lnTo>
                  <a:lnTo>
                    <a:pt x="820145" y="449757"/>
                  </a:lnTo>
                  <a:lnTo>
                    <a:pt x="820145" y="449757"/>
                  </a:lnTo>
                  <a:cubicBezTo>
                    <a:pt x="820145" y="449757"/>
                    <a:pt x="820145" y="449757"/>
                    <a:pt x="820145" y="449757"/>
                  </a:cubicBezTo>
                  <a:lnTo>
                    <a:pt x="820145" y="449757"/>
                  </a:lnTo>
                  <a:lnTo>
                    <a:pt x="821405" y="449757"/>
                  </a:lnTo>
                  <a:lnTo>
                    <a:pt x="821405" y="449757"/>
                  </a:lnTo>
                  <a:cubicBezTo>
                    <a:pt x="820145" y="451017"/>
                    <a:pt x="818885" y="452277"/>
                    <a:pt x="817625" y="452277"/>
                  </a:cubicBezTo>
                  <a:lnTo>
                    <a:pt x="817625" y="452277"/>
                  </a:lnTo>
                  <a:lnTo>
                    <a:pt x="817625" y="452277"/>
                  </a:lnTo>
                  <a:lnTo>
                    <a:pt x="817625" y="452277"/>
                  </a:lnTo>
                  <a:lnTo>
                    <a:pt x="817625" y="452277"/>
                  </a:lnTo>
                  <a:lnTo>
                    <a:pt x="817625" y="452277"/>
                  </a:lnTo>
                  <a:lnTo>
                    <a:pt x="816365" y="451017"/>
                  </a:lnTo>
                  <a:lnTo>
                    <a:pt x="815106" y="449757"/>
                  </a:lnTo>
                  <a:cubicBezTo>
                    <a:pt x="813846" y="447237"/>
                    <a:pt x="812586" y="445978"/>
                    <a:pt x="811326" y="443458"/>
                  </a:cubicBezTo>
                  <a:cubicBezTo>
                    <a:pt x="806287" y="437159"/>
                    <a:pt x="802508" y="430860"/>
                    <a:pt x="799988" y="425820"/>
                  </a:cubicBezTo>
                  <a:cubicBezTo>
                    <a:pt x="796208" y="420781"/>
                    <a:pt x="793689" y="415742"/>
                    <a:pt x="789909" y="410702"/>
                  </a:cubicBezTo>
                  <a:lnTo>
                    <a:pt x="789909" y="409443"/>
                  </a:lnTo>
                  <a:lnTo>
                    <a:pt x="789909" y="409443"/>
                  </a:lnTo>
                  <a:cubicBezTo>
                    <a:pt x="786130" y="403143"/>
                    <a:pt x="781090" y="396844"/>
                    <a:pt x="777311" y="389286"/>
                  </a:cubicBezTo>
                  <a:cubicBezTo>
                    <a:pt x="774791" y="385506"/>
                    <a:pt x="772272" y="380467"/>
                    <a:pt x="769752" y="376687"/>
                  </a:cubicBezTo>
                  <a:lnTo>
                    <a:pt x="769752" y="376687"/>
                  </a:lnTo>
                  <a:lnTo>
                    <a:pt x="768492" y="375427"/>
                  </a:lnTo>
                  <a:cubicBezTo>
                    <a:pt x="767232" y="374167"/>
                    <a:pt x="767232" y="372908"/>
                    <a:pt x="765972" y="371648"/>
                  </a:cubicBezTo>
                  <a:lnTo>
                    <a:pt x="765972" y="370388"/>
                  </a:lnTo>
                  <a:cubicBezTo>
                    <a:pt x="764713" y="367868"/>
                    <a:pt x="762193" y="365349"/>
                    <a:pt x="760933" y="362829"/>
                  </a:cubicBezTo>
                  <a:cubicBezTo>
                    <a:pt x="758414" y="360310"/>
                    <a:pt x="757154" y="356530"/>
                    <a:pt x="754634" y="354010"/>
                  </a:cubicBezTo>
                  <a:cubicBezTo>
                    <a:pt x="753374" y="352751"/>
                    <a:pt x="752115" y="350231"/>
                    <a:pt x="750855" y="348971"/>
                  </a:cubicBezTo>
                  <a:lnTo>
                    <a:pt x="750855" y="347711"/>
                  </a:lnTo>
                  <a:lnTo>
                    <a:pt x="749595" y="346451"/>
                  </a:lnTo>
                  <a:cubicBezTo>
                    <a:pt x="747075" y="343932"/>
                    <a:pt x="744556" y="340152"/>
                    <a:pt x="742036" y="336373"/>
                  </a:cubicBezTo>
                  <a:cubicBezTo>
                    <a:pt x="739516" y="333853"/>
                    <a:pt x="736997" y="330074"/>
                    <a:pt x="735737" y="326294"/>
                  </a:cubicBezTo>
                  <a:cubicBezTo>
                    <a:pt x="735737" y="326294"/>
                    <a:pt x="735737" y="325034"/>
                    <a:pt x="734477" y="325034"/>
                  </a:cubicBezTo>
                  <a:lnTo>
                    <a:pt x="734477" y="325034"/>
                  </a:lnTo>
                  <a:lnTo>
                    <a:pt x="734477" y="325034"/>
                  </a:lnTo>
                  <a:cubicBezTo>
                    <a:pt x="734477" y="323775"/>
                    <a:pt x="733217" y="323775"/>
                    <a:pt x="733217" y="322515"/>
                  </a:cubicBezTo>
                  <a:cubicBezTo>
                    <a:pt x="731957" y="321255"/>
                    <a:pt x="731957" y="319995"/>
                    <a:pt x="730698" y="319995"/>
                  </a:cubicBezTo>
                  <a:cubicBezTo>
                    <a:pt x="730698" y="319995"/>
                    <a:pt x="729438" y="318735"/>
                    <a:pt x="729438" y="318735"/>
                  </a:cubicBezTo>
                  <a:cubicBezTo>
                    <a:pt x="729438" y="317475"/>
                    <a:pt x="728178" y="317475"/>
                    <a:pt x="728178" y="316216"/>
                  </a:cubicBezTo>
                  <a:lnTo>
                    <a:pt x="728178" y="316216"/>
                  </a:lnTo>
                  <a:lnTo>
                    <a:pt x="728178" y="316216"/>
                  </a:lnTo>
                  <a:lnTo>
                    <a:pt x="728178" y="316216"/>
                  </a:lnTo>
                  <a:lnTo>
                    <a:pt x="728178" y="314956"/>
                  </a:lnTo>
                  <a:lnTo>
                    <a:pt x="726918" y="313696"/>
                  </a:lnTo>
                  <a:cubicBezTo>
                    <a:pt x="725658" y="312436"/>
                    <a:pt x="724398" y="309917"/>
                    <a:pt x="723138" y="308657"/>
                  </a:cubicBezTo>
                  <a:lnTo>
                    <a:pt x="721879" y="306137"/>
                  </a:lnTo>
                  <a:lnTo>
                    <a:pt x="721879" y="304877"/>
                  </a:lnTo>
                  <a:lnTo>
                    <a:pt x="720619" y="302358"/>
                  </a:lnTo>
                  <a:cubicBezTo>
                    <a:pt x="719359" y="301098"/>
                    <a:pt x="718099" y="298578"/>
                    <a:pt x="716839" y="297318"/>
                  </a:cubicBezTo>
                  <a:lnTo>
                    <a:pt x="715579" y="296058"/>
                  </a:lnTo>
                  <a:lnTo>
                    <a:pt x="715579" y="296058"/>
                  </a:lnTo>
                  <a:cubicBezTo>
                    <a:pt x="714320" y="294799"/>
                    <a:pt x="714320" y="294799"/>
                    <a:pt x="713060" y="293539"/>
                  </a:cubicBezTo>
                  <a:cubicBezTo>
                    <a:pt x="711800" y="292279"/>
                    <a:pt x="711800" y="291019"/>
                    <a:pt x="710540" y="291019"/>
                  </a:cubicBezTo>
                  <a:lnTo>
                    <a:pt x="709280" y="289759"/>
                  </a:lnTo>
                  <a:cubicBezTo>
                    <a:pt x="708021" y="288500"/>
                    <a:pt x="708021" y="288500"/>
                    <a:pt x="706761" y="287240"/>
                  </a:cubicBezTo>
                  <a:lnTo>
                    <a:pt x="705501" y="285980"/>
                  </a:lnTo>
                  <a:lnTo>
                    <a:pt x="704241" y="284720"/>
                  </a:lnTo>
                  <a:lnTo>
                    <a:pt x="704241" y="284720"/>
                  </a:lnTo>
                  <a:lnTo>
                    <a:pt x="702981" y="283460"/>
                  </a:lnTo>
                  <a:cubicBezTo>
                    <a:pt x="701722" y="282201"/>
                    <a:pt x="701722" y="282201"/>
                    <a:pt x="700462" y="280941"/>
                  </a:cubicBezTo>
                  <a:cubicBezTo>
                    <a:pt x="699202" y="279681"/>
                    <a:pt x="699202" y="279681"/>
                    <a:pt x="697942" y="278421"/>
                  </a:cubicBezTo>
                  <a:lnTo>
                    <a:pt x="697942" y="278421"/>
                  </a:lnTo>
                  <a:lnTo>
                    <a:pt x="697942" y="278421"/>
                  </a:lnTo>
                  <a:cubicBezTo>
                    <a:pt x="696682" y="278421"/>
                    <a:pt x="696682" y="277161"/>
                    <a:pt x="695423" y="277161"/>
                  </a:cubicBezTo>
                  <a:lnTo>
                    <a:pt x="695423" y="277161"/>
                  </a:lnTo>
                  <a:lnTo>
                    <a:pt x="695423" y="277161"/>
                  </a:lnTo>
                  <a:cubicBezTo>
                    <a:pt x="695423" y="277161"/>
                    <a:pt x="695423" y="275901"/>
                    <a:pt x="694163" y="275901"/>
                  </a:cubicBezTo>
                  <a:cubicBezTo>
                    <a:pt x="694163" y="275901"/>
                    <a:pt x="694163" y="275901"/>
                    <a:pt x="694163" y="275901"/>
                  </a:cubicBezTo>
                  <a:cubicBezTo>
                    <a:pt x="694163" y="275901"/>
                    <a:pt x="692903" y="275901"/>
                    <a:pt x="692903" y="275901"/>
                  </a:cubicBezTo>
                  <a:lnTo>
                    <a:pt x="692903" y="275901"/>
                  </a:lnTo>
                  <a:cubicBezTo>
                    <a:pt x="692903" y="275901"/>
                    <a:pt x="692903" y="277161"/>
                    <a:pt x="692903" y="277161"/>
                  </a:cubicBezTo>
                  <a:lnTo>
                    <a:pt x="692903" y="277161"/>
                  </a:lnTo>
                  <a:lnTo>
                    <a:pt x="692903" y="277161"/>
                  </a:lnTo>
                  <a:cubicBezTo>
                    <a:pt x="692903" y="277161"/>
                    <a:pt x="692903" y="277161"/>
                    <a:pt x="692903" y="277161"/>
                  </a:cubicBezTo>
                  <a:cubicBezTo>
                    <a:pt x="692903" y="277161"/>
                    <a:pt x="692903" y="278421"/>
                    <a:pt x="692903" y="278421"/>
                  </a:cubicBezTo>
                  <a:lnTo>
                    <a:pt x="692903" y="278421"/>
                  </a:lnTo>
                  <a:cubicBezTo>
                    <a:pt x="692903" y="279681"/>
                    <a:pt x="692903" y="279681"/>
                    <a:pt x="692903" y="280941"/>
                  </a:cubicBezTo>
                  <a:cubicBezTo>
                    <a:pt x="692903" y="282201"/>
                    <a:pt x="692903" y="283460"/>
                    <a:pt x="692903" y="283460"/>
                  </a:cubicBezTo>
                  <a:lnTo>
                    <a:pt x="692903" y="284720"/>
                  </a:lnTo>
                  <a:lnTo>
                    <a:pt x="692903" y="285980"/>
                  </a:lnTo>
                  <a:cubicBezTo>
                    <a:pt x="692903" y="287240"/>
                    <a:pt x="692903" y="288500"/>
                    <a:pt x="692903" y="289759"/>
                  </a:cubicBezTo>
                  <a:lnTo>
                    <a:pt x="692903" y="292279"/>
                  </a:lnTo>
                  <a:lnTo>
                    <a:pt x="692903" y="293539"/>
                  </a:lnTo>
                  <a:cubicBezTo>
                    <a:pt x="692903" y="294799"/>
                    <a:pt x="692903" y="296058"/>
                    <a:pt x="692903" y="297318"/>
                  </a:cubicBezTo>
                  <a:lnTo>
                    <a:pt x="692903" y="297318"/>
                  </a:lnTo>
                  <a:lnTo>
                    <a:pt x="692903" y="297318"/>
                  </a:lnTo>
                  <a:lnTo>
                    <a:pt x="692903" y="298578"/>
                  </a:lnTo>
                  <a:cubicBezTo>
                    <a:pt x="692903" y="299838"/>
                    <a:pt x="692903" y="299838"/>
                    <a:pt x="692903" y="301098"/>
                  </a:cubicBezTo>
                  <a:lnTo>
                    <a:pt x="692903" y="301098"/>
                  </a:lnTo>
                  <a:lnTo>
                    <a:pt x="692903" y="301098"/>
                  </a:lnTo>
                  <a:lnTo>
                    <a:pt x="692903" y="302358"/>
                  </a:lnTo>
                  <a:lnTo>
                    <a:pt x="692903" y="303618"/>
                  </a:lnTo>
                  <a:lnTo>
                    <a:pt x="692903" y="304877"/>
                  </a:lnTo>
                  <a:cubicBezTo>
                    <a:pt x="692903" y="306137"/>
                    <a:pt x="692903" y="307397"/>
                    <a:pt x="694163" y="308657"/>
                  </a:cubicBezTo>
                  <a:lnTo>
                    <a:pt x="694163" y="309917"/>
                  </a:lnTo>
                  <a:cubicBezTo>
                    <a:pt x="694163" y="311176"/>
                    <a:pt x="694163" y="312436"/>
                    <a:pt x="695423" y="312436"/>
                  </a:cubicBezTo>
                  <a:lnTo>
                    <a:pt x="695423" y="312436"/>
                  </a:lnTo>
                  <a:lnTo>
                    <a:pt x="695423" y="314956"/>
                  </a:lnTo>
                  <a:cubicBezTo>
                    <a:pt x="696682" y="318735"/>
                    <a:pt x="696682" y="322515"/>
                    <a:pt x="697942" y="326294"/>
                  </a:cubicBezTo>
                  <a:cubicBezTo>
                    <a:pt x="697942" y="327554"/>
                    <a:pt x="697942" y="328814"/>
                    <a:pt x="699202" y="330074"/>
                  </a:cubicBezTo>
                  <a:lnTo>
                    <a:pt x="699202" y="331334"/>
                  </a:lnTo>
                  <a:cubicBezTo>
                    <a:pt x="699202" y="333853"/>
                    <a:pt x="700462" y="335113"/>
                    <a:pt x="700462" y="337633"/>
                  </a:cubicBezTo>
                  <a:cubicBezTo>
                    <a:pt x="700462" y="338893"/>
                    <a:pt x="701722" y="340152"/>
                    <a:pt x="701722" y="342672"/>
                  </a:cubicBezTo>
                  <a:lnTo>
                    <a:pt x="701722" y="342672"/>
                  </a:lnTo>
                  <a:lnTo>
                    <a:pt x="701722" y="343932"/>
                  </a:lnTo>
                  <a:lnTo>
                    <a:pt x="702981" y="347711"/>
                  </a:lnTo>
                  <a:cubicBezTo>
                    <a:pt x="702981" y="348971"/>
                    <a:pt x="702981" y="348971"/>
                    <a:pt x="702981" y="350231"/>
                  </a:cubicBezTo>
                  <a:cubicBezTo>
                    <a:pt x="702981" y="350231"/>
                    <a:pt x="702981" y="351491"/>
                    <a:pt x="702981" y="351491"/>
                  </a:cubicBezTo>
                  <a:cubicBezTo>
                    <a:pt x="702981" y="352751"/>
                    <a:pt x="702981" y="354010"/>
                    <a:pt x="702981" y="355270"/>
                  </a:cubicBezTo>
                  <a:cubicBezTo>
                    <a:pt x="702981" y="357790"/>
                    <a:pt x="702981" y="359050"/>
                    <a:pt x="704241" y="361569"/>
                  </a:cubicBezTo>
                  <a:lnTo>
                    <a:pt x="704241" y="362829"/>
                  </a:lnTo>
                  <a:cubicBezTo>
                    <a:pt x="705501" y="367868"/>
                    <a:pt x="705501" y="372908"/>
                    <a:pt x="706761" y="377947"/>
                  </a:cubicBezTo>
                  <a:lnTo>
                    <a:pt x="706761" y="377947"/>
                  </a:lnTo>
                  <a:cubicBezTo>
                    <a:pt x="706761" y="380467"/>
                    <a:pt x="708021" y="384246"/>
                    <a:pt x="708021" y="388026"/>
                  </a:cubicBezTo>
                  <a:cubicBezTo>
                    <a:pt x="708021" y="389286"/>
                    <a:pt x="708021" y="391805"/>
                    <a:pt x="708021" y="393065"/>
                  </a:cubicBezTo>
                  <a:lnTo>
                    <a:pt x="708021" y="394325"/>
                  </a:lnTo>
                  <a:lnTo>
                    <a:pt x="708021" y="395585"/>
                  </a:lnTo>
                  <a:cubicBezTo>
                    <a:pt x="708021" y="396844"/>
                    <a:pt x="708021" y="396844"/>
                    <a:pt x="708021" y="398104"/>
                  </a:cubicBezTo>
                  <a:cubicBezTo>
                    <a:pt x="708021" y="399364"/>
                    <a:pt x="708021" y="401884"/>
                    <a:pt x="708021" y="403143"/>
                  </a:cubicBezTo>
                  <a:lnTo>
                    <a:pt x="708021" y="404403"/>
                  </a:lnTo>
                  <a:cubicBezTo>
                    <a:pt x="708021" y="405663"/>
                    <a:pt x="708021" y="408183"/>
                    <a:pt x="708021" y="409443"/>
                  </a:cubicBezTo>
                  <a:cubicBezTo>
                    <a:pt x="708021" y="413222"/>
                    <a:pt x="709280" y="415742"/>
                    <a:pt x="709280" y="419521"/>
                  </a:cubicBezTo>
                  <a:cubicBezTo>
                    <a:pt x="709280" y="422041"/>
                    <a:pt x="710540" y="425820"/>
                    <a:pt x="710540" y="430860"/>
                  </a:cubicBezTo>
                  <a:lnTo>
                    <a:pt x="710540" y="434639"/>
                  </a:lnTo>
                  <a:lnTo>
                    <a:pt x="710540" y="435899"/>
                  </a:lnTo>
                  <a:cubicBezTo>
                    <a:pt x="710540" y="437159"/>
                    <a:pt x="710540" y="439678"/>
                    <a:pt x="711800" y="440938"/>
                  </a:cubicBezTo>
                  <a:cubicBezTo>
                    <a:pt x="711800" y="443458"/>
                    <a:pt x="713060" y="447237"/>
                    <a:pt x="713060" y="449757"/>
                  </a:cubicBezTo>
                  <a:lnTo>
                    <a:pt x="713060" y="449757"/>
                  </a:lnTo>
                  <a:lnTo>
                    <a:pt x="713060" y="449757"/>
                  </a:lnTo>
                  <a:lnTo>
                    <a:pt x="713060" y="449757"/>
                  </a:lnTo>
                  <a:cubicBezTo>
                    <a:pt x="713060" y="451017"/>
                    <a:pt x="714320" y="453536"/>
                    <a:pt x="714320" y="454796"/>
                  </a:cubicBezTo>
                  <a:lnTo>
                    <a:pt x="714320" y="454796"/>
                  </a:lnTo>
                  <a:cubicBezTo>
                    <a:pt x="714320" y="456056"/>
                    <a:pt x="715579" y="457316"/>
                    <a:pt x="715579" y="459836"/>
                  </a:cubicBezTo>
                  <a:cubicBezTo>
                    <a:pt x="715579" y="461095"/>
                    <a:pt x="716839" y="461095"/>
                    <a:pt x="716839" y="461095"/>
                  </a:cubicBezTo>
                  <a:cubicBezTo>
                    <a:pt x="716839" y="461095"/>
                    <a:pt x="718099" y="461095"/>
                    <a:pt x="718099" y="461095"/>
                  </a:cubicBezTo>
                  <a:cubicBezTo>
                    <a:pt x="718099" y="461095"/>
                    <a:pt x="719359" y="461095"/>
                    <a:pt x="719359" y="461095"/>
                  </a:cubicBezTo>
                  <a:cubicBezTo>
                    <a:pt x="719359" y="461095"/>
                    <a:pt x="719359" y="461095"/>
                    <a:pt x="720619" y="461095"/>
                  </a:cubicBezTo>
                  <a:cubicBezTo>
                    <a:pt x="720619" y="461095"/>
                    <a:pt x="721879" y="461095"/>
                    <a:pt x="721879" y="459836"/>
                  </a:cubicBezTo>
                  <a:cubicBezTo>
                    <a:pt x="721879" y="463615"/>
                    <a:pt x="721879" y="466135"/>
                    <a:pt x="721879" y="468654"/>
                  </a:cubicBezTo>
                  <a:cubicBezTo>
                    <a:pt x="721879" y="469914"/>
                    <a:pt x="721879" y="472434"/>
                    <a:pt x="721879" y="473694"/>
                  </a:cubicBezTo>
                  <a:lnTo>
                    <a:pt x="721879" y="474953"/>
                  </a:lnTo>
                  <a:lnTo>
                    <a:pt x="721879" y="476213"/>
                  </a:lnTo>
                  <a:lnTo>
                    <a:pt x="721879" y="477473"/>
                  </a:lnTo>
                  <a:lnTo>
                    <a:pt x="721879" y="478733"/>
                  </a:lnTo>
                  <a:cubicBezTo>
                    <a:pt x="721879" y="481252"/>
                    <a:pt x="721879" y="482512"/>
                    <a:pt x="721879" y="485032"/>
                  </a:cubicBezTo>
                  <a:lnTo>
                    <a:pt x="721879" y="487552"/>
                  </a:lnTo>
                  <a:lnTo>
                    <a:pt x="721879" y="490071"/>
                  </a:lnTo>
                  <a:lnTo>
                    <a:pt x="721879" y="492591"/>
                  </a:lnTo>
                  <a:cubicBezTo>
                    <a:pt x="721879" y="497630"/>
                    <a:pt x="720619" y="503929"/>
                    <a:pt x="720619" y="510228"/>
                  </a:cubicBezTo>
                  <a:cubicBezTo>
                    <a:pt x="720619" y="517787"/>
                    <a:pt x="719359" y="526606"/>
                    <a:pt x="719359" y="534165"/>
                  </a:cubicBezTo>
                  <a:lnTo>
                    <a:pt x="719359" y="534165"/>
                  </a:lnTo>
                  <a:lnTo>
                    <a:pt x="719359" y="534165"/>
                  </a:lnTo>
                  <a:cubicBezTo>
                    <a:pt x="716839" y="536685"/>
                    <a:pt x="713060" y="539204"/>
                    <a:pt x="710540" y="541724"/>
                  </a:cubicBezTo>
                  <a:cubicBezTo>
                    <a:pt x="700462" y="550543"/>
                    <a:pt x="692903" y="559362"/>
                    <a:pt x="686604" y="566921"/>
                  </a:cubicBezTo>
                  <a:lnTo>
                    <a:pt x="684084" y="569440"/>
                  </a:lnTo>
                  <a:cubicBezTo>
                    <a:pt x="677785" y="576999"/>
                    <a:pt x="670226" y="584558"/>
                    <a:pt x="663927" y="593377"/>
                  </a:cubicBezTo>
                  <a:cubicBezTo>
                    <a:pt x="661407" y="597156"/>
                    <a:pt x="656368" y="603456"/>
                    <a:pt x="652588" y="608495"/>
                  </a:cubicBezTo>
                  <a:cubicBezTo>
                    <a:pt x="648809" y="613534"/>
                    <a:pt x="646289" y="619833"/>
                    <a:pt x="642510" y="623613"/>
                  </a:cubicBezTo>
                  <a:cubicBezTo>
                    <a:pt x="639990" y="628652"/>
                    <a:pt x="637471" y="632431"/>
                    <a:pt x="634951" y="637471"/>
                  </a:cubicBezTo>
                  <a:lnTo>
                    <a:pt x="634951" y="637471"/>
                  </a:lnTo>
                  <a:cubicBezTo>
                    <a:pt x="633691" y="639990"/>
                    <a:pt x="632431" y="642510"/>
                    <a:pt x="629912" y="646289"/>
                  </a:cubicBezTo>
                  <a:cubicBezTo>
                    <a:pt x="628652" y="647549"/>
                    <a:pt x="628652" y="650069"/>
                    <a:pt x="627392" y="651329"/>
                  </a:cubicBezTo>
                  <a:lnTo>
                    <a:pt x="627392" y="651329"/>
                  </a:lnTo>
                  <a:cubicBezTo>
                    <a:pt x="627392" y="652589"/>
                    <a:pt x="626132" y="652589"/>
                    <a:pt x="626132" y="653848"/>
                  </a:cubicBezTo>
                  <a:cubicBezTo>
                    <a:pt x="623613" y="658888"/>
                    <a:pt x="622353" y="663927"/>
                    <a:pt x="619833" y="667706"/>
                  </a:cubicBezTo>
                  <a:lnTo>
                    <a:pt x="619833" y="667706"/>
                  </a:lnTo>
                  <a:lnTo>
                    <a:pt x="619833" y="668966"/>
                  </a:lnTo>
                  <a:cubicBezTo>
                    <a:pt x="618573" y="671486"/>
                    <a:pt x="617313" y="675265"/>
                    <a:pt x="617313" y="677785"/>
                  </a:cubicBezTo>
                  <a:lnTo>
                    <a:pt x="617313" y="679045"/>
                  </a:lnTo>
                  <a:lnTo>
                    <a:pt x="617313" y="679045"/>
                  </a:lnTo>
                  <a:cubicBezTo>
                    <a:pt x="616054" y="681565"/>
                    <a:pt x="616054" y="684084"/>
                    <a:pt x="614794" y="686604"/>
                  </a:cubicBezTo>
                  <a:cubicBezTo>
                    <a:pt x="614794" y="687864"/>
                    <a:pt x="614794" y="689123"/>
                    <a:pt x="614794" y="691643"/>
                  </a:cubicBezTo>
                  <a:lnTo>
                    <a:pt x="614794" y="694163"/>
                  </a:lnTo>
                  <a:lnTo>
                    <a:pt x="614794" y="696682"/>
                  </a:lnTo>
                  <a:cubicBezTo>
                    <a:pt x="614794" y="697942"/>
                    <a:pt x="614794" y="700462"/>
                    <a:pt x="614794" y="701722"/>
                  </a:cubicBezTo>
                  <a:lnTo>
                    <a:pt x="614794" y="701722"/>
                  </a:lnTo>
                  <a:lnTo>
                    <a:pt x="614794" y="701722"/>
                  </a:lnTo>
                  <a:lnTo>
                    <a:pt x="614794" y="704241"/>
                  </a:lnTo>
                  <a:cubicBezTo>
                    <a:pt x="614794" y="706761"/>
                    <a:pt x="614794" y="708021"/>
                    <a:pt x="614794" y="710540"/>
                  </a:cubicBezTo>
                  <a:lnTo>
                    <a:pt x="614794" y="713060"/>
                  </a:lnTo>
                  <a:cubicBezTo>
                    <a:pt x="614794" y="715580"/>
                    <a:pt x="614794" y="718099"/>
                    <a:pt x="614794" y="720619"/>
                  </a:cubicBezTo>
                  <a:cubicBezTo>
                    <a:pt x="616054" y="728178"/>
                    <a:pt x="616054" y="733217"/>
                    <a:pt x="618573" y="738257"/>
                  </a:cubicBezTo>
                  <a:lnTo>
                    <a:pt x="618573" y="739516"/>
                  </a:lnTo>
                  <a:cubicBezTo>
                    <a:pt x="619833" y="743296"/>
                    <a:pt x="619833" y="745815"/>
                    <a:pt x="622353" y="749595"/>
                  </a:cubicBezTo>
                  <a:cubicBezTo>
                    <a:pt x="623613" y="752114"/>
                    <a:pt x="624872" y="755894"/>
                    <a:pt x="626132" y="758414"/>
                  </a:cubicBezTo>
                  <a:cubicBezTo>
                    <a:pt x="626132" y="759674"/>
                    <a:pt x="627392" y="760933"/>
                    <a:pt x="628652" y="762193"/>
                  </a:cubicBezTo>
                  <a:cubicBezTo>
                    <a:pt x="628652" y="763453"/>
                    <a:pt x="629912" y="763453"/>
                    <a:pt x="629912" y="764713"/>
                  </a:cubicBezTo>
                  <a:lnTo>
                    <a:pt x="629912" y="765973"/>
                  </a:lnTo>
                  <a:cubicBezTo>
                    <a:pt x="632431" y="768492"/>
                    <a:pt x="633691" y="771012"/>
                    <a:pt x="636211" y="773532"/>
                  </a:cubicBezTo>
                  <a:lnTo>
                    <a:pt x="636211" y="773532"/>
                  </a:lnTo>
                  <a:cubicBezTo>
                    <a:pt x="637471" y="774791"/>
                    <a:pt x="637471" y="774791"/>
                    <a:pt x="638731" y="776051"/>
                  </a:cubicBezTo>
                  <a:cubicBezTo>
                    <a:pt x="639990" y="777311"/>
                    <a:pt x="641250" y="778571"/>
                    <a:pt x="642510" y="778571"/>
                  </a:cubicBezTo>
                  <a:lnTo>
                    <a:pt x="643770" y="778571"/>
                  </a:lnTo>
                  <a:cubicBezTo>
                    <a:pt x="645030" y="778571"/>
                    <a:pt x="646289" y="779831"/>
                    <a:pt x="646289" y="779831"/>
                  </a:cubicBezTo>
                  <a:cubicBezTo>
                    <a:pt x="648809" y="781090"/>
                    <a:pt x="651329" y="782350"/>
                    <a:pt x="653848" y="783610"/>
                  </a:cubicBezTo>
                  <a:lnTo>
                    <a:pt x="653848" y="783610"/>
                  </a:lnTo>
                  <a:cubicBezTo>
                    <a:pt x="656368" y="784870"/>
                    <a:pt x="660147" y="786130"/>
                    <a:pt x="662667" y="786130"/>
                  </a:cubicBezTo>
                  <a:cubicBezTo>
                    <a:pt x="662667" y="786130"/>
                    <a:pt x="662667" y="786130"/>
                    <a:pt x="662667" y="786130"/>
                  </a:cubicBezTo>
                  <a:lnTo>
                    <a:pt x="662667" y="786130"/>
                  </a:lnTo>
                  <a:lnTo>
                    <a:pt x="662667" y="786130"/>
                  </a:lnTo>
                  <a:cubicBezTo>
                    <a:pt x="662667" y="786130"/>
                    <a:pt x="661407" y="786130"/>
                    <a:pt x="661407" y="786130"/>
                  </a:cubicBezTo>
                  <a:lnTo>
                    <a:pt x="660147" y="786130"/>
                  </a:lnTo>
                  <a:cubicBezTo>
                    <a:pt x="658887" y="786130"/>
                    <a:pt x="657628" y="786130"/>
                    <a:pt x="656368" y="786130"/>
                  </a:cubicBezTo>
                  <a:cubicBezTo>
                    <a:pt x="655108" y="786130"/>
                    <a:pt x="652588" y="786130"/>
                    <a:pt x="651329" y="786130"/>
                  </a:cubicBezTo>
                  <a:cubicBezTo>
                    <a:pt x="645030" y="786130"/>
                    <a:pt x="638731" y="787390"/>
                    <a:pt x="631172" y="787390"/>
                  </a:cubicBezTo>
                  <a:cubicBezTo>
                    <a:pt x="622353" y="787390"/>
                    <a:pt x="612274" y="787390"/>
                    <a:pt x="603455" y="787390"/>
                  </a:cubicBezTo>
                  <a:cubicBezTo>
                    <a:pt x="600936" y="787390"/>
                    <a:pt x="598416" y="787390"/>
                    <a:pt x="595896" y="787390"/>
                  </a:cubicBezTo>
                  <a:lnTo>
                    <a:pt x="593377" y="787390"/>
                  </a:lnTo>
                  <a:lnTo>
                    <a:pt x="593377" y="787390"/>
                  </a:lnTo>
                  <a:cubicBezTo>
                    <a:pt x="590857" y="787390"/>
                    <a:pt x="589597" y="787390"/>
                    <a:pt x="587078" y="787390"/>
                  </a:cubicBezTo>
                  <a:cubicBezTo>
                    <a:pt x="584558" y="787390"/>
                    <a:pt x="580779" y="787390"/>
                    <a:pt x="578259" y="787390"/>
                  </a:cubicBezTo>
                  <a:cubicBezTo>
                    <a:pt x="576999" y="787390"/>
                    <a:pt x="575739" y="787390"/>
                    <a:pt x="573220" y="787390"/>
                  </a:cubicBezTo>
                  <a:lnTo>
                    <a:pt x="573220" y="787390"/>
                  </a:lnTo>
                  <a:lnTo>
                    <a:pt x="573220" y="787390"/>
                  </a:lnTo>
                  <a:cubicBezTo>
                    <a:pt x="569440" y="787390"/>
                    <a:pt x="564401" y="787390"/>
                    <a:pt x="560621" y="787390"/>
                  </a:cubicBezTo>
                  <a:cubicBezTo>
                    <a:pt x="558102" y="787390"/>
                    <a:pt x="556842" y="787390"/>
                    <a:pt x="554322" y="787390"/>
                  </a:cubicBezTo>
                  <a:lnTo>
                    <a:pt x="553062" y="787390"/>
                  </a:lnTo>
                  <a:cubicBezTo>
                    <a:pt x="550543" y="787390"/>
                    <a:pt x="545503" y="787390"/>
                    <a:pt x="541724" y="787390"/>
                  </a:cubicBezTo>
                  <a:lnTo>
                    <a:pt x="536685" y="787390"/>
                  </a:lnTo>
                  <a:lnTo>
                    <a:pt x="535425" y="787390"/>
                  </a:lnTo>
                  <a:lnTo>
                    <a:pt x="535425" y="787390"/>
                  </a:lnTo>
                  <a:lnTo>
                    <a:pt x="535425" y="787390"/>
                  </a:lnTo>
                  <a:cubicBezTo>
                    <a:pt x="531646" y="787390"/>
                    <a:pt x="527866" y="787390"/>
                    <a:pt x="524087" y="787390"/>
                  </a:cubicBezTo>
                  <a:cubicBezTo>
                    <a:pt x="521567" y="787390"/>
                    <a:pt x="519047" y="787390"/>
                    <a:pt x="516528" y="787390"/>
                  </a:cubicBezTo>
                  <a:cubicBezTo>
                    <a:pt x="512748" y="787390"/>
                    <a:pt x="510228" y="787390"/>
                    <a:pt x="506449" y="787390"/>
                  </a:cubicBezTo>
                  <a:cubicBezTo>
                    <a:pt x="501410" y="787390"/>
                    <a:pt x="495110" y="787390"/>
                    <a:pt x="488811" y="786130"/>
                  </a:cubicBezTo>
                  <a:cubicBezTo>
                    <a:pt x="488811" y="786130"/>
                    <a:pt x="487552" y="786130"/>
                    <a:pt x="487552" y="786130"/>
                  </a:cubicBezTo>
                  <a:cubicBezTo>
                    <a:pt x="485032" y="786130"/>
                    <a:pt x="481253" y="786130"/>
                    <a:pt x="478733" y="784870"/>
                  </a:cubicBezTo>
                  <a:lnTo>
                    <a:pt x="477473" y="784870"/>
                  </a:lnTo>
                  <a:lnTo>
                    <a:pt x="477473" y="784870"/>
                  </a:lnTo>
                  <a:cubicBezTo>
                    <a:pt x="474954" y="784870"/>
                    <a:pt x="472434" y="784870"/>
                    <a:pt x="471174" y="783610"/>
                  </a:cubicBezTo>
                  <a:cubicBezTo>
                    <a:pt x="469914" y="783610"/>
                    <a:pt x="469914" y="783610"/>
                    <a:pt x="468654" y="783610"/>
                  </a:cubicBezTo>
                  <a:cubicBezTo>
                    <a:pt x="466135" y="783610"/>
                    <a:pt x="463615" y="783610"/>
                    <a:pt x="461095" y="783610"/>
                  </a:cubicBezTo>
                  <a:cubicBezTo>
                    <a:pt x="458576" y="783610"/>
                    <a:pt x="456056" y="783610"/>
                    <a:pt x="454796" y="783610"/>
                  </a:cubicBezTo>
                  <a:lnTo>
                    <a:pt x="453536" y="783610"/>
                  </a:lnTo>
                  <a:lnTo>
                    <a:pt x="452276" y="783610"/>
                  </a:lnTo>
                  <a:cubicBezTo>
                    <a:pt x="451017" y="783610"/>
                    <a:pt x="449757" y="783610"/>
                    <a:pt x="448497" y="783610"/>
                  </a:cubicBezTo>
                  <a:lnTo>
                    <a:pt x="448497" y="783610"/>
                  </a:lnTo>
                  <a:cubicBezTo>
                    <a:pt x="447237" y="783610"/>
                    <a:pt x="444717" y="783610"/>
                    <a:pt x="443458" y="783610"/>
                  </a:cubicBezTo>
                  <a:cubicBezTo>
                    <a:pt x="440938" y="783610"/>
                    <a:pt x="439678" y="783610"/>
                    <a:pt x="437159" y="783610"/>
                  </a:cubicBezTo>
                  <a:cubicBezTo>
                    <a:pt x="435899" y="783610"/>
                    <a:pt x="435899" y="783610"/>
                    <a:pt x="434639" y="783610"/>
                  </a:cubicBezTo>
                  <a:lnTo>
                    <a:pt x="434639" y="783610"/>
                  </a:lnTo>
                  <a:cubicBezTo>
                    <a:pt x="434639" y="783610"/>
                    <a:pt x="433379" y="783610"/>
                    <a:pt x="433379" y="783610"/>
                  </a:cubicBezTo>
                  <a:cubicBezTo>
                    <a:pt x="430860" y="783610"/>
                    <a:pt x="427080" y="783610"/>
                    <a:pt x="423301" y="783610"/>
                  </a:cubicBezTo>
                  <a:cubicBezTo>
                    <a:pt x="420781" y="783610"/>
                    <a:pt x="417002" y="783610"/>
                    <a:pt x="414482" y="783610"/>
                  </a:cubicBezTo>
                  <a:lnTo>
                    <a:pt x="414482" y="783610"/>
                  </a:lnTo>
                  <a:lnTo>
                    <a:pt x="413222" y="783610"/>
                  </a:lnTo>
                  <a:cubicBezTo>
                    <a:pt x="410702" y="783610"/>
                    <a:pt x="408183" y="783610"/>
                    <a:pt x="405663" y="783610"/>
                  </a:cubicBezTo>
                  <a:lnTo>
                    <a:pt x="405663" y="783610"/>
                  </a:lnTo>
                  <a:lnTo>
                    <a:pt x="405663" y="783610"/>
                  </a:lnTo>
                  <a:cubicBezTo>
                    <a:pt x="396844" y="784870"/>
                    <a:pt x="386766" y="784870"/>
                    <a:pt x="376687" y="784870"/>
                  </a:cubicBezTo>
                  <a:cubicBezTo>
                    <a:pt x="370388" y="784870"/>
                    <a:pt x="364089" y="784870"/>
                    <a:pt x="359050" y="784870"/>
                  </a:cubicBezTo>
                  <a:cubicBezTo>
                    <a:pt x="359050" y="784870"/>
                    <a:pt x="357790" y="784870"/>
                    <a:pt x="357790" y="784870"/>
                  </a:cubicBezTo>
                  <a:lnTo>
                    <a:pt x="356530" y="784870"/>
                  </a:lnTo>
                  <a:lnTo>
                    <a:pt x="356530" y="784870"/>
                  </a:lnTo>
                  <a:lnTo>
                    <a:pt x="355270" y="784870"/>
                  </a:lnTo>
                  <a:cubicBezTo>
                    <a:pt x="354010" y="784870"/>
                    <a:pt x="351491" y="784870"/>
                    <a:pt x="350231" y="784870"/>
                  </a:cubicBezTo>
                  <a:cubicBezTo>
                    <a:pt x="348971" y="784870"/>
                    <a:pt x="347711" y="784870"/>
                    <a:pt x="346451" y="784870"/>
                  </a:cubicBezTo>
                  <a:cubicBezTo>
                    <a:pt x="345192" y="784870"/>
                    <a:pt x="343932" y="784870"/>
                    <a:pt x="342672" y="784870"/>
                  </a:cubicBezTo>
                  <a:lnTo>
                    <a:pt x="342672" y="784870"/>
                  </a:lnTo>
                  <a:cubicBezTo>
                    <a:pt x="341412" y="784870"/>
                    <a:pt x="340152" y="784870"/>
                    <a:pt x="340152" y="783610"/>
                  </a:cubicBezTo>
                  <a:cubicBezTo>
                    <a:pt x="338892" y="783610"/>
                    <a:pt x="338892" y="782350"/>
                    <a:pt x="337632" y="782350"/>
                  </a:cubicBezTo>
                  <a:cubicBezTo>
                    <a:pt x="336373" y="781090"/>
                    <a:pt x="335113" y="781090"/>
                    <a:pt x="335113" y="779831"/>
                  </a:cubicBezTo>
                  <a:cubicBezTo>
                    <a:pt x="333853" y="778571"/>
                    <a:pt x="333853" y="777311"/>
                    <a:pt x="333853" y="774791"/>
                  </a:cubicBezTo>
                  <a:cubicBezTo>
                    <a:pt x="333853" y="773532"/>
                    <a:pt x="333853" y="771012"/>
                    <a:pt x="333853" y="769752"/>
                  </a:cubicBezTo>
                  <a:cubicBezTo>
                    <a:pt x="333853" y="768492"/>
                    <a:pt x="333853" y="765973"/>
                    <a:pt x="332593" y="764713"/>
                  </a:cubicBezTo>
                  <a:lnTo>
                    <a:pt x="332593" y="764713"/>
                  </a:lnTo>
                  <a:cubicBezTo>
                    <a:pt x="332593" y="763453"/>
                    <a:pt x="332593" y="760933"/>
                    <a:pt x="332593" y="759674"/>
                  </a:cubicBezTo>
                  <a:lnTo>
                    <a:pt x="332593" y="759674"/>
                  </a:lnTo>
                  <a:lnTo>
                    <a:pt x="332593" y="759674"/>
                  </a:lnTo>
                  <a:cubicBezTo>
                    <a:pt x="332593" y="758414"/>
                    <a:pt x="332593" y="757154"/>
                    <a:pt x="332593" y="755894"/>
                  </a:cubicBezTo>
                  <a:cubicBezTo>
                    <a:pt x="332593" y="754634"/>
                    <a:pt x="332593" y="753374"/>
                    <a:pt x="332593" y="752114"/>
                  </a:cubicBezTo>
                  <a:cubicBezTo>
                    <a:pt x="331333" y="742036"/>
                    <a:pt x="331333" y="733217"/>
                    <a:pt x="330074" y="724398"/>
                  </a:cubicBezTo>
                  <a:cubicBezTo>
                    <a:pt x="330074" y="719359"/>
                    <a:pt x="328814" y="713060"/>
                    <a:pt x="328814" y="705501"/>
                  </a:cubicBezTo>
                  <a:cubicBezTo>
                    <a:pt x="328814" y="702981"/>
                    <a:pt x="328814" y="699202"/>
                    <a:pt x="328814" y="696682"/>
                  </a:cubicBezTo>
                  <a:cubicBezTo>
                    <a:pt x="328814" y="692903"/>
                    <a:pt x="328814" y="689123"/>
                    <a:pt x="328814" y="684084"/>
                  </a:cubicBezTo>
                  <a:cubicBezTo>
                    <a:pt x="328814" y="681565"/>
                    <a:pt x="328814" y="677785"/>
                    <a:pt x="328814" y="675265"/>
                  </a:cubicBezTo>
                  <a:cubicBezTo>
                    <a:pt x="328814" y="670226"/>
                    <a:pt x="328814" y="666447"/>
                    <a:pt x="328814" y="661407"/>
                  </a:cubicBezTo>
                  <a:cubicBezTo>
                    <a:pt x="328814" y="646289"/>
                    <a:pt x="328814" y="631172"/>
                    <a:pt x="327554" y="617313"/>
                  </a:cubicBezTo>
                  <a:lnTo>
                    <a:pt x="327554" y="614794"/>
                  </a:lnTo>
                  <a:cubicBezTo>
                    <a:pt x="327554" y="607235"/>
                    <a:pt x="327554" y="599676"/>
                    <a:pt x="326294" y="592117"/>
                  </a:cubicBezTo>
                  <a:cubicBezTo>
                    <a:pt x="326294" y="587078"/>
                    <a:pt x="326294" y="583298"/>
                    <a:pt x="326294" y="578259"/>
                  </a:cubicBezTo>
                  <a:cubicBezTo>
                    <a:pt x="326294" y="575739"/>
                    <a:pt x="326294" y="573220"/>
                    <a:pt x="326294" y="570700"/>
                  </a:cubicBezTo>
                  <a:cubicBezTo>
                    <a:pt x="326294" y="563141"/>
                    <a:pt x="326294" y="555582"/>
                    <a:pt x="326294" y="548023"/>
                  </a:cubicBezTo>
                  <a:cubicBezTo>
                    <a:pt x="326294" y="545504"/>
                    <a:pt x="326294" y="542984"/>
                    <a:pt x="326294" y="540464"/>
                  </a:cubicBezTo>
                  <a:cubicBezTo>
                    <a:pt x="326294" y="535425"/>
                    <a:pt x="326294" y="530386"/>
                    <a:pt x="326294" y="525346"/>
                  </a:cubicBezTo>
                  <a:cubicBezTo>
                    <a:pt x="326294" y="520307"/>
                    <a:pt x="326294" y="514008"/>
                    <a:pt x="326294" y="508969"/>
                  </a:cubicBezTo>
                  <a:cubicBezTo>
                    <a:pt x="326294" y="506449"/>
                    <a:pt x="326294" y="503929"/>
                    <a:pt x="326294" y="501410"/>
                  </a:cubicBezTo>
                  <a:cubicBezTo>
                    <a:pt x="326294" y="493851"/>
                    <a:pt x="326294" y="486292"/>
                    <a:pt x="326294" y="479993"/>
                  </a:cubicBezTo>
                  <a:cubicBezTo>
                    <a:pt x="326294" y="473694"/>
                    <a:pt x="326294" y="468654"/>
                    <a:pt x="326294" y="462355"/>
                  </a:cubicBezTo>
                  <a:cubicBezTo>
                    <a:pt x="326294" y="452277"/>
                    <a:pt x="325034" y="443458"/>
                    <a:pt x="326294" y="433379"/>
                  </a:cubicBezTo>
                  <a:lnTo>
                    <a:pt x="326294" y="433379"/>
                  </a:lnTo>
                  <a:cubicBezTo>
                    <a:pt x="326294" y="425820"/>
                    <a:pt x="326294" y="418261"/>
                    <a:pt x="326294" y="410702"/>
                  </a:cubicBezTo>
                  <a:cubicBezTo>
                    <a:pt x="326294" y="405663"/>
                    <a:pt x="326294" y="400624"/>
                    <a:pt x="326294" y="396844"/>
                  </a:cubicBezTo>
                  <a:cubicBezTo>
                    <a:pt x="326294" y="394325"/>
                    <a:pt x="326294" y="390545"/>
                    <a:pt x="326294" y="388026"/>
                  </a:cubicBezTo>
                  <a:cubicBezTo>
                    <a:pt x="326294" y="384246"/>
                    <a:pt x="326294" y="380467"/>
                    <a:pt x="326294" y="377947"/>
                  </a:cubicBezTo>
                  <a:cubicBezTo>
                    <a:pt x="326294" y="374167"/>
                    <a:pt x="326294" y="369128"/>
                    <a:pt x="326294" y="365349"/>
                  </a:cubicBezTo>
                  <a:cubicBezTo>
                    <a:pt x="326294" y="362829"/>
                    <a:pt x="326294" y="359050"/>
                    <a:pt x="326294" y="356530"/>
                  </a:cubicBezTo>
                  <a:cubicBezTo>
                    <a:pt x="326294" y="355270"/>
                    <a:pt x="326294" y="354010"/>
                    <a:pt x="326294" y="352751"/>
                  </a:cubicBezTo>
                  <a:cubicBezTo>
                    <a:pt x="326294" y="348971"/>
                    <a:pt x="326294" y="343932"/>
                    <a:pt x="326294" y="340152"/>
                  </a:cubicBezTo>
                  <a:cubicBezTo>
                    <a:pt x="326294" y="335113"/>
                    <a:pt x="326294" y="331334"/>
                    <a:pt x="326294" y="326294"/>
                  </a:cubicBezTo>
                  <a:cubicBezTo>
                    <a:pt x="326294" y="323775"/>
                    <a:pt x="326294" y="321255"/>
                    <a:pt x="326294" y="318735"/>
                  </a:cubicBezTo>
                  <a:cubicBezTo>
                    <a:pt x="326294" y="312436"/>
                    <a:pt x="326294" y="306137"/>
                    <a:pt x="326294" y="299838"/>
                  </a:cubicBezTo>
                  <a:lnTo>
                    <a:pt x="326294" y="296058"/>
                  </a:lnTo>
                  <a:cubicBezTo>
                    <a:pt x="326294" y="291019"/>
                    <a:pt x="326294" y="285980"/>
                    <a:pt x="326294" y="279681"/>
                  </a:cubicBezTo>
                  <a:cubicBezTo>
                    <a:pt x="326294" y="279681"/>
                    <a:pt x="326294" y="279681"/>
                    <a:pt x="327554" y="279681"/>
                  </a:cubicBezTo>
                  <a:cubicBezTo>
                    <a:pt x="328814" y="279681"/>
                    <a:pt x="328814" y="279681"/>
                    <a:pt x="328814" y="278421"/>
                  </a:cubicBezTo>
                  <a:cubicBezTo>
                    <a:pt x="328814" y="277161"/>
                    <a:pt x="330074" y="277161"/>
                    <a:pt x="330074" y="275901"/>
                  </a:cubicBezTo>
                  <a:cubicBezTo>
                    <a:pt x="330074" y="274642"/>
                    <a:pt x="330074" y="274642"/>
                    <a:pt x="328814" y="273382"/>
                  </a:cubicBezTo>
                  <a:lnTo>
                    <a:pt x="328814" y="273382"/>
                  </a:lnTo>
                  <a:lnTo>
                    <a:pt x="328814" y="273382"/>
                  </a:lnTo>
                  <a:lnTo>
                    <a:pt x="328814" y="273382"/>
                  </a:lnTo>
                  <a:cubicBezTo>
                    <a:pt x="328814" y="270862"/>
                    <a:pt x="328814" y="267083"/>
                    <a:pt x="328814" y="264563"/>
                  </a:cubicBezTo>
                  <a:cubicBezTo>
                    <a:pt x="328814" y="260783"/>
                    <a:pt x="328814" y="255744"/>
                    <a:pt x="330074" y="251965"/>
                  </a:cubicBezTo>
                  <a:cubicBezTo>
                    <a:pt x="330074" y="248185"/>
                    <a:pt x="331333" y="243146"/>
                    <a:pt x="331333" y="238107"/>
                  </a:cubicBezTo>
                  <a:cubicBezTo>
                    <a:pt x="331333" y="236847"/>
                    <a:pt x="331333" y="235587"/>
                    <a:pt x="331333" y="234327"/>
                  </a:cubicBezTo>
                  <a:cubicBezTo>
                    <a:pt x="331333" y="233067"/>
                    <a:pt x="331333" y="231808"/>
                    <a:pt x="331333" y="231808"/>
                  </a:cubicBezTo>
                  <a:cubicBezTo>
                    <a:pt x="331333" y="230548"/>
                    <a:pt x="331333" y="230548"/>
                    <a:pt x="331333" y="229288"/>
                  </a:cubicBezTo>
                  <a:cubicBezTo>
                    <a:pt x="331333" y="228028"/>
                    <a:pt x="331333" y="226768"/>
                    <a:pt x="331333" y="225508"/>
                  </a:cubicBezTo>
                  <a:cubicBezTo>
                    <a:pt x="331333" y="222989"/>
                    <a:pt x="331333" y="221729"/>
                    <a:pt x="331333" y="219209"/>
                  </a:cubicBezTo>
                  <a:lnTo>
                    <a:pt x="331333" y="216690"/>
                  </a:lnTo>
                  <a:cubicBezTo>
                    <a:pt x="331333" y="215430"/>
                    <a:pt x="331333" y="214170"/>
                    <a:pt x="331333" y="212910"/>
                  </a:cubicBezTo>
                  <a:cubicBezTo>
                    <a:pt x="331333" y="211650"/>
                    <a:pt x="331333" y="211650"/>
                    <a:pt x="331333" y="210390"/>
                  </a:cubicBezTo>
                  <a:cubicBezTo>
                    <a:pt x="331333" y="209131"/>
                    <a:pt x="331333" y="207871"/>
                    <a:pt x="331333" y="206611"/>
                  </a:cubicBezTo>
                  <a:cubicBezTo>
                    <a:pt x="331333" y="205351"/>
                    <a:pt x="331333" y="204091"/>
                    <a:pt x="331333" y="204091"/>
                  </a:cubicBezTo>
                  <a:cubicBezTo>
                    <a:pt x="331333" y="202832"/>
                    <a:pt x="331333" y="201572"/>
                    <a:pt x="331333" y="200312"/>
                  </a:cubicBezTo>
                  <a:cubicBezTo>
                    <a:pt x="331333" y="200312"/>
                    <a:pt x="331333" y="199052"/>
                    <a:pt x="331333" y="199052"/>
                  </a:cubicBezTo>
                  <a:cubicBezTo>
                    <a:pt x="331333" y="199052"/>
                    <a:pt x="331333" y="197792"/>
                    <a:pt x="331333" y="197792"/>
                  </a:cubicBezTo>
                  <a:cubicBezTo>
                    <a:pt x="331333" y="196533"/>
                    <a:pt x="331333" y="196533"/>
                    <a:pt x="331333" y="195273"/>
                  </a:cubicBezTo>
                  <a:cubicBezTo>
                    <a:pt x="331333" y="195273"/>
                    <a:pt x="331333" y="195273"/>
                    <a:pt x="330074" y="195273"/>
                  </a:cubicBezTo>
                  <a:cubicBezTo>
                    <a:pt x="330074" y="195273"/>
                    <a:pt x="328814" y="195273"/>
                    <a:pt x="328814" y="195273"/>
                  </a:cubicBezTo>
                  <a:cubicBezTo>
                    <a:pt x="328814" y="195273"/>
                    <a:pt x="328814" y="195273"/>
                    <a:pt x="327554" y="195273"/>
                  </a:cubicBezTo>
                  <a:cubicBezTo>
                    <a:pt x="327554" y="195273"/>
                    <a:pt x="327554" y="195273"/>
                    <a:pt x="327554" y="195273"/>
                  </a:cubicBezTo>
                  <a:lnTo>
                    <a:pt x="327554" y="195273"/>
                  </a:lnTo>
                  <a:cubicBezTo>
                    <a:pt x="327554" y="195273"/>
                    <a:pt x="326294" y="195273"/>
                    <a:pt x="326294" y="195273"/>
                  </a:cubicBezTo>
                  <a:cubicBezTo>
                    <a:pt x="325034" y="195273"/>
                    <a:pt x="323775" y="196533"/>
                    <a:pt x="323775" y="196533"/>
                  </a:cubicBezTo>
                  <a:cubicBezTo>
                    <a:pt x="322515" y="196533"/>
                    <a:pt x="322515" y="197792"/>
                    <a:pt x="321255" y="197792"/>
                  </a:cubicBezTo>
                  <a:cubicBezTo>
                    <a:pt x="319995" y="197792"/>
                    <a:pt x="318735" y="199052"/>
                    <a:pt x="317476" y="199052"/>
                  </a:cubicBezTo>
                  <a:cubicBezTo>
                    <a:pt x="314956" y="200312"/>
                    <a:pt x="313696" y="200312"/>
                    <a:pt x="311177" y="201572"/>
                  </a:cubicBezTo>
                  <a:lnTo>
                    <a:pt x="311177" y="201572"/>
                  </a:lnTo>
                  <a:cubicBezTo>
                    <a:pt x="308657" y="202832"/>
                    <a:pt x="307397" y="202832"/>
                    <a:pt x="304877" y="204091"/>
                  </a:cubicBezTo>
                  <a:cubicBezTo>
                    <a:pt x="303617" y="204091"/>
                    <a:pt x="302358" y="205351"/>
                    <a:pt x="301098" y="205351"/>
                  </a:cubicBezTo>
                  <a:cubicBezTo>
                    <a:pt x="299838" y="205351"/>
                    <a:pt x="298578" y="206611"/>
                    <a:pt x="298578" y="206611"/>
                  </a:cubicBezTo>
                  <a:lnTo>
                    <a:pt x="298578" y="206611"/>
                  </a:lnTo>
                  <a:cubicBezTo>
                    <a:pt x="296058" y="206611"/>
                    <a:pt x="294799" y="207871"/>
                    <a:pt x="292279" y="207871"/>
                  </a:cubicBezTo>
                  <a:cubicBezTo>
                    <a:pt x="291019" y="207871"/>
                    <a:pt x="289759" y="207871"/>
                    <a:pt x="288499" y="209131"/>
                  </a:cubicBezTo>
                  <a:cubicBezTo>
                    <a:pt x="287240" y="209131"/>
                    <a:pt x="285980" y="209131"/>
                    <a:pt x="285980" y="209131"/>
                  </a:cubicBezTo>
                  <a:cubicBezTo>
                    <a:pt x="283460" y="209131"/>
                    <a:pt x="282200" y="210390"/>
                    <a:pt x="279681" y="210390"/>
                  </a:cubicBezTo>
                  <a:cubicBezTo>
                    <a:pt x="274641" y="211650"/>
                    <a:pt x="269602" y="211650"/>
                    <a:pt x="264563" y="212910"/>
                  </a:cubicBezTo>
                  <a:lnTo>
                    <a:pt x="263303" y="212910"/>
                  </a:lnTo>
                  <a:cubicBezTo>
                    <a:pt x="262043" y="212910"/>
                    <a:pt x="259524" y="212910"/>
                    <a:pt x="258264" y="214170"/>
                  </a:cubicBezTo>
                  <a:cubicBezTo>
                    <a:pt x="257004" y="214170"/>
                    <a:pt x="255744" y="214170"/>
                    <a:pt x="254484" y="214170"/>
                  </a:cubicBezTo>
                  <a:cubicBezTo>
                    <a:pt x="253225" y="214170"/>
                    <a:pt x="251965" y="214170"/>
                    <a:pt x="250705" y="214170"/>
                  </a:cubicBezTo>
                  <a:cubicBezTo>
                    <a:pt x="249445" y="214170"/>
                    <a:pt x="248185" y="214170"/>
                    <a:pt x="246925" y="214170"/>
                  </a:cubicBezTo>
                  <a:cubicBezTo>
                    <a:pt x="245666" y="214170"/>
                    <a:pt x="245666" y="214170"/>
                    <a:pt x="244406" y="214170"/>
                  </a:cubicBezTo>
                  <a:lnTo>
                    <a:pt x="244406" y="214170"/>
                  </a:lnTo>
                  <a:cubicBezTo>
                    <a:pt x="241886" y="214170"/>
                    <a:pt x="240626" y="214170"/>
                    <a:pt x="236847" y="214170"/>
                  </a:cubicBezTo>
                  <a:cubicBezTo>
                    <a:pt x="231807" y="214170"/>
                    <a:pt x="228028" y="215430"/>
                    <a:pt x="222989" y="215430"/>
                  </a:cubicBezTo>
                  <a:cubicBezTo>
                    <a:pt x="220469" y="215430"/>
                    <a:pt x="217949" y="216690"/>
                    <a:pt x="215430" y="216690"/>
                  </a:cubicBezTo>
                  <a:cubicBezTo>
                    <a:pt x="214170" y="216690"/>
                    <a:pt x="211650" y="216690"/>
                    <a:pt x="209131" y="217949"/>
                  </a:cubicBezTo>
                  <a:cubicBezTo>
                    <a:pt x="209131" y="217949"/>
                    <a:pt x="207871" y="217949"/>
                    <a:pt x="207871" y="217949"/>
                  </a:cubicBezTo>
                  <a:lnTo>
                    <a:pt x="207871" y="217949"/>
                  </a:lnTo>
                  <a:cubicBezTo>
                    <a:pt x="207871" y="217949"/>
                    <a:pt x="206611" y="217949"/>
                    <a:pt x="206611" y="217949"/>
                  </a:cubicBezTo>
                  <a:cubicBezTo>
                    <a:pt x="204092" y="216690"/>
                    <a:pt x="201572" y="216690"/>
                    <a:pt x="200312" y="215430"/>
                  </a:cubicBezTo>
                  <a:lnTo>
                    <a:pt x="200312" y="215430"/>
                  </a:lnTo>
                  <a:cubicBezTo>
                    <a:pt x="199052" y="215430"/>
                    <a:pt x="199052" y="215430"/>
                    <a:pt x="197792" y="215430"/>
                  </a:cubicBezTo>
                  <a:cubicBezTo>
                    <a:pt x="196533" y="215430"/>
                    <a:pt x="195273" y="215430"/>
                    <a:pt x="194013" y="215430"/>
                  </a:cubicBezTo>
                  <a:cubicBezTo>
                    <a:pt x="194013" y="215430"/>
                    <a:pt x="194013" y="215430"/>
                    <a:pt x="194013" y="215430"/>
                  </a:cubicBezTo>
                  <a:cubicBezTo>
                    <a:pt x="192753" y="215430"/>
                    <a:pt x="192753" y="215430"/>
                    <a:pt x="191493" y="216690"/>
                  </a:cubicBezTo>
                  <a:cubicBezTo>
                    <a:pt x="191493" y="216690"/>
                    <a:pt x="191493" y="216690"/>
                    <a:pt x="191493" y="216690"/>
                  </a:cubicBezTo>
                  <a:cubicBezTo>
                    <a:pt x="191493" y="216690"/>
                    <a:pt x="191493" y="216690"/>
                    <a:pt x="190233" y="216690"/>
                  </a:cubicBezTo>
                  <a:cubicBezTo>
                    <a:pt x="187714" y="215430"/>
                    <a:pt x="183934" y="214170"/>
                    <a:pt x="181414" y="212910"/>
                  </a:cubicBezTo>
                  <a:cubicBezTo>
                    <a:pt x="178895" y="211650"/>
                    <a:pt x="177635" y="211650"/>
                    <a:pt x="175115" y="210390"/>
                  </a:cubicBezTo>
                  <a:cubicBezTo>
                    <a:pt x="173855" y="210390"/>
                    <a:pt x="173855" y="209131"/>
                    <a:pt x="172596" y="209131"/>
                  </a:cubicBezTo>
                  <a:cubicBezTo>
                    <a:pt x="170076" y="207871"/>
                    <a:pt x="167556" y="205351"/>
                    <a:pt x="165037" y="204091"/>
                  </a:cubicBezTo>
                  <a:cubicBezTo>
                    <a:pt x="162517" y="202832"/>
                    <a:pt x="158738" y="200312"/>
                    <a:pt x="154958" y="199052"/>
                  </a:cubicBezTo>
                  <a:cubicBezTo>
                    <a:pt x="152439" y="197792"/>
                    <a:pt x="148659" y="195273"/>
                    <a:pt x="146140" y="194013"/>
                  </a:cubicBezTo>
                  <a:cubicBezTo>
                    <a:pt x="143620" y="192753"/>
                    <a:pt x="141100" y="191493"/>
                    <a:pt x="138581" y="190233"/>
                  </a:cubicBezTo>
                  <a:cubicBezTo>
                    <a:pt x="127242" y="182674"/>
                    <a:pt x="113384" y="175116"/>
                    <a:pt x="99526" y="165037"/>
                  </a:cubicBezTo>
                  <a:lnTo>
                    <a:pt x="99526" y="165037"/>
                  </a:lnTo>
                  <a:cubicBezTo>
                    <a:pt x="93227" y="159998"/>
                    <a:pt x="85668" y="156218"/>
                    <a:pt x="79369" y="151179"/>
                  </a:cubicBezTo>
                  <a:cubicBezTo>
                    <a:pt x="74329" y="147399"/>
                    <a:pt x="69290" y="142360"/>
                    <a:pt x="64251" y="138581"/>
                  </a:cubicBezTo>
                  <a:lnTo>
                    <a:pt x="60471" y="136061"/>
                  </a:lnTo>
                  <a:cubicBezTo>
                    <a:pt x="55432" y="132281"/>
                    <a:pt x="49133" y="127242"/>
                    <a:pt x="42834" y="120943"/>
                  </a:cubicBezTo>
                  <a:lnTo>
                    <a:pt x="41574" y="120943"/>
                  </a:lnTo>
                  <a:cubicBezTo>
                    <a:pt x="36535" y="115904"/>
                    <a:pt x="30236" y="112124"/>
                    <a:pt x="25196" y="105825"/>
                  </a:cubicBezTo>
                  <a:cubicBezTo>
                    <a:pt x="22677" y="103305"/>
                    <a:pt x="20157" y="99526"/>
                    <a:pt x="17637" y="95747"/>
                  </a:cubicBezTo>
                  <a:cubicBezTo>
                    <a:pt x="15118" y="91967"/>
                    <a:pt x="12598" y="89448"/>
                    <a:pt x="11338" y="85668"/>
                  </a:cubicBezTo>
                  <a:cubicBezTo>
                    <a:pt x="7559" y="80629"/>
                    <a:pt x="5039" y="74330"/>
                    <a:pt x="1260" y="69290"/>
                  </a:cubicBezTo>
                  <a:cubicBezTo>
                    <a:pt x="1260" y="68031"/>
                    <a:pt x="0" y="68031"/>
                    <a:pt x="0" y="66771"/>
                  </a:cubicBezTo>
                  <a:cubicBezTo>
                    <a:pt x="3779" y="69290"/>
                    <a:pt x="6299" y="71810"/>
                    <a:pt x="8819" y="74330"/>
                  </a:cubicBezTo>
                  <a:cubicBezTo>
                    <a:pt x="11338" y="75589"/>
                    <a:pt x="13858" y="78109"/>
                    <a:pt x="15118" y="79369"/>
                  </a:cubicBezTo>
                  <a:lnTo>
                    <a:pt x="16378" y="80629"/>
                  </a:lnTo>
                  <a:cubicBezTo>
                    <a:pt x="17637" y="81889"/>
                    <a:pt x="18897" y="81889"/>
                    <a:pt x="21417" y="83148"/>
                  </a:cubicBezTo>
                  <a:cubicBezTo>
                    <a:pt x="26456" y="85668"/>
                    <a:pt x="30236" y="88188"/>
                    <a:pt x="35275" y="89448"/>
                  </a:cubicBezTo>
                  <a:cubicBezTo>
                    <a:pt x="37795" y="89448"/>
                    <a:pt x="39055" y="90707"/>
                    <a:pt x="41574" y="90707"/>
                  </a:cubicBezTo>
                  <a:cubicBezTo>
                    <a:pt x="42834" y="90707"/>
                    <a:pt x="42834" y="90707"/>
                    <a:pt x="44094" y="90707"/>
                  </a:cubicBezTo>
                  <a:cubicBezTo>
                    <a:pt x="45354" y="90707"/>
                    <a:pt x="46614" y="90707"/>
                    <a:pt x="47873" y="91967"/>
                  </a:cubicBezTo>
                  <a:cubicBezTo>
                    <a:pt x="49133" y="91967"/>
                    <a:pt x="51653" y="91967"/>
                    <a:pt x="52913" y="93227"/>
                  </a:cubicBezTo>
                  <a:cubicBezTo>
                    <a:pt x="54172" y="93227"/>
                    <a:pt x="55432" y="93227"/>
                    <a:pt x="56692" y="93227"/>
                  </a:cubicBezTo>
                  <a:cubicBezTo>
                    <a:pt x="59212" y="93227"/>
                    <a:pt x="61731" y="93227"/>
                    <a:pt x="62991" y="93227"/>
                  </a:cubicBezTo>
                  <a:cubicBezTo>
                    <a:pt x="64251" y="93227"/>
                    <a:pt x="65511" y="93227"/>
                    <a:pt x="66770" y="93227"/>
                  </a:cubicBezTo>
                  <a:lnTo>
                    <a:pt x="66770" y="93227"/>
                  </a:lnTo>
                  <a:cubicBezTo>
                    <a:pt x="68030" y="93227"/>
                    <a:pt x="69290" y="93227"/>
                    <a:pt x="70550" y="93227"/>
                  </a:cubicBezTo>
                  <a:cubicBezTo>
                    <a:pt x="73070" y="93227"/>
                    <a:pt x="76849" y="91967"/>
                    <a:pt x="79369" y="91967"/>
                  </a:cubicBezTo>
                  <a:cubicBezTo>
                    <a:pt x="81889" y="91967"/>
                    <a:pt x="84408" y="90707"/>
                    <a:pt x="86928" y="90707"/>
                  </a:cubicBezTo>
                  <a:cubicBezTo>
                    <a:pt x="89448" y="89448"/>
                    <a:pt x="91967" y="89448"/>
                    <a:pt x="93227" y="88188"/>
                  </a:cubicBezTo>
                  <a:cubicBezTo>
                    <a:pt x="94487" y="88188"/>
                    <a:pt x="95747" y="86928"/>
                    <a:pt x="97007" y="86928"/>
                  </a:cubicBezTo>
                  <a:lnTo>
                    <a:pt x="97007" y="86928"/>
                  </a:lnTo>
                  <a:cubicBezTo>
                    <a:pt x="97007" y="86928"/>
                    <a:pt x="98266" y="86928"/>
                    <a:pt x="98266" y="85668"/>
                  </a:cubicBezTo>
                  <a:lnTo>
                    <a:pt x="99526" y="84408"/>
                  </a:lnTo>
                  <a:lnTo>
                    <a:pt x="99526" y="84408"/>
                  </a:lnTo>
                  <a:cubicBezTo>
                    <a:pt x="100786" y="84408"/>
                    <a:pt x="102046" y="83148"/>
                    <a:pt x="104565" y="81889"/>
                  </a:cubicBezTo>
                  <a:lnTo>
                    <a:pt x="105825" y="81889"/>
                  </a:lnTo>
                  <a:cubicBezTo>
                    <a:pt x="108345" y="80629"/>
                    <a:pt x="110864" y="79369"/>
                    <a:pt x="112124" y="78109"/>
                  </a:cubicBezTo>
                  <a:cubicBezTo>
                    <a:pt x="114644" y="76849"/>
                    <a:pt x="115904" y="75589"/>
                    <a:pt x="118423" y="74330"/>
                  </a:cubicBezTo>
                  <a:cubicBezTo>
                    <a:pt x="120943" y="73070"/>
                    <a:pt x="122203" y="70550"/>
                    <a:pt x="124722" y="68031"/>
                  </a:cubicBezTo>
                  <a:cubicBezTo>
                    <a:pt x="125982" y="66771"/>
                    <a:pt x="127242" y="65511"/>
                    <a:pt x="127242" y="64251"/>
                  </a:cubicBezTo>
                  <a:lnTo>
                    <a:pt x="127242" y="64251"/>
                  </a:lnTo>
                  <a:cubicBezTo>
                    <a:pt x="127242" y="62991"/>
                    <a:pt x="128502" y="62991"/>
                    <a:pt x="128502" y="61731"/>
                  </a:cubicBezTo>
                  <a:cubicBezTo>
                    <a:pt x="131022" y="57952"/>
                    <a:pt x="132281" y="55432"/>
                    <a:pt x="133541" y="51653"/>
                  </a:cubicBezTo>
                  <a:cubicBezTo>
                    <a:pt x="133541" y="50393"/>
                    <a:pt x="133541" y="50393"/>
                    <a:pt x="134801" y="49133"/>
                  </a:cubicBezTo>
                  <a:lnTo>
                    <a:pt x="134801" y="49133"/>
                  </a:lnTo>
                  <a:lnTo>
                    <a:pt x="134801" y="49133"/>
                  </a:lnTo>
                  <a:cubicBezTo>
                    <a:pt x="134801" y="49133"/>
                    <a:pt x="134801" y="49133"/>
                    <a:pt x="134801" y="49133"/>
                  </a:cubicBezTo>
                  <a:lnTo>
                    <a:pt x="134801" y="49133"/>
                  </a:lnTo>
                  <a:lnTo>
                    <a:pt x="134801" y="49133"/>
                  </a:lnTo>
                  <a:lnTo>
                    <a:pt x="134801" y="49133"/>
                  </a:lnTo>
                  <a:cubicBezTo>
                    <a:pt x="136061" y="45354"/>
                    <a:pt x="138581" y="40314"/>
                    <a:pt x="139840" y="35275"/>
                  </a:cubicBezTo>
                  <a:lnTo>
                    <a:pt x="139840" y="34015"/>
                  </a:lnTo>
                  <a:cubicBezTo>
                    <a:pt x="139840" y="32755"/>
                    <a:pt x="141100" y="30236"/>
                    <a:pt x="141100" y="28976"/>
                  </a:cubicBezTo>
                  <a:cubicBezTo>
                    <a:pt x="141100" y="26456"/>
                    <a:pt x="142360" y="23937"/>
                    <a:pt x="142360" y="22677"/>
                  </a:cubicBezTo>
                  <a:cubicBezTo>
                    <a:pt x="142360" y="20157"/>
                    <a:pt x="142360" y="17638"/>
                    <a:pt x="142360" y="16378"/>
                  </a:cubicBezTo>
                  <a:cubicBezTo>
                    <a:pt x="142360" y="16378"/>
                    <a:pt x="142360" y="16378"/>
                    <a:pt x="142360" y="15118"/>
                  </a:cubicBezTo>
                  <a:lnTo>
                    <a:pt x="142360" y="15118"/>
                  </a:lnTo>
                  <a:lnTo>
                    <a:pt x="142360" y="15118"/>
                  </a:lnTo>
                  <a:cubicBezTo>
                    <a:pt x="142360" y="13858"/>
                    <a:pt x="142360" y="13858"/>
                    <a:pt x="142360" y="12598"/>
                  </a:cubicBezTo>
                  <a:cubicBezTo>
                    <a:pt x="142360" y="10079"/>
                    <a:pt x="141100" y="7559"/>
                    <a:pt x="141100" y="5039"/>
                  </a:cubicBezTo>
                  <a:cubicBezTo>
                    <a:pt x="141100" y="3780"/>
                    <a:pt x="141100" y="1260"/>
                    <a:pt x="139840" y="0"/>
                  </a:cubicBezTo>
                  <a:cubicBezTo>
                    <a:pt x="149919" y="11339"/>
                    <a:pt x="151179" y="12598"/>
                    <a:pt x="151179" y="12598"/>
                  </a:cubicBezTo>
                </a:path>
              </a:pathLst>
            </a:custGeom>
            <a:solidFill>
              <a:srgbClr val="FFD671"/>
            </a:solidFill>
            <a:ln w="12584" cap="flat">
              <a:noFill/>
              <a:prstDash val="solid"/>
              <a:miter/>
            </a:ln>
          </p:spPr>
          <p:txBody>
            <a:bodyPr rtlCol="0" anchor="ctr"/>
            <a:lstStyle/>
            <a:p>
              <a:endParaRPr lang="zh-CN" altLang="en-US"/>
            </a:p>
          </p:txBody>
        </p:sp>
        <p:sp>
          <p:nvSpPr>
            <p:cNvPr id="238" name="任意多边形: 形状 237"/>
            <p:cNvSpPr/>
            <p:nvPr/>
          </p:nvSpPr>
          <p:spPr>
            <a:xfrm>
              <a:off x="9945481" y="4147956"/>
              <a:ext cx="8580" cy="858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FFD671"/>
            </a:solidFill>
            <a:ln w="12584" cap="flat">
              <a:noFill/>
              <a:prstDash val="solid"/>
              <a:miter/>
            </a:ln>
          </p:spPr>
          <p:txBody>
            <a:bodyPr rtlCol="0" anchor="ctr"/>
            <a:lstStyle/>
            <a:p>
              <a:endParaRPr lang="zh-CN" altLang="en-US"/>
            </a:p>
          </p:txBody>
        </p:sp>
        <p:sp>
          <p:nvSpPr>
            <p:cNvPr id="239" name="任意多边形: 形状 238"/>
            <p:cNvSpPr/>
            <p:nvPr/>
          </p:nvSpPr>
          <p:spPr>
            <a:xfrm>
              <a:off x="9595403" y="3615974"/>
              <a:ext cx="171607" cy="77223"/>
            </a:xfrm>
            <a:custGeom>
              <a:avLst/>
              <a:gdLst>
                <a:gd name="connsiteX0" fmla="*/ 5039 w 251964"/>
                <a:gd name="connsiteY0" fmla="*/ 6299 h 113384"/>
                <a:gd name="connsiteX1" fmla="*/ 15118 w 251964"/>
                <a:gd name="connsiteY1" fmla="*/ 11339 h 113384"/>
                <a:gd name="connsiteX2" fmla="*/ 25196 w 251964"/>
                <a:gd name="connsiteY2" fmla="*/ 16378 h 113384"/>
                <a:gd name="connsiteX3" fmla="*/ 44094 w 251964"/>
                <a:gd name="connsiteY3" fmla="*/ 26456 h 113384"/>
                <a:gd name="connsiteX4" fmla="*/ 52912 w 251964"/>
                <a:gd name="connsiteY4" fmla="*/ 31496 h 113384"/>
                <a:gd name="connsiteX5" fmla="*/ 73070 w 251964"/>
                <a:gd name="connsiteY5" fmla="*/ 40315 h 113384"/>
                <a:gd name="connsiteX6" fmla="*/ 93227 w 251964"/>
                <a:gd name="connsiteY6" fmla="*/ 49133 h 113384"/>
                <a:gd name="connsiteX7" fmla="*/ 113384 w 251964"/>
                <a:gd name="connsiteY7" fmla="*/ 57952 h 113384"/>
                <a:gd name="connsiteX8" fmla="*/ 123463 w 251964"/>
                <a:gd name="connsiteY8" fmla="*/ 61731 h 113384"/>
                <a:gd name="connsiteX9" fmla="*/ 133541 w 251964"/>
                <a:gd name="connsiteY9" fmla="*/ 65511 h 113384"/>
                <a:gd name="connsiteX10" fmla="*/ 154958 w 251964"/>
                <a:gd name="connsiteY10" fmla="*/ 74330 h 113384"/>
                <a:gd name="connsiteX11" fmla="*/ 165037 w 251964"/>
                <a:gd name="connsiteY11" fmla="*/ 78109 h 113384"/>
                <a:gd name="connsiteX12" fmla="*/ 175115 w 251964"/>
                <a:gd name="connsiteY12" fmla="*/ 81889 h 113384"/>
                <a:gd name="connsiteX13" fmla="*/ 196532 w 251964"/>
                <a:gd name="connsiteY13" fmla="*/ 89448 h 113384"/>
                <a:gd name="connsiteX14" fmla="*/ 216689 w 251964"/>
                <a:gd name="connsiteY14" fmla="*/ 97007 h 113384"/>
                <a:gd name="connsiteX15" fmla="*/ 250705 w 251964"/>
                <a:gd name="connsiteY15" fmla="*/ 109605 h 113384"/>
                <a:gd name="connsiteX16" fmla="*/ 255744 w 251964"/>
                <a:gd name="connsiteY16" fmla="*/ 115904 h 113384"/>
                <a:gd name="connsiteX17" fmla="*/ 253224 w 251964"/>
                <a:gd name="connsiteY17" fmla="*/ 119683 h 113384"/>
                <a:gd name="connsiteX18" fmla="*/ 248185 w 251964"/>
                <a:gd name="connsiteY18" fmla="*/ 120943 h 113384"/>
                <a:gd name="connsiteX19" fmla="*/ 236847 w 251964"/>
                <a:gd name="connsiteY19" fmla="*/ 118424 h 113384"/>
                <a:gd name="connsiteX20" fmla="*/ 226768 w 251964"/>
                <a:gd name="connsiteY20" fmla="*/ 114644 h 113384"/>
                <a:gd name="connsiteX21" fmla="*/ 206611 w 251964"/>
                <a:gd name="connsiteY21" fmla="*/ 107085 h 113384"/>
                <a:gd name="connsiteX22" fmla="*/ 165037 w 251964"/>
                <a:gd name="connsiteY22" fmla="*/ 93227 h 113384"/>
                <a:gd name="connsiteX23" fmla="*/ 144880 w 251964"/>
                <a:gd name="connsiteY23" fmla="*/ 85668 h 113384"/>
                <a:gd name="connsiteX24" fmla="*/ 123463 w 251964"/>
                <a:gd name="connsiteY24" fmla="*/ 76849 h 113384"/>
                <a:gd name="connsiteX25" fmla="*/ 103305 w 251964"/>
                <a:gd name="connsiteY25" fmla="*/ 69290 h 113384"/>
                <a:gd name="connsiteX26" fmla="*/ 83148 w 251964"/>
                <a:gd name="connsiteY26" fmla="*/ 59212 h 113384"/>
                <a:gd name="connsiteX27" fmla="*/ 62991 w 251964"/>
                <a:gd name="connsiteY27" fmla="*/ 50393 h 113384"/>
                <a:gd name="connsiteX28" fmla="*/ 42834 w 251964"/>
                <a:gd name="connsiteY28" fmla="*/ 40315 h 113384"/>
                <a:gd name="connsiteX29" fmla="*/ 23937 w 251964"/>
                <a:gd name="connsiteY29" fmla="*/ 28976 h 113384"/>
                <a:gd name="connsiteX30" fmla="*/ 5039 w 251964"/>
                <a:gd name="connsiteY30" fmla="*/ 17638 h 113384"/>
                <a:gd name="connsiteX31" fmla="*/ 0 w 251964"/>
                <a:gd name="connsiteY31" fmla="*/ 15118 h 113384"/>
                <a:gd name="connsiteX32" fmla="*/ 1260 w 251964"/>
                <a:gd name="connsiteY32" fmla="*/ 8819 h 113384"/>
                <a:gd name="connsiteX33" fmla="*/ 1260 w 251964"/>
                <a:gd name="connsiteY33" fmla="*/ 2520 h 113384"/>
                <a:gd name="connsiteX34" fmla="*/ 1260 w 251964"/>
                <a:gd name="connsiteY34" fmla="*/ 1260 h 113384"/>
                <a:gd name="connsiteX35" fmla="*/ 1260 w 251964"/>
                <a:gd name="connsiteY35" fmla="*/ 1260 h 113384"/>
                <a:gd name="connsiteX36" fmla="*/ 1260 w 251964"/>
                <a:gd name="connsiteY36" fmla="*/ 1260 h 113384"/>
                <a:gd name="connsiteX37" fmla="*/ 1260 w 251964"/>
                <a:gd name="connsiteY37" fmla="*/ 0 h 113384"/>
                <a:gd name="connsiteX38" fmla="*/ 5039 w 251964"/>
                <a:gd name="connsiteY38" fmla="*/ 6299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51964" h="113384">
                  <a:moveTo>
                    <a:pt x="5039" y="6299"/>
                  </a:moveTo>
                  <a:cubicBezTo>
                    <a:pt x="8819" y="7559"/>
                    <a:pt x="11338" y="10079"/>
                    <a:pt x="15118" y="11339"/>
                  </a:cubicBezTo>
                  <a:cubicBezTo>
                    <a:pt x="18897" y="12598"/>
                    <a:pt x="21417" y="15118"/>
                    <a:pt x="25196" y="16378"/>
                  </a:cubicBezTo>
                  <a:cubicBezTo>
                    <a:pt x="31496" y="20157"/>
                    <a:pt x="37795" y="22677"/>
                    <a:pt x="44094" y="26456"/>
                  </a:cubicBezTo>
                  <a:cubicBezTo>
                    <a:pt x="46613" y="27716"/>
                    <a:pt x="49133" y="28976"/>
                    <a:pt x="52912" y="31496"/>
                  </a:cubicBezTo>
                  <a:cubicBezTo>
                    <a:pt x="59211" y="34015"/>
                    <a:pt x="65511" y="37795"/>
                    <a:pt x="73070" y="40315"/>
                  </a:cubicBezTo>
                  <a:cubicBezTo>
                    <a:pt x="79369" y="42834"/>
                    <a:pt x="86928" y="46614"/>
                    <a:pt x="93227" y="49133"/>
                  </a:cubicBezTo>
                  <a:cubicBezTo>
                    <a:pt x="99526" y="52913"/>
                    <a:pt x="107085" y="55432"/>
                    <a:pt x="113384" y="57952"/>
                  </a:cubicBezTo>
                  <a:cubicBezTo>
                    <a:pt x="117163" y="59212"/>
                    <a:pt x="119683" y="60472"/>
                    <a:pt x="123463" y="61731"/>
                  </a:cubicBezTo>
                  <a:cubicBezTo>
                    <a:pt x="127242" y="62991"/>
                    <a:pt x="129762" y="64251"/>
                    <a:pt x="133541" y="65511"/>
                  </a:cubicBezTo>
                  <a:cubicBezTo>
                    <a:pt x="141100" y="68031"/>
                    <a:pt x="147399" y="71810"/>
                    <a:pt x="154958" y="74330"/>
                  </a:cubicBezTo>
                  <a:cubicBezTo>
                    <a:pt x="158737" y="75589"/>
                    <a:pt x="161257" y="76849"/>
                    <a:pt x="165037" y="78109"/>
                  </a:cubicBezTo>
                  <a:cubicBezTo>
                    <a:pt x="168816" y="79369"/>
                    <a:pt x="171336" y="80629"/>
                    <a:pt x="175115" y="81889"/>
                  </a:cubicBezTo>
                  <a:cubicBezTo>
                    <a:pt x="182674" y="84408"/>
                    <a:pt x="188973" y="86928"/>
                    <a:pt x="196532" y="89448"/>
                  </a:cubicBezTo>
                  <a:cubicBezTo>
                    <a:pt x="202831" y="91967"/>
                    <a:pt x="210390" y="94487"/>
                    <a:pt x="216689" y="97007"/>
                  </a:cubicBezTo>
                  <a:cubicBezTo>
                    <a:pt x="228028" y="100786"/>
                    <a:pt x="239366" y="105825"/>
                    <a:pt x="250705" y="109605"/>
                  </a:cubicBezTo>
                  <a:cubicBezTo>
                    <a:pt x="253224" y="110864"/>
                    <a:pt x="255744" y="113384"/>
                    <a:pt x="255744" y="115904"/>
                  </a:cubicBezTo>
                  <a:cubicBezTo>
                    <a:pt x="255744" y="117164"/>
                    <a:pt x="254484" y="119683"/>
                    <a:pt x="253224" y="119683"/>
                  </a:cubicBezTo>
                  <a:cubicBezTo>
                    <a:pt x="251965" y="120943"/>
                    <a:pt x="249445" y="120943"/>
                    <a:pt x="248185" y="120943"/>
                  </a:cubicBezTo>
                  <a:cubicBezTo>
                    <a:pt x="244406" y="119683"/>
                    <a:pt x="240626" y="119683"/>
                    <a:pt x="236847" y="118424"/>
                  </a:cubicBezTo>
                  <a:cubicBezTo>
                    <a:pt x="233067" y="117164"/>
                    <a:pt x="230548" y="115904"/>
                    <a:pt x="226768" y="114644"/>
                  </a:cubicBezTo>
                  <a:cubicBezTo>
                    <a:pt x="220469" y="112124"/>
                    <a:pt x="212910" y="109605"/>
                    <a:pt x="206611" y="107085"/>
                  </a:cubicBezTo>
                  <a:cubicBezTo>
                    <a:pt x="192753" y="102046"/>
                    <a:pt x="178895" y="97007"/>
                    <a:pt x="165037" y="93227"/>
                  </a:cubicBezTo>
                  <a:cubicBezTo>
                    <a:pt x="158737" y="90707"/>
                    <a:pt x="151179" y="88188"/>
                    <a:pt x="144880" y="85668"/>
                  </a:cubicBezTo>
                  <a:cubicBezTo>
                    <a:pt x="137321" y="83148"/>
                    <a:pt x="131022" y="79369"/>
                    <a:pt x="123463" y="76849"/>
                  </a:cubicBezTo>
                  <a:cubicBezTo>
                    <a:pt x="117163" y="74330"/>
                    <a:pt x="109604" y="71810"/>
                    <a:pt x="103305" y="69290"/>
                  </a:cubicBezTo>
                  <a:cubicBezTo>
                    <a:pt x="97006" y="66771"/>
                    <a:pt x="89447" y="62991"/>
                    <a:pt x="83148" y="59212"/>
                  </a:cubicBezTo>
                  <a:cubicBezTo>
                    <a:pt x="76849" y="56692"/>
                    <a:pt x="70550" y="52913"/>
                    <a:pt x="62991" y="50393"/>
                  </a:cubicBezTo>
                  <a:cubicBezTo>
                    <a:pt x="55432" y="47873"/>
                    <a:pt x="49133" y="44094"/>
                    <a:pt x="42834" y="40315"/>
                  </a:cubicBezTo>
                  <a:cubicBezTo>
                    <a:pt x="36535" y="36535"/>
                    <a:pt x="30236" y="32755"/>
                    <a:pt x="23937" y="28976"/>
                  </a:cubicBezTo>
                  <a:cubicBezTo>
                    <a:pt x="17637" y="25196"/>
                    <a:pt x="11338" y="21417"/>
                    <a:pt x="5039" y="17638"/>
                  </a:cubicBezTo>
                  <a:cubicBezTo>
                    <a:pt x="3779" y="16378"/>
                    <a:pt x="1260" y="16378"/>
                    <a:pt x="0" y="15118"/>
                  </a:cubicBezTo>
                  <a:cubicBezTo>
                    <a:pt x="0" y="12598"/>
                    <a:pt x="0" y="10079"/>
                    <a:pt x="1260" y="8819"/>
                  </a:cubicBezTo>
                  <a:cubicBezTo>
                    <a:pt x="1260" y="6299"/>
                    <a:pt x="1260" y="3780"/>
                    <a:pt x="1260" y="2520"/>
                  </a:cubicBezTo>
                  <a:cubicBezTo>
                    <a:pt x="1260" y="2520"/>
                    <a:pt x="1260" y="2520"/>
                    <a:pt x="1260" y="1260"/>
                  </a:cubicBezTo>
                  <a:lnTo>
                    <a:pt x="1260" y="1260"/>
                  </a:lnTo>
                  <a:lnTo>
                    <a:pt x="1260" y="1260"/>
                  </a:lnTo>
                  <a:cubicBezTo>
                    <a:pt x="1260" y="1260"/>
                    <a:pt x="1260" y="0"/>
                    <a:pt x="1260" y="0"/>
                  </a:cubicBezTo>
                  <a:cubicBezTo>
                    <a:pt x="0" y="3780"/>
                    <a:pt x="2519" y="5039"/>
                    <a:pt x="5039" y="6299"/>
                  </a:cubicBezTo>
                </a:path>
              </a:pathLst>
            </a:custGeom>
            <a:solidFill>
              <a:srgbClr val="FFD671"/>
            </a:solidFill>
            <a:ln w="12584" cap="flat">
              <a:noFill/>
              <a:prstDash val="solid"/>
              <a:miter/>
            </a:ln>
          </p:spPr>
          <p:txBody>
            <a:bodyPr rtlCol="0" anchor="ctr"/>
            <a:lstStyle/>
            <a:p>
              <a:endParaRPr lang="zh-CN" altLang="en-US"/>
            </a:p>
          </p:txBody>
        </p:sp>
        <p:sp>
          <p:nvSpPr>
            <p:cNvPr id="240" name="任意多边形: 形状 239"/>
            <p:cNvSpPr/>
            <p:nvPr/>
          </p:nvSpPr>
          <p:spPr>
            <a:xfrm>
              <a:off x="9592829" y="3610825"/>
              <a:ext cx="180187" cy="68643"/>
            </a:xfrm>
            <a:custGeom>
              <a:avLst/>
              <a:gdLst>
                <a:gd name="connsiteX0" fmla="*/ 8819 w 264562"/>
                <a:gd name="connsiteY0" fmla="*/ 5039 h 100785"/>
                <a:gd name="connsiteX1" fmla="*/ 0 w 264562"/>
                <a:gd name="connsiteY1" fmla="*/ 0 h 100785"/>
                <a:gd name="connsiteX2" fmla="*/ 0 w 264562"/>
                <a:gd name="connsiteY2" fmla="*/ 1260 h 100785"/>
                <a:gd name="connsiteX3" fmla="*/ 1260 w 264562"/>
                <a:gd name="connsiteY3" fmla="*/ 8819 h 100785"/>
                <a:gd name="connsiteX4" fmla="*/ 1260 w 264562"/>
                <a:gd name="connsiteY4" fmla="*/ 11338 h 100785"/>
                <a:gd name="connsiteX5" fmla="*/ 1260 w 264562"/>
                <a:gd name="connsiteY5" fmla="*/ 11338 h 100785"/>
                <a:gd name="connsiteX6" fmla="*/ 1260 w 264562"/>
                <a:gd name="connsiteY6" fmla="*/ 11338 h 100785"/>
                <a:gd name="connsiteX7" fmla="*/ 1260 w 264562"/>
                <a:gd name="connsiteY7" fmla="*/ 12598 h 100785"/>
                <a:gd name="connsiteX8" fmla="*/ 1260 w 264562"/>
                <a:gd name="connsiteY8" fmla="*/ 18897 h 100785"/>
                <a:gd name="connsiteX9" fmla="*/ 1260 w 264562"/>
                <a:gd name="connsiteY9" fmla="*/ 22677 h 100785"/>
                <a:gd name="connsiteX10" fmla="*/ 7559 w 264562"/>
                <a:gd name="connsiteY10" fmla="*/ 26456 h 100785"/>
                <a:gd name="connsiteX11" fmla="*/ 27716 w 264562"/>
                <a:gd name="connsiteY11" fmla="*/ 37795 h 100785"/>
                <a:gd name="connsiteX12" fmla="*/ 45354 w 264562"/>
                <a:gd name="connsiteY12" fmla="*/ 47873 h 100785"/>
                <a:gd name="connsiteX13" fmla="*/ 68030 w 264562"/>
                <a:gd name="connsiteY13" fmla="*/ 59212 h 100785"/>
                <a:gd name="connsiteX14" fmla="*/ 89448 w 264562"/>
                <a:gd name="connsiteY14" fmla="*/ 68030 h 100785"/>
                <a:gd name="connsiteX15" fmla="*/ 109605 w 264562"/>
                <a:gd name="connsiteY15" fmla="*/ 76849 h 100785"/>
                <a:gd name="connsiteX16" fmla="*/ 129762 w 264562"/>
                <a:gd name="connsiteY16" fmla="*/ 84408 h 100785"/>
                <a:gd name="connsiteX17" fmla="*/ 141100 w 264562"/>
                <a:gd name="connsiteY17" fmla="*/ 88188 h 100785"/>
                <a:gd name="connsiteX18" fmla="*/ 151179 w 264562"/>
                <a:gd name="connsiteY18" fmla="*/ 91967 h 100785"/>
                <a:gd name="connsiteX19" fmla="*/ 163777 w 264562"/>
                <a:gd name="connsiteY19" fmla="*/ 95746 h 100785"/>
                <a:gd name="connsiteX20" fmla="*/ 173856 w 264562"/>
                <a:gd name="connsiteY20" fmla="*/ 98266 h 100785"/>
                <a:gd name="connsiteX21" fmla="*/ 195273 w 264562"/>
                <a:gd name="connsiteY21" fmla="*/ 102046 h 100785"/>
                <a:gd name="connsiteX22" fmla="*/ 215430 w 264562"/>
                <a:gd name="connsiteY22" fmla="*/ 105825 h 100785"/>
                <a:gd name="connsiteX23" fmla="*/ 215430 w 264562"/>
                <a:gd name="connsiteY23" fmla="*/ 105825 h 100785"/>
                <a:gd name="connsiteX24" fmla="*/ 215430 w 264562"/>
                <a:gd name="connsiteY24" fmla="*/ 105825 h 100785"/>
                <a:gd name="connsiteX25" fmla="*/ 215430 w 264562"/>
                <a:gd name="connsiteY25" fmla="*/ 105825 h 100785"/>
                <a:gd name="connsiteX26" fmla="*/ 216690 w 264562"/>
                <a:gd name="connsiteY26" fmla="*/ 105825 h 100785"/>
                <a:gd name="connsiteX27" fmla="*/ 219209 w 264562"/>
                <a:gd name="connsiteY27" fmla="*/ 105825 h 100785"/>
                <a:gd name="connsiteX28" fmla="*/ 217950 w 264562"/>
                <a:gd name="connsiteY28" fmla="*/ 105825 h 100785"/>
                <a:gd name="connsiteX29" fmla="*/ 236847 w 264562"/>
                <a:gd name="connsiteY29" fmla="*/ 109605 h 100785"/>
                <a:gd name="connsiteX30" fmla="*/ 244406 w 264562"/>
                <a:gd name="connsiteY30" fmla="*/ 110864 h 100785"/>
                <a:gd name="connsiteX31" fmla="*/ 250705 w 264562"/>
                <a:gd name="connsiteY31" fmla="*/ 112124 h 100785"/>
                <a:gd name="connsiteX32" fmla="*/ 265823 w 264562"/>
                <a:gd name="connsiteY32" fmla="*/ 112124 h 100785"/>
                <a:gd name="connsiteX33" fmla="*/ 269602 w 264562"/>
                <a:gd name="connsiteY33" fmla="*/ 110864 h 100785"/>
                <a:gd name="connsiteX34" fmla="*/ 272122 w 264562"/>
                <a:gd name="connsiteY34" fmla="*/ 107085 h 100785"/>
                <a:gd name="connsiteX35" fmla="*/ 267083 w 264562"/>
                <a:gd name="connsiteY35" fmla="*/ 100786 h 100785"/>
                <a:gd name="connsiteX36" fmla="*/ 255744 w 264562"/>
                <a:gd name="connsiteY36" fmla="*/ 100786 h 100785"/>
                <a:gd name="connsiteX37" fmla="*/ 246925 w 264562"/>
                <a:gd name="connsiteY37" fmla="*/ 99526 h 100785"/>
                <a:gd name="connsiteX38" fmla="*/ 231807 w 264562"/>
                <a:gd name="connsiteY38" fmla="*/ 95746 h 100785"/>
                <a:gd name="connsiteX39" fmla="*/ 210391 w 264562"/>
                <a:gd name="connsiteY39" fmla="*/ 90707 h 100785"/>
                <a:gd name="connsiteX40" fmla="*/ 200312 w 264562"/>
                <a:gd name="connsiteY40" fmla="*/ 88188 h 100785"/>
                <a:gd name="connsiteX41" fmla="*/ 191493 w 264562"/>
                <a:gd name="connsiteY41" fmla="*/ 85668 h 100785"/>
                <a:gd name="connsiteX42" fmla="*/ 187714 w 264562"/>
                <a:gd name="connsiteY42" fmla="*/ 84408 h 100785"/>
                <a:gd name="connsiteX43" fmla="*/ 181414 w 264562"/>
                <a:gd name="connsiteY43" fmla="*/ 83148 h 100785"/>
                <a:gd name="connsiteX44" fmla="*/ 175115 w 264562"/>
                <a:gd name="connsiteY44" fmla="*/ 81889 h 100785"/>
                <a:gd name="connsiteX45" fmla="*/ 161258 w 264562"/>
                <a:gd name="connsiteY45" fmla="*/ 76849 h 100785"/>
                <a:gd name="connsiteX46" fmla="*/ 163777 w 264562"/>
                <a:gd name="connsiteY46" fmla="*/ 78109 h 100785"/>
                <a:gd name="connsiteX47" fmla="*/ 148659 w 264562"/>
                <a:gd name="connsiteY47" fmla="*/ 73070 h 100785"/>
                <a:gd name="connsiteX48" fmla="*/ 149919 w 264562"/>
                <a:gd name="connsiteY48" fmla="*/ 73070 h 100785"/>
                <a:gd name="connsiteX49" fmla="*/ 136061 w 264562"/>
                <a:gd name="connsiteY49" fmla="*/ 68030 h 100785"/>
                <a:gd name="connsiteX50" fmla="*/ 124722 w 264562"/>
                <a:gd name="connsiteY50" fmla="*/ 64251 h 100785"/>
                <a:gd name="connsiteX51" fmla="*/ 115904 w 264562"/>
                <a:gd name="connsiteY51" fmla="*/ 60472 h 100785"/>
                <a:gd name="connsiteX52" fmla="*/ 95747 w 264562"/>
                <a:gd name="connsiteY52" fmla="*/ 52913 h 100785"/>
                <a:gd name="connsiteX53" fmla="*/ 86928 w 264562"/>
                <a:gd name="connsiteY53" fmla="*/ 49133 h 100785"/>
                <a:gd name="connsiteX54" fmla="*/ 78109 w 264562"/>
                <a:gd name="connsiteY54" fmla="*/ 45354 h 100785"/>
                <a:gd name="connsiteX55" fmla="*/ 60472 w 264562"/>
                <a:gd name="connsiteY55" fmla="*/ 36535 h 100785"/>
                <a:gd name="connsiteX56" fmla="*/ 46614 w 264562"/>
                <a:gd name="connsiteY56" fmla="*/ 28976 h 100785"/>
                <a:gd name="connsiteX57" fmla="*/ 39055 w 264562"/>
                <a:gd name="connsiteY57" fmla="*/ 25196 h 100785"/>
                <a:gd name="connsiteX58" fmla="*/ 30236 w 264562"/>
                <a:gd name="connsiteY58" fmla="*/ 20157 h 100785"/>
                <a:gd name="connsiteX59" fmla="*/ 30236 w 264562"/>
                <a:gd name="connsiteY59" fmla="*/ 20157 h 100785"/>
                <a:gd name="connsiteX60" fmla="*/ 26456 w 264562"/>
                <a:gd name="connsiteY60" fmla="*/ 17637 h 100785"/>
                <a:gd name="connsiteX61" fmla="*/ 17637 w 264562"/>
                <a:gd name="connsiteY61" fmla="*/ 12598 h 100785"/>
                <a:gd name="connsiteX62" fmla="*/ 8819 w 264562"/>
                <a:gd name="connsiteY62" fmla="*/ 5039 h 100785"/>
                <a:gd name="connsiteX63" fmla="*/ 8819 w 264562"/>
                <a:gd name="connsiteY63" fmla="*/ 5039 h 100785"/>
                <a:gd name="connsiteX64" fmla="*/ 214170 w 264562"/>
                <a:gd name="connsiteY64" fmla="*/ 104565 h 100785"/>
                <a:gd name="connsiteX65" fmla="*/ 214170 w 264562"/>
                <a:gd name="connsiteY65" fmla="*/ 104565 h 100785"/>
                <a:gd name="connsiteX66" fmla="*/ 214170 w 264562"/>
                <a:gd name="connsiteY66" fmla="*/ 10456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64562" h="100785">
                  <a:moveTo>
                    <a:pt x="8819" y="5039"/>
                  </a:moveTo>
                  <a:cubicBezTo>
                    <a:pt x="6299" y="3780"/>
                    <a:pt x="2520" y="1260"/>
                    <a:pt x="0" y="0"/>
                  </a:cubicBezTo>
                  <a:cubicBezTo>
                    <a:pt x="0" y="0"/>
                    <a:pt x="0" y="1260"/>
                    <a:pt x="0" y="1260"/>
                  </a:cubicBezTo>
                  <a:cubicBezTo>
                    <a:pt x="0" y="3780"/>
                    <a:pt x="1260" y="6299"/>
                    <a:pt x="1260" y="8819"/>
                  </a:cubicBezTo>
                  <a:cubicBezTo>
                    <a:pt x="1260" y="10079"/>
                    <a:pt x="1260" y="10079"/>
                    <a:pt x="1260" y="11338"/>
                  </a:cubicBezTo>
                  <a:lnTo>
                    <a:pt x="1260" y="11338"/>
                  </a:lnTo>
                  <a:lnTo>
                    <a:pt x="1260" y="11338"/>
                  </a:lnTo>
                  <a:cubicBezTo>
                    <a:pt x="1260" y="11338"/>
                    <a:pt x="1260" y="11338"/>
                    <a:pt x="1260" y="12598"/>
                  </a:cubicBezTo>
                  <a:cubicBezTo>
                    <a:pt x="1260" y="13858"/>
                    <a:pt x="1260" y="16378"/>
                    <a:pt x="1260" y="18897"/>
                  </a:cubicBezTo>
                  <a:cubicBezTo>
                    <a:pt x="1260" y="20157"/>
                    <a:pt x="1260" y="21417"/>
                    <a:pt x="1260" y="22677"/>
                  </a:cubicBezTo>
                  <a:cubicBezTo>
                    <a:pt x="3780" y="23937"/>
                    <a:pt x="6299" y="25196"/>
                    <a:pt x="7559" y="26456"/>
                  </a:cubicBezTo>
                  <a:cubicBezTo>
                    <a:pt x="13858" y="30236"/>
                    <a:pt x="20157" y="34015"/>
                    <a:pt x="27716" y="37795"/>
                  </a:cubicBezTo>
                  <a:cubicBezTo>
                    <a:pt x="34015" y="41574"/>
                    <a:pt x="40314" y="44094"/>
                    <a:pt x="45354" y="47873"/>
                  </a:cubicBezTo>
                  <a:cubicBezTo>
                    <a:pt x="52913" y="51653"/>
                    <a:pt x="60472" y="55432"/>
                    <a:pt x="68030" y="59212"/>
                  </a:cubicBezTo>
                  <a:cubicBezTo>
                    <a:pt x="75589" y="61731"/>
                    <a:pt x="81889" y="65511"/>
                    <a:pt x="89448" y="68030"/>
                  </a:cubicBezTo>
                  <a:cubicBezTo>
                    <a:pt x="95747" y="70550"/>
                    <a:pt x="103306" y="74330"/>
                    <a:pt x="109605" y="76849"/>
                  </a:cubicBezTo>
                  <a:cubicBezTo>
                    <a:pt x="115904" y="79369"/>
                    <a:pt x="123463" y="81889"/>
                    <a:pt x="129762" y="84408"/>
                  </a:cubicBezTo>
                  <a:cubicBezTo>
                    <a:pt x="133541" y="85668"/>
                    <a:pt x="137321" y="86928"/>
                    <a:pt x="141100" y="88188"/>
                  </a:cubicBezTo>
                  <a:cubicBezTo>
                    <a:pt x="143620" y="89447"/>
                    <a:pt x="147399" y="90707"/>
                    <a:pt x="151179" y="91967"/>
                  </a:cubicBezTo>
                  <a:cubicBezTo>
                    <a:pt x="154958" y="93227"/>
                    <a:pt x="159998" y="94487"/>
                    <a:pt x="163777" y="95746"/>
                  </a:cubicBezTo>
                  <a:cubicBezTo>
                    <a:pt x="167557" y="97006"/>
                    <a:pt x="170076" y="97006"/>
                    <a:pt x="173856" y="98266"/>
                  </a:cubicBezTo>
                  <a:cubicBezTo>
                    <a:pt x="181414" y="99526"/>
                    <a:pt x="187714" y="100786"/>
                    <a:pt x="195273" y="102046"/>
                  </a:cubicBezTo>
                  <a:cubicBezTo>
                    <a:pt x="201572" y="103305"/>
                    <a:pt x="209131" y="104565"/>
                    <a:pt x="215430" y="105825"/>
                  </a:cubicBezTo>
                  <a:cubicBezTo>
                    <a:pt x="215430" y="105825"/>
                    <a:pt x="215430" y="105825"/>
                    <a:pt x="215430" y="105825"/>
                  </a:cubicBezTo>
                  <a:cubicBezTo>
                    <a:pt x="215430" y="105825"/>
                    <a:pt x="215430" y="105825"/>
                    <a:pt x="215430" y="105825"/>
                  </a:cubicBezTo>
                  <a:lnTo>
                    <a:pt x="215430" y="105825"/>
                  </a:lnTo>
                  <a:cubicBezTo>
                    <a:pt x="215430" y="105825"/>
                    <a:pt x="215430" y="105825"/>
                    <a:pt x="216690" y="105825"/>
                  </a:cubicBezTo>
                  <a:cubicBezTo>
                    <a:pt x="217950" y="105825"/>
                    <a:pt x="217950" y="105825"/>
                    <a:pt x="219209" y="105825"/>
                  </a:cubicBezTo>
                  <a:cubicBezTo>
                    <a:pt x="219209" y="105825"/>
                    <a:pt x="217950" y="105825"/>
                    <a:pt x="217950" y="105825"/>
                  </a:cubicBezTo>
                  <a:cubicBezTo>
                    <a:pt x="224249" y="107085"/>
                    <a:pt x="230548" y="108345"/>
                    <a:pt x="236847" y="109605"/>
                  </a:cubicBezTo>
                  <a:cubicBezTo>
                    <a:pt x="239366" y="109605"/>
                    <a:pt x="241886" y="110864"/>
                    <a:pt x="244406" y="110864"/>
                  </a:cubicBezTo>
                  <a:cubicBezTo>
                    <a:pt x="246925" y="110864"/>
                    <a:pt x="248185" y="110864"/>
                    <a:pt x="250705" y="112124"/>
                  </a:cubicBezTo>
                  <a:cubicBezTo>
                    <a:pt x="255744" y="112124"/>
                    <a:pt x="260784" y="112124"/>
                    <a:pt x="265823" y="112124"/>
                  </a:cubicBezTo>
                  <a:cubicBezTo>
                    <a:pt x="267083" y="112124"/>
                    <a:pt x="268343" y="112124"/>
                    <a:pt x="269602" y="110864"/>
                  </a:cubicBezTo>
                  <a:cubicBezTo>
                    <a:pt x="270862" y="109605"/>
                    <a:pt x="270862" y="108345"/>
                    <a:pt x="272122" y="107085"/>
                  </a:cubicBezTo>
                  <a:cubicBezTo>
                    <a:pt x="272122" y="104565"/>
                    <a:pt x="269602" y="100786"/>
                    <a:pt x="267083" y="100786"/>
                  </a:cubicBezTo>
                  <a:cubicBezTo>
                    <a:pt x="263303" y="100786"/>
                    <a:pt x="259524" y="100786"/>
                    <a:pt x="255744" y="100786"/>
                  </a:cubicBezTo>
                  <a:cubicBezTo>
                    <a:pt x="253225" y="100786"/>
                    <a:pt x="249445" y="100786"/>
                    <a:pt x="246925" y="99526"/>
                  </a:cubicBezTo>
                  <a:cubicBezTo>
                    <a:pt x="241886" y="98266"/>
                    <a:pt x="236847" y="97006"/>
                    <a:pt x="231807" y="95746"/>
                  </a:cubicBezTo>
                  <a:cubicBezTo>
                    <a:pt x="224249" y="94487"/>
                    <a:pt x="217950" y="91967"/>
                    <a:pt x="210391" y="90707"/>
                  </a:cubicBezTo>
                  <a:cubicBezTo>
                    <a:pt x="206611" y="89447"/>
                    <a:pt x="204092" y="89447"/>
                    <a:pt x="200312" y="88188"/>
                  </a:cubicBezTo>
                  <a:cubicBezTo>
                    <a:pt x="197792" y="86928"/>
                    <a:pt x="195273" y="86928"/>
                    <a:pt x="191493" y="85668"/>
                  </a:cubicBezTo>
                  <a:cubicBezTo>
                    <a:pt x="190233" y="85668"/>
                    <a:pt x="188973" y="85668"/>
                    <a:pt x="187714" y="84408"/>
                  </a:cubicBezTo>
                  <a:cubicBezTo>
                    <a:pt x="185194" y="84408"/>
                    <a:pt x="183934" y="83148"/>
                    <a:pt x="181414" y="83148"/>
                  </a:cubicBezTo>
                  <a:cubicBezTo>
                    <a:pt x="178895" y="83148"/>
                    <a:pt x="177635" y="81889"/>
                    <a:pt x="175115" y="81889"/>
                  </a:cubicBezTo>
                  <a:cubicBezTo>
                    <a:pt x="170076" y="80629"/>
                    <a:pt x="165037" y="79369"/>
                    <a:pt x="161258" y="76849"/>
                  </a:cubicBezTo>
                  <a:lnTo>
                    <a:pt x="163777" y="78109"/>
                  </a:lnTo>
                  <a:cubicBezTo>
                    <a:pt x="158738" y="76849"/>
                    <a:pt x="153699" y="74330"/>
                    <a:pt x="148659" y="73070"/>
                  </a:cubicBezTo>
                  <a:cubicBezTo>
                    <a:pt x="148659" y="73070"/>
                    <a:pt x="148659" y="73070"/>
                    <a:pt x="149919" y="73070"/>
                  </a:cubicBezTo>
                  <a:cubicBezTo>
                    <a:pt x="144880" y="71810"/>
                    <a:pt x="141100" y="70550"/>
                    <a:pt x="136061" y="68030"/>
                  </a:cubicBezTo>
                  <a:cubicBezTo>
                    <a:pt x="132281" y="66771"/>
                    <a:pt x="128502" y="65511"/>
                    <a:pt x="124722" y="64251"/>
                  </a:cubicBezTo>
                  <a:cubicBezTo>
                    <a:pt x="122203" y="62991"/>
                    <a:pt x="118423" y="61731"/>
                    <a:pt x="115904" y="60472"/>
                  </a:cubicBezTo>
                  <a:cubicBezTo>
                    <a:pt x="109605" y="57952"/>
                    <a:pt x="103306" y="55432"/>
                    <a:pt x="95747" y="52913"/>
                  </a:cubicBezTo>
                  <a:cubicBezTo>
                    <a:pt x="93227" y="51653"/>
                    <a:pt x="89448" y="50393"/>
                    <a:pt x="86928" y="49133"/>
                  </a:cubicBezTo>
                  <a:cubicBezTo>
                    <a:pt x="83148" y="47873"/>
                    <a:pt x="80629" y="46613"/>
                    <a:pt x="78109" y="45354"/>
                  </a:cubicBezTo>
                  <a:cubicBezTo>
                    <a:pt x="71810" y="42834"/>
                    <a:pt x="66771" y="39054"/>
                    <a:pt x="60472" y="36535"/>
                  </a:cubicBezTo>
                  <a:cubicBezTo>
                    <a:pt x="55432" y="34015"/>
                    <a:pt x="51653" y="31496"/>
                    <a:pt x="46614" y="28976"/>
                  </a:cubicBezTo>
                  <a:cubicBezTo>
                    <a:pt x="44094" y="27716"/>
                    <a:pt x="41574" y="26456"/>
                    <a:pt x="39055" y="25196"/>
                  </a:cubicBezTo>
                  <a:cubicBezTo>
                    <a:pt x="36535" y="23937"/>
                    <a:pt x="32755" y="21417"/>
                    <a:pt x="30236" y="20157"/>
                  </a:cubicBezTo>
                  <a:lnTo>
                    <a:pt x="30236" y="20157"/>
                  </a:lnTo>
                  <a:cubicBezTo>
                    <a:pt x="28976" y="18897"/>
                    <a:pt x="27716" y="18897"/>
                    <a:pt x="26456" y="17637"/>
                  </a:cubicBezTo>
                  <a:cubicBezTo>
                    <a:pt x="23937" y="16378"/>
                    <a:pt x="20157" y="13858"/>
                    <a:pt x="17637" y="12598"/>
                  </a:cubicBezTo>
                  <a:cubicBezTo>
                    <a:pt x="13858" y="10079"/>
                    <a:pt x="11338" y="7559"/>
                    <a:pt x="8819" y="5039"/>
                  </a:cubicBezTo>
                  <a:cubicBezTo>
                    <a:pt x="10079" y="5039"/>
                    <a:pt x="8819" y="5039"/>
                    <a:pt x="8819" y="5039"/>
                  </a:cubicBezTo>
                  <a:moveTo>
                    <a:pt x="214170" y="104565"/>
                  </a:moveTo>
                  <a:cubicBezTo>
                    <a:pt x="214170" y="104565"/>
                    <a:pt x="214170" y="104565"/>
                    <a:pt x="214170" y="104565"/>
                  </a:cubicBezTo>
                  <a:cubicBezTo>
                    <a:pt x="214170" y="104565"/>
                    <a:pt x="214170" y="104565"/>
                    <a:pt x="214170" y="104565"/>
                  </a:cubicBezTo>
                </a:path>
              </a:pathLst>
            </a:custGeom>
            <a:solidFill>
              <a:srgbClr val="FFD671"/>
            </a:solidFill>
            <a:ln w="12584" cap="flat">
              <a:noFill/>
              <a:prstDash val="solid"/>
              <a:miter/>
            </a:ln>
          </p:spPr>
          <p:txBody>
            <a:bodyPr rtlCol="0" anchor="ctr"/>
            <a:lstStyle/>
            <a:p>
              <a:endParaRPr lang="zh-CN" altLang="en-US"/>
            </a:p>
          </p:txBody>
        </p:sp>
        <p:sp>
          <p:nvSpPr>
            <p:cNvPr id="241" name="任意多边形: 形状 240"/>
            <p:cNvSpPr/>
            <p:nvPr/>
          </p:nvSpPr>
          <p:spPr>
            <a:xfrm>
              <a:off x="9822401" y="3591949"/>
              <a:ext cx="17160" cy="85803"/>
            </a:xfrm>
            <a:custGeom>
              <a:avLst/>
              <a:gdLst>
                <a:gd name="connsiteX0" fmla="*/ 20717 w 25196"/>
                <a:gd name="connsiteY0" fmla="*/ 0 h 125982"/>
                <a:gd name="connsiteX1" fmla="*/ 20717 w 25196"/>
                <a:gd name="connsiteY1" fmla="*/ 0 h 125982"/>
                <a:gd name="connsiteX2" fmla="*/ 15678 w 25196"/>
                <a:gd name="connsiteY2" fmla="*/ 2520 h 125982"/>
                <a:gd name="connsiteX3" fmla="*/ 14418 w 25196"/>
                <a:gd name="connsiteY3" fmla="*/ 5039 h 125982"/>
                <a:gd name="connsiteX4" fmla="*/ 14418 w 25196"/>
                <a:gd name="connsiteY4" fmla="*/ 7559 h 125982"/>
                <a:gd name="connsiteX5" fmla="*/ 13158 w 25196"/>
                <a:gd name="connsiteY5" fmla="*/ 12598 h 125982"/>
                <a:gd name="connsiteX6" fmla="*/ 10638 w 25196"/>
                <a:gd name="connsiteY6" fmla="*/ 22677 h 125982"/>
                <a:gd name="connsiteX7" fmla="*/ 6859 w 25196"/>
                <a:gd name="connsiteY7" fmla="*/ 44094 h 125982"/>
                <a:gd name="connsiteX8" fmla="*/ 3079 w 25196"/>
                <a:gd name="connsiteY8" fmla="*/ 61731 h 125982"/>
                <a:gd name="connsiteX9" fmla="*/ 1819 w 25196"/>
                <a:gd name="connsiteY9" fmla="*/ 70550 h 125982"/>
                <a:gd name="connsiteX10" fmla="*/ 560 w 25196"/>
                <a:gd name="connsiteY10" fmla="*/ 79369 h 125982"/>
                <a:gd name="connsiteX11" fmla="*/ 560 w 25196"/>
                <a:gd name="connsiteY11" fmla="*/ 99526 h 125982"/>
                <a:gd name="connsiteX12" fmla="*/ 1819 w 25196"/>
                <a:gd name="connsiteY12" fmla="*/ 105825 h 125982"/>
                <a:gd name="connsiteX13" fmla="*/ 3079 w 25196"/>
                <a:gd name="connsiteY13" fmla="*/ 109605 h 125982"/>
                <a:gd name="connsiteX14" fmla="*/ 5599 w 25196"/>
                <a:gd name="connsiteY14" fmla="*/ 113384 h 125982"/>
                <a:gd name="connsiteX15" fmla="*/ 6859 w 25196"/>
                <a:gd name="connsiteY15" fmla="*/ 114644 h 125982"/>
                <a:gd name="connsiteX16" fmla="*/ 9378 w 25196"/>
                <a:gd name="connsiteY16" fmla="*/ 117163 h 125982"/>
                <a:gd name="connsiteX17" fmla="*/ 11898 w 25196"/>
                <a:gd name="connsiteY17" fmla="*/ 119683 h 125982"/>
                <a:gd name="connsiteX18" fmla="*/ 14418 w 25196"/>
                <a:gd name="connsiteY18" fmla="*/ 122203 h 125982"/>
                <a:gd name="connsiteX19" fmla="*/ 16938 w 25196"/>
                <a:gd name="connsiteY19" fmla="*/ 123463 h 125982"/>
                <a:gd name="connsiteX20" fmla="*/ 23237 w 25196"/>
                <a:gd name="connsiteY20" fmla="*/ 127242 h 125982"/>
                <a:gd name="connsiteX21" fmla="*/ 28276 w 25196"/>
                <a:gd name="connsiteY21" fmla="*/ 129762 h 125982"/>
                <a:gd name="connsiteX22" fmla="*/ 34575 w 25196"/>
                <a:gd name="connsiteY22" fmla="*/ 127242 h 125982"/>
                <a:gd name="connsiteX23" fmla="*/ 32056 w 25196"/>
                <a:gd name="connsiteY23" fmla="*/ 120943 h 125982"/>
                <a:gd name="connsiteX24" fmla="*/ 25756 w 25196"/>
                <a:gd name="connsiteY24" fmla="*/ 118423 h 125982"/>
                <a:gd name="connsiteX25" fmla="*/ 20717 w 25196"/>
                <a:gd name="connsiteY25" fmla="*/ 114644 h 125982"/>
                <a:gd name="connsiteX26" fmla="*/ 16938 w 25196"/>
                <a:gd name="connsiteY26" fmla="*/ 109605 h 125982"/>
                <a:gd name="connsiteX27" fmla="*/ 13158 w 25196"/>
                <a:gd name="connsiteY27" fmla="*/ 105825 h 125982"/>
                <a:gd name="connsiteX28" fmla="*/ 11898 w 25196"/>
                <a:gd name="connsiteY28" fmla="*/ 103305 h 125982"/>
                <a:gd name="connsiteX29" fmla="*/ 10638 w 25196"/>
                <a:gd name="connsiteY29" fmla="*/ 98266 h 125982"/>
                <a:gd name="connsiteX30" fmla="*/ 10638 w 25196"/>
                <a:gd name="connsiteY30" fmla="*/ 93227 h 125982"/>
                <a:gd name="connsiteX31" fmla="*/ 14418 w 25196"/>
                <a:gd name="connsiteY31" fmla="*/ 69290 h 125982"/>
                <a:gd name="connsiteX32" fmla="*/ 14418 w 25196"/>
                <a:gd name="connsiteY32" fmla="*/ 68030 h 125982"/>
                <a:gd name="connsiteX33" fmla="*/ 15678 w 25196"/>
                <a:gd name="connsiteY33" fmla="*/ 62991 h 125982"/>
                <a:gd name="connsiteX34" fmla="*/ 15678 w 25196"/>
                <a:gd name="connsiteY34" fmla="*/ 64251 h 125982"/>
                <a:gd name="connsiteX35" fmla="*/ 16938 w 25196"/>
                <a:gd name="connsiteY35" fmla="*/ 60471 h 125982"/>
                <a:gd name="connsiteX36" fmla="*/ 20717 w 25196"/>
                <a:gd name="connsiteY36" fmla="*/ 45354 h 125982"/>
                <a:gd name="connsiteX37" fmla="*/ 23237 w 25196"/>
                <a:gd name="connsiteY37" fmla="*/ 31496 h 125982"/>
                <a:gd name="connsiteX38" fmla="*/ 25756 w 25196"/>
                <a:gd name="connsiteY38" fmla="*/ 18897 h 125982"/>
                <a:gd name="connsiteX39" fmla="*/ 27016 w 25196"/>
                <a:gd name="connsiteY39" fmla="*/ 12598 h 125982"/>
                <a:gd name="connsiteX40" fmla="*/ 27016 w 25196"/>
                <a:gd name="connsiteY40" fmla="*/ 6299 h 125982"/>
                <a:gd name="connsiteX41" fmla="*/ 25756 w 25196"/>
                <a:gd name="connsiteY41" fmla="*/ 3779 h 125982"/>
                <a:gd name="connsiteX42" fmla="*/ 24497 w 25196"/>
                <a:gd name="connsiteY42" fmla="*/ 2520 h 125982"/>
                <a:gd name="connsiteX43" fmla="*/ 20717 w 25196"/>
                <a:gd name="connsiteY43" fmla="*/ 0 h 125982"/>
                <a:gd name="connsiteX44" fmla="*/ 14418 w 25196"/>
                <a:gd name="connsiteY44" fmla="*/ 66770 h 125982"/>
                <a:gd name="connsiteX45" fmla="*/ 14418 w 25196"/>
                <a:gd name="connsiteY45" fmla="*/ 68030 h 125982"/>
                <a:gd name="connsiteX46" fmla="*/ 14418 w 25196"/>
                <a:gd name="connsiteY46" fmla="*/ 6677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5196" h="125982">
                  <a:moveTo>
                    <a:pt x="20717" y="0"/>
                  </a:moveTo>
                  <a:cubicBezTo>
                    <a:pt x="20717" y="0"/>
                    <a:pt x="20717" y="0"/>
                    <a:pt x="20717" y="0"/>
                  </a:cubicBezTo>
                  <a:cubicBezTo>
                    <a:pt x="18197" y="0"/>
                    <a:pt x="16938" y="1260"/>
                    <a:pt x="15678" y="2520"/>
                  </a:cubicBezTo>
                  <a:cubicBezTo>
                    <a:pt x="14418" y="3779"/>
                    <a:pt x="14418" y="5039"/>
                    <a:pt x="14418" y="5039"/>
                  </a:cubicBezTo>
                  <a:lnTo>
                    <a:pt x="14418" y="7559"/>
                  </a:lnTo>
                  <a:cubicBezTo>
                    <a:pt x="14418" y="8819"/>
                    <a:pt x="13158" y="11338"/>
                    <a:pt x="13158" y="12598"/>
                  </a:cubicBezTo>
                  <a:cubicBezTo>
                    <a:pt x="11898" y="16378"/>
                    <a:pt x="11898" y="18897"/>
                    <a:pt x="10638" y="22677"/>
                  </a:cubicBezTo>
                  <a:cubicBezTo>
                    <a:pt x="9378" y="28976"/>
                    <a:pt x="8119" y="36535"/>
                    <a:pt x="6859" y="44094"/>
                  </a:cubicBezTo>
                  <a:cubicBezTo>
                    <a:pt x="5599" y="50393"/>
                    <a:pt x="4339" y="56692"/>
                    <a:pt x="3079" y="61731"/>
                  </a:cubicBezTo>
                  <a:cubicBezTo>
                    <a:pt x="3079" y="64251"/>
                    <a:pt x="1819" y="66770"/>
                    <a:pt x="1819" y="70550"/>
                  </a:cubicBezTo>
                  <a:cubicBezTo>
                    <a:pt x="1819" y="73070"/>
                    <a:pt x="560" y="76849"/>
                    <a:pt x="560" y="79369"/>
                  </a:cubicBezTo>
                  <a:cubicBezTo>
                    <a:pt x="560" y="85668"/>
                    <a:pt x="-700" y="91967"/>
                    <a:pt x="560" y="99526"/>
                  </a:cubicBezTo>
                  <a:cubicBezTo>
                    <a:pt x="560" y="102046"/>
                    <a:pt x="1819" y="103305"/>
                    <a:pt x="1819" y="105825"/>
                  </a:cubicBezTo>
                  <a:cubicBezTo>
                    <a:pt x="1819" y="107085"/>
                    <a:pt x="3079" y="108345"/>
                    <a:pt x="3079" y="109605"/>
                  </a:cubicBezTo>
                  <a:cubicBezTo>
                    <a:pt x="3079" y="110864"/>
                    <a:pt x="4339" y="112124"/>
                    <a:pt x="5599" y="113384"/>
                  </a:cubicBezTo>
                  <a:cubicBezTo>
                    <a:pt x="5599" y="113384"/>
                    <a:pt x="6859" y="114644"/>
                    <a:pt x="6859" y="114644"/>
                  </a:cubicBezTo>
                  <a:cubicBezTo>
                    <a:pt x="8119" y="115904"/>
                    <a:pt x="8119" y="115904"/>
                    <a:pt x="9378" y="117163"/>
                  </a:cubicBezTo>
                  <a:cubicBezTo>
                    <a:pt x="10638" y="118423"/>
                    <a:pt x="10638" y="118423"/>
                    <a:pt x="11898" y="119683"/>
                  </a:cubicBezTo>
                  <a:cubicBezTo>
                    <a:pt x="13158" y="120943"/>
                    <a:pt x="14418" y="122203"/>
                    <a:pt x="14418" y="122203"/>
                  </a:cubicBezTo>
                  <a:cubicBezTo>
                    <a:pt x="15678" y="122203"/>
                    <a:pt x="15678" y="123463"/>
                    <a:pt x="16938" y="123463"/>
                  </a:cubicBezTo>
                  <a:cubicBezTo>
                    <a:pt x="19457" y="124722"/>
                    <a:pt x="20717" y="125982"/>
                    <a:pt x="23237" y="127242"/>
                  </a:cubicBezTo>
                  <a:cubicBezTo>
                    <a:pt x="24497" y="128502"/>
                    <a:pt x="27016" y="128502"/>
                    <a:pt x="28276" y="129762"/>
                  </a:cubicBezTo>
                  <a:cubicBezTo>
                    <a:pt x="30796" y="131022"/>
                    <a:pt x="34575" y="129762"/>
                    <a:pt x="34575" y="127242"/>
                  </a:cubicBezTo>
                  <a:cubicBezTo>
                    <a:pt x="35835" y="124722"/>
                    <a:pt x="34575" y="122203"/>
                    <a:pt x="32056" y="120943"/>
                  </a:cubicBezTo>
                  <a:cubicBezTo>
                    <a:pt x="29536" y="119683"/>
                    <a:pt x="28276" y="119683"/>
                    <a:pt x="25756" y="118423"/>
                  </a:cubicBezTo>
                  <a:cubicBezTo>
                    <a:pt x="24497" y="117163"/>
                    <a:pt x="21977" y="115904"/>
                    <a:pt x="20717" y="114644"/>
                  </a:cubicBezTo>
                  <a:cubicBezTo>
                    <a:pt x="19457" y="113384"/>
                    <a:pt x="18197" y="112124"/>
                    <a:pt x="16938" y="109605"/>
                  </a:cubicBezTo>
                  <a:cubicBezTo>
                    <a:pt x="15678" y="108345"/>
                    <a:pt x="14418" y="107085"/>
                    <a:pt x="13158" y="105825"/>
                  </a:cubicBezTo>
                  <a:cubicBezTo>
                    <a:pt x="13158" y="104565"/>
                    <a:pt x="11898" y="104565"/>
                    <a:pt x="11898" y="103305"/>
                  </a:cubicBezTo>
                  <a:cubicBezTo>
                    <a:pt x="11898" y="102046"/>
                    <a:pt x="10638" y="99526"/>
                    <a:pt x="10638" y="98266"/>
                  </a:cubicBezTo>
                  <a:cubicBezTo>
                    <a:pt x="10638" y="97006"/>
                    <a:pt x="10638" y="95746"/>
                    <a:pt x="10638" y="93227"/>
                  </a:cubicBezTo>
                  <a:cubicBezTo>
                    <a:pt x="10638" y="84408"/>
                    <a:pt x="11898" y="76849"/>
                    <a:pt x="14418" y="69290"/>
                  </a:cubicBezTo>
                  <a:cubicBezTo>
                    <a:pt x="14418" y="69290"/>
                    <a:pt x="14418" y="68030"/>
                    <a:pt x="14418" y="68030"/>
                  </a:cubicBezTo>
                  <a:cubicBezTo>
                    <a:pt x="14418" y="66770"/>
                    <a:pt x="15678" y="65511"/>
                    <a:pt x="15678" y="62991"/>
                  </a:cubicBezTo>
                  <a:cubicBezTo>
                    <a:pt x="15678" y="62991"/>
                    <a:pt x="15678" y="64251"/>
                    <a:pt x="15678" y="64251"/>
                  </a:cubicBezTo>
                  <a:cubicBezTo>
                    <a:pt x="15678" y="62991"/>
                    <a:pt x="15678" y="61731"/>
                    <a:pt x="16938" y="60471"/>
                  </a:cubicBezTo>
                  <a:cubicBezTo>
                    <a:pt x="18197" y="55432"/>
                    <a:pt x="19457" y="50393"/>
                    <a:pt x="20717" y="45354"/>
                  </a:cubicBezTo>
                  <a:cubicBezTo>
                    <a:pt x="21977" y="40314"/>
                    <a:pt x="21977" y="36535"/>
                    <a:pt x="23237" y="31496"/>
                  </a:cubicBezTo>
                  <a:cubicBezTo>
                    <a:pt x="24497" y="27716"/>
                    <a:pt x="24497" y="22677"/>
                    <a:pt x="25756" y="18897"/>
                  </a:cubicBezTo>
                  <a:cubicBezTo>
                    <a:pt x="25756" y="16378"/>
                    <a:pt x="27016" y="13858"/>
                    <a:pt x="27016" y="12598"/>
                  </a:cubicBezTo>
                  <a:cubicBezTo>
                    <a:pt x="27016" y="10078"/>
                    <a:pt x="28276" y="7559"/>
                    <a:pt x="27016" y="6299"/>
                  </a:cubicBezTo>
                  <a:cubicBezTo>
                    <a:pt x="27016" y="5039"/>
                    <a:pt x="27016" y="3779"/>
                    <a:pt x="25756" y="3779"/>
                  </a:cubicBezTo>
                  <a:cubicBezTo>
                    <a:pt x="25756" y="3779"/>
                    <a:pt x="24497" y="2520"/>
                    <a:pt x="24497" y="2520"/>
                  </a:cubicBezTo>
                  <a:cubicBezTo>
                    <a:pt x="21977" y="1260"/>
                    <a:pt x="21977" y="0"/>
                    <a:pt x="20717" y="0"/>
                  </a:cubicBezTo>
                  <a:moveTo>
                    <a:pt x="14418" y="66770"/>
                  </a:moveTo>
                  <a:cubicBezTo>
                    <a:pt x="14418" y="66770"/>
                    <a:pt x="14418" y="68030"/>
                    <a:pt x="14418" y="68030"/>
                  </a:cubicBezTo>
                  <a:cubicBezTo>
                    <a:pt x="14418" y="68030"/>
                    <a:pt x="14418" y="66770"/>
                    <a:pt x="14418" y="66770"/>
                  </a:cubicBezTo>
                </a:path>
              </a:pathLst>
            </a:custGeom>
            <a:solidFill>
              <a:srgbClr val="F2A988"/>
            </a:solidFill>
            <a:ln w="12584" cap="flat">
              <a:noFill/>
              <a:prstDash val="solid"/>
              <a:miter/>
            </a:ln>
          </p:spPr>
          <p:txBody>
            <a:bodyPr rtlCol="0" anchor="ctr"/>
            <a:lstStyle/>
            <a:p>
              <a:endParaRPr lang="zh-CN" altLang="en-US"/>
            </a:p>
          </p:txBody>
        </p:sp>
        <p:sp>
          <p:nvSpPr>
            <p:cNvPr id="242" name="任意多边形: 形状 241"/>
            <p:cNvSpPr/>
            <p:nvPr/>
          </p:nvSpPr>
          <p:spPr>
            <a:xfrm>
              <a:off x="9625434" y="3740389"/>
              <a:ext cx="94384" cy="51482"/>
            </a:xfrm>
            <a:custGeom>
              <a:avLst/>
              <a:gdLst>
                <a:gd name="connsiteX0" fmla="*/ 139840 w 138580"/>
                <a:gd name="connsiteY0" fmla="*/ 1260 h 75589"/>
                <a:gd name="connsiteX1" fmla="*/ 139840 w 138580"/>
                <a:gd name="connsiteY1" fmla="*/ 3780 h 75589"/>
                <a:gd name="connsiteX2" fmla="*/ 139840 w 138580"/>
                <a:gd name="connsiteY2" fmla="*/ 5039 h 75589"/>
                <a:gd name="connsiteX3" fmla="*/ 139840 w 138580"/>
                <a:gd name="connsiteY3" fmla="*/ 6299 h 75589"/>
                <a:gd name="connsiteX4" fmla="*/ 139840 w 138580"/>
                <a:gd name="connsiteY4" fmla="*/ 10079 h 75589"/>
                <a:gd name="connsiteX5" fmla="*/ 139840 w 138580"/>
                <a:gd name="connsiteY5" fmla="*/ 12598 h 75589"/>
                <a:gd name="connsiteX6" fmla="*/ 139840 w 138580"/>
                <a:gd name="connsiteY6" fmla="*/ 16378 h 75589"/>
                <a:gd name="connsiteX7" fmla="*/ 139840 w 138580"/>
                <a:gd name="connsiteY7" fmla="*/ 18897 h 75589"/>
                <a:gd name="connsiteX8" fmla="*/ 139840 w 138580"/>
                <a:gd name="connsiteY8" fmla="*/ 22677 h 75589"/>
                <a:gd name="connsiteX9" fmla="*/ 139840 w 138580"/>
                <a:gd name="connsiteY9" fmla="*/ 25196 h 75589"/>
                <a:gd name="connsiteX10" fmla="*/ 139840 w 138580"/>
                <a:gd name="connsiteY10" fmla="*/ 31496 h 75589"/>
                <a:gd name="connsiteX11" fmla="*/ 139840 w 138580"/>
                <a:gd name="connsiteY11" fmla="*/ 35275 h 75589"/>
                <a:gd name="connsiteX12" fmla="*/ 139840 w 138580"/>
                <a:gd name="connsiteY12" fmla="*/ 37795 h 75589"/>
                <a:gd name="connsiteX13" fmla="*/ 139840 w 138580"/>
                <a:gd name="connsiteY13" fmla="*/ 40315 h 75589"/>
                <a:gd name="connsiteX14" fmla="*/ 139840 w 138580"/>
                <a:gd name="connsiteY14" fmla="*/ 44094 h 75589"/>
                <a:gd name="connsiteX15" fmla="*/ 138581 w 138580"/>
                <a:gd name="connsiteY15" fmla="*/ 57952 h 75589"/>
                <a:gd name="connsiteX16" fmla="*/ 137321 w 138580"/>
                <a:gd name="connsiteY16" fmla="*/ 70550 h 75589"/>
                <a:gd name="connsiteX17" fmla="*/ 137321 w 138580"/>
                <a:gd name="connsiteY17" fmla="*/ 79369 h 75589"/>
                <a:gd name="connsiteX18" fmla="*/ 137321 w 138580"/>
                <a:gd name="connsiteY18" fmla="*/ 79369 h 75589"/>
                <a:gd name="connsiteX19" fmla="*/ 137321 w 138580"/>
                <a:gd name="connsiteY19" fmla="*/ 79369 h 75589"/>
                <a:gd name="connsiteX20" fmla="*/ 137321 w 138580"/>
                <a:gd name="connsiteY20" fmla="*/ 79369 h 75589"/>
                <a:gd name="connsiteX21" fmla="*/ 138581 w 138580"/>
                <a:gd name="connsiteY21" fmla="*/ 81889 h 75589"/>
                <a:gd name="connsiteX22" fmla="*/ 137321 w 138580"/>
                <a:gd name="connsiteY22" fmla="*/ 84408 h 75589"/>
                <a:gd name="connsiteX23" fmla="*/ 136061 w 138580"/>
                <a:gd name="connsiteY23" fmla="*/ 85668 h 75589"/>
                <a:gd name="connsiteX24" fmla="*/ 134801 w 138580"/>
                <a:gd name="connsiteY24" fmla="*/ 85668 h 75589"/>
                <a:gd name="connsiteX25" fmla="*/ 134801 w 138580"/>
                <a:gd name="connsiteY25" fmla="*/ 85668 h 75589"/>
                <a:gd name="connsiteX26" fmla="*/ 134801 w 138580"/>
                <a:gd name="connsiteY26" fmla="*/ 85668 h 75589"/>
                <a:gd name="connsiteX27" fmla="*/ 133541 w 138580"/>
                <a:gd name="connsiteY27" fmla="*/ 84408 h 75589"/>
                <a:gd name="connsiteX28" fmla="*/ 132281 w 138580"/>
                <a:gd name="connsiteY28" fmla="*/ 84408 h 75589"/>
                <a:gd name="connsiteX29" fmla="*/ 131022 w 138580"/>
                <a:gd name="connsiteY29" fmla="*/ 84408 h 75589"/>
                <a:gd name="connsiteX30" fmla="*/ 131022 w 138580"/>
                <a:gd name="connsiteY30" fmla="*/ 84408 h 75589"/>
                <a:gd name="connsiteX31" fmla="*/ 131022 w 138580"/>
                <a:gd name="connsiteY31" fmla="*/ 84408 h 75589"/>
                <a:gd name="connsiteX32" fmla="*/ 131022 w 138580"/>
                <a:gd name="connsiteY32" fmla="*/ 84408 h 75589"/>
                <a:gd name="connsiteX33" fmla="*/ 131022 w 138580"/>
                <a:gd name="connsiteY33" fmla="*/ 84408 h 75589"/>
                <a:gd name="connsiteX34" fmla="*/ 131022 w 138580"/>
                <a:gd name="connsiteY34" fmla="*/ 84408 h 75589"/>
                <a:gd name="connsiteX35" fmla="*/ 131022 w 138580"/>
                <a:gd name="connsiteY35" fmla="*/ 84408 h 75589"/>
                <a:gd name="connsiteX36" fmla="*/ 131022 w 138580"/>
                <a:gd name="connsiteY36" fmla="*/ 84408 h 75589"/>
                <a:gd name="connsiteX37" fmla="*/ 123463 w 138580"/>
                <a:gd name="connsiteY37" fmla="*/ 79369 h 75589"/>
                <a:gd name="connsiteX38" fmla="*/ 120943 w 138580"/>
                <a:gd name="connsiteY38" fmla="*/ 78109 h 75589"/>
                <a:gd name="connsiteX39" fmla="*/ 119683 w 138580"/>
                <a:gd name="connsiteY39" fmla="*/ 78109 h 75589"/>
                <a:gd name="connsiteX40" fmla="*/ 118423 w 138580"/>
                <a:gd name="connsiteY40" fmla="*/ 78109 h 75589"/>
                <a:gd name="connsiteX41" fmla="*/ 117163 w 138580"/>
                <a:gd name="connsiteY41" fmla="*/ 78109 h 75589"/>
                <a:gd name="connsiteX42" fmla="*/ 115904 w 138580"/>
                <a:gd name="connsiteY42" fmla="*/ 76849 h 75589"/>
                <a:gd name="connsiteX43" fmla="*/ 114644 w 138580"/>
                <a:gd name="connsiteY43" fmla="*/ 75589 h 75589"/>
                <a:gd name="connsiteX44" fmla="*/ 105825 w 138580"/>
                <a:gd name="connsiteY44" fmla="*/ 71810 h 75589"/>
                <a:gd name="connsiteX45" fmla="*/ 100786 w 138580"/>
                <a:gd name="connsiteY45" fmla="*/ 70550 h 75589"/>
                <a:gd name="connsiteX46" fmla="*/ 94487 w 138580"/>
                <a:gd name="connsiteY46" fmla="*/ 68031 h 75589"/>
                <a:gd name="connsiteX47" fmla="*/ 93227 w 138580"/>
                <a:gd name="connsiteY47" fmla="*/ 66771 h 75589"/>
                <a:gd name="connsiteX48" fmla="*/ 90707 w 138580"/>
                <a:gd name="connsiteY48" fmla="*/ 65511 h 75589"/>
                <a:gd name="connsiteX49" fmla="*/ 78109 w 138580"/>
                <a:gd name="connsiteY49" fmla="*/ 60472 h 75589"/>
                <a:gd name="connsiteX50" fmla="*/ 64251 w 138580"/>
                <a:gd name="connsiteY50" fmla="*/ 54172 h 75589"/>
                <a:gd name="connsiteX51" fmla="*/ 56692 w 138580"/>
                <a:gd name="connsiteY51" fmla="*/ 50393 h 75589"/>
                <a:gd name="connsiteX52" fmla="*/ 47873 w 138580"/>
                <a:gd name="connsiteY52" fmla="*/ 46614 h 75589"/>
                <a:gd name="connsiteX53" fmla="*/ 31496 w 138580"/>
                <a:gd name="connsiteY53" fmla="*/ 39055 h 75589"/>
                <a:gd name="connsiteX54" fmla="*/ 22677 w 138580"/>
                <a:gd name="connsiteY54" fmla="*/ 35275 h 75589"/>
                <a:gd name="connsiteX55" fmla="*/ 22677 w 138580"/>
                <a:gd name="connsiteY55" fmla="*/ 35275 h 75589"/>
                <a:gd name="connsiteX56" fmla="*/ 7559 w 138580"/>
                <a:gd name="connsiteY56" fmla="*/ 26456 h 75589"/>
                <a:gd name="connsiteX57" fmla="*/ 0 w 138580"/>
                <a:gd name="connsiteY57" fmla="*/ 21417 h 75589"/>
                <a:gd name="connsiteX58" fmla="*/ 0 w 138580"/>
                <a:gd name="connsiteY58" fmla="*/ 21417 h 75589"/>
                <a:gd name="connsiteX59" fmla="*/ 2519 w 138580"/>
                <a:gd name="connsiteY59" fmla="*/ 20157 h 75589"/>
                <a:gd name="connsiteX60" fmla="*/ 2519 w 138580"/>
                <a:gd name="connsiteY60" fmla="*/ 20157 h 75589"/>
                <a:gd name="connsiteX61" fmla="*/ 6299 w 138580"/>
                <a:gd name="connsiteY61" fmla="*/ 20157 h 75589"/>
                <a:gd name="connsiteX62" fmla="*/ 8819 w 138580"/>
                <a:gd name="connsiteY62" fmla="*/ 20157 h 75589"/>
                <a:gd name="connsiteX63" fmla="*/ 8819 w 138580"/>
                <a:gd name="connsiteY63" fmla="*/ 20157 h 75589"/>
                <a:gd name="connsiteX64" fmla="*/ 15118 w 138580"/>
                <a:gd name="connsiteY64" fmla="*/ 22677 h 75589"/>
                <a:gd name="connsiteX65" fmla="*/ 16378 w 138580"/>
                <a:gd name="connsiteY65" fmla="*/ 22677 h 75589"/>
                <a:gd name="connsiteX66" fmla="*/ 17637 w 138580"/>
                <a:gd name="connsiteY66" fmla="*/ 22677 h 75589"/>
                <a:gd name="connsiteX67" fmla="*/ 18897 w 138580"/>
                <a:gd name="connsiteY67" fmla="*/ 22677 h 75589"/>
                <a:gd name="connsiteX68" fmla="*/ 25196 w 138580"/>
                <a:gd name="connsiteY68" fmla="*/ 21417 h 75589"/>
                <a:gd name="connsiteX69" fmla="*/ 32755 w 138580"/>
                <a:gd name="connsiteY69" fmla="*/ 20157 h 75589"/>
                <a:gd name="connsiteX70" fmla="*/ 46613 w 138580"/>
                <a:gd name="connsiteY70" fmla="*/ 18897 h 75589"/>
                <a:gd name="connsiteX71" fmla="*/ 54172 w 138580"/>
                <a:gd name="connsiteY71" fmla="*/ 18897 h 75589"/>
                <a:gd name="connsiteX72" fmla="*/ 54172 w 138580"/>
                <a:gd name="connsiteY72" fmla="*/ 18897 h 75589"/>
                <a:gd name="connsiteX73" fmla="*/ 56692 w 138580"/>
                <a:gd name="connsiteY73" fmla="*/ 18897 h 75589"/>
                <a:gd name="connsiteX74" fmla="*/ 60471 w 138580"/>
                <a:gd name="connsiteY74" fmla="*/ 18897 h 75589"/>
                <a:gd name="connsiteX75" fmla="*/ 64251 w 138580"/>
                <a:gd name="connsiteY75" fmla="*/ 18897 h 75589"/>
                <a:gd name="connsiteX76" fmla="*/ 68030 w 138580"/>
                <a:gd name="connsiteY76" fmla="*/ 18897 h 75589"/>
                <a:gd name="connsiteX77" fmla="*/ 73070 w 138580"/>
                <a:gd name="connsiteY77" fmla="*/ 17638 h 75589"/>
                <a:gd name="connsiteX78" fmla="*/ 74329 w 138580"/>
                <a:gd name="connsiteY78" fmla="*/ 17638 h 75589"/>
                <a:gd name="connsiteX79" fmla="*/ 89447 w 138580"/>
                <a:gd name="connsiteY79" fmla="*/ 15118 h 75589"/>
                <a:gd name="connsiteX80" fmla="*/ 95746 w 138580"/>
                <a:gd name="connsiteY80" fmla="*/ 13858 h 75589"/>
                <a:gd name="connsiteX81" fmla="*/ 98266 w 138580"/>
                <a:gd name="connsiteY81" fmla="*/ 13858 h 75589"/>
                <a:gd name="connsiteX82" fmla="*/ 102045 w 138580"/>
                <a:gd name="connsiteY82" fmla="*/ 12598 h 75589"/>
                <a:gd name="connsiteX83" fmla="*/ 108344 w 138580"/>
                <a:gd name="connsiteY83" fmla="*/ 11339 h 75589"/>
                <a:gd name="connsiteX84" fmla="*/ 108344 w 138580"/>
                <a:gd name="connsiteY84" fmla="*/ 11339 h 75589"/>
                <a:gd name="connsiteX85" fmla="*/ 110864 w 138580"/>
                <a:gd name="connsiteY85" fmla="*/ 10079 h 75589"/>
                <a:gd name="connsiteX86" fmla="*/ 114644 w 138580"/>
                <a:gd name="connsiteY86" fmla="*/ 8819 h 75589"/>
                <a:gd name="connsiteX87" fmla="*/ 120943 w 138580"/>
                <a:gd name="connsiteY87" fmla="*/ 6299 h 75589"/>
                <a:gd name="connsiteX88" fmla="*/ 120943 w 138580"/>
                <a:gd name="connsiteY88" fmla="*/ 6299 h 75589"/>
                <a:gd name="connsiteX89" fmla="*/ 127242 w 138580"/>
                <a:gd name="connsiteY89" fmla="*/ 3780 h 75589"/>
                <a:gd name="connsiteX90" fmla="*/ 131022 w 138580"/>
                <a:gd name="connsiteY90" fmla="*/ 2520 h 75589"/>
                <a:gd name="connsiteX91" fmla="*/ 133541 w 138580"/>
                <a:gd name="connsiteY91" fmla="*/ 1260 h 75589"/>
                <a:gd name="connsiteX92" fmla="*/ 136061 w 138580"/>
                <a:gd name="connsiteY92" fmla="*/ 0 h 75589"/>
                <a:gd name="connsiteX93" fmla="*/ 137321 w 138580"/>
                <a:gd name="connsiteY93" fmla="*/ 0 h 75589"/>
                <a:gd name="connsiteX94" fmla="*/ 137321 w 138580"/>
                <a:gd name="connsiteY94" fmla="*/ 0 h 75589"/>
                <a:gd name="connsiteX95" fmla="*/ 137321 w 138580"/>
                <a:gd name="connsiteY95" fmla="*/ 0 h 75589"/>
                <a:gd name="connsiteX96" fmla="*/ 138581 w 138580"/>
                <a:gd name="connsiteY96" fmla="*/ 0 h 75589"/>
                <a:gd name="connsiteX97" fmla="*/ 139840 w 138580"/>
                <a:gd name="connsiteY97" fmla="*/ 1260 h 75589"/>
                <a:gd name="connsiteX98" fmla="*/ 139840 w 138580"/>
                <a:gd name="connsiteY98" fmla="*/ 1260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38580" h="75589">
                  <a:moveTo>
                    <a:pt x="139840" y="1260"/>
                  </a:moveTo>
                  <a:cubicBezTo>
                    <a:pt x="139840" y="1260"/>
                    <a:pt x="139840" y="2520"/>
                    <a:pt x="139840" y="3780"/>
                  </a:cubicBezTo>
                  <a:cubicBezTo>
                    <a:pt x="139840" y="5039"/>
                    <a:pt x="139840" y="5039"/>
                    <a:pt x="139840" y="5039"/>
                  </a:cubicBezTo>
                  <a:cubicBezTo>
                    <a:pt x="139840" y="5039"/>
                    <a:pt x="139840" y="6299"/>
                    <a:pt x="139840" y="6299"/>
                  </a:cubicBezTo>
                  <a:cubicBezTo>
                    <a:pt x="139840" y="7559"/>
                    <a:pt x="139840" y="8819"/>
                    <a:pt x="139840" y="10079"/>
                  </a:cubicBezTo>
                  <a:cubicBezTo>
                    <a:pt x="139840" y="11339"/>
                    <a:pt x="139840" y="12598"/>
                    <a:pt x="139840" y="12598"/>
                  </a:cubicBezTo>
                  <a:cubicBezTo>
                    <a:pt x="139840" y="13858"/>
                    <a:pt x="139840" y="15118"/>
                    <a:pt x="139840" y="16378"/>
                  </a:cubicBezTo>
                  <a:cubicBezTo>
                    <a:pt x="139840" y="17638"/>
                    <a:pt x="139840" y="17638"/>
                    <a:pt x="139840" y="18897"/>
                  </a:cubicBezTo>
                  <a:cubicBezTo>
                    <a:pt x="139840" y="20157"/>
                    <a:pt x="139840" y="21417"/>
                    <a:pt x="139840" y="22677"/>
                  </a:cubicBezTo>
                  <a:cubicBezTo>
                    <a:pt x="139840" y="23937"/>
                    <a:pt x="139840" y="23937"/>
                    <a:pt x="139840" y="25196"/>
                  </a:cubicBezTo>
                  <a:cubicBezTo>
                    <a:pt x="139840" y="27716"/>
                    <a:pt x="139840" y="28976"/>
                    <a:pt x="139840" y="31496"/>
                  </a:cubicBezTo>
                  <a:cubicBezTo>
                    <a:pt x="139840" y="32755"/>
                    <a:pt x="139840" y="34015"/>
                    <a:pt x="139840" y="35275"/>
                  </a:cubicBezTo>
                  <a:cubicBezTo>
                    <a:pt x="139840" y="36535"/>
                    <a:pt x="139840" y="36535"/>
                    <a:pt x="139840" y="37795"/>
                  </a:cubicBezTo>
                  <a:cubicBezTo>
                    <a:pt x="139840" y="39055"/>
                    <a:pt x="139840" y="40315"/>
                    <a:pt x="139840" y="40315"/>
                  </a:cubicBezTo>
                  <a:cubicBezTo>
                    <a:pt x="139840" y="41574"/>
                    <a:pt x="139840" y="42834"/>
                    <a:pt x="139840" y="44094"/>
                  </a:cubicBezTo>
                  <a:cubicBezTo>
                    <a:pt x="139840" y="49133"/>
                    <a:pt x="138581" y="52913"/>
                    <a:pt x="138581" y="57952"/>
                  </a:cubicBezTo>
                  <a:cubicBezTo>
                    <a:pt x="138581" y="61731"/>
                    <a:pt x="137321" y="66771"/>
                    <a:pt x="137321" y="70550"/>
                  </a:cubicBezTo>
                  <a:cubicBezTo>
                    <a:pt x="137321" y="73070"/>
                    <a:pt x="137321" y="76849"/>
                    <a:pt x="137321" y="79369"/>
                  </a:cubicBezTo>
                  <a:lnTo>
                    <a:pt x="137321" y="79369"/>
                  </a:lnTo>
                  <a:lnTo>
                    <a:pt x="137321" y="79369"/>
                  </a:lnTo>
                  <a:lnTo>
                    <a:pt x="137321" y="79369"/>
                  </a:lnTo>
                  <a:cubicBezTo>
                    <a:pt x="138581" y="79369"/>
                    <a:pt x="138581" y="80629"/>
                    <a:pt x="138581" y="81889"/>
                  </a:cubicBezTo>
                  <a:cubicBezTo>
                    <a:pt x="138581" y="83148"/>
                    <a:pt x="138581" y="83148"/>
                    <a:pt x="137321" y="84408"/>
                  </a:cubicBezTo>
                  <a:cubicBezTo>
                    <a:pt x="137321" y="84408"/>
                    <a:pt x="136061" y="85668"/>
                    <a:pt x="136061" y="85668"/>
                  </a:cubicBezTo>
                  <a:cubicBezTo>
                    <a:pt x="136061" y="85668"/>
                    <a:pt x="136061" y="85668"/>
                    <a:pt x="134801" y="85668"/>
                  </a:cubicBezTo>
                  <a:lnTo>
                    <a:pt x="134801" y="85668"/>
                  </a:lnTo>
                  <a:lnTo>
                    <a:pt x="134801" y="85668"/>
                  </a:lnTo>
                  <a:cubicBezTo>
                    <a:pt x="134801" y="85668"/>
                    <a:pt x="133541" y="85668"/>
                    <a:pt x="133541" y="84408"/>
                  </a:cubicBezTo>
                  <a:lnTo>
                    <a:pt x="132281" y="84408"/>
                  </a:lnTo>
                  <a:lnTo>
                    <a:pt x="131022" y="84408"/>
                  </a:lnTo>
                  <a:lnTo>
                    <a:pt x="131022" y="84408"/>
                  </a:lnTo>
                  <a:lnTo>
                    <a:pt x="131022" y="84408"/>
                  </a:lnTo>
                  <a:lnTo>
                    <a:pt x="131022" y="84408"/>
                  </a:lnTo>
                  <a:lnTo>
                    <a:pt x="131022" y="84408"/>
                  </a:lnTo>
                  <a:lnTo>
                    <a:pt x="131022" y="84408"/>
                  </a:lnTo>
                  <a:lnTo>
                    <a:pt x="131022" y="84408"/>
                  </a:lnTo>
                  <a:lnTo>
                    <a:pt x="131022" y="84408"/>
                  </a:lnTo>
                  <a:cubicBezTo>
                    <a:pt x="128502" y="83148"/>
                    <a:pt x="125982" y="81889"/>
                    <a:pt x="123463" y="79369"/>
                  </a:cubicBezTo>
                  <a:cubicBezTo>
                    <a:pt x="122203" y="79369"/>
                    <a:pt x="122203" y="78109"/>
                    <a:pt x="120943" y="78109"/>
                  </a:cubicBezTo>
                  <a:lnTo>
                    <a:pt x="119683" y="78109"/>
                  </a:lnTo>
                  <a:lnTo>
                    <a:pt x="118423" y="78109"/>
                  </a:lnTo>
                  <a:lnTo>
                    <a:pt x="117163" y="78109"/>
                  </a:lnTo>
                  <a:cubicBezTo>
                    <a:pt x="117163" y="78109"/>
                    <a:pt x="115904" y="78109"/>
                    <a:pt x="115904" y="76849"/>
                  </a:cubicBezTo>
                  <a:lnTo>
                    <a:pt x="114644" y="75589"/>
                  </a:lnTo>
                  <a:cubicBezTo>
                    <a:pt x="112124" y="74330"/>
                    <a:pt x="108344" y="73070"/>
                    <a:pt x="105825" y="71810"/>
                  </a:cubicBezTo>
                  <a:cubicBezTo>
                    <a:pt x="104565" y="71810"/>
                    <a:pt x="103305" y="70550"/>
                    <a:pt x="100786" y="70550"/>
                  </a:cubicBezTo>
                  <a:cubicBezTo>
                    <a:pt x="98266" y="69290"/>
                    <a:pt x="97006" y="69290"/>
                    <a:pt x="94487" y="68031"/>
                  </a:cubicBezTo>
                  <a:cubicBezTo>
                    <a:pt x="93227" y="68031"/>
                    <a:pt x="93227" y="68031"/>
                    <a:pt x="93227" y="66771"/>
                  </a:cubicBezTo>
                  <a:cubicBezTo>
                    <a:pt x="91967" y="66771"/>
                    <a:pt x="91967" y="65511"/>
                    <a:pt x="90707" y="65511"/>
                  </a:cubicBezTo>
                  <a:cubicBezTo>
                    <a:pt x="86928" y="64251"/>
                    <a:pt x="83148" y="61731"/>
                    <a:pt x="78109" y="60472"/>
                  </a:cubicBezTo>
                  <a:cubicBezTo>
                    <a:pt x="73070" y="57952"/>
                    <a:pt x="69290" y="56692"/>
                    <a:pt x="64251" y="54172"/>
                  </a:cubicBezTo>
                  <a:cubicBezTo>
                    <a:pt x="61731" y="52913"/>
                    <a:pt x="59211" y="51653"/>
                    <a:pt x="56692" y="50393"/>
                  </a:cubicBezTo>
                  <a:cubicBezTo>
                    <a:pt x="54172" y="49133"/>
                    <a:pt x="50393" y="47873"/>
                    <a:pt x="47873" y="46614"/>
                  </a:cubicBezTo>
                  <a:cubicBezTo>
                    <a:pt x="42834" y="44094"/>
                    <a:pt x="37795" y="41574"/>
                    <a:pt x="31496" y="39055"/>
                  </a:cubicBezTo>
                  <a:cubicBezTo>
                    <a:pt x="28976" y="37795"/>
                    <a:pt x="25196" y="36535"/>
                    <a:pt x="22677" y="35275"/>
                  </a:cubicBezTo>
                  <a:cubicBezTo>
                    <a:pt x="22677" y="35275"/>
                    <a:pt x="22677" y="35275"/>
                    <a:pt x="22677" y="35275"/>
                  </a:cubicBezTo>
                  <a:cubicBezTo>
                    <a:pt x="17637" y="32755"/>
                    <a:pt x="12598" y="28976"/>
                    <a:pt x="7559" y="26456"/>
                  </a:cubicBezTo>
                  <a:cubicBezTo>
                    <a:pt x="5039" y="25196"/>
                    <a:pt x="2519" y="22677"/>
                    <a:pt x="0" y="21417"/>
                  </a:cubicBezTo>
                  <a:cubicBezTo>
                    <a:pt x="0" y="21417"/>
                    <a:pt x="0" y="21417"/>
                    <a:pt x="0" y="21417"/>
                  </a:cubicBezTo>
                  <a:cubicBezTo>
                    <a:pt x="0" y="21417"/>
                    <a:pt x="1260" y="20157"/>
                    <a:pt x="2519" y="20157"/>
                  </a:cubicBezTo>
                  <a:cubicBezTo>
                    <a:pt x="2519" y="20157"/>
                    <a:pt x="2519" y="20157"/>
                    <a:pt x="2519" y="20157"/>
                  </a:cubicBezTo>
                  <a:cubicBezTo>
                    <a:pt x="3779" y="20157"/>
                    <a:pt x="5039" y="20157"/>
                    <a:pt x="6299" y="20157"/>
                  </a:cubicBezTo>
                  <a:cubicBezTo>
                    <a:pt x="7559" y="20157"/>
                    <a:pt x="7559" y="20157"/>
                    <a:pt x="8819" y="20157"/>
                  </a:cubicBezTo>
                  <a:lnTo>
                    <a:pt x="8819" y="20157"/>
                  </a:lnTo>
                  <a:cubicBezTo>
                    <a:pt x="11338" y="20157"/>
                    <a:pt x="12598" y="21417"/>
                    <a:pt x="15118" y="22677"/>
                  </a:cubicBezTo>
                  <a:cubicBezTo>
                    <a:pt x="15118" y="22677"/>
                    <a:pt x="16378" y="22677"/>
                    <a:pt x="16378" y="22677"/>
                  </a:cubicBezTo>
                  <a:lnTo>
                    <a:pt x="17637" y="22677"/>
                  </a:lnTo>
                  <a:cubicBezTo>
                    <a:pt x="17637" y="22677"/>
                    <a:pt x="18897" y="22677"/>
                    <a:pt x="18897" y="22677"/>
                  </a:cubicBezTo>
                  <a:cubicBezTo>
                    <a:pt x="21417" y="22677"/>
                    <a:pt x="22677" y="22677"/>
                    <a:pt x="25196" y="21417"/>
                  </a:cubicBezTo>
                  <a:cubicBezTo>
                    <a:pt x="27716" y="21417"/>
                    <a:pt x="30236" y="20157"/>
                    <a:pt x="32755" y="20157"/>
                  </a:cubicBezTo>
                  <a:cubicBezTo>
                    <a:pt x="37795" y="18897"/>
                    <a:pt x="41574" y="18897"/>
                    <a:pt x="46613" y="18897"/>
                  </a:cubicBezTo>
                  <a:cubicBezTo>
                    <a:pt x="49133" y="18897"/>
                    <a:pt x="51652" y="18897"/>
                    <a:pt x="54172" y="18897"/>
                  </a:cubicBezTo>
                  <a:lnTo>
                    <a:pt x="54172" y="18897"/>
                  </a:lnTo>
                  <a:cubicBezTo>
                    <a:pt x="55432" y="18897"/>
                    <a:pt x="55432" y="18897"/>
                    <a:pt x="56692" y="18897"/>
                  </a:cubicBezTo>
                  <a:cubicBezTo>
                    <a:pt x="57952" y="18897"/>
                    <a:pt x="59211" y="18897"/>
                    <a:pt x="60471" y="18897"/>
                  </a:cubicBezTo>
                  <a:cubicBezTo>
                    <a:pt x="61731" y="18897"/>
                    <a:pt x="62991" y="18897"/>
                    <a:pt x="64251" y="18897"/>
                  </a:cubicBezTo>
                  <a:cubicBezTo>
                    <a:pt x="65511" y="18897"/>
                    <a:pt x="66770" y="18897"/>
                    <a:pt x="68030" y="18897"/>
                  </a:cubicBezTo>
                  <a:cubicBezTo>
                    <a:pt x="69290" y="18897"/>
                    <a:pt x="71810" y="18897"/>
                    <a:pt x="73070" y="17638"/>
                  </a:cubicBezTo>
                  <a:lnTo>
                    <a:pt x="74329" y="17638"/>
                  </a:lnTo>
                  <a:cubicBezTo>
                    <a:pt x="78109" y="17638"/>
                    <a:pt x="84408" y="16378"/>
                    <a:pt x="89447" y="15118"/>
                  </a:cubicBezTo>
                  <a:cubicBezTo>
                    <a:pt x="91967" y="15118"/>
                    <a:pt x="94487" y="13858"/>
                    <a:pt x="95746" y="13858"/>
                  </a:cubicBezTo>
                  <a:cubicBezTo>
                    <a:pt x="97006" y="13858"/>
                    <a:pt x="98266" y="13858"/>
                    <a:pt x="98266" y="13858"/>
                  </a:cubicBezTo>
                  <a:cubicBezTo>
                    <a:pt x="99526" y="13858"/>
                    <a:pt x="100786" y="13858"/>
                    <a:pt x="102045" y="12598"/>
                  </a:cubicBezTo>
                  <a:cubicBezTo>
                    <a:pt x="104565" y="12598"/>
                    <a:pt x="105825" y="11339"/>
                    <a:pt x="108344" y="11339"/>
                  </a:cubicBezTo>
                  <a:lnTo>
                    <a:pt x="108344" y="11339"/>
                  </a:lnTo>
                  <a:cubicBezTo>
                    <a:pt x="109604" y="11339"/>
                    <a:pt x="110864" y="11339"/>
                    <a:pt x="110864" y="10079"/>
                  </a:cubicBezTo>
                  <a:cubicBezTo>
                    <a:pt x="112124" y="10079"/>
                    <a:pt x="113384" y="8819"/>
                    <a:pt x="114644" y="8819"/>
                  </a:cubicBezTo>
                  <a:cubicBezTo>
                    <a:pt x="117163" y="7559"/>
                    <a:pt x="118423" y="7559"/>
                    <a:pt x="120943" y="6299"/>
                  </a:cubicBezTo>
                  <a:lnTo>
                    <a:pt x="120943" y="6299"/>
                  </a:lnTo>
                  <a:cubicBezTo>
                    <a:pt x="123463" y="5039"/>
                    <a:pt x="124722" y="5039"/>
                    <a:pt x="127242" y="3780"/>
                  </a:cubicBezTo>
                  <a:cubicBezTo>
                    <a:pt x="128502" y="3780"/>
                    <a:pt x="129762" y="2520"/>
                    <a:pt x="131022" y="2520"/>
                  </a:cubicBezTo>
                  <a:cubicBezTo>
                    <a:pt x="132281" y="2520"/>
                    <a:pt x="132281" y="1260"/>
                    <a:pt x="133541" y="1260"/>
                  </a:cubicBezTo>
                  <a:cubicBezTo>
                    <a:pt x="134801" y="1260"/>
                    <a:pt x="136061" y="0"/>
                    <a:pt x="136061" y="0"/>
                  </a:cubicBezTo>
                  <a:cubicBezTo>
                    <a:pt x="136061" y="0"/>
                    <a:pt x="137321" y="0"/>
                    <a:pt x="137321" y="0"/>
                  </a:cubicBezTo>
                  <a:lnTo>
                    <a:pt x="137321" y="0"/>
                  </a:lnTo>
                  <a:cubicBezTo>
                    <a:pt x="137321" y="0"/>
                    <a:pt x="137321" y="0"/>
                    <a:pt x="137321" y="0"/>
                  </a:cubicBezTo>
                  <a:cubicBezTo>
                    <a:pt x="137321" y="0"/>
                    <a:pt x="137321" y="0"/>
                    <a:pt x="138581" y="0"/>
                  </a:cubicBezTo>
                  <a:cubicBezTo>
                    <a:pt x="137321" y="0"/>
                    <a:pt x="138581" y="0"/>
                    <a:pt x="139840" y="1260"/>
                  </a:cubicBezTo>
                  <a:cubicBezTo>
                    <a:pt x="138581" y="0"/>
                    <a:pt x="139840" y="0"/>
                    <a:pt x="139840" y="1260"/>
                  </a:cubicBezTo>
                </a:path>
              </a:pathLst>
            </a:custGeom>
            <a:solidFill>
              <a:srgbClr val="F3B04B"/>
            </a:solidFill>
            <a:ln w="12584" cap="flat">
              <a:noFill/>
              <a:prstDash val="solid"/>
              <a:miter/>
            </a:ln>
          </p:spPr>
          <p:txBody>
            <a:bodyPr rtlCol="0" anchor="ctr"/>
            <a:lstStyle/>
            <a:p>
              <a:endParaRPr lang="zh-CN" altLang="en-US"/>
            </a:p>
          </p:txBody>
        </p:sp>
        <p:sp>
          <p:nvSpPr>
            <p:cNvPr id="243" name="任意多边形: 形状 242"/>
            <p:cNvSpPr/>
            <p:nvPr/>
          </p:nvSpPr>
          <p:spPr>
            <a:xfrm>
              <a:off x="9715528" y="3734383"/>
              <a:ext cx="8580" cy="94384"/>
            </a:xfrm>
            <a:custGeom>
              <a:avLst/>
              <a:gdLst>
                <a:gd name="connsiteX0" fmla="*/ 12598 w 12598"/>
                <a:gd name="connsiteY0" fmla="*/ 0 h 138580"/>
                <a:gd name="connsiteX1" fmla="*/ 17637 w 12598"/>
                <a:gd name="connsiteY1" fmla="*/ 2520 h 138580"/>
                <a:gd name="connsiteX2" fmla="*/ 18897 w 12598"/>
                <a:gd name="connsiteY2" fmla="*/ 7559 h 138580"/>
                <a:gd name="connsiteX3" fmla="*/ 17637 w 12598"/>
                <a:gd name="connsiteY3" fmla="*/ 32755 h 138580"/>
                <a:gd name="connsiteX4" fmla="*/ 16378 w 12598"/>
                <a:gd name="connsiteY4" fmla="*/ 54172 h 138580"/>
                <a:gd name="connsiteX5" fmla="*/ 15118 w 12598"/>
                <a:gd name="connsiteY5" fmla="*/ 75589 h 138580"/>
                <a:gd name="connsiteX6" fmla="*/ 15118 w 12598"/>
                <a:gd name="connsiteY6" fmla="*/ 85668 h 138580"/>
                <a:gd name="connsiteX7" fmla="*/ 15118 w 12598"/>
                <a:gd name="connsiteY7" fmla="*/ 95747 h 138580"/>
                <a:gd name="connsiteX8" fmla="*/ 15118 w 12598"/>
                <a:gd name="connsiteY8" fmla="*/ 95747 h 138580"/>
                <a:gd name="connsiteX9" fmla="*/ 15118 w 12598"/>
                <a:gd name="connsiteY9" fmla="*/ 104565 h 138580"/>
                <a:gd name="connsiteX10" fmla="*/ 15118 w 12598"/>
                <a:gd name="connsiteY10" fmla="*/ 110864 h 138580"/>
                <a:gd name="connsiteX11" fmla="*/ 15118 w 12598"/>
                <a:gd name="connsiteY11" fmla="*/ 117164 h 138580"/>
                <a:gd name="connsiteX12" fmla="*/ 15118 w 12598"/>
                <a:gd name="connsiteY12" fmla="*/ 124723 h 138580"/>
                <a:gd name="connsiteX13" fmla="*/ 15118 w 12598"/>
                <a:gd name="connsiteY13" fmla="*/ 134801 h 138580"/>
                <a:gd name="connsiteX14" fmla="*/ 8819 w 12598"/>
                <a:gd name="connsiteY14" fmla="*/ 139840 h 138580"/>
                <a:gd name="connsiteX15" fmla="*/ 5039 w 12598"/>
                <a:gd name="connsiteY15" fmla="*/ 139840 h 138580"/>
                <a:gd name="connsiteX16" fmla="*/ 1260 w 12598"/>
                <a:gd name="connsiteY16" fmla="*/ 136061 h 138580"/>
                <a:gd name="connsiteX17" fmla="*/ 0 w 12598"/>
                <a:gd name="connsiteY17" fmla="*/ 128502 h 138580"/>
                <a:gd name="connsiteX18" fmla="*/ 0 w 12598"/>
                <a:gd name="connsiteY18" fmla="*/ 122203 h 138580"/>
                <a:gd name="connsiteX19" fmla="*/ 0 w 12598"/>
                <a:gd name="connsiteY19" fmla="*/ 109605 h 138580"/>
                <a:gd name="connsiteX20" fmla="*/ 0 w 12598"/>
                <a:gd name="connsiteY20" fmla="*/ 97006 h 138580"/>
                <a:gd name="connsiteX21" fmla="*/ 0 w 12598"/>
                <a:gd name="connsiteY21" fmla="*/ 83148 h 138580"/>
                <a:gd name="connsiteX22" fmla="*/ 0 w 12598"/>
                <a:gd name="connsiteY22" fmla="*/ 76849 h 138580"/>
                <a:gd name="connsiteX23" fmla="*/ 0 w 12598"/>
                <a:gd name="connsiteY23" fmla="*/ 65511 h 138580"/>
                <a:gd name="connsiteX24" fmla="*/ 1260 w 12598"/>
                <a:gd name="connsiteY24" fmla="*/ 46613 h 138580"/>
                <a:gd name="connsiteX25" fmla="*/ 3779 w 12598"/>
                <a:gd name="connsiteY25" fmla="*/ 5039 h 138580"/>
                <a:gd name="connsiteX26" fmla="*/ 12598 w 12598"/>
                <a:gd name="connsiteY26" fmla="*/ 0 h 138580"/>
                <a:gd name="connsiteX27" fmla="*/ 12598 w 12598"/>
                <a:gd name="connsiteY27" fmla="*/ 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598" h="138580">
                  <a:moveTo>
                    <a:pt x="12598" y="0"/>
                  </a:moveTo>
                  <a:cubicBezTo>
                    <a:pt x="15118" y="0"/>
                    <a:pt x="16378" y="1260"/>
                    <a:pt x="17637" y="2520"/>
                  </a:cubicBezTo>
                  <a:cubicBezTo>
                    <a:pt x="18897" y="3780"/>
                    <a:pt x="18897" y="6299"/>
                    <a:pt x="18897" y="7559"/>
                  </a:cubicBezTo>
                  <a:cubicBezTo>
                    <a:pt x="17637" y="15118"/>
                    <a:pt x="17637" y="23937"/>
                    <a:pt x="17637" y="32755"/>
                  </a:cubicBezTo>
                  <a:cubicBezTo>
                    <a:pt x="17637" y="40314"/>
                    <a:pt x="17637" y="46613"/>
                    <a:pt x="16378" y="54172"/>
                  </a:cubicBezTo>
                  <a:cubicBezTo>
                    <a:pt x="16378" y="61731"/>
                    <a:pt x="15118" y="68031"/>
                    <a:pt x="15118" y="75589"/>
                  </a:cubicBezTo>
                  <a:cubicBezTo>
                    <a:pt x="15118" y="79369"/>
                    <a:pt x="15118" y="81889"/>
                    <a:pt x="15118" y="85668"/>
                  </a:cubicBezTo>
                  <a:cubicBezTo>
                    <a:pt x="15118" y="89448"/>
                    <a:pt x="15118" y="91967"/>
                    <a:pt x="15118" y="95747"/>
                  </a:cubicBezTo>
                  <a:cubicBezTo>
                    <a:pt x="15118" y="95747"/>
                    <a:pt x="15118" y="95747"/>
                    <a:pt x="15118" y="95747"/>
                  </a:cubicBezTo>
                  <a:cubicBezTo>
                    <a:pt x="15118" y="98266"/>
                    <a:pt x="15118" y="102046"/>
                    <a:pt x="15118" y="104565"/>
                  </a:cubicBezTo>
                  <a:cubicBezTo>
                    <a:pt x="15118" y="107085"/>
                    <a:pt x="15118" y="108345"/>
                    <a:pt x="15118" y="110864"/>
                  </a:cubicBezTo>
                  <a:cubicBezTo>
                    <a:pt x="15118" y="113384"/>
                    <a:pt x="15118" y="114644"/>
                    <a:pt x="15118" y="117164"/>
                  </a:cubicBezTo>
                  <a:cubicBezTo>
                    <a:pt x="15118" y="119683"/>
                    <a:pt x="15118" y="122203"/>
                    <a:pt x="15118" y="124723"/>
                  </a:cubicBezTo>
                  <a:cubicBezTo>
                    <a:pt x="15118" y="128502"/>
                    <a:pt x="15118" y="131022"/>
                    <a:pt x="15118" y="134801"/>
                  </a:cubicBezTo>
                  <a:cubicBezTo>
                    <a:pt x="15118" y="137321"/>
                    <a:pt x="12598" y="139840"/>
                    <a:pt x="8819" y="139840"/>
                  </a:cubicBezTo>
                  <a:cubicBezTo>
                    <a:pt x="7559" y="139840"/>
                    <a:pt x="6299" y="139840"/>
                    <a:pt x="5039" y="139840"/>
                  </a:cubicBezTo>
                  <a:cubicBezTo>
                    <a:pt x="3779" y="139840"/>
                    <a:pt x="1260" y="137321"/>
                    <a:pt x="1260" y="136061"/>
                  </a:cubicBezTo>
                  <a:cubicBezTo>
                    <a:pt x="0" y="133541"/>
                    <a:pt x="0" y="131022"/>
                    <a:pt x="0" y="128502"/>
                  </a:cubicBezTo>
                  <a:cubicBezTo>
                    <a:pt x="0" y="125982"/>
                    <a:pt x="0" y="124723"/>
                    <a:pt x="0" y="122203"/>
                  </a:cubicBezTo>
                  <a:cubicBezTo>
                    <a:pt x="0" y="118424"/>
                    <a:pt x="0" y="113384"/>
                    <a:pt x="0" y="109605"/>
                  </a:cubicBezTo>
                  <a:cubicBezTo>
                    <a:pt x="0" y="105825"/>
                    <a:pt x="0" y="100786"/>
                    <a:pt x="0" y="97006"/>
                  </a:cubicBezTo>
                  <a:cubicBezTo>
                    <a:pt x="0" y="91967"/>
                    <a:pt x="0" y="86928"/>
                    <a:pt x="0" y="83148"/>
                  </a:cubicBezTo>
                  <a:cubicBezTo>
                    <a:pt x="0" y="80629"/>
                    <a:pt x="0" y="78109"/>
                    <a:pt x="0" y="76849"/>
                  </a:cubicBezTo>
                  <a:cubicBezTo>
                    <a:pt x="0" y="73070"/>
                    <a:pt x="0" y="69290"/>
                    <a:pt x="0" y="65511"/>
                  </a:cubicBezTo>
                  <a:cubicBezTo>
                    <a:pt x="0" y="59212"/>
                    <a:pt x="1260" y="52913"/>
                    <a:pt x="1260" y="46613"/>
                  </a:cubicBezTo>
                  <a:cubicBezTo>
                    <a:pt x="2519" y="32755"/>
                    <a:pt x="2519" y="18897"/>
                    <a:pt x="3779" y="5039"/>
                  </a:cubicBezTo>
                  <a:cubicBezTo>
                    <a:pt x="3779" y="2520"/>
                    <a:pt x="7559" y="0"/>
                    <a:pt x="12598" y="0"/>
                  </a:cubicBezTo>
                  <a:cubicBezTo>
                    <a:pt x="11338" y="0"/>
                    <a:pt x="11338" y="0"/>
                    <a:pt x="12598" y="0"/>
                  </a:cubicBezTo>
                </a:path>
              </a:pathLst>
            </a:custGeom>
            <a:solidFill>
              <a:srgbClr val="FFD671"/>
            </a:solidFill>
            <a:ln w="12584" cap="flat">
              <a:noFill/>
              <a:prstDash val="solid"/>
              <a:miter/>
            </a:ln>
          </p:spPr>
          <p:txBody>
            <a:bodyPr rtlCol="0" anchor="ctr"/>
            <a:lstStyle/>
            <a:p>
              <a:endParaRPr lang="zh-CN" altLang="en-US"/>
            </a:p>
          </p:txBody>
        </p:sp>
        <p:sp>
          <p:nvSpPr>
            <p:cNvPr id="244" name="任意多边形: 形状 243"/>
            <p:cNvSpPr/>
            <p:nvPr/>
          </p:nvSpPr>
          <p:spPr>
            <a:xfrm>
              <a:off x="9613421" y="3736246"/>
              <a:ext cx="111545" cy="25741"/>
            </a:xfrm>
            <a:custGeom>
              <a:avLst/>
              <a:gdLst>
                <a:gd name="connsiteX0" fmla="*/ 163777 w 163777"/>
                <a:gd name="connsiteY0" fmla="*/ 3563 h 37794"/>
                <a:gd name="connsiteX1" fmla="*/ 163777 w 163777"/>
                <a:gd name="connsiteY1" fmla="*/ 7343 h 37794"/>
                <a:gd name="connsiteX2" fmla="*/ 159998 w 163777"/>
                <a:gd name="connsiteY2" fmla="*/ 9862 h 37794"/>
                <a:gd name="connsiteX3" fmla="*/ 149919 w 163777"/>
                <a:gd name="connsiteY3" fmla="*/ 13642 h 37794"/>
                <a:gd name="connsiteX4" fmla="*/ 139840 w 163777"/>
                <a:gd name="connsiteY4" fmla="*/ 16161 h 37794"/>
                <a:gd name="connsiteX5" fmla="*/ 129762 w 163777"/>
                <a:gd name="connsiteY5" fmla="*/ 18681 h 37794"/>
                <a:gd name="connsiteX6" fmla="*/ 119683 w 163777"/>
                <a:gd name="connsiteY6" fmla="*/ 21201 h 37794"/>
                <a:gd name="connsiteX7" fmla="*/ 109605 w 163777"/>
                <a:gd name="connsiteY7" fmla="*/ 23721 h 37794"/>
                <a:gd name="connsiteX8" fmla="*/ 99526 w 163777"/>
                <a:gd name="connsiteY8" fmla="*/ 26240 h 37794"/>
                <a:gd name="connsiteX9" fmla="*/ 89448 w 163777"/>
                <a:gd name="connsiteY9" fmla="*/ 28760 h 37794"/>
                <a:gd name="connsiteX10" fmla="*/ 79369 w 163777"/>
                <a:gd name="connsiteY10" fmla="*/ 31279 h 37794"/>
                <a:gd name="connsiteX11" fmla="*/ 68031 w 163777"/>
                <a:gd name="connsiteY11" fmla="*/ 33799 h 37794"/>
                <a:gd name="connsiteX12" fmla="*/ 57952 w 163777"/>
                <a:gd name="connsiteY12" fmla="*/ 35059 h 37794"/>
                <a:gd name="connsiteX13" fmla="*/ 41574 w 163777"/>
                <a:gd name="connsiteY13" fmla="*/ 37578 h 37794"/>
                <a:gd name="connsiteX14" fmla="*/ 35275 w 163777"/>
                <a:gd name="connsiteY14" fmla="*/ 38838 h 37794"/>
                <a:gd name="connsiteX15" fmla="*/ 31496 w 163777"/>
                <a:gd name="connsiteY15" fmla="*/ 40098 h 37794"/>
                <a:gd name="connsiteX16" fmla="*/ 25196 w 163777"/>
                <a:gd name="connsiteY16" fmla="*/ 36319 h 37794"/>
                <a:gd name="connsiteX17" fmla="*/ 16378 w 163777"/>
                <a:gd name="connsiteY17" fmla="*/ 31279 h 37794"/>
                <a:gd name="connsiteX18" fmla="*/ 7559 w 163777"/>
                <a:gd name="connsiteY18" fmla="*/ 27500 h 37794"/>
                <a:gd name="connsiteX19" fmla="*/ 1260 w 163777"/>
                <a:gd name="connsiteY19" fmla="*/ 24980 h 37794"/>
                <a:gd name="connsiteX20" fmla="*/ 0 w 163777"/>
                <a:gd name="connsiteY20" fmla="*/ 23721 h 37794"/>
                <a:gd name="connsiteX21" fmla="*/ 1260 w 163777"/>
                <a:gd name="connsiteY21" fmla="*/ 23721 h 37794"/>
                <a:gd name="connsiteX22" fmla="*/ 6299 w 163777"/>
                <a:gd name="connsiteY22" fmla="*/ 23721 h 37794"/>
                <a:gd name="connsiteX23" fmla="*/ 26456 w 163777"/>
                <a:gd name="connsiteY23" fmla="*/ 22461 h 37794"/>
                <a:gd name="connsiteX24" fmla="*/ 30236 w 163777"/>
                <a:gd name="connsiteY24" fmla="*/ 22461 h 37794"/>
                <a:gd name="connsiteX25" fmla="*/ 39055 w 163777"/>
                <a:gd name="connsiteY25" fmla="*/ 21201 h 37794"/>
                <a:gd name="connsiteX26" fmla="*/ 51653 w 163777"/>
                <a:gd name="connsiteY26" fmla="*/ 19941 h 37794"/>
                <a:gd name="connsiteX27" fmla="*/ 64251 w 163777"/>
                <a:gd name="connsiteY27" fmla="*/ 18681 h 37794"/>
                <a:gd name="connsiteX28" fmla="*/ 75589 w 163777"/>
                <a:gd name="connsiteY28" fmla="*/ 17421 h 37794"/>
                <a:gd name="connsiteX29" fmla="*/ 89448 w 163777"/>
                <a:gd name="connsiteY29" fmla="*/ 14902 h 37794"/>
                <a:gd name="connsiteX30" fmla="*/ 102046 w 163777"/>
                <a:gd name="connsiteY30" fmla="*/ 13642 h 37794"/>
                <a:gd name="connsiteX31" fmla="*/ 115904 w 163777"/>
                <a:gd name="connsiteY31" fmla="*/ 11122 h 37794"/>
                <a:gd name="connsiteX32" fmla="*/ 129762 w 163777"/>
                <a:gd name="connsiteY32" fmla="*/ 8603 h 37794"/>
                <a:gd name="connsiteX33" fmla="*/ 143620 w 163777"/>
                <a:gd name="connsiteY33" fmla="*/ 4823 h 37794"/>
                <a:gd name="connsiteX34" fmla="*/ 151179 w 163777"/>
                <a:gd name="connsiteY34" fmla="*/ 3563 h 37794"/>
                <a:gd name="connsiteX35" fmla="*/ 154958 w 163777"/>
                <a:gd name="connsiteY35" fmla="*/ 2304 h 37794"/>
                <a:gd name="connsiteX36" fmla="*/ 158738 w 163777"/>
                <a:gd name="connsiteY36" fmla="*/ 1044 h 37794"/>
                <a:gd name="connsiteX37" fmla="*/ 161258 w 163777"/>
                <a:gd name="connsiteY37" fmla="*/ 1044 h 37794"/>
                <a:gd name="connsiteX38" fmla="*/ 163777 w 163777"/>
                <a:gd name="connsiteY38" fmla="*/ 3563 h 3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3777" h="37794">
                  <a:moveTo>
                    <a:pt x="163777" y="3563"/>
                  </a:moveTo>
                  <a:cubicBezTo>
                    <a:pt x="163777" y="4823"/>
                    <a:pt x="163777" y="6083"/>
                    <a:pt x="163777" y="7343"/>
                  </a:cubicBezTo>
                  <a:cubicBezTo>
                    <a:pt x="162518" y="8603"/>
                    <a:pt x="161258" y="9862"/>
                    <a:pt x="159998" y="9862"/>
                  </a:cubicBezTo>
                  <a:cubicBezTo>
                    <a:pt x="156218" y="11122"/>
                    <a:pt x="153699" y="12382"/>
                    <a:pt x="149919" y="13642"/>
                  </a:cubicBezTo>
                  <a:cubicBezTo>
                    <a:pt x="146140" y="14902"/>
                    <a:pt x="143620" y="16161"/>
                    <a:pt x="139840" y="16161"/>
                  </a:cubicBezTo>
                  <a:cubicBezTo>
                    <a:pt x="136061" y="17421"/>
                    <a:pt x="133541" y="18681"/>
                    <a:pt x="129762" y="18681"/>
                  </a:cubicBezTo>
                  <a:cubicBezTo>
                    <a:pt x="125982" y="19941"/>
                    <a:pt x="122203" y="19941"/>
                    <a:pt x="119683" y="21201"/>
                  </a:cubicBezTo>
                  <a:cubicBezTo>
                    <a:pt x="115904" y="22461"/>
                    <a:pt x="113384" y="23721"/>
                    <a:pt x="109605" y="23721"/>
                  </a:cubicBezTo>
                  <a:cubicBezTo>
                    <a:pt x="105825" y="24980"/>
                    <a:pt x="103306" y="24980"/>
                    <a:pt x="99526" y="26240"/>
                  </a:cubicBezTo>
                  <a:cubicBezTo>
                    <a:pt x="95747" y="27500"/>
                    <a:pt x="93227" y="27500"/>
                    <a:pt x="89448" y="28760"/>
                  </a:cubicBezTo>
                  <a:cubicBezTo>
                    <a:pt x="85668" y="30020"/>
                    <a:pt x="83148" y="30020"/>
                    <a:pt x="79369" y="31279"/>
                  </a:cubicBezTo>
                  <a:cubicBezTo>
                    <a:pt x="75589" y="32539"/>
                    <a:pt x="71810" y="32539"/>
                    <a:pt x="68031" y="33799"/>
                  </a:cubicBezTo>
                  <a:cubicBezTo>
                    <a:pt x="64251" y="33799"/>
                    <a:pt x="61732" y="35059"/>
                    <a:pt x="57952" y="35059"/>
                  </a:cubicBezTo>
                  <a:cubicBezTo>
                    <a:pt x="52913" y="36319"/>
                    <a:pt x="46614" y="36319"/>
                    <a:pt x="41574" y="37578"/>
                  </a:cubicBezTo>
                  <a:cubicBezTo>
                    <a:pt x="39055" y="37578"/>
                    <a:pt x="37795" y="38838"/>
                    <a:pt x="35275" y="38838"/>
                  </a:cubicBezTo>
                  <a:cubicBezTo>
                    <a:pt x="34015" y="38838"/>
                    <a:pt x="32755" y="38838"/>
                    <a:pt x="31496" y="40098"/>
                  </a:cubicBezTo>
                  <a:cubicBezTo>
                    <a:pt x="28976" y="38838"/>
                    <a:pt x="26456" y="37578"/>
                    <a:pt x="25196" y="36319"/>
                  </a:cubicBezTo>
                  <a:cubicBezTo>
                    <a:pt x="22677" y="35059"/>
                    <a:pt x="18897" y="32539"/>
                    <a:pt x="16378" y="31279"/>
                  </a:cubicBezTo>
                  <a:cubicBezTo>
                    <a:pt x="13858" y="30020"/>
                    <a:pt x="10079" y="28760"/>
                    <a:pt x="7559" y="27500"/>
                  </a:cubicBezTo>
                  <a:cubicBezTo>
                    <a:pt x="5040" y="26240"/>
                    <a:pt x="3780" y="26240"/>
                    <a:pt x="1260" y="24980"/>
                  </a:cubicBezTo>
                  <a:cubicBezTo>
                    <a:pt x="1260" y="24980"/>
                    <a:pt x="0" y="24980"/>
                    <a:pt x="0" y="23721"/>
                  </a:cubicBezTo>
                  <a:cubicBezTo>
                    <a:pt x="0" y="23721"/>
                    <a:pt x="1260" y="23721"/>
                    <a:pt x="1260" y="23721"/>
                  </a:cubicBezTo>
                  <a:cubicBezTo>
                    <a:pt x="2520" y="23721"/>
                    <a:pt x="5040" y="23721"/>
                    <a:pt x="6299" y="23721"/>
                  </a:cubicBezTo>
                  <a:cubicBezTo>
                    <a:pt x="12598" y="23721"/>
                    <a:pt x="20157" y="23721"/>
                    <a:pt x="26456" y="22461"/>
                  </a:cubicBezTo>
                  <a:lnTo>
                    <a:pt x="30236" y="22461"/>
                  </a:lnTo>
                  <a:cubicBezTo>
                    <a:pt x="32755" y="22461"/>
                    <a:pt x="35275" y="21201"/>
                    <a:pt x="39055" y="21201"/>
                  </a:cubicBezTo>
                  <a:cubicBezTo>
                    <a:pt x="42834" y="21201"/>
                    <a:pt x="46614" y="21201"/>
                    <a:pt x="51653" y="19941"/>
                  </a:cubicBezTo>
                  <a:cubicBezTo>
                    <a:pt x="55433" y="19941"/>
                    <a:pt x="60472" y="19941"/>
                    <a:pt x="64251" y="18681"/>
                  </a:cubicBezTo>
                  <a:cubicBezTo>
                    <a:pt x="68031" y="18681"/>
                    <a:pt x="71810" y="17421"/>
                    <a:pt x="75589" y="17421"/>
                  </a:cubicBezTo>
                  <a:cubicBezTo>
                    <a:pt x="80629" y="16161"/>
                    <a:pt x="85668" y="16161"/>
                    <a:pt x="89448" y="14902"/>
                  </a:cubicBezTo>
                  <a:cubicBezTo>
                    <a:pt x="93227" y="14902"/>
                    <a:pt x="98266" y="13642"/>
                    <a:pt x="102046" y="13642"/>
                  </a:cubicBezTo>
                  <a:cubicBezTo>
                    <a:pt x="107085" y="12382"/>
                    <a:pt x="110865" y="12382"/>
                    <a:pt x="115904" y="11122"/>
                  </a:cubicBezTo>
                  <a:cubicBezTo>
                    <a:pt x="120943" y="9862"/>
                    <a:pt x="124723" y="9862"/>
                    <a:pt x="129762" y="8603"/>
                  </a:cubicBezTo>
                  <a:cubicBezTo>
                    <a:pt x="134801" y="7343"/>
                    <a:pt x="138581" y="6083"/>
                    <a:pt x="143620" y="4823"/>
                  </a:cubicBezTo>
                  <a:cubicBezTo>
                    <a:pt x="146140" y="4823"/>
                    <a:pt x="148659" y="3563"/>
                    <a:pt x="151179" y="3563"/>
                  </a:cubicBezTo>
                  <a:cubicBezTo>
                    <a:pt x="152439" y="3563"/>
                    <a:pt x="153699" y="3563"/>
                    <a:pt x="154958" y="2304"/>
                  </a:cubicBezTo>
                  <a:cubicBezTo>
                    <a:pt x="156218" y="2304"/>
                    <a:pt x="157478" y="1044"/>
                    <a:pt x="158738" y="1044"/>
                  </a:cubicBezTo>
                  <a:cubicBezTo>
                    <a:pt x="159998" y="1044"/>
                    <a:pt x="159998" y="1044"/>
                    <a:pt x="161258" y="1044"/>
                  </a:cubicBezTo>
                  <a:cubicBezTo>
                    <a:pt x="159998" y="-1476"/>
                    <a:pt x="162518" y="1044"/>
                    <a:pt x="163777" y="3563"/>
                  </a:cubicBezTo>
                </a:path>
              </a:pathLst>
            </a:custGeom>
            <a:solidFill>
              <a:srgbClr val="FFD671"/>
            </a:solidFill>
            <a:ln w="12584" cap="flat">
              <a:noFill/>
              <a:prstDash val="solid"/>
              <a:miter/>
            </a:ln>
          </p:spPr>
          <p:txBody>
            <a:bodyPr rtlCol="0" anchor="ctr"/>
            <a:lstStyle/>
            <a:p>
              <a:endParaRPr lang="zh-CN" altLang="en-US"/>
            </a:p>
          </p:txBody>
        </p:sp>
        <p:sp>
          <p:nvSpPr>
            <p:cNvPr id="245" name="任意多边形: 形状 244"/>
            <p:cNvSpPr/>
            <p:nvPr/>
          </p:nvSpPr>
          <p:spPr>
            <a:xfrm>
              <a:off x="9404919" y="3262464"/>
              <a:ext cx="180187" cy="403276"/>
            </a:xfrm>
            <a:custGeom>
              <a:avLst/>
              <a:gdLst>
                <a:gd name="connsiteX0" fmla="*/ 80629 w 264562"/>
                <a:gd name="connsiteY0" fmla="*/ 0 h 592116"/>
                <a:gd name="connsiteX1" fmla="*/ 80629 w 264562"/>
                <a:gd name="connsiteY1" fmla="*/ 0 h 592116"/>
                <a:gd name="connsiteX2" fmla="*/ 85668 w 264562"/>
                <a:gd name="connsiteY2" fmla="*/ 1260 h 592116"/>
                <a:gd name="connsiteX3" fmla="*/ 90707 w 264562"/>
                <a:gd name="connsiteY3" fmla="*/ 2520 h 592116"/>
                <a:gd name="connsiteX4" fmla="*/ 93227 w 264562"/>
                <a:gd name="connsiteY4" fmla="*/ 5039 h 592116"/>
                <a:gd name="connsiteX5" fmla="*/ 94487 w 264562"/>
                <a:gd name="connsiteY5" fmla="*/ 7559 h 592116"/>
                <a:gd name="connsiteX6" fmla="*/ 94487 w 264562"/>
                <a:gd name="connsiteY6" fmla="*/ 7559 h 592116"/>
                <a:gd name="connsiteX7" fmla="*/ 95747 w 264562"/>
                <a:gd name="connsiteY7" fmla="*/ 10079 h 592116"/>
                <a:gd name="connsiteX8" fmla="*/ 98266 w 264562"/>
                <a:gd name="connsiteY8" fmla="*/ 16378 h 592116"/>
                <a:gd name="connsiteX9" fmla="*/ 100786 w 264562"/>
                <a:gd name="connsiteY9" fmla="*/ 25196 h 592116"/>
                <a:gd name="connsiteX10" fmla="*/ 104565 w 264562"/>
                <a:gd name="connsiteY10" fmla="*/ 40314 h 592116"/>
                <a:gd name="connsiteX11" fmla="*/ 105825 w 264562"/>
                <a:gd name="connsiteY11" fmla="*/ 42834 h 592116"/>
                <a:gd name="connsiteX12" fmla="*/ 108345 w 264562"/>
                <a:gd name="connsiteY12" fmla="*/ 51653 h 592116"/>
                <a:gd name="connsiteX13" fmla="*/ 108345 w 264562"/>
                <a:gd name="connsiteY13" fmla="*/ 52913 h 592116"/>
                <a:gd name="connsiteX14" fmla="*/ 109605 w 264562"/>
                <a:gd name="connsiteY14" fmla="*/ 60472 h 592116"/>
                <a:gd name="connsiteX15" fmla="*/ 110864 w 264562"/>
                <a:gd name="connsiteY15" fmla="*/ 68030 h 592116"/>
                <a:gd name="connsiteX16" fmla="*/ 110864 w 264562"/>
                <a:gd name="connsiteY16" fmla="*/ 69290 h 592116"/>
                <a:gd name="connsiteX17" fmla="*/ 113384 w 264562"/>
                <a:gd name="connsiteY17" fmla="*/ 78109 h 592116"/>
                <a:gd name="connsiteX18" fmla="*/ 115904 w 264562"/>
                <a:gd name="connsiteY18" fmla="*/ 88188 h 592116"/>
                <a:gd name="connsiteX19" fmla="*/ 118423 w 264562"/>
                <a:gd name="connsiteY19" fmla="*/ 97006 h 592116"/>
                <a:gd name="connsiteX20" fmla="*/ 119683 w 264562"/>
                <a:gd name="connsiteY20" fmla="*/ 102046 h 592116"/>
                <a:gd name="connsiteX21" fmla="*/ 120943 w 264562"/>
                <a:gd name="connsiteY21" fmla="*/ 105825 h 592116"/>
                <a:gd name="connsiteX22" fmla="*/ 123463 w 264562"/>
                <a:gd name="connsiteY22" fmla="*/ 115904 h 592116"/>
                <a:gd name="connsiteX23" fmla="*/ 124722 w 264562"/>
                <a:gd name="connsiteY23" fmla="*/ 122203 h 592116"/>
                <a:gd name="connsiteX24" fmla="*/ 124722 w 264562"/>
                <a:gd name="connsiteY24" fmla="*/ 122203 h 592116"/>
                <a:gd name="connsiteX25" fmla="*/ 124722 w 264562"/>
                <a:gd name="connsiteY25" fmla="*/ 122203 h 592116"/>
                <a:gd name="connsiteX26" fmla="*/ 127242 w 264562"/>
                <a:gd name="connsiteY26" fmla="*/ 127242 h 592116"/>
                <a:gd name="connsiteX27" fmla="*/ 139840 w 264562"/>
                <a:gd name="connsiteY27" fmla="*/ 159998 h 592116"/>
                <a:gd name="connsiteX28" fmla="*/ 142360 w 264562"/>
                <a:gd name="connsiteY28" fmla="*/ 166297 h 592116"/>
                <a:gd name="connsiteX29" fmla="*/ 146140 w 264562"/>
                <a:gd name="connsiteY29" fmla="*/ 176375 h 592116"/>
                <a:gd name="connsiteX30" fmla="*/ 146140 w 264562"/>
                <a:gd name="connsiteY30" fmla="*/ 176375 h 592116"/>
                <a:gd name="connsiteX31" fmla="*/ 148659 w 264562"/>
                <a:gd name="connsiteY31" fmla="*/ 185194 h 592116"/>
                <a:gd name="connsiteX32" fmla="*/ 154958 w 264562"/>
                <a:gd name="connsiteY32" fmla="*/ 202832 h 592116"/>
                <a:gd name="connsiteX33" fmla="*/ 154958 w 264562"/>
                <a:gd name="connsiteY33" fmla="*/ 202832 h 592116"/>
                <a:gd name="connsiteX34" fmla="*/ 154958 w 264562"/>
                <a:gd name="connsiteY34" fmla="*/ 204091 h 592116"/>
                <a:gd name="connsiteX35" fmla="*/ 154958 w 264562"/>
                <a:gd name="connsiteY35" fmla="*/ 204091 h 592116"/>
                <a:gd name="connsiteX36" fmla="*/ 154958 w 264562"/>
                <a:gd name="connsiteY36" fmla="*/ 204091 h 592116"/>
                <a:gd name="connsiteX37" fmla="*/ 154958 w 264562"/>
                <a:gd name="connsiteY37" fmla="*/ 204091 h 592116"/>
                <a:gd name="connsiteX38" fmla="*/ 154958 w 264562"/>
                <a:gd name="connsiteY38" fmla="*/ 204091 h 592116"/>
                <a:gd name="connsiteX39" fmla="*/ 154958 w 264562"/>
                <a:gd name="connsiteY39" fmla="*/ 204091 h 592116"/>
                <a:gd name="connsiteX40" fmla="*/ 154958 w 264562"/>
                <a:gd name="connsiteY40" fmla="*/ 204091 h 592116"/>
                <a:gd name="connsiteX41" fmla="*/ 154958 w 264562"/>
                <a:gd name="connsiteY41" fmla="*/ 204091 h 592116"/>
                <a:gd name="connsiteX42" fmla="*/ 154958 w 264562"/>
                <a:gd name="connsiteY42" fmla="*/ 204091 h 592116"/>
                <a:gd name="connsiteX43" fmla="*/ 154958 w 264562"/>
                <a:gd name="connsiteY43" fmla="*/ 204091 h 592116"/>
                <a:gd name="connsiteX44" fmla="*/ 154958 w 264562"/>
                <a:gd name="connsiteY44" fmla="*/ 205351 h 592116"/>
                <a:gd name="connsiteX45" fmla="*/ 154958 w 264562"/>
                <a:gd name="connsiteY45" fmla="*/ 205351 h 592116"/>
                <a:gd name="connsiteX46" fmla="*/ 161257 w 264562"/>
                <a:gd name="connsiteY46" fmla="*/ 222989 h 592116"/>
                <a:gd name="connsiteX47" fmla="*/ 163777 w 264562"/>
                <a:gd name="connsiteY47" fmla="*/ 230548 h 592116"/>
                <a:gd name="connsiteX48" fmla="*/ 163777 w 264562"/>
                <a:gd name="connsiteY48" fmla="*/ 231808 h 592116"/>
                <a:gd name="connsiteX49" fmla="*/ 163777 w 264562"/>
                <a:gd name="connsiteY49" fmla="*/ 231808 h 592116"/>
                <a:gd name="connsiteX50" fmla="*/ 167556 w 264562"/>
                <a:gd name="connsiteY50" fmla="*/ 243146 h 592116"/>
                <a:gd name="connsiteX51" fmla="*/ 171336 w 264562"/>
                <a:gd name="connsiteY51" fmla="*/ 253225 h 592116"/>
                <a:gd name="connsiteX52" fmla="*/ 171336 w 264562"/>
                <a:gd name="connsiteY52" fmla="*/ 254484 h 592116"/>
                <a:gd name="connsiteX53" fmla="*/ 171336 w 264562"/>
                <a:gd name="connsiteY53" fmla="*/ 255744 h 592116"/>
                <a:gd name="connsiteX54" fmla="*/ 173855 w 264562"/>
                <a:gd name="connsiteY54" fmla="*/ 263303 h 592116"/>
                <a:gd name="connsiteX55" fmla="*/ 177635 w 264562"/>
                <a:gd name="connsiteY55" fmla="*/ 273382 h 592116"/>
                <a:gd name="connsiteX56" fmla="*/ 181414 w 264562"/>
                <a:gd name="connsiteY56" fmla="*/ 284720 h 592116"/>
                <a:gd name="connsiteX57" fmla="*/ 185194 w 264562"/>
                <a:gd name="connsiteY57" fmla="*/ 296058 h 592116"/>
                <a:gd name="connsiteX58" fmla="*/ 187714 w 264562"/>
                <a:gd name="connsiteY58" fmla="*/ 303618 h 592116"/>
                <a:gd name="connsiteX59" fmla="*/ 192753 w 264562"/>
                <a:gd name="connsiteY59" fmla="*/ 317475 h 592116"/>
                <a:gd name="connsiteX60" fmla="*/ 192753 w 264562"/>
                <a:gd name="connsiteY60" fmla="*/ 318735 h 592116"/>
                <a:gd name="connsiteX61" fmla="*/ 194013 w 264562"/>
                <a:gd name="connsiteY61" fmla="*/ 323775 h 592116"/>
                <a:gd name="connsiteX62" fmla="*/ 194013 w 264562"/>
                <a:gd name="connsiteY62" fmla="*/ 323775 h 592116"/>
                <a:gd name="connsiteX63" fmla="*/ 195273 w 264562"/>
                <a:gd name="connsiteY63" fmla="*/ 327554 h 592116"/>
                <a:gd name="connsiteX64" fmla="*/ 201572 w 264562"/>
                <a:gd name="connsiteY64" fmla="*/ 343932 h 592116"/>
                <a:gd name="connsiteX65" fmla="*/ 205351 w 264562"/>
                <a:gd name="connsiteY65" fmla="*/ 351491 h 592116"/>
                <a:gd name="connsiteX66" fmla="*/ 205351 w 264562"/>
                <a:gd name="connsiteY66" fmla="*/ 351491 h 592116"/>
                <a:gd name="connsiteX67" fmla="*/ 209131 w 264562"/>
                <a:gd name="connsiteY67" fmla="*/ 361569 h 592116"/>
                <a:gd name="connsiteX68" fmla="*/ 217949 w 264562"/>
                <a:gd name="connsiteY68" fmla="*/ 381727 h 592116"/>
                <a:gd name="connsiteX69" fmla="*/ 226768 w 264562"/>
                <a:gd name="connsiteY69" fmla="*/ 400624 h 592116"/>
                <a:gd name="connsiteX70" fmla="*/ 234327 w 264562"/>
                <a:gd name="connsiteY70" fmla="*/ 419521 h 592116"/>
                <a:gd name="connsiteX71" fmla="*/ 239366 w 264562"/>
                <a:gd name="connsiteY71" fmla="*/ 430860 h 592116"/>
                <a:gd name="connsiteX72" fmla="*/ 239366 w 264562"/>
                <a:gd name="connsiteY72" fmla="*/ 430860 h 592116"/>
                <a:gd name="connsiteX73" fmla="*/ 239366 w 264562"/>
                <a:gd name="connsiteY73" fmla="*/ 430860 h 592116"/>
                <a:gd name="connsiteX74" fmla="*/ 241886 w 264562"/>
                <a:gd name="connsiteY74" fmla="*/ 437159 h 592116"/>
                <a:gd name="connsiteX75" fmla="*/ 246925 w 264562"/>
                <a:gd name="connsiteY75" fmla="*/ 449757 h 592116"/>
                <a:gd name="connsiteX76" fmla="*/ 249445 w 264562"/>
                <a:gd name="connsiteY76" fmla="*/ 456056 h 592116"/>
                <a:gd name="connsiteX77" fmla="*/ 250705 w 264562"/>
                <a:gd name="connsiteY77" fmla="*/ 458576 h 592116"/>
                <a:gd name="connsiteX78" fmla="*/ 250705 w 264562"/>
                <a:gd name="connsiteY78" fmla="*/ 459836 h 592116"/>
                <a:gd name="connsiteX79" fmla="*/ 250705 w 264562"/>
                <a:gd name="connsiteY79" fmla="*/ 458576 h 592116"/>
                <a:gd name="connsiteX80" fmla="*/ 248185 w 264562"/>
                <a:gd name="connsiteY80" fmla="*/ 452277 h 592116"/>
                <a:gd name="connsiteX81" fmla="*/ 248185 w 264562"/>
                <a:gd name="connsiteY81" fmla="*/ 452277 h 592116"/>
                <a:gd name="connsiteX82" fmla="*/ 248185 w 264562"/>
                <a:gd name="connsiteY82" fmla="*/ 452277 h 592116"/>
                <a:gd name="connsiteX83" fmla="*/ 248185 w 264562"/>
                <a:gd name="connsiteY83" fmla="*/ 452277 h 592116"/>
                <a:gd name="connsiteX84" fmla="*/ 254484 w 264562"/>
                <a:gd name="connsiteY84" fmla="*/ 466135 h 592116"/>
                <a:gd name="connsiteX85" fmla="*/ 259524 w 264562"/>
                <a:gd name="connsiteY85" fmla="*/ 478733 h 592116"/>
                <a:gd name="connsiteX86" fmla="*/ 260784 w 264562"/>
                <a:gd name="connsiteY86" fmla="*/ 482512 h 592116"/>
                <a:gd name="connsiteX87" fmla="*/ 263303 w 264562"/>
                <a:gd name="connsiteY87" fmla="*/ 487552 h 592116"/>
                <a:gd name="connsiteX88" fmla="*/ 268342 w 264562"/>
                <a:gd name="connsiteY88" fmla="*/ 497630 h 592116"/>
                <a:gd name="connsiteX89" fmla="*/ 268342 w 264562"/>
                <a:gd name="connsiteY89" fmla="*/ 498890 h 592116"/>
                <a:gd name="connsiteX90" fmla="*/ 273382 w 264562"/>
                <a:gd name="connsiteY90" fmla="*/ 506449 h 592116"/>
                <a:gd name="connsiteX91" fmla="*/ 274641 w 264562"/>
                <a:gd name="connsiteY91" fmla="*/ 512748 h 592116"/>
                <a:gd name="connsiteX92" fmla="*/ 275901 w 264562"/>
                <a:gd name="connsiteY92" fmla="*/ 520307 h 592116"/>
                <a:gd name="connsiteX93" fmla="*/ 275901 w 264562"/>
                <a:gd name="connsiteY93" fmla="*/ 522827 h 592116"/>
                <a:gd name="connsiteX94" fmla="*/ 275901 w 264562"/>
                <a:gd name="connsiteY94" fmla="*/ 522827 h 592116"/>
                <a:gd name="connsiteX95" fmla="*/ 275901 w 264562"/>
                <a:gd name="connsiteY95" fmla="*/ 522827 h 592116"/>
                <a:gd name="connsiteX96" fmla="*/ 275901 w 264562"/>
                <a:gd name="connsiteY96" fmla="*/ 524087 h 592116"/>
                <a:gd name="connsiteX97" fmla="*/ 275901 w 264562"/>
                <a:gd name="connsiteY97" fmla="*/ 530386 h 592116"/>
                <a:gd name="connsiteX98" fmla="*/ 274641 w 264562"/>
                <a:gd name="connsiteY98" fmla="*/ 536685 h 592116"/>
                <a:gd name="connsiteX99" fmla="*/ 273382 w 264562"/>
                <a:gd name="connsiteY99" fmla="*/ 541724 h 592116"/>
                <a:gd name="connsiteX100" fmla="*/ 273382 w 264562"/>
                <a:gd name="connsiteY100" fmla="*/ 542984 h 592116"/>
                <a:gd name="connsiteX101" fmla="*/ 268342 w 264562"/>
                <a:gd name="connsiteY101" fmla="*/ 556842 h 592116"/>
                <a:gd name="connsiteX102" fmla="*/ 268342 w 264562"/>
                <a:gd name="connsiteY102" fmla="*/ 556842 h 592116"/>
                <a:gd name="connsiteX103" fmla="*/ 268342 w 264562"/>
                <a:gd name="connsiteY103" fmla="*/ 556842 h 592116"/>
                <a:gd name="connsiteX104" fmla="*/ 268342 w 264562"/>
                <a:gd name="connsiteY104" fmla="*/ 556842 h 592116"/>
                <a:gd name="connsiteX105" fmla="*/ 263303 w 264562"/>
                <a:gd name="connsiteY105" fmla="*/ 569440 h 592116"/>
                <a:gd name="connsiteX106" fmla="*/ 262043 w 264562"/>
                <a:gd name="connsiteY106" fmla="*/ 571960 h 592116"/>
                <a:gd name="connsiteX107" fmla="*/ 262043 w 264562"/>
                <a:gd name="connsiteY107" fmla="*/ 571960 h 592116"/>
                <a:gd name="connsiteX108" fmla="*/ 259524 w 264562"/>
                <a:gd name="connsiteY108" fmla="*/ 575739 h 592116"/>
                <a:gd name="connsiteX109" fmla="*/ 253225 w 264562"/>
                <a:gd name="connsiteY109" fmla="*/ 582038 h 592116"/>
                <a:gd name="connsiteX110" fmla="*/ 246925 w 264562"/>
                <a:gd name="connsiteY110" fmla="*/ 585818 h 592116"/>
                <a:gd name="connsiteX111" fmla="*/ 240626 w 264562"/>
                <a:gd name="connsiteY111" fmla="*/ 589597 h 592116"/>
                <a:gd name="connsiteX112" fmla="*/ 239366 w 264562"/>
                <a:gd name="connsiteY112" fmla="*/ 589597 h 592116"/>
                <a:gd name="connsiteX113" fmla="*/ 234327 w 264562"/>
                <a:gd name="connsiteY113" fmla="*/ 592117 h 592116"/>
                <a:gd name="connsiteX114" fmla="*/ 234327 w 264562"/>
                <a:gd name="connsiteY114" fmla="*/ 592117 h 592116"/>
                <a:gd name="connsiteX115" fmla="*/ 233067 w 264562"/>
                <a:gd name="connsiteY115" fmla="*/ 593377 h 592116"/>
                <a:gd name="connsiteX116" fmla="*/ 231807 w 264562"/>
                <a:gd name="connsiteY116" fmla="*/ 594637 h 592116"/>
                <a:gd name="connsiteX117" fmla="*/ 231807 w 264562"/>
                <a:gd name="connsiteY117" fmla="*/ 594637 h 592116"/>
                <a:gd name="connsiteX118" fmla="*/ 228028 w 264562"/>
                <a:gd name="connsiteY118" fmla="*/ 595896 h 592116"/>
                <a:gd name="connsiteX119" fmla="*/ 221729 w 264562"/>
                <a:gd name="connsiteY119" fmla="*/ 598416 h 592116"/>
                <a:gd name="connsiteX120" fmla="*/ 214170 w 264562"/>
                <a:gd name="connsiteY120" fmla="*/ 599676 h 592116"/>
                <a:gd name="connsiteX121" fmla="*/ 205351 w 264562"/>
                <a:gd name="connsiteY121" fmla="*/ 600936 h 592116"/>
                <a:gd name="connsiteX122" fmla="*/ 201572 w 264562"/>
                <a:gd name="connsiteY122" fmla="*/ 600936 h 592116"/>
                <a:gd name="connsiteX123" fmla="*/ 201572 w 264562"/>
                <a:gd name="connsiteY123" fmla="*/ 600936 h 592116"/>
                <a:gd name="connsiteX124" fmla="*/ 197792 w 264562"/>
                <a:gd name="connsiteY124" fmla="*/ 600936 h 592116"/>
                <a:gd name="connsiteX125" fmla="*/ 191493 w 264562"/>
                <a:gd name="connsiteY125" fmla="*/ 600936 h 592116"/>
                <a:gd name="connsiteX126" fmla="*/ 187714 w 264562"/>
                <a:gd name="connsiteY126" fmla="*/ 600936 h 592116"/>
                <a:gd name="connsiteX127" fmla="*/ 182674 w 264562"/>
                <a:gd name="connsiteY127" fmla="*/ 599676 h 592116"/>
                <a:gd name="connsiteX128" fmla="*/ 178895 w 264562"/>
                <a:gd name="connsiteY128" fmla="*/ 598416 h 592116"/>
                <a:gd name="connsiteX129" fmla="*/ 176375 w 264562"/>
                <a:gd name="connsiteY129" fmla="*/ 598416 h 592116"/>
                <a:gd name="connsiteX130" fmla="*/ 170076 w 264562"/>
                <a:gd name="connsiteY130" fmla="*/ 597156 h 592116"/>
                <a:gd name="connsiteX131" fmla="*/ 156218 w 264562"/>
                <a:gd name="connsiteY131" fmla="*/ 590857 h 592116"/>
                <a:gd name="connsiteX132" fmla="*/ 151179 w 264562"/>
                <a:gd name="connsiteY132" fmla="*/ 588337 h 592116"/>
                <a:gd name="connsiteX133" fmla="*/ 149919 w 264562"/>
                <a:gd name="connsiteY133" fmla="*/ 587078 h 592116"/>
                <a:gd name="connsiteX134" fmla="*/ 142360 w 264562"/>
                <a:gd name="connsiteY134" fmla="*/ 582038 h 592116"/>
                <a:gd name="connsiteX135" fmla="*/ 131022 w 264562"/>
                <a:gd name="connsiteY135" fmla="*/ 573220 h 592116"/>
                <a:gd name="connsiteX136" fmla="*/ 131022 w 264562"/>
                <a:gd name="connsiteY136" fmla="*/ 573220 h 592116"/>
                <a:gd name="connsiteX137" fmla="*/ 131022 w 264562"/>
                <a:gd name="connsiteY137" fmla="*/ 573220 h 592116"/>
                <a:gd name="connsiteX138" fmla="*/ 129762 w 264562"/>
                <a:gd name="connsiteY138" fmla="*/ 571960 h 592116"/>
                <a:gd name="connsiteX139" fmla="*/ 129762 w 264562"/>
                <a:gd name="connsiteY139" fmla="*/ 570700 h 592116"/>
                <a:gd name="connsiteX140" fmla="*/ 123463 w 264562"/>
                <a:gd name="connsiteY140" fmla="*/ 558102 h 592116"/>
                <a:gd name="connsiteX141" fmla="*/ 118423 w 264562"/>
                <a:gd name="connsiteY141" fmla="*/ 549283 h 592116"/>
                <a:gd name="connsiteX142" fmla="*/ 115904 w 264562"/>
                <a:gd name="connsiteY142" fmla="*/ 544244 h 592116"/>
                <a:gd name="connsiteX143" fmla="*/ 110864 w 264562"/>
                <a:gd name="connsiteY143" fmla="*/ 534165 h 592116"/>
                <a:gd name="connsiteX144" fmla="*/ 110864 w 264562"/>
                <a:gd name="connsiteY144" fmla="*/ 534165 h 592116"/>
                <a:gd name="connsiteX145" fmla="*/ 108345 w 264562"/>
                <a:gd name="connsiteY145" fmla="*/ 530386 h 592116"/>
                <a:gd name="connsiteX146" fmla="*/ 103306 w 264562"/>
                <a:gd name="connsiteY146" fmla="*/ 521567 h 592116"/>
                <a:gd name="connsiteX147" fmla="*/ 91967 w 264562"/>
                <a:gd name="connsiteY147" fmla="*/ 498890 h 592116"/>
                <a:gd name="connsiteX148" fmla="*/ 89448 w 264562"/>
                <a:gd name="connsiteY148" fmla="*/ 495111 h 592116"/>
                <a:gd name="connsiteX149" fmla="*/ 85668 w 264562"/>
                <a:gd name="connsiteY149" fmla="*/ 487552 h 592116"/>
                <a:gd name="connsiteX150" fmla="*/ 83148 w 264562"/>
                <a:gd name="connsiteY150" fmla="*/ 481252 h 592116"/>
                <a:gd name="connsiteX151" fmla="*/ 83148 w 264562"/>
                <a:gd name="connsiteY151" fmla="*/ 479993 h 592116"/>
                <a:gd name="connsiteX152" fmla="*/ 76849 w 264562"/>
                <a:gd name="connsiteY152" fmla="*/ 464875 h 592116"/>
                <a:gd name="connsiteX153" fmla="*/ 70550 w 264562"/>
                <a:gd name="connsiteY153" fmla="*/ 448497 h 592116"/>
                <a:gd name="connsiteX154" fmla="*/ 70550 w 264562"/>
                <a:gd name="connsiteY154" fmla="*/ 448497 h 592116"/>
                <a:gd name="connsiteX155" fmla="*/ 70550 w 264562"/>
                <a:gd name="connsiteY155" fmla="*/ 448497 h 592116"/>
                <a:gd name="connsiteX156" fmla="*/ 70550 w 264562"/>
                <a:gd name="connsiteY156" fmla="*/ 448497 h 592116"/>
                <a:gd name="connsiteX157" fmla="*/ 69290 w 264562"/>
                <a:gd name="connsiteY157" fmla="*/ 443458 h 592116"/>
                <a:gd name="connsiteX158" fmla="*/ 60471 w 264562"/>
                <a:gd name="connsiteY158" fmla="*/ 420781 h 592116"/>
                <a:gd name="connsiteX159" fmla="*/ 59212 w 264562"/>
                <a:gd name="connsiteY159" fmla="*/ 418261 h 592116"/>
                <a:gd name="connsiteX160" fmla="*/ 59212 w 264562"/>
                <a:gd name="connsiteY160" fmla="*/ 418261 h 592116"/>
                <a:gd name="connsiteX161" fmla="*/ 51653 w 264562"/>
                <a:gd name="connsiteY161" fmla="*/ 398104 h 592116"/>
                <a:gd name="connsiteX162" fmla="*/ 44094 w 264562"/>
                <a:gd name="connsiteY162" fmla="*/ 375427 h 592116"/>
                <a:gd name="connsiteX163" fmla="*/ 36535 w 264562"/>
                <a:gd name="connsiteY163" fmla="*/ 352751 h 592116"/>
                <a:gd name="connsiteX164" fmla="*/ 31496 w 264562"/>
                <a:gd name="connsiteY164" fmla="*/ 337633 h 592116"/>
                <a:gd name="connsiteX165" fmla="*/ 31496 w 264562"/>
                <a:gd name="connsiteY165" fmla="*/ 337633 h 592116"/>
                <a:gd name="connsiteX166" fmla="*/ 31496 w 264562"/>
                <a:gd name="connsiteY166" fmla="*/ 337633 h 592116"/>
                <a:gd name="connsiteX167" fmla="*/ 31496 w 264562"/>
                <a:gd name="connsiteY167" fmla="*/ 335113 h 592116"/>
                <a:gd name="connsiteX168" fmla="*/ 30236 w 264562"/>
                <a:gd name="connsiteY168" fmla="*/ 331334 h 592116"/>
                <a:gd name="connsiteX169" fmla="*/ 20157 w 264562"/>
                <a:gd name="connsiteY169" fmla="*/ 291019 h 592116"/>
                <a:gd name="connsiteX170" fmla="*/ 18897 w 264562"/>
                <a:gd name="connsiteY170" fmla="*/ 285980 h 592116"/>
                <a:gd name="connsiteX171" fmla="*/ 12598 w 264562"/>
                <a:gd name="connsiteY171" fmla="*/ 260783 h 592116"/>
                <a:gd name="connsiteX172" fmla="*/ 10078 w 264562"/>
                <a:gd name="connsiteY172" fmla="*/ 246925 h 592116"/>
                <a:gd name="connsiteX173" fmla="*/ 10078 w 264562"/>
                <a:gd name="connsiteY173" fmla="*/ 245666 h 592116"/>
                <a:gd name="connsiteX174" fmla="*/ 5039 w 264562"/>
                <a:gd name="connsiteY174" fmla="*/ 229288 h 592116"/>
                <a:gd name="connsiteX175" fmla="*/ 5039 w 264562"/>
                <a:gd name="connsiteY175" fmla="*/ 229288 h 592116"/>
                <a:gd name="connsiteX176" fmla="*/ 2520 w 264562"/>
                <a:gd name="connsiteY176" fmla="*/ 221729 h 592116"/>
                <a:gd name="connsiteX177" fmla="*/ 1260 w 264562"/>
                <a:gd name="connsiteY177" fmla="*/ 211650 h 592116"/>
                <a:gd name="connsiteX178" fmla="*/ 0 w 264562"/>
                <a:gd name="connsiteY178" fmla="*/ 194013 h 592116"/>
                <a:gd name="connsiteX179" fmla="*/ 1260 w 264562"/>
                <a:gd name="connsiteY179" fmla="*/ 176375 h 592116"/>
                <a:gd name="connsiteX180" fmla="*/ 2520 w 264562"/>
                <a:gd name="connsiteY180" fmla="*/ 167557 h 592116"/>
                <a:gd name="connsiteX181" fmla="*/ 3779 w 264562"/>
                <a:gd name="connsiteY181" fmla="*/ 161257 h 592116"/>
                <a:gd name="connsiteX182" fmla="*/ 5039 w 264562"/>
                <a:gd name="connsiteY182" fmla="*/ 158738 h 592116"/>
                <a:gd name="connsiteX183" fmla="*/ 7559 w 264562"/>
                <a:gd name="connsiteY183" fmla="*/ 151179 h 592116"/>
                <a:gd name="connsiteX184" fmla="*/ 10078 w 264562"/>
                <a:gd name="connsiteY184" fmla="*/ 146140 h 592116"/>
                <a:gd name="connsiteX185" fmla="*/ 12598 w 264562"/>
                <a:gd name="connsiteY185" fmla="*/ 142360 h 592116"/>
                <a:gd name="connsiteX186" fmla="*/ 16378 w 264562"/>
                <a:gd name="connsiteY186" fmla="*/ 134801 h 592116"/>
                <a:gd name="connsiteX187" fmla="*/ 16378 w 264562"/>
                <a:gd name="connsiteY187" fmla="*/ 134801 h 592116"/>
                <a:gd name="connsiteX188" fmla="*/ 21417 w 264562"/>
                <a:gd name="connsiteY188" fmla="*/ 127242 h 592116"/>
                <a:gd name="connsiteX189" fmla="*/ 21417 w 264562"/>
                <a:gd name="connsiteY189" fmla="*/ 125982 h 592116"/>
                <a:gd name="connsiteX190" fmla="*/ 23937 w 264562"/>
                <a:gd name="connsiteY190" fmla="*/ 123463 h 592116"/>
                <a:gd name="connsiteX191" fmla="*/ 26456 w 264562"/>
                <a:gd name="connsiteY191" fmla="*/ 119683 h 592116"/>
                <a:gd name="connsiteX192" fmla="*/ 27716 w 264562"/>
                <a:gd name="connsiteY192" fmla="*/ 118424 h 592116"/>
                <a:gd name="connsiteX193" fmla="*/ 28976 w 264562"/>
                <a:gd name="connsiteY193" fmla="*/ 115904 h 592116"/>
                <a:gd name="connsiteX194" fmla="*/ 32755 w 264562"/>
                <a:gd name="connsiteY194" fmla="*/ 113384 h 592116"/>
                <a:gd name="connsiteX195" fmla="*/ 35275 w 264562"/>
                <a:gd name="connsiteY195" fmla="*/ 110864 h 592116"/>
                <a:gd name="connsiteX196" fmla="*/ 37795 w 264562"/>
                <a:gd name="connsiteY196" fmla="*/ 108345 h 592116"/>
                <a:gd name="connsiteX197" fmla="*/ 40314 w 264562"/>
                <a:gd name="connsiteY197" fmla="*/ 105825 h 592116"/>
                <a:gd name="connsiteX198" fmla="*/ 44094 w 264562"/>
                <a:gd name="connsiteY198" fmla="*/ 103305 h 592116"/>
                <a:gd name="connsiteX199" fmla="*/ 47873 w 264562"/>
                <a:gd name="connsiteY199" fmla="*/ 100786 h 592116"/>
                <a:gd name="connsiteX200" fmla="*/ 50393 w 264562"/>
                <a:gd name="connsiteY200" fmla="*/ 99526 h 592116"/>
                <a:gd name="connsiteX201" fmla="*/ 55432 w 264562"/>
                <a:gd name="connsiteY201" fmla="*/ 95747 h 592116"/>
                <a:gd name="connsiteX202" fmla="*/ 57952 w 264562"/>
                <a:gd name="connsiteY202" fmla="*/ 94487 h 592116"/>
                <a:gd name="connsiteX203" fmla="*/ 57952 w 264562"/>
                <a:gd name="connsiteY203" fmla="*/ 93227 h 592116"/>
                <a:gd name="connsiteX204" fmla="*/ 59212 w 264562"/>
                <a:gd name="connsiteY204" fmla="*/ 90707 h 592116"/>
                <a:gd name="connsiteX205" fmla="*/ 59212 w 264562"/>
                <a:gd name="connsiteY205" fmla="*/ 86928 h 592116"/>
                <a:gd name="connsiteX206" fmla="*/ 59212 w 264562"/>
                <a:gd name="connsiteY206" fmla="*/ 83148 h 592116"/>
                <a:gd name="connsiteX207" fmla="*/ 59212 w 264562"/>
                <a:gd name="connsiteY207" fmla="*/ 75589 h 592116"/>
                <a:gd name="connsiteX208" fmla="*/ 59212 w 264562"/>
                <a:gd name="connsiteY208" fmla="*/ 74330 h 592116"/>
                <a:gd name="connsiteX209" fmla="*/ 59212 w 264562"/>
                <a:gd name="connsiteY209" fmla="*/ 66771 h 592116"/>
                <a:gd name="connsiteX210" fmla="*/ 59212 w 264562"/>
                <a:gd name="connsiteY210" fmla="*/ 56692 h 592116"/>
                <a:gd name="connsiteX211" fmla="*/ 59212 w 264562"/>
                <a:gd name="connsiteY211" fmla="*/ 55432 h 592116"/>
                <a:gd name="connsiteX212" fmla="*/ 59212 w 264562"/>
                <a:gd name="connsiteY212" fmla="*/ 46614 h 592116"/>
                <a:gd name="connsiteX213" fmla="*/ 59212 w 264562"/>
                <a:gd name="connsiteY213" fmla="*/ 36535 h 592116"/>
                <a:gd name="connsiteX214" fmla="*/ 60471 w 264562"/>
                <a:gd name="connsiteY214" fmla="*/ 27716 h 592116"/>
                <a:gd name="connsiteX215" fmla="*/ 61731 w 264562"/>
                <a:gd name="connsiteY215" fmla="*/ 18897 h 592116"/>
                <a:gd name="connsiteX216" fmla="*/ 61731 w 264562"/>
                <a:gd name="connsiteY216" fmla="*/ 18897 h 592116"/>
                <a:gd name="connsiteX217" fmla="*/ 62991 w 264562"/>
                <a:gd name="connsiteY217" fmla="*/ 15118 h 592116"/>
                <a:gd name="connsiteX218" fmla="*/ 64251 w 264562"/>
                <a:gd name="connsiteY218" fmla="*/ 11338 h 592116"/>
                <a:gd name="connsiteX219" fmla="*/ 69290 w 264562"/>
                <a:gd name="connsiteY219" fmla="*/ 5039 h 592116"/>
                <a:gd name="connsiteX220" fmla="*/ 74329 w 264562"/>
                <a:gd name="connsiteY220" fmla="*/ 2520 h 592116"/>
                <a:gd name="connsiteX221" fmla="*/ 76849 w 264562"/>
                <a:gd name="connsiteY221" fmla="*/ 2520 h 592116"/>
                <a:gd name="connsiteX222" fmla="*/ 76849 w 264562"/>
                <a:gd name="connsiteY222" fmla="*/ 2520 h 592116"/>
                <a:gd name="connsiteX223" fmla="*/ 78109 w 264562"/>
                <a:gd name="connsiteY223" fmla="*/ 2520 h 592116"/>
                <a:gd name="connsiteX224" fmla="*/ 78109 w 264562"/>
                <a:gd name="connsiteY224" fmla="*/ 2520 h 592116"/>
                <a:gd name="connsiteX225" fmla="*/ 80629 w 264562"/>
                <a:gd name="connsiteY225" fmla="*/ 0 h 59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264562" h="592116">
                  <a:moveTo>
                    <a:pt x="80629" y="0"/>
                  </a:moveTo>
                  <a:lnTo>
                    <a:pt x="80629" y="0"/>
                  </a:lnTo>
                  <a:cubicBezTo>
                    <a:pt x="81889" y="0"/>
                    <a:pt x="84408" y="0"/>
                    <a:pt x="85668" y="1260"/>
                  </a:cubicBezTo>
                  <a:cubicBezTo>
                    <a:pt x="86928" y="1260"/>
                    <a:pt x="88188" y="2520"/>
                    <a:pt x="90707" y="2520"/>
                  </a:cubicBezTo>
                  <a:cubicBezTo>
                    <a:pt x="91967" y="2520"/>
                    <a:pt x="91967" y="3780"/>
                    <a:pt x="93227" y="5039"/>
                  </a:cubicBezTo>
                  <a:cubicBezTo>
                    <a:pt x="93227" y="5039"/>
                    <a:pt x="94487" y="6299"/>
                    <a:pt x="94487" y="7559"/>
                  </a:cubicBezTo>
                  <a:lnTo>
                    <a:pt x="94487" y="7559"/>
                  </a:lnTo>
                  <a:cubicBezTo>
                    <a:pt x="95747" y="8819"/>
                    <a:pt x="95747" y="10079"/>
                    <a:pt x="95747" y="10079"/>
                  </a:cubicBezTo>
                  <a:cubicBezTo>
                    <a:pt x="97007" y="11338"/>
                    <a:pt x="97007" y="13858"/>
                    <a:pt x="98266" y="16378"/>
                  </a:cubicBezTo>
                  <a:cubicBezTo>
                    <a:pt x="99526" y="18897"/>
                    <a:pt x="99526" y="22677"/>
                    <a:pt x="100786" y="25196"/>
                  </a:cubicBezTo>
                  <a:cubicBezTo>
                    <a:pt x="102046" y="30236"/>
                    <a:pt x="103306" y="35275"/>
                    <a:pt x="104565" y="40314"/>
                  </a:cubicBezTo>
                  <a:lnTo>
                    <a:pt x="105825" y="42834"/>
                  </a:lnTo>
                  <a:cubicBezTo>
                    <a:pt x="107085" y="45354"/>
                    <a:pt x="107085" y="47873"/>
                    <a:pt x="108345" y="51653"/>
                  </a:cubicBezTo>
                  <a:lnTo>
                    <a:pt x="108345" y="52913"/>
                  </a:lnTo>
                  <a:cubicBezTo>
                    <a:pt x="108345" y="55432"/>
                    <a:pt x="109605" y="57952"/>
                    <a:pt x="109605" y="60472"/>
                  </a:cubicBezTo>
                  <a:cubicBezTo>
                    <a:pt x="109605" y="62991"/>
                    <a:pt x="110864" y="65511"/>
                    <a:pt x="110864" y="68030"/>
                  </a:cubicBezTo>
                  <a:lnTo>
                    <a:pt x="110864" y="69290"/>
                  </a:lnTo>
                  <a:cubicBezTo>
                    <a:pt x="110864" y="71810"/>
                    <a:pt x="112124" y="75589"/>
                    <a:pt x="113384" y="78109"/>
                  </a:cubicBezTo>
                  <a:cubicBezTo>
                    <a:pt x="114644" y="81889"/>
                    <a:pt x="114644" y="84408"/>
                    <a:pt x="115904" y="88188"/>
                  </a:cubicBezTo>
                  <a:cubicBezTo>
                    <a:pt x="117163" y="90707"/>
                    <a:pt x="117163" y="93227"/>
                    <a:pt x="118423" y="97006"/>
                  </a:cubicBezTo>
                  <a:cubicBezTo>
                    <a:pt x="118423" y="98266"/>
                    <a:pt x="119683" y="100786"/>
                    <a:pt x="119683" y="102046"/>
                  </a:cubicBezTo>
                  <a:cubicBezTo>
                    <a:pt x="119683" y="103305"/>
                    <a:pt x="119683" y="104565"/>
                    <a:pt x="120943" y="105825"/>
                  </a:cubicBezTo>
                  <a:cubicBezTo>
                    <a:pt x="122203" y="108345"/>
                    <a:pt x="122203" y="112124"/>
                    <a:pt x="123463" y="115904"/>
                  </a:cubicBezTo>
                  <a:cubicBezTo>
                    <a:pt x="123463" y="118424"/>
                    <a:pt x="124722" y="119683"/>
                    <a:pt x="124722" y="122203"/>
                  </a:cubicBezTo>
                  <a:lnTo>
                    <a:pt x="124722" y="122203"/>
                  </a:lnTo>
                  <a:lnTo>
                    <a:pt x="124722" y="122203"/>
                  </a:lnTo>
                  <a:cubicBezTo>
                    <a:pt x="125982" y="123463"/>
                    <a:pt x="125982" y="125982"/>
                    <a:pt x="127242" y="127242"/>
                  </a:cubicBezTo>
                  <a:cubicBezTo>
                    <a:pt x="131022" y="138581"/>
                    <a:pt x="136061" y="149919"/>
                    <a:pt x="139840" y="159998"/>
                  </a:cubicBezTo>
                  <a:lnTo>
                    <a:pt x="142360" y="166297"/>
                  </a:lnTo>
                  <a:cubicBezTo>
                    <a:pt x="143620" y="170076"/>
                    <a:pt x="144880" y="173856"/>
                    <a:pt x="146140" y="176375"/>
                  </a:cubicBezTo>
                  <a:lnTo>
                    <a:pt x="146140" y="176375"/>
                  </a:lnTo>
                  <a:cubicBezTo>
                    <a:pt x="147399" y="178895"/>
                    <a:pt x="148659" y="182674"/>
                    <a:pt x="148659" y="185194"/>
                  </a:cubicBezTo>
                  <a:cubicBezTo>
                    <a:pt x="151179" y="190233"/>
                    <a:pt x="152439" y="196533"/>
                    <a:pt x="154958" y="202832"/>
                  </a:cubicBezTo>
                  <a:lnTo>
                    <a:pt x="154958" y="202832"/>
                  </a:lnTo>
                  <a:lnTo>
                    <a:pt x="154958" y="204091"/>
                  </a:lnTo>
                  <a:lnTo>
                    <a:pt x="154958" y="204091"/>
                  </a:lnTo>
                  <a:lnTo>
                    <a:pt x="154958" y="204091"/>
                  </a:lnTo>
                  <a:lnTo>
                    <a:pt x="154958" y="204091"/>
                  </a:lnTo>
                  <a:lnTo>
                    <a:pt x="154958" y="204091"/>
                  </a:lnTo>
                  <a:lnTo>
                    <a:pt x="154958" y="204091"/>
                  </a:lnTo>
                  <a:lnTo>
                    <a:pt x="154958" y="204091"/>
                  </a:lnTo>
                  <a:lnTo>
                    <a:pt x="154958" y="204091"/>
                  </a:lnTo>
                  <a:lnTo>
                    <a:pt x="154958" y="204091"/>
                  </a:lnTo>
                  <a:lnTo>
                    <a:pt x="154958" y="204091"/>
                  </a:lnTo>
                  <a:cubicBezTo>
                    <a:pt x="154958" y="204091"/>
                    <a:pt x="154958" y="204091"/>
                    <a:pt x="154958" y="205351"/>
                  </a:cubicBezTo>
                  <a:lnTo>
                    <a:pt x="154958" y="205351"/>
                  </a:lnTo>
                  <a:cubicBezTo>
                    <a:pt x="157478" y="211650"/>
                    <a:pt x="158738" y="216690"/>
                    <a:pt x="161257" y="222989"/>
                  </a:cubicBezTo>
                  <a:cubicBezTo>
                    <a:pt x="162517" y="225508"/>
                    <a:pt x="163777" y="228028"/>
                    <a:pt x="163777" y="230548"/>
                  </a:cubicBezTo>
                  <a:lnTo>
                    <a:pt x="163777" y="231808"/>
                  </a:lnTo>
                  <a:lnTo>
                    <a:pt x="163777" y="231808"/>
                  </a:lnTo>
                  <a:cubicBezTo>
                    <a:pt x="165037" y="235587"/>
                    <a:pt x="166297" y="239366"/>
                    <a:pt x="167556" y="243146"/>
                  </a:cubicBezTo>
                  <a:cubicBezTo>
                    <a:pt x="168816" y="246925"/>
                    <a:pt x="170076" y="249445"/>
                    <a:pt x="171336" y="253225"/>
                  </a:cubicBezTo>
                  <a:lnTo>
                    <a:pt x="171336" y="254484"/>
                  </a:lnTo>
                  <a:lnTo>
                    <a:pt x="171336" y="255744"/>
                  </a:lnTo>
                  <a:cubicBezTo>
                    <a:pt x="172596" y="258264"/>
                    <a:pt x="172596" y="260783"/>
                    <a:pt x="173855" y="263303"/>
                  </a:cubicBezTo>
                  <a:cubicBezTo>
                    <a:pt x="175115" y="267083"/>
                    <a:pt x="176375" y="269602"/>
                    <a:pt x="177635" y="273382"/>
                  </a:cubicBezTo>
                  <a:cubicBezTo>
                    <a:pt x="178895" y="277161"/>
                    <a:pt x="180155" y="280941"/>
                    <a:pt x="181414" y="284720"/>
                  </a:cubicBezTo>
                  <a:cubicBezTo>
                    <a:pt x="182674" y="288500"/>
                    <a:pt x="183934" y="292279"/>
                    <a:pt x="185194" y="296058"/>
                  </a:cubicBezTo>
                  <a:cubicBezTo>
                    <a:pt x="186454" y="298578"/>
                    <a:pt x="187714" y="301098"/>
                    <a:pt x="187714" y="303618"/>
                  </a:cubicBezTo>
                  <a:cubicBezTo>
                    <a:pt x="188973" y="308657"/>
                    <a:pt x="191493" y="312436"/>
                    <a:pt x="192753" y="317475"/>
                  </a:cubicBezTo>
                  <a:lnTo>
                    <a:pt x="192753" y="318735"/>
                  </a:lnTo>
                  <a:lnTo>
                    <a:pt x="194013" y="323775"/>
                  </a:lnTo>
                  <a:lnTo>
                    <a:pt x="194013" y="323775"/>
                  </a:lnTo>
                  <a:lnTo>
                    <a:pt x="195273" y="327554"/>
                  </a:lnTo>
                  <a:cubicBezTo>
                    <a:pt x="196533" y="332593"/>
                    <a:pt x="199052" y="338893"/>
                    <a:pt x="201572" y="343932"/>
                  </a:cubicBezTo>
                  <a:cubicBezTo>
                    <a:pt x="202832" y="346451"/>
                    <a:pt x="204092" y="348971"/>
                    <a:pt x="205351" y="351491"/>
                  </a:cubicBezTo>
                  <a:lnTo>
                    <a:pt x="205351" y="351491"/>
                  </a:lnTo>
                  <a:cubicBezTo>
                    <a:pt x="206611" y="355270"/>
                    <a:pt x="207871" y="359050"/>
                    <a:pt x="209131" y="361569"/>
                  </a:cubicBezTo>
                  <a:cubicBezTo>
                    <a:pt x="211650" y="367868"/>
                    <a:pt x="214170" y="372908"/>
                    <a:pt x="217949" y="381727"/>
                  </a:cubicBezTo>
                  <a:cubicBezTo>
                    <a:pt x="220469" y="388026"/>
                    <a:pt x="224248" y="394325"/>
                    <a:pt x="226768" y="400624"/>
                  </a:cubicBezTo>
                  <a:cubicBezTo>
                    <a:pt x="229288" y="405663"/>
                    <a:pt x="231807" y="411962"/>
                    <a:pt x="234327" y="419521"/>
                  </a:cubicBezTo>
                  <a:cubicBezTo>
                    <a:pt x="235587" y="423301"/>
                    <a:pt x="236847" y="427080"/>
                    <a:pt x="239366" y="430860"/>
                  </a:cubicBezTo>
                  <a:lnTo>
                    <a:pt x="239366" y="430860"/>
                  </a:lnTo>
                  <a:lnTo>
                    <a:pt x="239366" y="430860"/>
                  </a:lnTo>
                  <a:cubicBezTo>
                    <a:pt x="240626" y="433379"/>
                    <a:pt x="240626" y="434639"/>
                    <a:pt x="241886" y="437159"/>
                  </a:cubicBezTo>
                  <a:cubicBezTo>
                    <a:pt x="243146" y="442198"/>
                    <a:pt x="245666" y="445978"/>
                    <a:pt x="246925" y="449757"/>
                  </a:cubicBezTo>
                  <a:cubicBezTo>
                    <a:pt x="248185" y="452277"/>
                    <a:pt x="248185" y="453536"/>
                    <a:pt x="249445" y="456056"/>
                  </a:cubicBezTo>
                  <a:lnTo>
                    <a:pt x="250705" y="458576"/>
                  </a:lnTo>
                  <a:lnTo>
                    <a:pt x="250705" y="459836"/>
                  </a:lnTo>
                  <a:lnTo>
                    <a:pt x="250705" y="458576"/>
                  </a:lnTo>
                  <a:cubicBezTo>
                    <a:pt x="249445" y="456056"/>
                    <a:pt x="249445" y="454796"/>
                    <a:pt x="248185" y="452277"/>
                  </a:cubicBezTo>
                  <a:cubicBezTo>
                    <a:pt x="248185" y="452277"/>
                    <a:pt x="248185" y="452277"/>
                    <a:pt x="248185" y="452277"/>
                  </a:cubicBezTo>
                  <a:lnTo>
                    <a:pt x="248185" y="452277"/>
                  </a:lnTo>
                  <a:lnTo>
                    <a:pt x="248185" y="452277"/>
                  </a:lnTo>
                  <a:cubicBezTo>
                    <a:pt x="250705" y="457316"/>
                    <a:pt x="251965" y="461095"/>
                    <a:pt x="254484" y="466135"/>
                  </a:cubicBezTo>
                  <a:cubicBezTo>
                    <a:pt x="255744" y="469914"/>
                    <a:pt x="258264" y="473694"/>
                    <a:pt x="259524" y="478733"/>
                  </a:cubicBezTo>
                  <a:cubicBezTo>
                    <a:pt x="259524" y="479993"/>
                    <a:pt x="260784" y="481252"/>
                    <a:pt x="260784" y="482512"/>
                  </a:cubicBezTo>
                  <a:cubicBezTo>
                    <a:pt x="262043" y="483772"/>
                    <a:pt x="262043" y="486292"/>
                    <a:pt x="263303" y="487552"/>
                  </a:cubicBezTo>
                  <a:cubicBezTo>
                    <a:pt x="264563" y="491331"/>
                    <a:pt x="267083" y="495111"/>
                    <a:pt x="268342" y="497630"/>
                  </a:cubicBezTo>
                  <a:lnTo>
                    <a:pt x="268342" y="498890"/>
                  </a:lnTo>
                  <a:cubicBezTo>
                    <a:pt x="269602" y="501410"/>
                    <a:pt x="270862" y="503929"/>
                    <a:pt x="273382" y="506449"/>
                  </a:cubicBezTo>
                  <a:cubicBezTo>
                    <a:pt x="273382" y="508969"/>
                    <a:pt x="274641" y="511488"/>
                    <a:pt x="274641" y="512748"/>
                  </a:cubicBezTo>
                  <a:cubicBezTo>
                    <a:pt x="274641" y="515268"/>
                    <a:pt x="275901" y="517787"/>
                    <a:pt x="275901" y="520307"/>
                  </a:cubicBezTo>
                  <a:cubicBezTo>
                    <a:pt x="275901" y="521567"/>
                    <a:pt x="275901" y="521567"/>
                    <a:pt x="275901" y="522827"/>
                  </a:cubicBezTo>
                  <a:lnTo>
                    <a:pt x="275901" y="522827"/>
                  </a:lnTo>
                  <a:lnTo>
                    <a:pt x="275901" y="522827"/>
                  </a:lnTo>
                  <a:cubicBezTo>
                    <a:pt x="275901" y="522827"/>
                    <a:pt x="275901" y="522827"/>
                    <a:pt x="275901" y="524087"/>
                  </a:cubicBezTo>
                  <a:cubicBezTo>
                    <a:pt x="275901" y="525346"/>
                    <a:pt x="275901" y="527866"/>
                    <a:pt x="275901" y="530386"/>
                  </a:cubicBezTo>
                  <a:cubicBezTo>
                    <a:pt x="275901" y="532905"/>
                    <a:pt x="275901" y="534165"/>
                    <a:pt x="274641" y="536685"/>
                  </a:cubicBezTo>
                  <a:cubicBezTo>
                    <a:pt x="274641" y="537945"/>
                    <a:pt x="273382" y="540464"/>
                    <a:pt x="273382" y="541724"/>
                  </a:cubicBezTo>
                  <a:lnTo>
                    <a:pt x="273382" y="542984"/>
                  </a:lnTo>
                  <a:cubicBezTo>
                    <a:pt x="272122" y="548023"/>
                    <a:pt x="270862" y="553063"/>
                    <a:pt x="268342" y="556842"/>
                  </a:cubicBezTo>
                  <a:lnTo>
                    <a:pt x="268342" y="556842"/>
                  </a:lnTo>
                  <a:lnTo>
                    <a:pt x="268342" y="556842"/>
                  </a:lnTo>
                  <a:lnTo>
                    <a:pt x="268342" y="556842"/>
                  </a:lnTo>
                  <a:cubicBezTo>
                    <a:pt x="267083" y="560621"/>
                    <a:pt x="265823" y="564401"/>
                    <a:pt x="263303" y="569440"/>
                  </a:cubicBezTo>
                  <a:cubicBezTo>
                    <a:pt x="263303" y="570700"/>
                    <a:pt x="262043" y="570700"/>
                    <a:pt x="262043" y="571960"/>
                  </a:cubicBezTo>
                  <a:lnTo>
                    <a:pt x="262043" y="571960"/>
                  </a:lnTo>
                  <a:cubicBezTo>
                    <a:pt x="260784" y="573220"/>
                    <a:pt x="260784" y="574480"/>
                    <a:pt x="259524" y="575739"/>
                  </a:cubicBezTo>
                  <a:cubicBezTo>
                    <a:pt x="257004" y="578259"/>
                    <a:pt x="255744" y="579519"/>
                    <a:pt x="253225" y="582038"/>
                  </a:cubicBezTo>
                  <a:cubicBezTo>
                    <a:pt x="251965" y="583298"/>
                    <a:pt x="249445" y="584558"/>
                    <a:pt x="246925" y="585818"/>
                  </a:cubicBezTo>
                  <a:cubicBezTo>
                    <a:pt x="244406" y="587078"/>
                    <a:pt x="241886" y="588337"/>
                    <a:pt x="240626" y="589597"/>
                  </a:cubicBezTo>
                  <a:lnTo>
                    <a:pt x="239366" y="589597"/>
                  </a:lnTo>
                  <a:cubicBezTo>
                    <a:pt x="238107" y="590857"/>
                    <a:pt x="236847" y="590857"/>
                    <a:pt x="234327" y="592117"/>
                  </a:cubicBezTo>
                  <a:lnTo>
                    <a:pt x="234327" y="592117"/>
                  </a:lnTo>
                  <a:lnTo>
                    <a:pt x="233067" y="593377"/>
                  </a:lnTo>
                  <a:cubicBezTo>
                    <a:pt x="233067" y="593377"/>
                    <a:pt x="231807" y="593377"/>
                    <a:pt x="231807" y="594637"/>
                  </a:cubicBezTo>
                  <a:lnTo>
                    <a:pt x="231807" y="594637"/>
                  </a:lnTo>
                  <a:cubicBezTo>
                    <a:pt x="230548" y="594637"/>
                    <a:pt x="229288" y="595896"/>
                    <a:pt x="228028" y="595896"/>
                  </a:cubicBezTo>
                  <a:cubicBezTo>
                    <a:pt x="225508" y="597156"/>
                    <a:pt x="222989" y="597156"/>
                    <a:pt x="221729" y="598416"/>
                  </a:cubicBezTo>
                  <a:cubicBezTo>
                    <a:pt x="219209" y="598416"/>
                    <a:pt x="216690" y="599676"/>
                    <a:pt x="214170" y="599676"/>
                  </a:cubicBezTo>
                  <a:cubicBezTo>
                    <a:pt x="211650" y="599676"/>
                    <a:pt x="209131" y="600936"/>
                    <a:pt x="205351" y="600936"/>
                  </a:cubicBezTo>
                  <a:cubicBezTo>
                    <a:pt x="204092" y="600936"/>
                    <a:pt x="202832" y="600936"/>
                    <a:pt x="201572" y="600936"/>
                  </a:cubicBezTo>
                  <a:lnTo>
                    <a:pt x="201572" y="600936"/>
                  </a:lnTo>
                  <a:cubicBezTo>
                    <a:pt x="200312" y="600936"/>
                    <a:pt x="199052" y="600936"/>
                    <a:pt x="197792" y="600936"/>
                  </a:cubicBezTo>
                  <a:cubicBezTo>
                    <a:pt x="195273" y="600936"/>
                    <a:pt x="192753" y="600936"/>
                    <a:pt x="191493" y="600936"/>
                  </a:cubicBezTo>
                  <a:cubicBezTo>
                    <a:pt x="190233" y="600936"/>
                    <a:pt x="188973" y="600936"/>
                    <a:pt x="187714" y="600936"/>
                  </a:cubicBezTo>
                  <a:cubicBezTo>
                    <a:pt x="186454" y="600936"/>
                    <a:pt x="183934" y="600936"/>
                    <a:pt x="182674" y="599676"/>
                  </a:cubicBezTo>
                  <a:cubicBezTo>
                    <a:pt x="181414" y="599676"/>
                    <a:pt x="180155" y="599676"/>
                    <a:pt x="178895" y="598416"/>
                  </a:cubicBezTo>
                  <a:cubicBezTo>
                    <a:pt x="177635" y="598416"/>
                    <a:pt x="177635" y="598416"/>
                    <a:pt x="176375" y="598416"/>
                  </a:cubicBezTo>
                  <a:cubicBezTo>
                    <a:pt x="173855" y="598416"/>
                    <a:pt x="172596" y="597156"/>
                    <a:pt x="170076" y="597156"/>
                  </a:cubicBezTo>
                  <a:cubicBezTo>
                    <a:pt x="165037" y="595896"/>
                    <a:pt x="159998" y="593377"/>
                    <a:pt x="156218" y="590857"/>
                  </a:cubicBezTo>
                  <a:cubicBezTo>
                    <a:pt x="154958" y="589597"/>
                    <a:pt x="153699" y="589597"/>
                    <a:pt x="151179" y="588337"/>
                  </a:cubicBezTo>
                  <a:lnTo>
                    <a:pt x="149919" y="587078"/>
                  </a:lnTo>
                  <a:cubicBezTo>
                    <a:pt x="147399" y="585818"/>
                    <a:pt x="144880" y="584558"/>
                    <a:pt x="142360" y="582038"/>
                  </a:cubicBezTo>
                  <a:cubicBezTo>
                    <a:pt x="138581" y="579519"/>
                    <a:pt x="134801" y="576999"/>
                    <a:pt x="131022" y="573220"/>
                  </a:cubicBezTo>
                  <a:lnTo>
                    <a:pt x="131022" y="573220"/>
                  </a:lnTo>
                  <a:lnTo>
                    <a:pt x="131022" y="573220"/>
                  </a:lnTo>
                  <a:lnTo>
                    <a:pt x="129762" y="571960"/>
                  </a:lnTo>
                  <a:lnTo>
                    <a:pt x="129762" y="570700"/>
                  </a:lnTo>
                  <a:cubicBezTo>
                    <a:pt x="127242" y="565661"/>
                    <a:pt x="125982" y="561881"/>
                    <a:pt x="123463" y="558102"/>
                  </a:cubicBezTo>
                  <a:cubicBezTo>
                    <a:pt x="122203" y="555582"/>
                    <a:pt x="120943" y="553063"/>
                    <a:pt x="118423" y="549283"/>
                  </a:cubicBezTo>
                  <a:cubicBezTo>
                    <a:pt x="117163" y="548023"/>
                    <a:pt x="117163" y="546763"/>
                    <a:pt x="115904" y="544244"/>
                  </a:cubicBezTo>
                  <a:cubicBezTo>
                    <a:pt x="114644" y="541724"/>
                    <a:pt x="113384" y="537945"/>
                    <a:pt x="110864" y="534165"/>
                  </a:cubicBezTo>
                  <a:lnTo>
                    <a:pt x="110864" y="534165"/>
                  </a:lnTo>
                  <a:cubicBezTo>
                    <a:pt x="109605" y="532905"/>
                    <a:pt x="109605" y="531645"/>
                    <a:pt x="108345" y="530386"/>
                  </a:cubicBezTo>
                  <a:cubicBezTo>
                    <a:pt x="107085" y="527866"/>
                    <a:pt x="105825" y="524087"/>
                    <a:pt x="103306" y="521567"/>
                  </a:cubicBezTo>
                  <a:cubicBezTo>
                    <a:pt x="99526" y="514008"/>
                    <a:pt x="95747" y="506449"/>
                    <a:pt x="91967" y="498890"/>
                  </a:cubicBezTo>
                  <a:cubicBezTo>
                    <a:pt x="90707" y="497630"/>
                    <a:pt x="90707" y="496371"/>
                    <a:pt x="89448" y="495111"/>
                  </a:cubicBezTo>
                  <a:cubicBezTo>
                    <a:pt x="88188" y="492591"/>
                    <a:pt x="86928" y="490071"/>
                    <a:pt x="85668" y="487552"/>
                  </a:cubicBezTo>
                  <a:lnTo>
                    <a:pt x="83148" y="481252"/>
                  </a:lnTo>
                  <a:lnTo>
                    <a:pt x="83148" y="479993"/>
                  </a:lnTo>
                  <a:cubicBezTo>
                    <a:pt x="80629" y="474953"/>
                    <a:pt x="79369" y="469914"/>
                    <a:pt x="76849" y="464875"/>
                  </a:cubicBezTo>
                  <a:cubicBezTo>
                    <a:pt x="74329" y="459836"/>
                    <a:pt x="71810" y="453536"/>
                    <a:pt x="70550" y="448497"/>
                  </a:cubicBezTo>
                  <a:lnTo>
                    <a:pt x="70550" y="448497"/>
                  </a:lnTo>
                  <a:lnTo>
                    <a:pt x="70550" y="448497"/>
                  </a:lnTo>
                  <a:lnTo>
                    <a:pt x="70550" y="448497"/>
                  </a:lnTo>
                  <a:lnTo>
                    <a:pt x="69290" y="443458"/>
                  </a:lnTo>
                  <a:cubicBezTo>
                    <a:pt x="65511" y="435899"/>
                    <a:pt x="62991" y="428340"/>
                    <a:pt x="60471" y="420781"/>
                  </a:cubicBezTo>
                  <a:lnTo>
                    <a:pt x="59212" y="418261"/>
                  </a:lnTo>
                  <a:lnTo>
                    <a:pt x="59212" y="418261"/>
                  </a:lnTo>
                  <a:cubicBezTo>
                    <a:pt x="56692" y="411962"/>
                    <a:pt x="54172" y="404403"/>
                    <a:pt x="51653" y="398104"/>
                  </a:cubicBezTo>
                  <a:cubicBezTo>
                    <a:pt x="47873" y="389286"/>
                    <a:pt x="45354" y="381727"/>
                    <a:pt x="44094" y="375427"/>
                  </a:cubicBezTo>
                  <a:cubicBezTo>
                    <a:pt x="41574" y="367868"/>
                    <a:pt x="39055" y="360310"/>
                    <a:pt x="36535" y="352751"/>
                  </a:cubicBezTo>
                  <a:cubicBezTo>
                    <a:pt x="35275" y="347711"/>
                    <a:pt x="34015" y="342672"/>
                    <a:pt x="31496" y="337633"/>
                  </a:cubicBezTo>
                  <a:lnTo>
                    <a:pt x="31496" y="337633"/>
                  </a:lnTo>
                  <a:lnTo>
                    <a:pt x="31496" y="337633"/>
                  </a:lnTo>
                  <a:lnTo>
                    <a:pt x="31496" y="335113"/>
                  </a:lnTo>
                  <a:lnTo>
                    <a:pt x="30236" y="331334"/>
                  </a:lnTo>
                  <a:lnTo>
                    <a:pt x="20157" y="291019"/>
                  </a:lnTo>
                  <a:lnTo>
                    <a:pt x="18897" y="285980"/>
                  </a:lnTo>
                  <a:cubicBezTo>
                    <a:pt x="16378" y="278421"/>
                    <a:pt x="15118" y="269602"/>
                    <a:pt x="12598" y="260783"/>
                  </a:cubicBezTo>
                  <a:cubicBezTo>
                    <a:pt x="11338" y="255744"/>
                    <a:pt x="10078" y="250705"/>
                    <a:pt x="10078" y="246925"/>
                  </a:cubicBezTo>
                  <a:cubicBezTo>
                    <a:pt x="10078" y="246925"/>
                    <a:pt x="10078" y="245666"/>
                    <a:pt x="10078" y="245666"/>
                  </a:cubicBezTo>
                  <a:cubicBezTo>
                    <a:pt x="8819" y="240626"/>
                    <a:pt x="6299" y="234327"/>
                    <a:pt x="5039" y="229288"/>
                  </a:cubicBezTo>
                  <a:lnTo>
                    <a:pt x="5039" y="229288"/>
                  </a:lnTo>
                  <a:cubicBezTo>
                    <a:pt x="3779" y="226768"/>
                    <a:pt x="3779" y="224249"/>
                    <a:pt x="2520" y="221729"/>
                  </a:cubicBezTo>
                  <a:cubicBezTo>
                    <a:pt x="2520" y="219209"/>
                    <a:pt x="1260" y="215430"/>
                    <a:pt x="1260" y="211650"/>
                  </a:cubicBezTo>
                  <a:cubicBezTo>
                    <a:pt x="1260" y="205351"/>
                    <a:pt x="0" y="200312"/>
                    <a:pt x="0" y="194013"/>
                  </a:cubicBezTo>
                  <a:cubicBezTo>
                    <a:pt x="0" y="187714"/>
                    <a:pt x="0" y="181415"/>
                    <a:pt x="1260" y="176375"/>
                  </a:cubicBezTo>
                  <a:cubicBezTo>
                    <a:pt x="1260" y="173856"/>
                    <a:pt x="2520" y="170076"/>
                    <a:pt x="2520" y="167557"/>
                  </a:cubicBezTo>
                  <a:cubicBezTo>
                    <a:pt x="2520" y="165037"/>
                    <a:pt x="3779" y="163777"/>
                    <a:pt x="3779" y="161257"/>
                  </a:cubicBezTo>
                  <a:cubicBezTo>
                    <a:pt x="3779" y="159998"/>
                    <a:pt x="3779" y="158738"/>
                    <a:pt x="5039" y="158738"/>
                  </a:cubicBezTo>
                  <a:cubicBezTo>
                    <a:pt x="6299" y="156218"/>
                    <a:pt x="6299" y="153698"/>
                    <a:pt x="7559" y="151179"/>
                  </a:cubicBezTo>
                  <a:cubicBezTo>
                    <a:pt x="7559" y="149919"/>
                    <a:pt x="8819" y="147399"/>
                    <a:pt x="10078" y="146140"/>
                  </a:cubicBezTo>
                  <a:cubicBezTo>
                    <a:pt x="10078" y="144880"/>
                    <a:pt x="11338" y="143620"/>
                    <a:pt x="12598" y="142360"/>
                  </a:cubicBezTo>
                  <a:cubicBezTo>
                    <a:pt x="13858" y="139840"/>
                    <a:pt x="15118" y="137321"/>
                    <a:pt x="16378" y="134801"/>
                  </a:cubicBezTo>
                  <a:lnTo>
                    <a:pt x="16378" y="134801"/>
                  </a:lnTo>
                  <a:cubicBezTo>
                    <a:pt x="17637" y="132281"/>
                    <a:pt x="20157" y="129762"/>
                    <a:pt x="21417" y="127242"/>
                  </a:cubicBezTo>
                  <a:lnTo>
                    <a:pt x="21417" y="125982"/>
                  </a:lnTo>
                  <a:cubicBezTo>
                    <a:pt x="22677" y="124723"/>
                    <a:pt x="22677" y="123463"/>
                    <a:pt x="23937" y="123463"/>
                  </a:cubicBezTo>
                  <a:cubicBezTo>
                    <a:pt x="25196" y="122203"/>
                    <a:pt x="26456" y="120943"/>
                    <a:pt x="26456" y="119683"/>
                  </a:cubicBezTo>
                  <a:cubicBezTo>
                    <a:pt x="26456" y="119683"/>
                    <a:pt x="27716" y="118424"/>
                    <a:pt x="27716" y="118424"/>
                  </a:cubicBezTo>
                  <a:cubicBezTo>
                    <a:pt x="27716" y="117164"/>
                    <a:pt x="28976" y="117164"/>
                    <a:pt x="28976" y="115904"/>
                  </a:cubicBezTo>
                  <a:cubicBezTo>
                    <a:pt x="30236" y="114644"/>
                    <a:pt x="31496" y="113384"/>
                    <a:pt x="32755" y="113384"/>
                  </a:cubicBezTo>
                  <a:cubicBezTo>
                    <a:pt x="34015" y="112124"/>
                    <a:pt x="34015" y="112124"/>
                    <a:pt x="35275" y="110864"/>
                  </a:cubicBezTo>
                  <a:cubicBezTo>
                    <a:pt x="36535" y="109605"/>
                    <a:pt x="36535" y="109605"/>
                    <a:pt x="37795" y="108345"/>
                  </a:cubicBezTo>
                  <a:cubicBezTo>
                    <a:pt x="39055" y="107085"/>
                    <a:pt x="39055" y="107085"/>
                    <a:pt x="40314" y="105825"/>
                  </a:cubicBezTo>
                  <a:cubicBezTo>
                    <a:pt x="41574" y="104565"/>
                    <a:pt x="42834" y="103305"/>
                    <a:pt x="44094" y="103305"/>
                  </a:cubicBezTo>
                  <a:cubicBezTo>
                    <a:pt x="45354" y="102046"/>
                    <a:pt x="46614" y="102046"/>
                    <a:pt x="47873" y="100786"/>
                  </a:cubicBezTo>
                  <a:cubicBezTo>
                    <a:pt x="49133" y="100786"/>
                    <a:pt x="49133" y="99526"/>
                    <a:pt x="50393" y="99526"/>
                  </a:cubicBezTo>
                  <a:cubicBezTo>
                    <a:pt x="51653" y="98266"/>
                    <a:pt x="54172" y="97006"/>
                    <a:pt x="55432" y="95747"/>
                  </a:cubicBezTo>
                  <a:cubicBezTo>
                    <a:pt x="56692" y="94487"/>
                    <a:pt x="56692" y="94487"/>
                    <a:pt x="57952" y="94487"/>
                  </a:cubicBezTo>
                  <a:cubicBezTo>
                    <a:pt x="57952" y="94487"/>
                    <a:pt x="57952" y="94487"/>
                    <a:pt x="57952" y="93227"/>
                  </a:cubicBezTo>
                  <a:cubicBezTo>
                    <a:pt x="57952" y="91967"/>
                    <a:pt x="57952" y="91967"/>
                    <a:pt x="59212" y="90707"/>
                  </a:cubicBezTo>
                  <a:cubicBezTo>
                    <a:pt x="59212" y="89448"/>
                    <a:pt x="59212" y="88188"/>
                    <a:pt x="59212" y="86928"/>
                  </a:cubicBezTo>
                  <a:cubicBezTo>
                    <a:pt x="59212" y="85668"/>
                    <a:pt x="59212" y="84408"/>
                    <a:pt x="59212" y="83148"/>
                  </a:cubicBezTo>
                  <a:cubicBezTo>
                    <a:pt x="59212" y="80629"/>
                    <a:pt x="59212" y="78109"/>
                    <a:pt x="59212" y="75589"/>
                  </a:cubicBezTo>
                  <a:lnTo>
                    <a:pt x="59212" y="74330"/>
                  </a:lnTo>
                  <a:cubicBezTo>
                    <a:pt x="59212" y="71810"/>
                    <a:pt x="59212" y="69290"/>
                    <a:pt x="59212" y="66771"/>
                  </a:cubicBezTo>
                  <a:cubicBezTo>
                    <a:pt x="59212" y="62991"/>
                    <a:pt x="59212" y="59212"/>
                    <a:pt x="59212" y="56692"/>
                  </a:cubicBezTo>
                  <a:lnTo>
                    <a:pt x="59212" y="55432"/>
                  </a:lnTo>
                  <a:cubicBezTo>
                    <a:pt x="59212" y="52913"/>
                    <a:pt x="59212" y="50393"/>
                    <a:pt x="59212" y="46614"/>
                  </a:cubicBezTo>
                  <a:cubicBezTo>
                    <a:pt x="59212" y="42834"/>
                    <a:pt x="59212" y="40314"/>
                    <a:pt x="59212" y="36535"/>
                  </a:cubicBezTo>
                  <a:cubicBezTo>
                    <a:pt x="59212" y="34015"/>
                    <a:pt x="59212" y="31496"/>
                    <a:pt x="60471" y="27716"/>
                  </a:cubicBezTo>
                  <a:cubicBezTo>
                    <a:pt x="60471" y="23937"/>
                    <a:pt x="61731" y="21417"/>
                    <a:pt x="61731" y="18897"/>
                  </a:cubicBezTo>
                  <a:lnTo>
                    <a:pt x="61731" y="18897"/>
                  </a:lnTo>
                  <a:cubicBezTo>
                    <a:pt x="61731" y="17638"/>
                    <a:pt x="61731" y="16378"/>
                    <a:pt x="62991" y="15118"/>
                  </a:cubicBezTo>
                  <a:cubicBezTo>
                    <a:pt x="62991" y="13858"/>
                    <a:pt x="64251" y="12598"/>
                    <a:pt x="64251" y="11338"/>
                  </a:cubicBezTo>
                  <a:cubicBezTo>
                    <a:pt x="65511" y="8819"/>
                    <a:pt x="68030" y="6299"/>
                    <a:pt x="69290" y="5039"/>
                  </a:cubicBezTo>
                  <a:cubicBezTo>
                    <a:pt x="70550" y="3780"/>
                    <a:pt x="71810" y="2520"/>
                    <a:pt x="74329" y="2520"/>
                  </a:cubicBezTo>
                  <a:cubicBezTo>
                    <a:pt x="75589" y="2520"/>
                    <a:pt x="75589" y="2520"/>
                    <a:pt x="76849" y="2520"/>
                  </a:cubicBezTo>
                  <a:lnTo>
                    <a:pt x="76849" y="2520"/>
                  </a:lnTo>
                  <a:cubicBezTo>
                    <a:pt x="76849" y="2520"/>
                    <a:pt x="78109" y="2520"/>
                    <a:pt x="78109" y="2520"/>
                  </a:cubicBezTo>
                  <a:lnTo>
                    <a:pt x="78109" y="2520"/>
                  </a:lnTo>
                  <a:cubicBezTo>
                    <a:pt x="79369" y="0"/>
                    <a:pt x="79369" y="0"/>
                    <a:pt x="80629" y="0"/>
                  </a:cubicBezTo>
                </a:path>
              </a:pathLst>
            </a:custGeom>
            <a:solidFill>
              <a:srgbClr val="F2A988"/>
            </a:solidFill>
            <a:ln w="12584" cap="flat">
              <a:noFill/>
              <a:prstDash val="solid"/>
              <a:miter/>
            </a:ln>
          </p:spPr>
          <p:txBody>
            <a:bodyPr rtlCol="0" anchor="ctr"/>
            <a:lstStyle/>
            <a:p>
              <a:endParaRPr lang="zh-CN" altLang="en-US"/>
            </a:p>
          </p:txBody>
        </p:sp>
      </p:gr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a:xfrm>
            <a:off x="670560" y="397510"/>
            <a:ext cx="10850880" cy="587375"/>
          </a:xfrm>
        </p:spPr>
        <p:txBody>
          <a:bodyPr/>
          <a:lstStyle>
            <a:lvl1pPr>
              <a:defRPr/>
            </a:lvl1pPr>
          </a:lstStyle>
          <a:p>
            <a:r>
              <a:rPr lang="en-US" altLang="zh-CN" dirty="0"/>
              <a:t>Click to edit Master title style</a:t>
            </a:r>
            <a:endParaRPr 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fld>
            <a:endParaRPr lang="zh-CN" altLang="en-US"/>
          </a:p>
        </p:txBody>
      </p:sp>
      <p:pic>
        <p:nvPicPr>
          <p:cNvPr id="6" name="图片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23780" y="497840"/>
            <a:ext cx="1597025" cy="387350"/>
          </a:xfrm>
          <a:prstGeom prst="rect">
            <a:avLst/>
          </a:prstGeom>
        </p:spPr>
      </p:pic>
      <p:sp>
        <p:nvSpPr>
          <p:cNvPr id="3" name="矩形 2"/>
          <p:cNvSpPr/>
          <p:nvPr userDrawn="1"/>
        </p:nvSpPr>
        <p:spPr>
          <a:xfrm>
            <a:off x="669925" y="988695"/>
            <a:ext cx="2129155" cy="76200"/>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sp>
        <p:nvSpPr>
          <p:cNvPr id="247" name="矩形 246"/>
          <p:cNvSpPr/>
          <p:nvPr userDrawn="1"/>
        </p:nvSpPr>
        <p:spPr>
          <a:xfrm>
            <a:off x="-60959" y="-15634"/>
            <a:ext cx="12283440" cy="352588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8" name="标题 1"/>
          <p:cNvSpPr>
            <a:spLocks noGrp="1"/>
          </p:cNvSpPr>
          <p:nvPr>
            <p:ph type="ctrTitle" hasCustomPrompt="1"/>
          </p:nvPr>
        </p:nvSpPr>
        <p:spPr>
          <a:xfrm>
            <a:off x="6956335" y="1085767"/>
            <a:ext cx="4263896" cy="1621509"/>
          </a:xfrm>
        </p:spPr>
        <p:txBody>
          <a:bodyPr anchor="b">
            <a:normAutofit/>
          </a:bodyPr>
          <a:lstStyle>
            <a:lvl1pPr marL="0" indent="0" algn="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249" name="文本占位符 62"/>
          <p:cNvSpPr>
            <a:spLocks noGrp="1"/>
          </p:cNvSpPr>
          <p:nvPr>
            <p:ph type="body" sz="quarter" idx="18" hasCustomPrompt="1"/>
          </p:nvPr>
        </p:nvSpPr>
        <p:spPr>
          <a:xfrm>
            <a:off x="7320151" y="4831141"/>
            <a:ext cx="3883011" cy="310871"/>
          </a:xfrm>
        </p:spPr>
        <p:txBody>
          <a:bodyPr vert="horz" lIns="91440" tIns="45720" rIns="91440" bIns="45720" rtlCol="0">
            <a:normAutofit/>
          </a:bodyPr>
          <a:lstStyle>
            <a:lvl1pPr marL="0" indent="0" algn="r">
              <a:buNone/>
              <a:defRPr lang="zh-CN" altLang="en-US" sz="1400" smtClean="0">
                <a:solidFill>
                  <a:schemeClr val="accent4"/>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endParaRPr lang="en-US" altLang="zh-CN" dirty="0"/>
          </a:p>
        </p:txBody>
      </p:sp>
      <p:sp>
        <p:nvSpPr>
          <p:cNvPr id="250" name="文本占位符 13"/>
          <p:cNvSpPr>
            <a:spLocks noGrp="1"/>
          </p:cNvSpPr>
          <p:nvPr>
            <p:ph type="body" sz="quarter" idx="10" hasCustomPrompt="1"/>
          </p:nvPr>
        </p:nvSpPr>
        <p:spPr>
          <a:xfrm>
            <a:off x="7320153" y="4534870"/>
            <a:ext cx="3883011" cy="296271"/>
          </a:xfrm>
        </p:spPr>
        <p:txBody>
          <a:bodyPr vert="horz" anchor="ctr">
            <a:noAutofit/>
          </a:bodyPr>
          <a:lstStyle>
            <a:lvl1pPr marL="0" indent="0" algn="r">
              <a:buNone/>
              <a:defRPr sz="1400" b="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grpSp>
        <p:nvGrpSpPr>
          <p:cNvPr id="251" name="组合 250"/>
          <p:cNvGrpSpPr/>
          <p:nvPr userDrawn="1"/>
        </p:nvGrpSpPr>
        <p:grpSpPr>
          <a:xfrm>
            <a:off x="567290" y="1676400"/>
            <a:ext cx="5283757" cy="4200930"/>
            <a:chOff x="6002031" y="1741260"/>
            <a:chExt cx="5404086" cy="4296599"/>
          </a:xfrm>
        </p:grpSpPr>
        <p:sp>
          <p:nvSpPr>
            <p:cNvPr id="252" name="Freeform 6"/>
            <p:cNvSpPr/>
            <p:nvPr/>
          </p:nvSpPr>
          <p:spPr bwMode="auto">
            <a:xfrm>
              <a:off x="7498197" y="3149607"/>
              <a:ext cx="1429490" cy="736699"/>
            </a:xfrm>
            <a:custGeom>
              <a:avLst/>
              <a:gdLst>
                <a:gd name="T0" fmla="*/ 439 w 879"/>
                <a:gd name="T1" fmla="*/ 0 h 453"/>
                <a:gd name="T2" fmla="*/ 433 w 879"/>
                <a:gd name="T3" fmla="*/ 0 h 453"/>
                <a:gd name="T4" fmla="*/ 0 w 879"/>
                <a:gd name="T5" fmla="*/ 0 h 453"/>
                <a:gd name="T6" fmla="*/ 152 w 879"/>
                <a:gd name="T7" fmla="*/ 453 h 453"/>
                <a:gd name="T8" fmla="*/ 433 w 879"/>
                <a:gd name="T9" fmla="*/ 453 h 453"/>
                <a:gd name="T10" fmla="*/ 439 w 879"/>
                <a:gd name="T11" fmla="*/ 453 h 453"/>
                <a:gd name="T12" fmla="*/ 719 w 879"/>
                <a:gd name="T13" fmla="*/ 453 h 453"/>
                <a:gd name="T14" fmla="*/ 879 w 879"/>
                <a:gd name="T15" fmla="*/ 0 h 453"/>
                <a:gd name="T16" fmla="*/ 439 w 879"/>
                <a:gd name="T17" fmla="*/ 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9" h="453">
                  <a:moveTo>
                    <a:pt x="439" y="0"/>
                  </a:moveTo>
                  <a:lnTo>
                    <a:pt x="433" y="0"/>
                  </a:lnTo>
                  <a:lnTo>
                    <a:pt x="0" y="0"/>
                  </a:lnTo>
                  <a:lnTo>
                    <a:pt x="152" y="453"/>
                  </a:lnTo>
                  <a:lnTo>
                    <a:pt x="433" y="453"/>
                  </a:lnTo>
                  <a:lnTo>
                    <a:pt x="439" y="453"/>
                  </a:lnTo>
                  <a:lnTo>
                    <a:pt x="719" y="453"/>
                  </a:lnTo>
                  <a:lnTo>
                    <a:pt x="879" y="0"/>
                  </a:lnTo>
                  <a:lnTo>
                    <a:pt x="43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3" name="Freeform 7"/>
            <p:cNvSpPr/>
            <p:nvPr/>
          </p:nvSpPr>
          <p:spPr bwMode="auto">
            <a:xfrm>
              <a:off x="6904608" y="3078052"/>
              <a:ext cx="905831" cy="2040966"/>
            </a:xfrm>
            <a:custGeom>
              <a:avLst/>
              <a:gdLst>
                <a:gd name="T0" fmla="*/ 255 w 268"/>
                <a:gd name="T1" fmla="*/ 504 h 604"/>
                <a:gd name="T2" fmla="*/ 245 w 268"/>
                <a:gd name="T3" fmla="*/ 404 h 604"/>
                <a:gd name="T4" fmla="*/ 207 w 268"/>
                <a:gd name="T5" fmla="*/ 351 h 604"/>
                <a:gd name="T6" fmla="*/ 229 w 268"/>
                <a:gd name="T7" fmla="*/ 296 h 604"/>
                <a:gd name="T8" fmla="*/ 217 w 268"/>
                <a:gd name="T9" fmla="*/ 197 h 604"/>
                <a:gd name="T10" fmla="*/ 173 w 268"/>
                <a:gd name="T11" fmla="*/ 142 h 604"/>
                <a:gd name="T12" fmla="*/ 168 w 268"/>
                <a:gd name="T13" fmla="*/ 78 h 604"/>
                <a:gd name="T14" fmla="*/ 118 w 268"/>
                <a:gd name="T15" fmla="*/ 0 h 604"/>
                <a:gd name="T16" fmla="*/ 59 w 268"/>
                <a:gd name="T17" fmla="*/ 65 h 604"/>
                <a:gd name="T18" fmla="*/ 55 w 268"/>
                <a:gd name="T19" fmla="*/ 96 h 604"/>
                <a:gd name="T20" fmla="*/ 57 w 268"/>
                <a:gd name="T21" fmla="*/ 132 h 604"/>
                <a:gd name="T22" fmla="*/ 47 w 268"/>
                <a:gd name="T23" fmla="*/ 170 h 604"/>
                <a:gd name="T24" fmla="*/ 29 w 268"/>
                <a:gd name="T25" fmla="*/ 199 h 604"/>
                <a:gd name="T26" fmla="*/ 23 w 268"/>
                <a:gd name="T27" fmla="*/ 320 h 604"/>
                <a:gd name="T28" fmla="*/ 27 w 268"/>
                <a:gd name="T29" fmla="*/ 394 h 604"/>
                <a:gd name="T30" fmla="*/ 6 w 268"/>
                <a:gd name="T31" fmla="*/ 457 h 604"/>
                <a:gd name="T32" fmla="*/ 58 w 268"/>
                <a:gd name="T33" fmla="*/ 565 h 604"/>
                <a:gd name="T34" fmla="*/ 61 w 268"/>
                <a:gd name="T35" fmla="*/ 565 h 604"/>
                <a:gd name="T36" fmla="*/ 255 w 268"/>
                <a:gd name="T37"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8" h="604">
                  <a:moveTo>
                    <a:pt x="255" y="504"/>
                  </a:moveTo>
                  <a:cubicBezTo>
                    <a:pt x="268" y="471"/>
                    <a:pt x="266" y="433"/>
                    <a:pt x="245" y="404"/>
                  </a:cubicBezTo>
                  <a:cubicBezTo>
                    <a:pt x="233" y="387"/>
                    <a:pt x="207" y="374"/>
                    <a:pt x="207" y="351"/>
                  </a:cubicBezTo>
                  <a:cubicBezTo>
                    <a:pt x="207" y="330"/>
                    <a:pt x="222" y="314"/>
                    <a:pt x="229" y="296"/>
                  </a:cubicBezTo>
                  <a:cubicBezTo>
                    <a:pt x="241" y="263"/>
                    <a:pt x="236" y="225"/>
                    <a:pt x="217" y="197"/>
                  </a:cubicBezTo>
                  <a:cubicBezTo>
                    <a:pt x="204" y="177"/>
                    <a:pt x="182" y="165"/>
                    <a:pt x="173" y="142"/>
                  </a:cubicBezTo>
                  <a:cubicBezTo>
                    <a:pt x="165" y="122"/>
                    <a:pt x="168" y="99"/>
                    <a:pt x="168" y="78"/>
                  </a:cubicBezTo>
                  <a:cubicBezTo>
                    <a:pt x="169" y="47"/>
                    <a:pt x="157" y="0"/>
                    <a:pt x="118" y="0"/>
                  </a:cubicBezTo>
                  <a:cubicBezTo>
                    <a:pt x="85" y="1"/>
                    <a:pt x="66" y="37"/>
                    <a:pt x="59" y="65"/>
                  </a:cubicBezTo>
                  <a:cubicBezTo>
                    <a:pt x="57" y="75"/>
                    <a:pt x="55" y="86"/>
                    <a:pt x="55" y="96"/>
                  </a:cubicBezTo>
                  <a:cubicBezTo>
                    <a:pt x="55" y="108"/>
                    <a:pt x="57" y="120"/>
                    <a:pt x="57" y="132"/>
                  </a:cubicBezTo>
                  <a:cubicBezTo>
                    <a:pt x="56" y="144"/>
                    <a:pt x="53" y="158"/>
                    <a:pt x="47" y="170"/>
                  </a:cubicBezTo>
                  <a:cubicBezTo>
                    <a:pt x="42" y="180"/>
                    <a:pt x="34" y="188"/>
                    <a:pt x="29" y="199"/>
                  </a:cubicBezTo>
                  <a:cubicBezTo>
                    <a:pt x="9" y="236"/>
                    <a:pt x="11" y="280"/>
                    <a:pt x="23" y="320"/>
                  </a:cubicBezTo>
                  <a:cubicBezTo>
                    <a:pt x="30" y="346"/>
                    <a:pt x="36" y="367"/>
                    <a:pt x="27" y="394"/>
                  </a:cubicBezTo>
                  <a:cubicBezTo>
                    <a:pt x="20" y="415"/>
                    <a:pt x="9" y="435"/>
                    <a:pt x="6" y="457"/>
                  </a:cubicBezTo>
                  <a:cubicBezTo>
                    <a:pt x="0" y="500"/>
                    <a:pt x="24" y="540"/>
                    <a:pt x="58" y="565"/>
                  </a:cubicBezTo>
                  <a:cubicBezTo>
                    <a:pt x="59" y="565"/>
                    <a:pt x="60" y="566"/>
                    <a:pt x="61" y="565"/>
                  </a:cubicBezTo>
                  <a:cubicBezTo>
                    <a:pt x="129" y="604"/>
                    <a:pt x="223" y="576"/>
                    <a:pt x="255" y="504"/>
                  </a:cubicBezTo>
                </a:path>
              </a:pathLst>
            </a:custGeom>
            <a:gradFill>
              <a:gsLst>
                <a:gs pos="0">
                  <a:srgbClr val="ECA612"/>
                </a:gs>
                <a:gs pos="100000">
                  <a:srgbClr val="E8A60A"/>
                </a:gs>
              </a:gsLst>
              <a:lin ang="5400000" scaled="0"/>
            </a:gradFill>
            <a:ln>
              <a:noFill/>
            </a:ln>
          </p:spPr>
          <p:txBody>
            <a:bodyPr vert="horz" wrap="square" lIns="91440" tIns="45720" rIns="91440" bIns="45720" numCol="1" anchor="t" anchorCtr="0" compatLnSpc="1"/>
            <a:lstStyle/>
            <a:p>
              <a:endParaRPr lang="zh-CN" altLang="en-US"/>
            </a:p>
          </p:txBody>
        </p:sp>
        <p:sp>
          <p:nvSpPr>
            <p:cNvPr id="254" name="Freeform 10"/>
            <p:cNvSpPr/>
            <p:nvPr/>
          </p:nvSpPr>
          <p:spPr bwMode="auto">
            <a:xfrm>
              <a:off x="7033083" y="3234173"/>
              <a:ext cx="526911" cy="881438"/>
            </a:xfrm>
            <a:custGeom>
              <a:avLst/>
              <a:gdLst>
                <a:gd name="T0" fmla="*/ 151 w 156"/>
                <a:gd name="T1" fmla="*/ 215 h 261"/>
                <a:gd name="T2" fmla="*/ 147 w 156"/>
                <a:gd name="T3" fmla="*/ 218 h 261"/>
                <a:gd name="T4" fmla="*/ 123 w 156"/>
                <a:gd name="T5" fmla="*/ 261 h 261"/>
                <a:gd name="T6" fmla="*/ 132 w 156"/>
                <a:gd name="T7" fmla="*/ 261 h 261"/>
                <a:gd name="T8" fmla="*/ 154 w 156"/>
                <a:gd name="T9" fmla="*/ 220 h 261"/>
                <a:gd name="T10" fmla="*/ 151 w 156"/>
                <a:gd name="T11" fmla="*/ 215 h 261"/>
                <a:gd name="T12" fmla="*/ 5 w 156"/>
                <a:gd name="T13" fmla="*/ 166 h 261"/>
                <a:gd name="T14" fmla="*/ 2 w 156"/>
                <a:gd name="T15" fmla="*/ 172 h 261"/>
                <a:gd name="T16" fmla="*/ 4 w 156"/>
                <a:gd name="T17" fmla="*/ 176 h 261"/>
                <a:gd name="T18" fmla="*/ 26 w 156"/>
                <a:gd name="T19" fmla="*/ 194 h 261"/>
                <a:gd name="T20" fmla="*/ 9 w 156"/>
                <a:gd name="T21" fmla="*/ 168 h 261"/>
                <a:gd name="T22" fmla="*/ 5 w 156"/>
                <a:gd name="T23" fmla="*/ 166 h 261"/>
                <a:gd name="T24" fmla="*/ 68 w 156"/>
                <a:gd name="T25" fmla="*/ 0 h 261"/>
                <a:gd name="T26" fmla="*/ 65 w 156"/>
                <a:gd name="T27" fmla="*/ 4 h 261"/>
                <a:gd name="T28" fmla="*/ 68 w 156"/>
                <a:gd name="T29" fmla="*/ 102 h 261"/>
                <a:gd name="T30" fmla="*/ 40 w 156"/>
                <a:gd name="T31" fmla="*/ 58 h 261"/>
                <a:gd name="T32" fmla="*/ 37 w 156"/>
                <a:gd name="T33" fmla="*/ 56 h 261"/>
                <a:gd name="T34" fmla="*/ 33 w 156"/>
                <a:gd name="T35" fmla="*/ 63 h 261"/>
                <a:gd name="T36" fmla="*/ 69 w 156"/>
                <a:gd name="T37" fmla="*/ 119 h 261"/>
                <a:gd name="T38" fmla="*/ 72 w 156"/>
                <a:gd name="T39" fmla="*/ 205 h 261"/>
                <a:gd name="T40" fmla="*/ 72 w 156"/>
                <a:gd name="T41" fmla="*/ 206 h 261"/>
                <a:gd name="T42" fmla="*/ 74 w 156"/>
                <a:gd name="T43" fmla="*/ 254 h 261"/>
                <a:gd name="T44" fmla="*/ 46 w 156"/>
                <a:gd name="T45" fmla="*/ 223 h 261"/>
                <a:gd name="T46" fmla="*/ 58 w 156"/>
                <a:gd name="T47" fmla="*/ 249 h 261"/>
                <a:gd name="T48" fmla="*/ 68 w 156"/>
                <a:gd name="T49" fmla="*/ 261 h 261"/>
                <a:gd name="T50" fmla="*/ 82 w 156"/>
                <a:gd name="T51" fmla="*/ 261 h 261"/>
                <a:gd name="T52" fmla="*/ 80 w 156"/>
                <a:gd name="T53" fmla="*/ 207 h 261"/>
                <a:gd name="T54" fmla="*/ 128 w 156"/>
                <a:gd name="T55" fmla="*/ 133 h 261"/>
                <a:gd name="T56" fmla="*/ 124 w 156"/>
                <a:gd name="T57" fmla="*/ 126 h 261"/>
                <a:gd name="T58" fmla="*/ 121 w 156"/>
                <a:gd name="T59" fmla="*/ 128 h 261"/>
                <a:gd name="T60" fmla="*/ 80 w 156"/>
                <a:gd name="T61" fmla="*/ 194 h 261"/>
                <a:gd name="T62" fmla="*/ 76 w 156"/>
                <a:gd name="T63" fmla="*/ 88 h 261"/>
                <a:gd name="T64" fmla="*/ 77 w 156"/>
                <a:gd name="T65" fmla="*/ 87 h 261"/>
                <a:gd name="T66" fmla="*/ 111 w 156"/>
                <a:gd name="T67" fmla="*/ 40 h 261"/>
                <a:gd name="T68" fmla="*/ 108 w 156"/>
                <a:gd name="T69" fmla="*/ 34 h 261"/>
                <a:gd name="T70" fmla="*/ 105 w 156"/>
                <a:gd name="T71" fmla="*/ 35 h 261"/>
                <a:gd name="T72" fmla="*/ 76 w 156"/>
                <a:gd name="T73" fmla="*/ 76 h 261"/>
                <a:gd name="T74" fmla="*/ 73 w 156"/>
                <a:gd name="T75" fmla="*/ 5 h 261"/>
                <a:gd name="T76" fmla="*/ 68 w 156"/>
                <a:gd name="T77"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6" h="261">
                  <a:moveTo>
                    <a:pt x="151" y="215"/>
                  </a:moveTo>
                  <a:cubicBezTo>
                    <a:pt x="149" y="215"/>
                    <a:pt x="148" y="216"/>
                    <a:pt x="147" y="218"/>
                  </a:cubicBezTo>
                  <a:cubicBezTo>
                    <a:pt x="139" y="232"/>
                    <a:pt x="131" y="247"/>
                    <a:pt x="123" y="261"/>
                  </a:cubicBezTo>
                  <a:cubicBezTo>
                    <a:pt x="132" y="261"/>
                    <a:pt x="132" y="261"/>
                    <a:pt x="132" y="261"/>
                  </a:cubicBezTo>
                  <a:cubicBezTo>
                    <a:pt x="140" y="248"/>
                    <a:pt x="148" y="234"/>
                    <a:pt x="154" y="220"/>
                  </a:cubicBezTo>
                  <a:cubicBezTo>
                    <a:pt x="156" y="217"/>
                    <a:pt x="153" y="215"/>
                    <a:pt x="151" y="215"/>
                  </a:cubicBezTo>
                  <a:moveTo>
                    <a:pt x="5" y="166"/>
                  </a:moveTo>
                  <a:cubicBezTo>
                    <a:pt x="3" y="166"/>
                    <a:pt x="0" y="169"/>
                    <a:pt x="2" y="172"/>
                  </a:cubicBezTo>
                  <a:cubicBezTo>
                    <a:pt x="2" y="173"/>
                    <a:pt x="3" y="175"/>
                    <a:pt x="4" y="176"/>
                  </a:cubicBezTo>
                  <a:cubicBezTo>
                    <a:pt x="12" y="181"/>
                    <a:pt x="19" y="188"/>
                    <a:pt x="26" y="194"/>
                  </a:cubicBezTo>
                  <a:cubicBezTo>
                    <a:pt x="20" y="186"/>
                    <a:pt x="14" y="177"/>
                    <a:pt x="9" y="168"/>
                  </a:cubicBezTo>
                  <a:cubicBezTo>
                    <a:pt x="8" y="167"/>
                    <a:pt x="7" y="166"/>
                    <a:pt x="5" y="166"/>
                  </a:cubicBezTo>
                  <a:moveTo>
                    <a:pt x="68" y="0"/>
                  </a:moveTo>
                  <a:cubicBezTo>
                    <a:pt x="66" y="0"/>
                    <a:pt x="65" y="1"/>
                    <a:pt x="65" y="4"/>
                  </a:cubicBezTo>
                  <a:cubicBezTo>
                    <a:pt x="66" y="37"/>
                    <a:pt x="67" y="69"/>
                    <a:pt x="68" y="102"/>
                  </a:cubicBezTo>
                  <a:cubicBezTo>
                    <a:pt x="59" y="87"/>
                    <a:pt x="50" y="72"/>
                    <a:pt x="40" y="58"/>
                  </a:cubicBezTo>
                  <a:cubicBezTo>
                    <a:pt x="39" y="57"/>
                    <a:pt x="38" y="56"/>
                    <a:pt x="37" y="56"/>
                  </a:cubicBezTo>
                  <a:cubicBezTo>
                    <a:pt x="34" y="56"/>
                    <a:pt x="31" y="60"/>
                    <a:pt x="33" y="63"/>
                  </a:cubicBezTo>
                  <a:cubicBezTo>
                    <a:pt x="46" y="81"/>
                    <a:pt x="58" y="100"/>
                    <a:pt x="69" y="119"/>
                  </a:cubicBezTo>
                  <a:cubicBezTo>
                    <a:pt x="70" y="148"/>
                    <a:pt x="71" y="176"/>
                    <a:pt x="72" y="205"/>
                  </a:cubicBezTo>
                  <a:cubicBezTo>
                    <a:pt x="72" y="206"/>
                    <a:pt x="72" y="206"/>
                    <a:pt x="72" y="206"/>
                  </a:cubicBezTo>
                  <a:cubicBezTo>
                    <a:pt x="73" y="222"/>
                    <a:pt x="73" y="238"/>
                    <a:pt x="74" y="254"/>
                  </a:cubicBezTo>
                  <a:cubicBezTo>
                    <a:pt x="64" y="244"/>
                    <a:pt x="55" y="234"/>
                    <a:pt x="46" y="223"/>
                  </a:cubicBezTo>
                  <a:cubicBezTo>
                    <a:pt x="51" y="231"/>
                    <a:pt x="55" y="240"/>
                    <a:pt x="58" y="249"/>
                  </a:cubicBezTo>
                  <a:cubicBezTo>
                    <a:pt x="61" y="253"/>
                    <a:pt x="65" y="257"/>
                    <a:pt x="68" y="261"/>
                  </a:cubicBezTo>
                  <a:cubicBezTo>
                    <a:pt x="82" y="261"/>
                    <a:pt x="82" y="261"/>
                    <a:pt x="82" y="261"/>
                  </a:cubicBezTo>
                  <a:cubicBezTo>
                    <a:pt x="82" y="243"/>
                    <a:pt x="81" y="225"/>
                    <a:pt x="80" y="207"/>
                  </a:cubicBezTo>
                  <a:cubicBezTo>
                    <a:pt x="98" y="184"/>
                    <a:pt x="114" y="159"/>
                    <a:pt x="128" y="133"/>
                  </a:cubicBezTo>
                  <a:cubicBezTo>
                    <a:pt x="130" y="130"/>
                    <a:pt x="127" y="126"/>
                    <a:pt x="124" y="126"/>
                  </a:cubicBezTo>
                  <a:cubicBezTo>
                    <a:pt x="123" y="126"/>
                    <a:pt x="122" y="127"/>
                    <a:pt x="121" y="128"/>
                  </a:cubicBezTo>
                  <a:cubicBezTo>
                    <a:pt x="109" y="151"/>
                    <a:pt x="95" y="173"/>
                    <a:pt x="80" y="194"/>
                  </a:cubicBezTo>
                  <a:cubicBezTo>
                    <a:pt x="79" y="159"/>
                    <a:pt x="77" y="123"/>
                    <a:pt x="76" y="88"/>
                  </a:cubicBezTo>
                  <a:cubicBezTo>
                    <a:pt x="76" y="88"/>
                    <a:pt x="77" y="87"/>
                    <a:pt x="77" y="87"/>
                  </a:cubicBezTo>
                  <a:cubicBezTo>
                    <a:pt x="89" y="72"/>
                    <a:pt x="101" y="56"/>
                    <a:pt x="111" y="40"/>
                  </a:cubicBezTo>
                  <a:cubicBezTo>
                    <a:pt x="113" y="37"/>
                    <a:pt x="111" y="34"/>
                    <a:pt x="108" y="34"/>
                  </a:cubicBezTo>
                  <a:cubicBezTo>
                    <a:pt x="107" y="34"/>
                    <a:pt x="105" y="34"/>
                    <a:pt x="105" y="35"/>
                  </a:cubicBezTo>
                  <a:cubicBezTo>
                    <a:pt x="95" y="49"/>
                    <a:pt x="86" y="63"/>
                    <a:pt x="76" y="76"/>
                  </a:cubicBezTo>
                  <a:cubicBezTo>
                    <a:pt x="75" y="52"/>
                    <a:pt x="74" y="28"/>
                    <a:pt x="73" y="5"/>
                  </a:cubicBezTo>
                  <a:cubicBezTo>
                    <a:pt x="73" y="2"/>
                    <a:pt x="71" y="0"/>
                    <a:pt x="68" y="0"/>
                  </a:cubicBezTo>
                </a:path>
              </a:pathLst>
            </a:custGeom>
            <a:solidFill>
              <a:srgbClr val="D0770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5" name="Freeform 11"/>
            <p:cNvSpPr/>
            <p:nvPr/>
          </p:nvSpPr>
          <p:spPr bwMode="auto">
            <a:xfrm>
              <a:off x="6177667" y="3152860"/>
              <a:ext cx="1517308" cy="2345077"/>
            </a:xfrm>
            <a:custGeom>
              <a:avLst/>
              <a:gdLst>
                <a:gd name="T0" fmla="*/ 324 w 449"/>
                <a:gd name="T1" fmla="*/ 694 h 694"/>
                <a:gd name="T2" fmla="*/ 175 w 449"/>
                <a:gd name="T3" fmla="*/ 662 h 694"/>
                <a:gd name="T4" fmla="*/ 139 w 449"/>
                <a:gd name="T5" fmla="*/ 603 h 694"/>
                <a:gd name="T6" fmla="*/ 132 w 449"/>
                <a:gd name="T7" fmla="*/ 520 h 694"/>
                <a:gd name="T8" fmla="*/ 90 w 449"/>
                <a:gd name="T9" fmla="*/ 436 h 694"/>
                <a:gd name="T10" fmla="*/ 38 w 449"/>
                <a:gd name="T11" fmla="*/ 293 h 694"/>
                <a:gd name="T12" fmla="*/ 44 w 449"/>
                <a:gd name="T13" fmla="*/ 251 h 694"/>
                <a:gd name="T14" fmla="*/ 36 w 449"/>
                <a:gd name="T15" fmla="*/ 202 h 694"/>
                <a:gd name="T16" fmla="*/ 17 w 449"/>
                <a:gd name="T17" fmla="*/ 162 h 694"/>
                <a:gd name="T18" fmla="*/ 6 w 449"/>
                <a:gd name="T19" fmla="*/ 124 h 694"/>
                <a:gd name="T20" fmla="*/ 42 w 449"/>
                <a:gd name="T21" fmla="*/ 20 h 694"/>
                <a:gd name="T22" fmla="*/ 138 w 449"/>
                <a:gd name="T23" fmla="*/ 85 h 694"/>
                <a:gd name="T24" fmla="*/ 176 w 449"/>
                <a:gd name="T25" fmla="*/ 157 h 694"/>
                <a:gd name="T26" fmla="*/ 254 w 449"/>
                <a:gd name="T27" fmla="*/ 198 h 694"/>
                <a:gd name="T28" fmla="*/ 317 w 449"/>
                <a:gd name="T29" fmla="*/ 306 h 694"/>
                <a:gd name="T30" fmla="*/ 318 w 449"/>
                <a:gd name="T31" fmla="*/ 381 h 694"/>
                <a:gd name="T32" fmla="*/ 389 w 449"/>
                <a:gd name="T33" fmla="*/ 424 h 694"/>
                <a:gd name="T34" fmla="*/ 449 w 449"/>
                <a:gd name="T35" fmla="*/ 534 h 694"/>
                <a:gd name="T36" fmla="*/ 324 w 449"/>
                <a:gd name="T37" fmla="*/ 694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9" h="694">
                  <a:moveTo>
                    <a:pt x="324" y="694"/>
                  </a:moveTo>
                  <a:cubicBezTo>
                    <a:pt x="175" y="662"/>
                    <a:pt x="175" y="662"/>
                    <a:pt x="175" y="662"/>
                  </a:cubicBezTo>
                  <a:cubicBezTo>
                    <a:pt x="158" y="646"/>
                    <a:pt x="145" y="627"/>
                    <a:pt x="139" y="603"/>
                  </a:cubicBezTo>
                  <a:cubicBezTo>
                    <a:pt x="131" y="576"/>
                    <a:pt x="134" y="548"/>
                    <a:pt x="132" y="520"/>
                  </a:cubicBezTo>
                  <a:cubicBezTo>
                    <a:pt x="129" y="485"/>
                    <a:pt x="112" y="463"/>
                    <a:pt x="90" y="436"/>
                  </a:cubicBezTo>
                  <a:cubicBezTo>
                    <a:pt x="57" y="397"/>
                    <a:pt x="33" y="346"/>
                    <a:pt x="38" y="293"/>
                  </a:cubicBezTo>
                  <a:cubicBezTo>
                    <a:pt x="39" y="279"/>
                    <a:pt x="43" y="265"/>
                    <a:pt x="44" y="251"/>
                  </a:cubicBezTo>
                  <a:cubicBezTo>
                    <a:pt x="46" y="235"/>
                    <a:pt x="41" y="217"/>
                    <a:pt x="36" y="202"/>
                  </a:cubicBezTo>
                  <a:cubicBezTo>
                    <a:pt x="31" y="188"/>
                    <a:pt x="23" y="175"/>
                    <a:pt x="17" y="162"/>
                  </a:cubicBezTo>
                  <a:cubicBezTo>
                    <a:pt x="12" y="150"/>
                    <a:pt x="8" y="137"/>
                    <a:pt x="6" y="124"/>
                  </a:cubicBezTo>
                  <a:cubicBezTo>
                    <a:pt x="0" y="89"/>
                    <a:pt x="4" y="37"/>
                    <a:pt x="42" y="20"/>
                  </a:cubicBezTo>
                  <a:cubicBezTo>
                    <a:pt x="87" y="0"/>
                    <a:pt x="124" y="49"/>
                    <a:pt x="138" y="85"/>
                  </a:cubicBezTo>
                  <a:cubicBezTo>
                    <a:pt x="149" y="110"/>
                    <a:pt x="156" y="138"/>
                    <a:pt x="176" y="157"/>
                  </a:cubicBezTo>
                  <a:cubicBezTo>
                    <a:pt x="198" y="178"/>
                    <a:pt x="229" y="182"/>
                    <a:pt x="254" y="198"/>
                  </a:cubicBezTo>
                  <a:cubicBezTo>
                    <a:pt x="290" y="222"/>
                    <a:pt x="315" y="263"/>
                    <a:pt x="317" y="306"/>
                  </a:cubicBezTo>
                  <a:cubicBezTo>
                    <a:pt x="318" y="331"/>
                    <a:pt x="308" y="358"/>
                    <a:pt x="318" y="381"/>
                  </a:cubicBezTo>
                  <a:cubicBezTo>
                    <a:pt x="330" y="408"/>
                    <a:pt x="366" y="410"/>
                    <a:pt x="389" y="424"/>
                  </a:cubicBezTo>
                  <a:cubicBezTo>
                    <a:pt x="427" y="447"/>
                    <a:pt x="448" y="490"/>
                    <a:pt x="449" y="534"/>
                  </a:cubicBezTo>
                  <a:cubicBezTo>
                    <a:pt x="448" y="610"/>
                    <a:pt x="393" y="673"/>
                    <a:pt x="324" y="694"/>
                  </a:cubicBezTo>
                </a:path>
              </a:pathLst>
            </a:custGeom>
            <a:gradFill>
              <a:gsLst>
                <a:gs pos="0">
                  <a:srgbClr val="FCD840"/>
                </a:gs>
                <a:gs pos="100000">
                  <a:srgbClr val="E8A60A"/>
                </a:gs>
              </a:gsLst>
              <a:lin ang="5400000" scaled="0"/>
            </a:gradFill>
            <a:ln>
              <a:noFill/>
            </a:ln>
          </p:spPr>
          <p:txBody>
            <a:bodyPr vert="horz" wrap="square" lIns="91440" tIns="45720" rIns="91440" bIns="45720" numCol="1" anchor="t" anchorCtr="0" compatLnSpc="1"/>
            <a:lstStyle/>
            <a:p>
              <a:endParaRPr lang="zh-CN" altLang="en-US"/>
            </a:p>
          </p:txBody>
        </p:sp>
        <p:sp>
          <p:nvSpPr>
            <p:cNvPr id="256" name="Freeform 12"/>
            <p:cNvSpPr/>
            <p:nvPr/>
          </p:nvSpPr>
          <p:spPr bwMode="auto">
            <a:xfrm>
              <a:off x="6302890" y="3416315"/>
              <a:ext cx="743205" cy="1543328"/>
            </a:xfrm>
            <a:custGeom>
              <a:avLst/>
              <a:gdLst>
                <a:gd name="T0" fmla="*/ 17 w 220"/>
                <a:gd name="T1" fmla="*/ 0 h 457"/>
                <a:gd name="T2" fmla="*/ 12 w 220"/>
                <a:gd name="T3" fmla="*/ 7 h 457"/>
                <a:gd name="T4" fmla="*/ 65 w 220"/>
                <a:gd name="T5" fmla="*/ 118 h 457"/>
                <a:gd name="T6" fmla="*/ 10 w 220"/>
                <a:gd name="T7" fmla="*/ 82 h 457"/>
                <a:gd name="T8" fmla="*/ 7 w 220"/>
                <a:gd name="T9" fmla="*/ 81 h 457"/>
                <a:gd name="T10" fmla="*/ 5 w 220"/>
                <a:gd name="T11" fmla="*/ 91 h 457"/>
                <a:gd name="T12" fmla="*/ 74 w 220"/>
                <a:gd name="T13" fmla="*/ 138 h 457"/>
                <a:gd name="T14" fmla="*/ 120 w 220"/>
                <a:gd name="T15" fmla="*/ 236 h 457"/>
                <a:gd name="T16" fmla="*/ 121 w 220"/>
                <a:gd name="T17" fmla="*/ 237 h 457"/>
                <a:gd name="T18" fmla="*/ 147 w 220"/>
                <a:gd name="T19" fmla="*/ 292 h 457"/>
                <a:gd name="T20" fmla="*/ 29 w 220"/>
                <a:gd name="T21" fmla="*/ 224 h 457"/>
                <a:gd name="T22" fmla="*/ 26 w 220"/>
                <a:gd name="T23" fmla="*/ 223 h 457"/>
                <a:gd name="T24" fmla="*/ 22 w 220"/>
                <a:gd name="T25" fmla="*/ 232 h 457"/>
                <a:gd name="T26" fmla="*/ 153 w 220"/>
                <a:gd name="T27" fmla="*/ 306 h 457"/>
                <a:gd name="T28" fmla="*/ 220 w 220"/>
                <a:gd name="T29" fmla="*/ 446 h 457"/>
                <a:gd name="T30" fmla="*/ 120 w 220"/>
                <a:gd name="T31" fmla="*/ 405 h 457"/>
                <a:gd name="T32" fmla="*/ 118 w 220"/>
                <a:gd name="T33" fmla="*/ 405 h 457"/>
                <a:gd name="T34" fmla="*/ 115 w 220"/>
                <a:gd name="T35" fmla="*/ 414 h 457"/>
                <a:gd name="T36" fmla="*/ 220 w 220"/>
                <a:gd name="T37" fmla="*/ 457 h 457"/>
                <a:gd name="T38" fmla="*/ 220 w 220"/>
                <a:gd name="T39" fmla="*/ 423 h 457"/>
                <a:gd name="T40" fmla="*/ 194 w 220"/>
                <a:gd name="T41" fmla="*/ 369 h 457"/>
                <a:gd name="T42" fmla="*/ 195 w 220"/>
                <a:gd name="T43" fmla="*/ 367 h 457"/>
                <a:gd name="T44" fmla="*/ 220 w 220"/>
                <a:gd name="T45" fmla="*/ 243 h 457"/>
                <a:gd name="T46" fmla="*/ 220 w 220"/>
                <a:gd name="T47" fmla="*/ 208 h 457"/>
                <a:gd name="T48" fmla="*/ 218 w 220"/>
                <a:gd name="T49" fmla="*/ 208 h 457"/>
                <a:gd name="T50" fmla="*/ 213 w 220"/>
                <a:gd name="T51" fmla="*/ 213 h 457"/>
                <a:gd name="T52" fmla="*/ 188 w 220"/>
                <a:gd name="T53" fmla="*/ 355 h 457"/>
                <a:gd name="T54" fmla="*/ 131 w 220"/>
                <a:gd name="T55" fmla="*/ 234 h 457"/>
                <a:gd name="T56" fmla="*/ 149 w 220"/>
                <a:gd name="T57" fmla="*/ 125 h 457"/>
                <a:gd name="T58" fmla="*/ 143 w 220"/>
                <a:gd name="T59" fmla="*/ 118 h 457"/>
                <a:gd name="T60" fmla="*/ 139 w 220"/>
                <a:gd name="T61" fmla="*/ 122 h 457"/>
                <a:gd name="T62" fmla="*/ 124 w 220"/>
                <a:gd name="T63" fmla="*/ 219 h 457"/>
                <a:gd name="T64" fmla="*/ 67 w 220"/>
                <a:gd name="T65" fmla="*/ 98 h 457"/>
                <a:gd name="T66" fmla="*/ 68 w 220"/>
                <a:gd name="T67" fmla="*/ 96 h 457"/>
                <a:gd name="T68" fmla="*/ 84 w 220"/>
                <a:gd name="T69" fmla="*/ 26 h 457"/>
                <a:gd name="T70" fmla="*/ 78 w 220"/>
                <a:gd name="T71" fmla="*/ 20 h 457"/>
                <a:gd name="T72" fmla="*/ 74 w 220"/>
                <a:gd name="T73" fmla="*/ 24 h 457"/>
                <a:gd name="T74" fmla="*/ 60 w 220"/>
                <a:gd name="T75" fmla="*/ 84 h 457"/>
                <a:gd name="T76" fmla="*/ 22 w 220"/>
                <a:gd name="T77" fmla="*/ 3 h 457"/>
                <a:gd name="T78" fmla="*/ 17 w 220"/>
                <a:gd name="T79" fmla="*/ 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0" h="457">
                  <a:moveTo>
                    <a:pt x="17" y="0"/>
                  </a:moveTo>
                  <a:cubicBezTo>
                    <a:pt x="14" y="0"/>
                    <a:pt x="10" y="3"/>
                    <a:pt x="12" y="7"/>
                  </a:cubicBezTo>
                  <a:cubicBezTo>
                    <a:pt x="30" y="44"/>
                    <a:pt x="47" y="81"/>
                    <a:pt x="65" y="118"/>
                  </a:cubicBezTo>
                  <a:cubicBezTo>
                    <a:pt x="47" y="106"/>
                    <a:pt x="29" y="93"/>
                    <a:pt x="10" y="82"/>
                  </a:cubicBezTo>
                  <a:cubicBezTo>
                    <a:pt x="9" y="81"/>
                    <a:pt x="8" y="81"/>
                    <a:pt x="7" y="81"/>
                  </a:cubicBezTo>
                  <a:cubicBezTo>
                    <a:pt x="3" y="81"/>
                    <a:pt x="0" y="88"/>
                    <a:pt x="5" y="91"/>
                  </a:cubicBezTo>
                  <a:cubicBezTo>
                    <a:pt x="29" y="106"/>
                    <a:pt x="52" y="121"/>
                    <a:pt x="74" y="138"/>
                  </a:cubicBezTo>
                  <a:cubicBezTo>
                    <a:pt x="89" y="170"/>
                    <a:pt x="105" y="203"/>
                    <a:pt x="120" y="236"/>
                  </a:cubicBezTo>
                  <a:cubicBezTo>
                    <a:pt x="120" y="236"/>
                    <a:pt x="120" y="237"/>
                    <a:pt x="121" y="237"/>
                  </a:cubicBezTo>
                  <a:cubicBezTo>
                    <a:pt x="129" y="255"/>
                    <a:pt x="138" y="274"/>
                    <a:pt x="147" y="292"/>
                  </a:cubicBezTo>
                  <a:cubicBezTo>
                    <a:pt x="105" y="274"/>
                    <a:pt x="66" y="251"/>
                    <a:pt x="29" y="224"/>
                  </a:cubicBezTo>
                  <a:cubicBezTo>
                    <a:pt x="28" y="223"/>
                    <a:pt x="27" y="223"/>
                    <a:pt x="26" y="223"/>
                  </a:cubicBezTo>
                  <a:cubicBezTo>
                    <a:pt x="21" y="223"/>
                    <a:pt x="18" y="229"/>
                    <a:pt x="22" y="232"/>
                  </a:cubicBezTo>
                  <a:cubicBezTo>
                    <a:pt x="63" y="262"/>
                    <a:pt x="107" y="287"/>
                    <a:pt x="153" y="306"/>
                  </a:cubicBezTo>
                  <a:cubicBezTo>
                    <a:pt x="175" y="353"/>
                    <a:pt x="198" y="399"/>
                    <a:pt x="220" y="446"/>
                  </a:cubicBezTo>
                  <a:cubicBezTo>
                    <a:pt x="187" y="432"/>
                    <a:pt x="153" y="419"/>
                    <a:pt x="120" y="405"/>
                  </a:cubicBezTo>
                  <a:cubicBezTo>
                    <a:pt x="119" y="405"/>
                    <a:pt x="118" y="405"/>
                    <a:pt x="118" y="405"/>
                  </a:cubicBezTo>
                  <a:cubicBezTo>
                    <a:pt x="113" y="405"/>
                    <a:pt x="110" y="412"/>
                    <a:pt x="115" y="414"/>
                  </a:cubicBezTo>
                  <a:cubicBezTo>
                    <a:pt x="150" y="429"/>
                    <a:pt x="185" y="443"/>
                    <a:pt x="220" y="457"/>
                  </a:cubicBezTo>
                  <a:cubicBezTo>
                    <a:pt x="220" y="423"/>
                    <a:pt x="220" y="423"/>
                    <a:pt x="220" y="423"/>
                  </a:cubicBezTo>
                  <a:cubicBezTo>
                    <a:pt x="212" y="405"/>
                    <a:pt x="203" y="387"/>
                    <a:pt x="194" y="369"/>
                  </a:cubicBezTo>
                  <a:cubicBezTo>
                    <a:pt x="195" y="368"/>
                    <a:pt x="195" y="368"/>
                    <a:pt x="195" y="367"/>
                  </a:cubicBezTo>
                  <a:cubicBezTo>
                    <a:pt x="208" y="327"/>
                    <a:pt x="216" y="285"/>
                    <a:pt x="220" y="243"/>
                  </a:cubicBezTo>
                  <a:cubicBezTo>
                    <a:pt x="220" y="208"/>
                    <a:pt x="220" y="208"/>
                    <a:pt x="220" y="208"/>
                  </a:cubicBezTo>
                  <a:cubicBezTo>
                    <a:pt x="220" y="208"/>
                    <a:pt x="219" y="208"/>
                    <a:pt x="218" y="208"/>
                  </a:cubicBezTo>
                  <a:cubicBezTo>
                    <a:pt x="216" y="208"/>
                    <a:pt x="213" y="210"/>
                    <a:pt x="213" y="213"/>
                  </a:cubicBezTo>
                  <a:cubicBezTo>
                    <a:pt x="210" y="261"/>
                    <a:pt x="202" y="309"/>
                    <a:pt x="188" y="355"/>
                  </a:cubicBezTo>
                  <a:cubicBezTo>
                    <a:pt x="169" y="315"/>
                    <a:pt x="150" y="274"/>
                    <a:pt x="131" y="234"/>
                  </a:cubicBezTo>
                  <a:cubicBezTo>
                    <a:pt x="140" y="198"/>
                    <a:pt x="146" y="162"/>
                    <a:pt x="149" y="125"/>
                  </a:cubicBezTo>
                  <a:cubicBezTo>
                    <a:pt x="149" y="121"/>
                    <a:pt x="146" y="118"/>
                    <a:pt x="143" y="118"/>
                  </a:cubicBezTo>
                  <a:cubicBezTo>
                    <a:pt x="141" y="118"/>
                    <a:pt x="139" y="120"/>
                    <a:pt x="139" y="122"/>
                  </a:cubicBezTo>
                  <a:cubicBezTo>
                    <a:pt x="136" y="155"/>
                    <a:pt x="131" y="187"/>
                    <a:pt x="124" y="219"/>
                  </a:cubicBezTo>
                  <a:cubicBezTo>
                    <a:pt x="105" y="179"/>
                    <a:pt x="86" y="139"/>
                    <a:pt x="67" y="98"/>
                  </a:cubicBezTo>
                  <a:cubicBezTo>
                    <a:pt x="67" y="98"/>
                    <a:pt x="67" y="97"/>
                    <a:pt x="68" y="96"/>
                  </a:cubicBezTo>
                  <a:cubicBezTo>
                    <a:pt x="74" y="73"/>
                    <a:pt x="80" y="50"/>
                    <a:pt x="84" y="26"/>
                  </a:cubicBezTo>
                  <a:cubicBezTo>
                    <a:pt x="85" y="22"/>
                    <a:pt x="81" y="20"/>
                    <a:pt x="78" y="20"/>
                  </a:cubicBezTo>
                  <a:cubicBezTo>
                    <a:pt x="76" y="20"/>
                    <a:pt x="74" y="21"/>
                    <a:pt x="74" y="24"/>
                  </a:cubicBezTo>
                  <a:cubicBezTo>
                    <a:pt x="70" y="44"/>
                    <a:pt x="65" y="64"/>
                    <a:pt x="60" y="84"/>
                  </a:cubicBezTo>
                  <a:cubicBezTo>
                    <a:pt x="47" y="57"/>
                    <a:pt x="35" y="30"/>
                    <a:pt x="22" y="3"/>
                  </a:cubicBezTo>
                  <a:cubicBezTo>
                    <a:pt x="21" y="1"/>
                    <a:pt x="19" y="0"/>
                    <a:pt x="17" y="0"/>
                  </a:cubicBezTo>
                </a:path>
              </a:pathLst>
            </a:custGeom>
            <a:solidFill>
              <a:srgbClr val="E0980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7" name="Freeform 13"/>
            <p:cNvSpPr/>
            <p:nvPr/>
          </p:nvSpPr>
          <p:spPr bwMode="auto">
            <a:xfrm>
              <a:off x="7322559" y="2334848"/>
              <a:ext cx="234183" cy="247192"/>
            </a:xfrm>
            <a:custGeom>
              <a:avLst/>
              <a:gdLst>
                <a:gd name="T0" fmla="*/ 0 w 69"/>
                <a:gd name="T1" fmla="*/ 0 h 73"/>
                <a:gd name="T2" fmla="*/ 38 w 69"/>
                <a:gd name="T3" fmla="*/ 29 h 73"/>
                <a:gd name="T4" fmla="*/ 65 w 69"/>
                <a:gd name="T5" fmla="*/ 69 h 73"/>
                <a:gd name="T6" fmla="*/ 9 w 69"/>
                <a:gd name="T7" fmla="*/ 40 h 73"/>
                <a:gd name="T8" fmla="*/ 0 w 69"/>
                <a:gd name="T9" fmla="*/ 0 h 73"/>
              </a:gdLst>
              <a:ahLst/>
              <a:cxnLst>
                <a:cxn ang="0">
                  <a:pos x="T0" y="T1"/>
                </a:cxn>
                <a:cxn ang="0">
                  <a:pos x="T2" y="T3"/>
                </a:cxn>
                <a:cxn ang="0">
                  <a:pos x="T4" y="T5"/>
                </a:cxn>
                <a:cxn ang="0">
                  <a:pos x="T6" y="T7"/>
                </a:cxn>
                <a:cxn ang="0">
                  <a:pos x="T8" y="T9"/>
                </a:cxn>
              </a:cxnLst>
              <a:rect l="0" t="0" r="r" b="b"/>
              <a:pathLst>
                <a:path w="69" h="73">
                  <a:moveTo>
                    <a:pt x="0" y="0"/>
                  </a:moveTo>
                  <a:cubicBezTo>
                    <a:pt x="38" y="29"/>
                    <a:pt x="38" y="29"/>
                    <a:pt x="38" y="29"/>
                  </a:cubicBezTo>
                  <a:cubicBezTo>
                    <a:pt x="38" y="29"/>
                    <a:pt x="69" y="64"/>
                    <a:pt x="65" y="69"/>
                  </a:cubicBezTo>
                  <a:cubicBezTo>
                    <a:pt x="61" y="73"/>
                    <a:pt x="9" y="40"/>
                    <a:pt x="9" y="40"/>
                  </a:cubicBezTo>
                  <a:cubicBezTo>
                    <a:pt x="0" y="0"/>
                    <a:pt x="0" y="0"/>
                    <a:pt x="0" y="0"/>
                  </a:cubicBezTo>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8" name="Freeform 14"/>
            <p:cNvSpPr/>
            <p:nvPr/>
          </p:nvSpPr>
          <p:spPr bwMode="auto">
            <a:xfrm>
              <a:off x="7322559" y="2334848"/>
              <a:ext cx="219547" cy="234183"/>
            </a:xfrm>
            <a:custGeom>
              <a:avLst/>
              <a:gdLst>
                <a:gd name="T0" fmla="*/ 38 w 65"/>
                <a:gd name="T1" fmla="*/ 29 h 69"/>
                <a:gd name="T2" fmla="*/ 31 w 65"/>
                <a:gd name="T3" fmla="*/ 42 h 69"/>
                <a:gd name="T4" fmla="*/ 65 w 65"/>
                <a:gd name="T5" fmla="*/ 69 h 69"/>
                <a:gd name="T6" fmla="*/ 65 w 65"/>
                <a:gd name="T7" fmla="*/ 69 h 69"/>
                <a:gd name="T8" fmla="*/ 65 w 65"/>
                <a:gd name="T9" fmla="*/ 68 h 69"/>
                <a:gd name="T10" fmla="*/ 38 w 65"/>
                <a:gd name="T11" fmla="*/ 29 h 69"/>
                <a:gd name="T12" fmla="*/ 38 w 65"/>
                <a:gd name="T13" fmla="*/ 29 h 69"/>
                <a:gd name="T14" fmla="*/ 0 w 65"/>
                <a:gd name="T15" fmla="*/ 0 h 69"/>
                <a:gd name="T16" fmla="*/ 5 w 65"/>
                <a:gd name="T17" fmla="*/ 9 h 69"/>
                <a:gd name="T18" fmla="*/ 5 w 65"/>
                <a:gd name="T19" fmla="*/ 9 h 69"/>
                <a:gd name="T20" fmla="*/ 5 w 65"/>
                <a:gd name="T21" fmla="*/ 8 h 69"/>
                <a:gd name="T22" fmla="*/ 5 w 65"/>
                <a:gd name="T23" fmla="*/ 8 h 69"/>
                <a:gd name="T24" fmla="*/ 7 w 65"/>
                <a:gd name="T25" fmla="*/ 6 h 69"/>
                <a:gd name="T26" fmla="*/ 0 w 65"/>
                <a:gd name="T2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9">
                  <a:moveTo>
                    <a:pt x="38" y="29"/>
                  </a:moveTo>
                  <a:cubicBezTo>
                    <a:pt x="31" y="42"/>
                    <a:pt x="31" y="42"/>
                    <a:pt x="31" y="42"/>
                  </a:cubicBezTo>
                  <a:cubicBezTo>
                    <a:pt x="65" y="69"/>
                    <a:pt x="65" y="69"/>
                    <a:pt x="65" y="69"/>
                  </a:cubicBezTo>
                  <a:cubicBezTo>
                    <a:pt x="65" y="69"/>
                    <a:pt x="65" y="69"/>
                    <a:pt x="65" y="69"/>
                  </a:cubicBezTo>
                  <a:cubicBezTo>
                    <a:pt x="65" y="68"/>
                    <a:pt x="65" y="68"/>
                    <a:pt x="65" y="68"/>
                  </a:cubicBezTo>
                  <a:cubicBezTo>
                    <a:pt x="65" y="60"/>
                    <a:pt x="38" y="29"/>
                    <a:pt x="38" y="29"/>
                  </a:cubicBezTo>
                  <a:cubicBezTo>
                    <a:pt x="38" y="29"/>
                    <a:pt x="38" y="29"/>
                    <a:pt x="38" y="29"/>
                  </a:cubicBezTo>
                  <a:moveTo>
                    <a:pt x="0" y="0"/>
                  </a:moveTo>
                  <a:cubicBezTo>
                    <a:pt x="5" y="9"/>
                    <a:pt x="5" y="9"/>
                    <a:pt x="5" y="9"/>
                  </a:cubicBezTo>
                  <a:cubicBezTo>
                    <a:pt x="5" y="9"/>
                    <a:pt x="5" y="9"/>
                    <a:pt x="5" y="9"/>
                  </a:cubicBezTo>
                  <a:cubicBezTo>
                    <a:pt x="5" y="8"/>
                    <a:pt x="5" y="8"/>
                    <a:pt x="5" y="8"/>
                  </a:cubicBezTo>
                  <a:cubicBezTo>
                    <a:pt x="5" y="8"/>
                    <a:pt x="5" y="8"/>
                    <a:pt x="5" y="8"/>
                  </a:cubicBezTo>
                  <a:cubicBezTo>
                    <a:pt x="7" y="6"/>
                    <a:pt x="7" y="6"/>
                    <a:pt x="7" y="6"/>
                  </a:cubicBezTo>
                  <a:cubicBezTo>
                    <a:pt x="0" y="0"/>
                    <a:pt x="0" y="0"/>
                    <a:pt x="0" y="0"/>
                  </a:cubicBezTo>
                </a:path>
              </a:pathLst>
            </a:custGeom>
            <a:solidFill>
              <a:srgbClr val="00238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9" name="Freeform 15"/>
            <p:cNvSpPr/>
            <p:nvPr/>
          </p:nvSpPr>
          <p:spPr bwMode="auto">
            <a:xfrm>
              <a:off x="7299792" y="2211252"/>
              <a:ext cx="242315" cy="395183"/>
            </a:xfrm>
            <a:custGeom>
              <a:avLst/>
              <a:gdLst>
                <a:gd name="T0" fmla="*/ 0 w 149"/>
                <a:gd name="T1" fmla="*/ 130 h 243"/>
                <a:gd name="T2" fmla="*/ 93 w 149"/>
                <a:gd name="T3" fmla="*/ 0 h 243"/>
                <a:gd name="T4" fmla="*/ 149 w 149"/>
                <a:gd name="T5" fmla="*/ 29 h 243"/>
                <a:gd name="T6" fmla="*/ 37 w 149"/>
                <a:gd name="T7" fmla="*/ 243 h 243"/>
                <a:gd name="T8" fmla="*/ 0 w 149"/>
                <a:gd name="T9" fmla="*/ 130 h 243"/>
              </a:gdLst>
              <a:ahLst/>
              <a:cxnLst>
                <a:cxn ang="0">
                  <a:pos x="T0" y="T1"/>
                </a:cxn>
                <a:cxn ang="0">
                  <a:pos x="T2" y="T3"/>
                </a:cxn>
                <a:cxn ang="0">
                  <a:pos x="T4" y="T5"/>
                </a:cxn>
                <a:cxn ang="0">
                  <a:pos x="T6" y="T7"/>
                </a:cxn>
                <a:cxn ang="0">
                  <a:pos x="T8" y="T9"/>
                </a:cxn>
              </a:cxnLst>
              <a:rect l="0" t="0" r="r" b="b"/>
              <a:pathLst>
                <a:path w="149" h="243">
                  <a:moveTo>
                    <a:pt x="0" y="130"/>
                  </a:moveTo>
                  <a:lnTo>
                    <a:pt x="93" y="0"/>
                  </a:lnTo>
                  <a:lnTo>
                    <a:pt x="149" y="29"/>
                  </a:lnTo>
                  <a:lnTo>
                    <a:pt x="37" y="243"/>
                  </a:lnTo>
                  <a:lnTo>
                    <a:pt x="0" y="130"/>
                  </a:lnTo>
                  <a:close/>
                </a:path>
              </a:pathLst>
            </a:custGeom>
            <a:solidFill>
              <a:srgbClr val="F3BB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0" name="Freeform 16"/>
            <p:cNvSpPr/>
            <p:nvPr/>
          </p:nvSpPr>
          <p:spPr bwMode="auto">
            <a:xfrm>
              <a:off x="7299792" y="2211252"/>
              <a:ext cx="242315" cy="395183"/>
            </a:xfrm>
            <a:custGeom>
              <a:avLst/>
              <a:gdLst>
                <a:gd name="T0" fmla="*/ 0 w 149"/>
                <a:gd name="T1" fmla="*/ 130 h 243"/>
                <a:gd name="T2" fmla="*/ 93 w 149"/>
                <a:gd name="T3" fmla="*/ 0 h 243"/>
                <a:gd name="T4" fmla="*/ 149 w 149"/>
                <a:gd name="T5" fmla="*/ 29 h 243"/>
                <a:gd name="T6" fmla="*/ 37 w 149"/>
                <a:gd name="T7" fmla="*/ 243 h 243"/>
                <a:gd name="T8" fmla="*/ 0 w 149"/>
                <a:gd name="T9" fmla="*/ 130 h 243"/>
              </a:gdLst>
              <a:ahLst/>
              <a:cxnLst>
                <a:cxn ang="0">
                  <a:pos x="T0" y="T1"/>
                </a:cxn>
                <a:cxn ang="0">
                  <a:pos x="T2" y="T3"/>
                </a:cxn>
                <a:cxn ang="0">
                  <a:pos x="T4" y="T5"/>
                </a:cxn>
                <a:cxn ang="0">
                  <a:pos x="T6" y="T7"/>
                </a:cxn>
                <a:cxn ang="0">
                  <a:pos x="T8" y="T9"/>
                </a:cxn>
              </a:cxnLst>
              <a:rect l="0" t="0" r="r" b="b"/>
              <a:pathLst>
                <a:path w="149" h="243">
                  <a:moveTo>
                    <a:pt x="0" y="130"/>
                  </a:moveTo>
                  <a:lnTo>
                    <a:pt x="93" y="0"/>
                  </a:lnTo>
                  <a:lnTo>
                    <a:pt x="149" y="29"/>
                  </a:lnTo>
                  <a:lnTo>
                    <a:pt x="37" y="243"/>
                  </a:lnTo>
                  <a:lnTo>
                    <a:pt x="0" y="1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1" name="Freeform 17"/>
            <p:cNvSpPr/>
            <p:nvPr/>
          </p:nvSpPr>
          <p:spPr bwMode="auto">
            <a:xfrm>
              <a:off x="7421761" y="2045373"/>
              <a:ext cx="185394" cy="213041"/>
            </a:xfrm>
            <a:custGeom>
              <a:avLst/>
              <a:gdLst>
                <a:gd name="T0" fmla="*/ 35 w 55"/>
                <a:gd name="T1" fmla="*/ 63 h 63"/>
                <a:gd name="T2" fmla="*/ 49 w 55"/>
                <a:gd name="T3" fmla="*/ 52 h 63"/>
                <a:gd name="T4" fmla="*/ 55 w 55"/>
                <a:gd name="T5" fmla="*/ 30 h 63"/>
                <a:gd name="T6" fmla="*/ 39 w 55"/>
                <a:gd name="T7" fmla="*/ 9 h 63"/>
                <a:gd name="T8" fmla="*/ 18 w 55"/>
                <a:gd name="T9" fmla="*/ 0 h 63"/>
                <a:gd name="T10" fmla="*/ 0 w 55"/>
                <a:gd name="T11" fmla="*/ 18 h 63"/>
                <a:gd name="T12" fmla="*/ 4 w 55"/>
                <a:gd name="T13" fmla="*/ 36 h 63"/>
                <a:gd name="T14" fmla="*/ 9 w 55"/>
                <a:gd name="T15" fmla="*/ 49 h 63"/>
                <a:gd name="T16" fmla="*/ 33 w 55"/>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63">
                  <a:moveTo>
                    <a:pt x="35" y="63"/>
                  </a:moveTo>
                  <a:cubicBezTo>
                    <a:pt x="49" y="52"/>
                    <a:pt x="49" y="52"/>
                    <a:pt x="49" y="52"/>
                  </a:cubicBezTo>
                  <a:cubicBezTo>
                    <a:pt x="55" y="30"/>
                    <a:pt x="55" y="30"/>
                    <a:pt x="55" y="30"/>
                  </a:cubicBezTo>
                  <a:cubicBezTo>
                    <a:pt x="55" y="30"/>
                    <a:pt x="41" y="9"/>
                    <a:pt x="39" y="9"/>
                  </a:cubicBezTo>
                  <a:cubicBezTo>
                    <a:pt x="38" y="8"/>
                    <a:pt x="18" y="0"/>
                    <a:pt x="18" y="0"/>
                  </a:cubicBezTo>
                  <a:cubicBezTo>
                    <a:pt x="0" y="18"/>
                    <a:pt x="0" y="18"/>
                    <a:pt x="0" y="18"/>
                  </a:cubicBezTo>
                  <a:cubicBezTo>
                    <a:pt x="4" y="36"/>
                    <a:pt x="4" y="36"/>
                    <a:pt x="4" y="36"/>
                  </a:cubicBezTo>
                  <a:cubicBezTo>
                    <a:pt x="9" y="49"/>
                    <a:pt x="9" y="49"/>
                    <a:pt x="9" y="49"/>
                  </a:cubicBezTo>
                  <a:cubicBezTo>
                    <a:pt x="33" y="63"/>
                    <a:pt x="33" y="63"/>
                    <a:pt x="33" y="63"/>
                  </a:cubicBezTo>
                </a:path>
              </a:pathLst>
            </a:custGeom>
            <a:solidFill>
              <a:srgbClr val="F3BB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2" name="Freeform 18"/>
            <p:cNvSpPr/>
            <p:nvPr/>
          </p:nvSpPr>
          <p:spPr bwMode="auto">
            <a:xfrm>
              <a:off x="7090003" y="1741260"/>
              <a:ext cx="317122" cy="317122"/>
            </a:xfrm>
            <a:custGeom>
              <a:avLst/>
              <a:gdLst>
                <a:gd name="T0" fmla="*/ 0 w 195"/>
                <a:gd name="T1" fmla="*/ 102 h 195"/>
                <a:gd name="T2" fmla="*/ 106 w 195"/>
                <a:gd name="T3" fmla="*/ 0 h 195"/>
                <a:gd name="T4" fmla="*/ 195 w 195"/>
                <a:gd name="T5" fmla="*/ 93 h 195"/>
                <a:gd name="T6" fmla="*/ 89 w 195"/>
                <a:gd name="T7" fmla="*/ 195 h 195"/>
                <a:gd name="T8" fmla="*/ 0 w 195"/>
                <a:gd name="T9" fmla="*/ 102 h 195"/>
              </a:gdLst>
              <a:ahLst/>
              <a:cxnLst>
                <a:cxn ang="0">
                  <a:pos x="T0" y="T1"/>
                </a:cxn>
                <a:cxn ang="0">
                  <a:pos x="T2" y="T3"/>
                </a:cxn>
                <a:cxn ang="0">
                  <a:pos x="T4" y="T5"/>
                </a:cxn>
                <a:cxn ang="0">
                  <a:pos x="T6" y="T7"/>
                </a:cxn>
                <a:cxn ang="0">
                  <a:pos x="T8" y="T9"/>
                </a:cxn>
              </a:cxnLst>
              <a:rect l="0" t="0" r="r" b="b"/>
              <a:pathLst>
                <a:path w="195" h="195">
                  <a:moveTo>
                    <a:pt x="0" y="102"/>
                  </a:moveTo>
                  <a:lnTo>
                    <a:pt x="106" y="0"/>
                  </a:lnTo>
                  <a:lnTo>
                    <a:pt x="195" y="93"/>
                  </a:lnTo>
                  <a:lnTo>
                    <a:pt x="89" y="195"/>
                  </a:lnTo>
                  <a:lnTo>
                    <a:pt x="0" y="102"/>
                  </a:lnTo>
                  <a:close/>
                </a:path>
              </a:pathLst>
            </a:custGeom>
            <a:solidFill>
              <a:srgbClr val="FEB907"/>
            </a:solidFill>
            <a:ln>
              <a:noFill/>
            </a:ln>
          </p:spPr>
          <p:txBody>
            <a:bodyPr vert="horz" wrap="square" lIns="91440" tIns="45720" rIns="91440" bIns="45720" numCol="1" anchor="t" anchorCtr="0" compatLnSpc="1"/>
            <a:lstStyle/>
            <a:p>
              <a:endParaRPr lang="zh-CN" altLang="en-US"/>
            </a:p>
          </p:txBody>
        </p:sp>
        <p:sp>
          <p:nvSpPr>
            <p:cNvPr id="263" name="Freeform 19"/>
            <p:cNvSpPr/>
            <p:nvPr/>
          </p:nvSpPr>
          <p:spPr bwMode="auto">
            <a:xfrm>
              <a:off x="7090003" y="1741260"/>
              <a:ext cx="317122" cy="317122"/>
            </a:xfrm>
            <a:custGeom>
              <a:avLst/>
              <a:gdLst>
                <a:gd name="T0" fmla="*/ 0 w 195"/>
                <a:gd name="T1" fmla="*/ 102 h 195"/>
                <a:gd name="T2" fmla="*/ 106 w 195"/>
                <a:gd name="T3" fmla="*/ 0 h 195"/>
                <a:gd name="T4" fmla="*/ 195 w 195"/>
                <a:gd name="T5" fmla="*/ 93 h 195"/>
                <a:gd name="T6" fmla="*/ 89 w 195"/>
                <a:gd name="T7" fmla="*/ 195 h 195"/>
                <a:gd name="T8" fmla="*/ 0 w 195"/>
                <a:gd name="T9" fmla="*/ 102 h 195"/>
              </a:gdLst>
              <a:ahLst/>
              <a:cxnLst>
                <a:cxn ang="0">
                  <a:pos x="T0" y="T1"/>
                </a:cxn>
                <a:cxn ang="0">
                  <a:pos x="T2" y="T3"/>
                </a:cxn>
                <a:cxn ang="0">
                  <a:pos x="T4" y="T5"/>
                </a:cxn>
                <a:cxn ang="0">
                  <a:pos x="T6" y="T7"/>
                </a:cxn>
                <a:cxn ang="0">
                  <a:pos x="T8" y="T9"/>
                </a:cxn>
              </a:cxnLst>
              <a:rect l="0" t="0" r="r" b="b"/>
              <a:pathLst>
                <a:path w="195" h="195">
                  <a:moveTo>
                    <a:pt x="0" y="102"/>
                  </a:moveTo>
                  <a:lnTo>
                    <a:pt x="106" y="0"/>
                  </a:lnTo>
                  <a:lnTo>
                    <a:pt x="195" y="93"/>
                  </a:lnTo>
                  <a:lnTo>
                    <a:pt x="89" y="195"/>
                  </a:lnTo>
                  <a:lnTo>
                    <a:pt x="0" y="10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4" name="Freeform 20"/>
            <p:cNvSpPr/>
            <p:nvPr/>
          </p:nvSpPr>
          <p:spPr bwMode="auto">
            <a:xfrm>
              <a:off x="7205468" y="1859978"/>
              <a:ext cx="417951" cy="427709"/>
            </a:xfrm>
            <a:custGeom>
              <a:avLst/>
              <a:gdLst>
                <a:gd name="T0" fmla="*/ 0 w 124"/>
                <a:gd name="T1" fmla="*/ 53 h 127"/>
                <a:gd name="T2" fmla="*/ 26 w 124"/>
                <a:gd name="T3" fmla="*/ 80 h 127"/>
                <a:gd name="T4" fmla="*/ 51 w 124"/>
                <a:gd name="T5" fmla="*/ 80 h 127"/>
                <a:gd name="T6" fmla="*/ 61 w 124"/>
                <a:gd name="T7" fmla="*/ 80 h 127"/>
                <a:gd name="T8" fmla="*/ 100 w 124"/>
                <a:gd name="T9" fmla="*/ 121 h 127"/>
                <a:gd name="T10" fmla="*/ 119 w 124"/>
                <a:gd name="T11" fmla="*/ 123 h 127"/>
                <a:gd name="T12" fmla="*/ 119 w 124"/>
                <a:gd name="T13" fmla="*/ 104 h 127"/>
                <a:gd name="T14" fmla="*/ 80 w 124"/>
                <a:gd name="T15" fmla="*/ 63 h 127"/>
                <a:gd name="T16" fmla="*/ 80 w 124"/>
                <a:gd name="T17" fmla="*/ 53 h 127"/>
                <a:gd name="T18" fmla="*/ 81 w 124"/>
                <a:gd name="T19" fmla="*/ 27 h 127"/>
                <a:gd name="T20" fmla="*/ 55 w 124"/>
                <a:gd name="T21" fmla="*/ 0 h 127"/>
                <a:gd name="T22" fmla="*/ 55 w 124"/>
                <a:gd name="T23" fmla="*/ 0 h 127"/>
                <a:gd name="T24" fmla="*/ 0 w 124"/>
                <a:gd name="T25" fmla="*/ 53 h 127"/>
                <a:gd name="T26" fmla="*/ 0 w 124"/>
                <a:gd name="T27"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27">
                  <a:moveTo>
                    <a:pt x="0" y="53"/>
                  </a:moveTo>
                  <a:cubicBezTo>
                    <a:pt x="26" y="80"/>
                    <a:pt x="26" y="80"/>
                    <a:pt x="26" y="80"/>
                  </a:cubicBezTo>
                  <a:cubicBezTo>
                    <a:pt x="33" y="87"/>
                    <a:pt x="44" y="87"/>
                    <a:pt x="51" y="80"/>
                  </a:cubicBezTo>
                  <a:cubicBezTo>
                    <a:pt x="54" y="78"/>
                    <a:pt x="58" y="78"/>
                    <a:pt x="61" y="80"/>
                  </a:cubicBezTo>
                  <a:cubicBezTo>
                    <a:pt x="100" y="121"/>
                    <a:pt x="100" y="121"/>
                    <a:pt x="100" y="121"/>
                  </a:cubicBezTo>
                  <a:cubicBezTo>
                    <a:pt x="105" y="126"/>
                    <a:pt x="113" y="127"/>
                    <a:pt x="119" y="123"/>
                  </a:cubicBezTo>
                  <a:cubicBezTo>
                    <a:pt x="124" y="118"/>
                    <a:pt x="124" y="109"/>
                    <a:pt x="119" y="104"/>
                  </a:cubicBezTo>
                  <a:cubicBezTo>
                    <a:pt x="80" y="63"/>
                    <a:pt x="80" y="63"/>
                    <a:pt x="80" y="63"/>
                  </a:cubicBezTo>
                  <a:cubicBezTo>
                    <a:pt x="77" y="60"/>
                    <a:pt x="77" y="55"/>
                    <a:pt x="80" y="53"/>
                  </a:cubicBezTo>
                  <a:cubicBezTo>
                    <a:pt x="87" y="46"/>
                    <a:pt x="87" y="34"/>
                    <a:pt x="81" y="27"/>
                  </a:cubicBezTo>
                  <a:cubicBezTo>
                    <a:pt x="55" y="0"/>
                    <a:pt x="55" y="0"/>
                    <a:pt x="55" y="0"/>
                  </a:cubicBezTo>
                  <a:cubicBezTo>
                    <a:pt x="55" y="0"/>
                    <a:pt x="55" y="0"/>
                    <a:pt x="55" y="0"/>
                  </a:cubicBezTo>
                  <a:cubicBezTo>
                    <a:pt x="0" y="53"/>
                    <a:pt x="0" y="53"/>
                    <a:pt x="0" y="53"/>
                  </a:cubicBezTo>
                  <a:cubicBezTo>
                    <a:pt x="0" y="53"/>
                    <a:pt x="0" y="53"/>
                    <a:pt x="0" y="53"/>
                  </a:cubicBezTo>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5" name="Freeform 21"/>
            <p:cNvSpPr/>
            <p:nvPr/>
          </p:nvSpPr>
          <p:spPr bwMode="auto">
            <a:xfrm>
              <a:off x="7205468" y="1859978"/>
              <a:ext cx="185394" cy="178889"/>
            </a:xfrm>
            <a:custGeom>
              <a:avLst/>
              <a:gdLst>
                <a:gd name="T0" fmla="*/ 2 w 114"/>
                <a:gd name="T1" fmla="*/ 106 h 110"/>
                <a:gd name="T2" fmla="*/ 0 w 114"/>
                <a:gd name="T3" fmla="*/ 110 h 110"/>
                <a:gd name="T4" fmla="*/ 0 w 114"/>
                <a:gd name="T5" fmla="*/ 110 h 110"/>
                <a:gd name="T6" fmla="*/ 0 w 114"/>
                <a:gd name="T7" fmla="*/ 110 h 110"/>
                <a:gd name="T8" fmla="*/ 2 w 114"/>
                <a:gd name="T9" fmla="*/ 106 h 110"/>
                <a:gd name="T10" fmla="*/ 2 w 114"/>
                <a:gd name="T11" fmla="*/ 106 h 110"/>
                <a:gd name="T12" fmla="*/ 114 w 114"/>
                <a:gd name="T13" fmla="*/ 0 h 110"/>
                <a:gd name="T14" fmla="*/ 114 w 114"/>
                <a:gd name="T15" fmla="*/ 0 h 110"/>
                <a:gd name="T16" fmla="*/ 114 w 114"/>
                <a:gd name="T17" fmla="*/ 0 h 110"/>
                <a:gd name="T18" fmla="*/ 114 w 114"/>
                <a:gd name="T1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0">
                  <a:moveTo>
                    <a:pt x="2" y="106"/>
                  </a:moveTo>
                  <a:lnTo>
                    <a:pt x="0" y="110"/>
                  </a:lnTo>
                  <a:lnTo>
                    <a:pt x="0" y="110"/>
                  </a:lnTo>
                  <a:lnTo>
                    <a:pt x="0" y="110"/>
                  </a:lnTo>
                  <a:lnTo>
                    <a:pt x="2" y="106"/>
                  </a:lnTo>
                  <a:lnTo>
                    <a:pt x="2" y="106"/>
                  </a:lnTo>
                  <a:close/>
                  <a:moveTo>
                    <a:pt x="114" y="0"/>
                  </a:moveTo>
                  <a:lnTo>
                    <a:pt x="114" y="0"/>
                  </a:lnTo>
                  <a:lnTo>
                    <a:pt x="114" y="0"/>
                  </a:lnTo>
                  <a:lnTo>
                    <a:pt x="114" y="0"/>
                  </a:ln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6" name="Freeform 22"/>
            <p:cNvSpPr/>
            <p:nvPr/>
          </p:nvSpPr>
          <p:spPr bwMode="auto">
            <a:xfrm>
              <a:off x="7205468" y="1859978"/>
              <a:ext cx="185394" cy="178889"/>
            </a:xfrm>
            <a:custGeom>
              <a:avLst/>
              <a:gdLst>
                <a:gd name="T0" fmla="*/ 2 w 114"/>
                <a:gd name="T1" fmla="*/ 106 h 110"/>
                <a:gd name="T2" fmla="*/ 0 w 114"/>
                <a:gd name="T3" fmla="*/ 110 h 110"/>
                <a:gd name="T4" fmla="*/ 0 w 114"/>
                <a:gd name="T5" fmla="*/ 110 h 110"/>
                <a:gd name="T6" fmla="*/ 0 w 114"/>
                <a:gd name="T7" fmla="*/ 110 h 110"/>
                <a:gd name="T8" fmla="*/ 2 w 114"/>
                <a:gd name="T9" fmla="*/ 106 h 110"/>
                <a:gd name="T10" fmla="*/ 2 w 114"/>
                <a:gd name="T11" fmla="*/ 106 h 110"/>
                <a:gd name="T12" fmla="*/ 114 w 114"/>
                <a:gd name="T13" fmla="*/ 0 h 110"/>
                <a:gd name="T14" fmla="*/ 114 w 114"/>
                <a:gd name="T15" fmla="*/ 0 h 110"/>
                <a:gd name="T16" fmla="*/ 114 w 114"/>
                <a:gd name="T17" fmla="*/ 0 h 110"/>
                <a:gd name="T18" fmla="*/ 114 w 114"/>
                <a:gd name="T1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0">
                  <a:moveTo>
                    <a:pt x="2" y="106"/>
                  </a:moveTo>
                  <a:lnTo>
                    <a:pt x="0" y="110"/>
                  </a:lnTo>
                  <a:lnTo>
                    <a:pt x="0" y="110"/>
                  </a:lnTo>
                  <a:lnTo>
                    <a:pt x="0" y="110"/>
                  </a:lnTo>
                  <a:lnTo>
                    <a:pt x="2" y="106"/>
                  </a:lnTo>
                  <a:lnTo>
                    <a:pt x="2" y="106"/>
                  </a:lnTo>
                  <a:moveTo>
                    <a:pt x="114" y="0"/>
                  </a:moveTo>
                  <a:lnTo>
                    <a:pt x="114" y="0"/>
                  </a:lnTo>
                  <a:lnTo>
                    <a:pt x="114" y="0"/>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7" name="Freeform 23"/>
            <p:cNvSpPr/>
            <p:nvPr/>
          </p:nvSpPr>
          <p:spPr bwMode="auto">
            <a:xfrm>
              <a:off x="7208720" y="1939664"/>
              <a:ext cx="94323" cy="92697"/>
            </a:xfrm>
            <a:custGeom>
              <a:avLst/>
              <a:gdLst>
                <a:gd name="T0" fmla="*/ 58 w 58"/>
                <a:gd name="T1" fmla="*/ 0 h 57"/>
                <a:gd name="T2" fmla="*/ 0 w 58"/>
                <a:gd name="T3" fmla="*/ 57 h 57"/>
                <a:gd name="T4" fmla="*/ 0 w 58"/>
                <a:gd name="T5" fmla="*/ 57 h 57"/>
                <a:gd name="T6" fmla="*/ 58 w 58"/>
                <a:gd name="T7" fmla="*/ 0 h 57"/>
              </a:gdLst>
              <a:ahLst/>
              <a:cxnLst>
                <a:cxn ang="0">
                  <a:pos x="T0" y="T1"/>
                </a:cxn>
                <a:cxn ang="0">
                  <a:pos x="T2" y="T3"/>
                </a:cxn>
                <a:cxn ang="0">
                  <a:pos x="T4" y="T5"/>
                </a:cxn>
                <a:cxn ang="0">
                  <a:pos x="T6" y="T7"/>
                </a:cxn>
              </a:cxnLst>
              <a:rect l="0" t="0" r="r" b="b"/>
              <a:pathLst>
                <a:path w="58" h="57">
                  <a:moveTo>
                    <a:pt x="58" y="0"/>
                  </a:moveTo>
                  <a:lnTo>
                    <a:pt x="0" y="57"/>
                  </a:lnTo>
                  <a:lnTo>
                    <a:pt x="0" y="57"/>
                  </a:lnTo>
                  <a:lnTo>
                    <a:pt x="58" y="0"/>
                  </a:lnTo>
                  <a:close/>
                </a:path>
              </a:pathLst>
            </a:custGeom>
            <a:solidFill>
              <a:srgbClr val="003A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8" name="Freeform 24"/>
            <p:cNvSpPr/>
            <p:nvPr/>
          </p:nvSpPr>
          <p:spPr bwMode="auto">
            <a:xfrm>
              <a:off x="7208720" y="1939664"/>
              <a:ext cx="94323" cy="92697"/>
            </a:xfrm>
            <a:custGeom>
              <a:avLst/>
              <a:gdLst>
                <a:gd name="T0" fmla="*/ 58 w 58"/>
                <a:gd name="T1" fmla="*/ 0 h 57"/>
                <a:gd name="T2" fmla="*/ 0 w 58"/>
                <a:gd name="T3" fmla="*/ 57 h 57"/>
                <a:gd name="T4" fmla="*/ 0 w 58"/>
                <a:gd name="T5" fmla="*/ 57 h 57"/>
                <a:gd name="T6" fmla="*/ 58 w 58"/>
                <a:gd name="T7" fmla="*/ 0 h 57"/>
              </a:gdLst>
              <a:ahLst/>
              <a:cxnLst>
                <a:cxn ang="0">
                  <a:pos x="T0" y="T1"/>
                </a:cxn>
                <a:cxn ang="0">
                  <a:pos x="T2" y="T3"/>
                </a:cxn>
                <a:cxn ang="0">
                  <a:pos x="T4" y="T5"/>
                </a:cxn>
                <a:cxn ang="0">
                  <a:pos x="T6" y="T7"/>
                </a:cxn>
              </a:cxnLst>
              <a:rect l="0" t="0" r="r" b="b"/>
              <a:pathLst>
                <a:path w="58" h="57">
                  <a:moveTo>
                    <a:pt x="58" y="0"/>
                  </a:moveTo>
                  <a:lnTo>
                    <a:pt x="0" y="57"/>
                  </a:lnTo>
                  <a:lnTo>
                    <a:pt x="0" y="57"/>
                  </a:lnTo>
                  <a:lnTo>
                    <a:pt x="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9" name="Freeform 25"/>
            <p:cNvSpPr/>
            <p:nvPr/>
          </p:nvSpPr>
          <p:spPr bwMode="auto">
            <a:xfrm>
              <a:off x="7205468" y="1859978"/>
              <a:ext cx="219547" cy="216294"/>
            </a:xfrm>
            <a:custGeom>
              <a:avLst/>
              <a:gdLst>
                <a:gd name="T0" fmla="*/ 114 w 135"/>
                <a:gd name="T1" fmla="*/ 0 h 133"/>
                <a:gd name="T2" fmla="*/ 60 w 135"/>
                <a:gd name="T3" fmla="*/ 49 h 133"/>
                <a:gd name="T4" fmla="*/ 2 w 135"/>
                <a:gd name="T5" fmla="*/ 106 h 133"/>
                <a:gd name="T6" fmla="*/ 0 w 135"/>
                <a:gd name="T7" fmla="*/ 110 h 133"/>
                <a:gd name="T8" fmla="*/ 0 w 135"/>
                <a:gd name="T9" fmla="*/ 110 h 133"/>
                <a:gd name="T10" fmla="*/ 22 w 135"/>
                <a:gd name="T11" fmla="*/ 133 h 133"/>
                <a:gd name="T12" fmla="*/ 135 w 135"/>
                <a:gd name="T13" fmla="*/ 22 h 133"/>
                <a:gd name="T14" fmla="*/ 114 w 135"/>
                <a:gd name="T15" fmla="*/ 0 h 133"/>
                <a:gd name="T16" fmla="*/ 114 w 135"/>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133">
                  <a:moveTo>
                    <a:pt x="114" y="0"/>
                  </a:moveTo>
                  <a:lnTo>
                    <a:pt x="60" y="49"/>
                  </a:lnTo>
                  <a:lnTo>
                    <a:pt x="2" y="106"/>
                  </a:lnTo>
                  <a:lnTo>
                    <a:pt x="0" y="110"/>
                  </a:lnTo>
                  <a:lnTo>
                    <a:pt x="0" y="110"/>
                  </a:lnTo>
                  <a:lnTo>
                    <a:pt x="22" y="133"/>
                  </a:lnTo>
                  <a:lnTo>
                    <a:pt x="135" y="22"/>
                  </a:lnTo>
                  <a:lnTo>
                    <a:pt x="114" y="0"/>
                  </a:lnTo>
                  <a:lnTo>
                    <a:pt x="114" y="0"/>
                  </a:ln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0" name="Freeform 26"/>
            <p:cNvSpPr/>
            <p:nvPr/>
          </p:nvSpPr>
          <p:spPr bwMode="auto">
            <a:xfrm>
              <a:off x="7205468" y="1859978"/>
              <a:ext cx="219547" cy="216294"/>
            </a:xfrm>
            <a:custGeom>
              <a:avLst/>
              <a:gdLst>
                <a:gd name="T0" fmla="*/ 114 w 135"/>
                <a:gd name="T1" fmla="*/ 0 h 133"/>
                <a:gd name="T2" fmla="*/ 60 w 135"/>
                <a:gd name="T3" fmla="*/ 49 h 133"/>
                <a:gd name="T4" fmla="*/ 2 w 135"/>
                <a:gd name="T5" fmla="*/ 106 h 133"/>
                <a:gd name="T6" fmla="*/ 0 w 135"/>
                <a:gd name="T7" fmla="*/ 110 h 133"/>
                <a:gd name="T8" fmla="*/ 0 w 135"/>
                <a:gd name="T9" fmla="*/ 110 h 133"/>
                <a:gd name="T10" fmla="*/ 22 w 135"/>
                <a:gd name="T11" fmla="*/ 133 h 133"/>
                <a:gd name="T12" fmla="*/ 135 w 135"/>
                <a:gd name="T13" fmla="*/ 22 h 133"/>
                <a:gd name="T14" fmla="*/ 114 w 135"/>
                <a:gd name="T15" fmla="*/ 0 h 133"/>
                <a:gd name="T16" fmla="*/ 114 w 135"/>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133">
                  <a:moveTo>
                    <a:pt x="114" y="0"/>
                  </a:moveTo>
                  <a:lnTo>
                    <a:pt x="60" y="49"/>
                  </a:lnTo>
                  <a:lnTo>
                    <a:pt x="2" y="106"/>
                  </a:lnTo>
                  <a:lnTo>
                    <a:pt x="0" y="110"/>
                  </a:lnTo>
                  <a:lnTo>
                    <a:pt x="0" y="110"/>
                  </a:lnTo>
                  <a:lnTo>
                    <a:pt x="22" y="133"/>
                  </a:lnTo>
                  <a:lnTo>
                    <a:pt x="135" y="22"/>
                  </a:lnTo>
                  <a:lnTo>
                    <a:pt x="114" y="0"/>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1" name="Freeform 27"/>
            <p:cNvSpPr/>
            <p:nvPr/>
          </p:nvSpPr>
          <p:spPr bwMode="auto">
            <a:xfrm>
              <a:off x="7205468" y="1859978"/>
              <a:ext cx="219547" cy="216294"/>
            </a:xfrm>
            <a:custGeom>
              <a:avLst/>
              <a:gdLst>
                <a:gd name="T0" fmla="*/ 114 w 135"/>
                <a:gd name="T1" fmla="*/ 0 h 133"/>
                <a:gd name="T2" fmla="*/ 0 w 135"/>
                <a:gd name="T3" fmla="*/ 110 h 133"/>
                <a:gd name="T4" fmla="*/ 22 w 135"/>
                <a:gd name="T5" fmla="*/ 133 h 133"/>
                <a:gd name="T6" fmla="*/ 135 w 135"/>
                <a:gd name="T7" fmla="*/ 22 h 133"/>
                <a:gd name="T8" fmla="*/ 114 w 135"/>
                <a:gd name="T9" fmla="*/ 0 h 133"/>
              </a:gdLst>
              <a:ahLst/>
              <a:cxnLst>
                <a:cxn ang="0">
                  <a:pos x="T0" y="T1"/>
                </a:cxn>
                <a:cxn ang="0">
                  <a:pos x="T2" y="T3"/>
                </a:cxn>
                <a:cxn ang="0">
                  <a:pos x="T4" y="T5"/>
                </a:cxn>
                <a:cxn ang="0">
                  <a:pos x="T6" y="T7"/>
                </a:cxn>
                <a:cxn ang="0">
                  <a:pos x="T8" y="T9"/>
                </a:cxn>
              </a:cxnLst>
              <a:rect l="0" t="0" r="r" b="b"/>
              <a:pathLst>
                <a:path w="135" h="133">
                  <a:moveTo>
                    <a:pt x="114" y="0"/>
                  </a:moveTo>
                  <a:lnTo>
                    <a:pt x="0" y="110"/>
                  </a:lnTo>
                  <a:lnTo>
                    <a:pt x="22" y="133"/>
                  </a:lnTo>
                  <a:lnTo>
                    <a:pt x="135" y="22"/>
                  </a:lnTo>
                  <a:lnTo>
                    <a:pt x="114" y="0"/>
                  </a:lnTo>
                  <a:close/>
                </a:path>
              </a:pathLst>
            </a:custGeom>
            <a:solidFill>
              <a:srgbClr val="000D6B"/>
            </a:solidFill>
            <a:ln>
              <a:noFill/>
            </a:ln>
          </p:spPr>
          <p:txBody>
            <a:bodyPr vert="horz" wrap="square" lIns="91440" tIns="45720" rIns="91440" bIns="45720" numCol="1" anchor="t" anchorCtr="0" compatLnSpc="1"/>
            <a:lstStyle/>
            <a:p>
              <a:endParaRPr lang="zh-CN" altLang="en-US"/>
            </a:p>
          </p:txBody>
        </p:sp>
        <p:sp>
          <p:nvSpPr>
            <p:cNvPr id="272" name="Freeform 28"/>
            <p:cNvSpPr/>
            <p:nvPr/>
          </p:nvSpPr>
          <p:spPr bwMode="auto">
            <a:xfrm>
              <a:off x="7444529" y="2048626"/>
              <a:ext cx="162626" cy="165879"/>
            </a:xfrm>
            <a:custGeom>
              <a:avLst/>
              <a:gdLst>
                <a:gd name="T0" fmla="*/ 10 w 48"/>
                <a:gd name="T1" fmla="*/ 0 h 49"/>
                <a:gd name="T2" fmla="*/ 0 w 48"/>
                <a:gd name="T3" fmla="*/ 10 h 49"/>
                <a:gd name="T4" fmla="*/ 24 w 48"/>
                <a:gd name="T5" fmla="*/ 39 h 49"/>
                <a:gd name="T6" fmla="*/ 44 w 48"/>
                <a:gd name="T7" fmla="*/ 39 h 49"/>
                <a:gd name="T8" fmla="*/ 10 w 48"/>
                <a:gd name="T9" fmla="*/ 0 h 49"/>
              </a:gdLst>
              <a:ahLst/>
              <a:cxnLst>
                <a:cxn ang="0">
                  <a:pos x="T0" y="T1"/>
                </a:cxn>
                <a:cxn ang="0">
                  <a:pos x="T2" y="T3"/>
                </a:cxn>
                <a:cxn ang="0">
                  <a:pos x="T4" y="T5"/>
                </a:cxn>
                <a:cxn ang="0">
                  <a:pos x="T6" y="T7"/>
                </a:cxn>
                <a:cxn ang="0">
                  <a:pos x="T8" y="T9"/>
                </a:cxn>
              </a:cxnLst>
              <a:rect l="0" t="0" r="r" b="b"/>
              <a:pathLst>
                <a:path w="48" h="49">
                  <a:moveTo>
                    <a:pt x="10" y="0"/>
                  </a:moveTo>
                  <a:cubicBezTo>
                    <a:pt x="10" y="0"/>
                    <a:pt x="0" y="4"/>
                    <a:pt x="0" y="10"/>
                  </a:cubicBezTo>
                  <a:cubicBezTo>
                    <a:pt x="0" y="16"/>
                    <a:pt x="24" y="39"/>
                    <a:pt x="24" y="39"/>
                  </a:cubicBezTo>
                  <a:cubicBezTo>
                    <a:pt x="24" y="39"/>
                    <a:pt x="39" y="49"/>
                    <a:pt x="44" y="39"/>
                  </a:cubicBezTo>
                  <a:cubicBezTo>
                    <a:pt x="48" y="29"/>
                    <a:pt x="10" y="0"/>
                    <a:pt x="10" y="0"/>
                  </a:cubicBezTo>
                  <a:close/>
                </a:path>
              </a:pathLst>
            </a:custGeom>
            <a:solidFill>
              <a:srgbClr val="F3BB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3" name="Freeform 29"/>
            <p:cNvSpPr/>
            <p:nvPr/>
          </p:nvSpPr>
          <p:spPr bwMode="auto">
            <a:xfrm>
              <a:off x="6623265" y="2334848"/>
              <a:ext cx="918841" cy="834275"/>
            </a:xfrm>
            <a:custGeom>
              <a:avLst/>
              <a:gdLst>
                <a:gd name="T0" fmla="*/ 0 w 272"/>
                <a:gd name="T1" fmla="*/ 102 h 247"/>
                <a:gd name="T2" fmla="*/ 78 w 272"/>
                <a:gd name="T3" fmla="*/ 94 h 247"/>
                <a:gd name="T4" fmla="*/ 151 w 272"/>
                <a:gd name="T5" fmla="*/ 57 h 247"/>
                <a:gd name="T6" fmla="*/ 207 w 272"/>
                <a:gd name="T7" fmla="*/ 0 h 247"/>
                <a:gd name="T8" fmla="*/ 228 w 272"/>
                <a:gd name="T9" fmla="*/ 35 h 247"/>
                <a:gd name="T10" fmla="*/ 272 w 272"/>
                <a:gd name="T11" fmla="*/ 69 h 247"/>
                <a:gd name="T12" fmla="*/ 197 w 272"/>
                <a:gd name="T13" fmla="*/ 156 h 247"/>
                <a:gd name="T14" fmla="*/ 186 w 272"/>
                <a:gd name="T15" fmla="*/ 164 h 247"/>
                <a:gd name="T16" fmla="*/ 138 w 272"/>
                <a:gd name="T17" fmla="*/ 188 h 247"/>
                <a:gd name="T18" fmla="*/ 3 w 272"/>
                <a:gd name="T19" fmla="*/ 247 h 247"/>
                <a:gd name="T20" fmla="*/ 0 w 272"/>
                <a:gd name="T21" fmla="*/ 102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 h="247">
                  <a:moveTo>
                    <a:pt x="0" y="102"/>
                  </a:moveTo>
                  <a:cubicBezTo>
                    <a:pt x="78" y="94"/>
                    <a:pt x="78" y="94"/>
                    <a:pt x="78" y="94"/>
                  </a:cubicBezTo>
                  <a:cubicBezTo>
                    <a:pt x="151" y="57"/>
                    <a:pt x="151" y="57"/>
                    <a:pt x="151" y="57"/>
                  </a:cubicBezTo>
                  <a:cubicBezTo>
                    <a:pt x="207" y="0"/>
                    <a:pt x="207" y="0"/>
                    <a:pt x="207" y="0"/>
                  </a:cubicBezTo>
                  <a:cubicBezTo>
                    <a:pt x="228" y="35"/>
                    <a:pt x="228" y="35"/>
                    <a:pt x="228" y="35"/>
                  </a:cubicBezTo>
                  <a:cubicBezTo>
                    <a:pt x="272" y="69"/>
                    <a:pt x="272" y="69"/>
                    <a:pt x="272" y="69"/>
                  </a:cubicBezTo>
                  <a:cubicBezTo>
                    <a:pt x="197" y="156"/>
                    <a:pt x="197" y="156"/>
                    <a:pt x="197" y="156"/>
                  </a:cubicBezTo>
                  <a:cubicBezTo>
                    <a:pt x="194" y="160"/>
                    <a:pt x="190" y="162"/>
                    <a:pt x="186" y="164"/>
                  </a:cubicBezTo>
                  <a:cubicBezTo>
                    <a:pt x="138" y="188"/>
                    <a:pt x="138" y="188"/>
                    <a:pt x="138" y="188"/>
                  </a:cubicBezTo>
                  <a:cubicBezTo>
                    <a:pt x="3" y="247"/>
                    <a:pt x="3" y="247"/>
                    <a:pt x="3" y="247"/>
                  </a:cubicBezTo>
                  <a:cubicBezTo>
                    <a:pt x="0" y="102"/>
                    <a:pt x="0" y="102"/>
                    <a:pt x="0" y="102"/>
                  </a:cubicBezTo>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4" name="Freeform 30"/>
            <p:cNvSpPr/>
            <p:nvPr/>
          </p:nvSpPr>
          <p:spPr bwMode="auto">
            <a:xfrm>
              <a:off x="6002031" y="3748073"/>
              <a:ext cx="567567" cy="2177573"/>
            </a:xfrm>
            <a:custGeom>
              <a:avLst/>
              <a:gdLst>
                <a:gd name="T0" fmla="*/ 50 w 349"/>
                <a:gd name="T1" fmla="*/ 0 h 1339"/>
                <a:gd name="T2" fmla="*/ 37 w 349"/>
                <a:gd name="T3" fmla="*/ 176 h 1339"/>
                <a:gd name="T4" fmla="*/ 70 w 349"/>
                <a:gd name="T5" fmla="*/ 652 h 1339"/>
                <a:gd name="T6" fmla="*/ 0 w 349"/>
                <a:gd name="T7" fmla="*/ 1339 h 1339"/>
                <a:gd name="T8" fmla="*/ 174 w 349"/>
                <a:gd name="T9" fmla="*/ 1339 h 1339"/>
                <a:gd name="T10" fmla="*/ 72 w 349"/>
                <a:gd name="T11" fmla="*/ 1300 h 1339"/>
                <a:gd name="T12" fmla="*/ 280 w 349"/>
                <a:gd name="T13" fmla="*/ 621 h 1339"/>
                <a:gd name="T14" fmla="*/ 349 w 349"/>
                <a:gd name="T15" fmla="*/ 50 h 1339"/>
                <a:gd name="T16" fmla="*/ 50 w 349"/>
                <a:gd name="T17" fmla="*/ 0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1339">
                  <a:moveTo>
                    <a:pt x="50" y="0"/>
                  </a:moveTo>
                  <a:lnTo>
                    <a:pt x="37" y="176"/>
                  </a:lnTo>
                  <a:lnTo>
                    <a:pt x="70" y="652"/>
                  </a:lnTo>
                  <a:lnTo>
                    <a:pt x="0" y="1339"/>
                  </a:lnTo>
                  <a:lnTo>
                    <a:pt x="174" y="1339"/>
                  </a:lnTo>
                  <a:lnTo>
                    <a:pt x="72" y="1300"/>
                  </a:lnTo>
                  <a:lnTo>
                    <a:pt x="280" y="621"/>
                  </a:lnTo>
                  <a:lnTo>
                    <a:pt x="349" y="50"/>
                  </a:lnTo>
                  <a:lnTo>
                    <a:pt x="50" y="0"/>
                  </a:lnTo>
                  <a:close/>
                </a:path>
              </a:pathLst>
            </a:custGeom>
            <a:solidFill>
              <a:srgbClr val="86C0F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5" name="Freeform 31"/>
            <p:cNvSpPr/>
            <p:nvPr/>
          </p:nvSpPr>
          <p:spPr bwMode="auto">
            <a:xfrm>
              <a:off x="6403718" y="3780599"/>
              <a:ext cx="686285" cy="2162936"/>
            </a:xfrm>
            <a:custGeom>
              <a:avLst/>
              <a:gdLst>
                <a:gd name="T0" fmla="*/ 0 w 422"/>
                <a:gd name="T1" fmla="*/ 40 h 1330"/>
                <a:gd name="T2" fmla="*/ 160 w 422"/>
                <a:gd name="T3" fmla="*/ 665 h 1330"/>
                <a:gd name="T4" fmla="*/ 254 w 422"/>
                <a:gd name="T5" fmla="*/ 1330 h 1330"/>
                <a:gd name="T6" fmla="*/ 422 w 422"/>
                <a:gd name="T7" fmla="*/ 1294 h 1330"/>
                <a:gd name="T8" fmla="*/ 301 w 422"/>
                <a:gd name="T9" fmla="*/ 1265 h 1330"/>
                <a:gd name="T10" fmla="*/ 353 w 422"/>
                <a:gd name="T11" fmla="*/ 565 h 1330"/>
                <a:gd name="T12" fmla="*/ 306 w 422"/>
                <a:gd name="T13" fmla="*/ 0 h 1330"/>
                <a:gd name="T14" fmla="*/ 0 w 422"/>
                <a:gd name="T15" fmla="*/ 40 h 1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2" h="1330">
                  <a:moveTo>
                    <a:pt x="0" y="40"/>
                  </a:moveTo>
                  <a:lnTo>
                    <a:pt x="160" y="665"/>
                  </a:lnTo>
                  <a:lnTo>
                    <a:pt x="254" y="1330"/>
                  </a:lnTo>
                  <a:lnTo>
                    <a:pt x="422" y="1294"/>
                  </a:lnTo>
                  <a:lnTo>
                    <a:pt x="301" y="1265"/>
                  </a:lnTo>
                  <a:lnTo>
                    <a:pt x="353" y="565"/>
                  </a:lnTo>
                  <a:lnTo>
                    <a:pt x="306" y="0"/>
                  </a:lnTo>
                  <a:lnTo>
                    <a:pt x="0" y="40"/>
                  </a:lnTo>
                  <a:close/>
                </a:path>
              </a:pathLst>
            </a:custGeom>
            <a:solidFill>
              <a:srgbClr val="86C0F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6" name="Freeform 32"/>
            <p:cNvSpPr/>
            <p:nvPr/>
          </p:nvSpPr>
          <p:spPr bwMode="auto">
            <a:xfrm>
              <a:off x="6042686" y="2653597"/>
              <a:ext cx="894447" cy="1401842"/>
            </a:xfrm>
            <a:custGeom>
              <a:avLst/>
              <a:gdLst>
                <a:gd name="T0" fmla="*/ 390 w 550"/>
                <a:gd name="T1" fmla="*/ 31 h 862"/>
                <a:gd name="T2" fmla="*/ 461 w 550"/>
                <a:gd name="T3" fmla="*/ 72 h 862"/>
                <a:gd name="T4" fmla="*/ 523 w 550"/>
                <a:gd name="T5" fmla="*/ 401 h 862"/>
                <a:gd name="T6" fmla="*/ 550 w 550"/>
                <a:gd name="T7" fmla="*/ 816 h 862"/>
                <a:gd name="T8" fmla="*/ 266 w 550"/>
                <a:gd name="T9" fmla="*/ 862 h 862"/>
                <a:gd name="T10" fmla="*/ 0 w 550"/>
                <a:gd name="T11" fmla="*/ 781 h 862"/>
                <a:gd name="T12" fmla="*/ 68 w 550"/>
                <a:gd name="T13" fmla="*/ 349 h 862"/>
                <a:gd name="T14" fmla="*/ 120 w 550"/>
                <a:gd name="T15" fmla="*/ 85 h 862"/>
                <a:gd name="T16" fmla="*/ 203 w 550"/>
                <a:gd name="T17" fmla="*/ 0 h 862"/>
                <a:gd name="T18" fmla="*/ 297 w 550"/>
                <a:gd name="T19" fmla="*/ 0 h 862"/>
                <a:gd name="T20" fmla="*/ 390 w 550"/>
                <a:gd name="T21" fmla="*/ 31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0" h="862">
                  <a:moveTo>
                    <a:pt x="390" y="31"/>
                  </a:moveTo>
                  <a:lnTo>
                    <a:pt x="461" y="72"/>
                  </a:lnTo>
                  <a:lnTo>
                    <a:pt x="523" y="401"/>
                  </a:lnTo>
                  <a:lnTo>
                    <a:pt x="550" y="816"/>
                  </a:lnTo>
                  <a:lnTo>
                    <a:pt x="266" y="862"/>
                  </a:lnTo>
                  <a:lnTo>
                    <a:pt x="0" y="781"/>
                  </a:lnTo>
                  <a:lnTo>
                    <a:pt x="68" y="349"/>
                  </a:lnTo>
                  <a:lnTo>
                    <a:pt x="120" y="85"/>
                  </a:lnTo>
                  <a:lnTo>
                    <a:pt x="203" y="0"/>
                  </a:lnTo>
                  <a:lnTo>
                    <a:pt x="297" y="0"/>
                  </a:lnTo>
                  <a:lnTo>
                    <a:pt x="390" y="31"/>
                  </a:ln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7" name="Freeform 34"/>
            <p:cNvSpPr/>
            <p:nvPr/>
          </p:nvSpPr>
          <p:spPr bwMode="auto">
            <a:xfrm>
              <a:off x="6068707" y="3318739"/>
              <a:ext cx="118718" cy="341517"/>
            </a:xfrm>
            <a:custGeom>
              <a:avLst/>
              <a:gdLst>
                <a:gd name="T0" fmla="*/ 0 w 73"/>
                <a:gd name="T1" fmla="*/ 185 h 210"/>
                <a:gd name="T2" fmla="*/ 0 w 73"/>
                <a:gd name="T3" fmla="*/ 54 h 210"/>
                <a:gd name="T4" fmla="*/ 31 w 73"/>
                <a:gd name="T5" fmla="*/ 21 h 210"/>
                <a:gd name="T6" fmla="*/ 71 w 73"/>
                <a:gd name="T7" fmla="*/ 0 h 210"/>
                <a:gd name="T8" fmla="*/ 73 w 73"/>
                <a:gd name="T9" fmla="*/ 112 h 210"/>
                <a:gd name="T10" fmla="*/ 11 w 73"/>
                <a:gd name="T11" fmla="*/ 210 h 210"/>
                <a:gd name="T12" fmla="*/ 0 w 73"/>
                <a:gd name="T13" fmla="*/ 185 h 210"/>
              </a:gdLst>
              <a:ahLst/>
              <a:cxnLst>
                <a:cxn ang="0">
                  <a:pos x="T0" y="T1"/>
                </a:cxn>
                <a:cxn ang="0">
                  <a:pos x="T2" y="T3"/>
                </a:cxn>
                <a:cxn ang="0">
                  <a:pos x="T4" y="T5"/>
                </a:cxn>
                <a:cxn ang="0">
                  <a:pos x="T6" y="T7"/>
                </a:cxn>
                <a:cxn ang="0">
                  <a:pos x="T8" y="T9"/>
                </a:cxn>
                <a:cxn ang="0">
                  <a:pos x="T10" y="T11"/>
                </a:cxn>
                <a:cxn ang="0">
                  <a:pos x="T12" y="T13"/>
                </a:cxn>
              </a:cxnLst>
              <a:rect l="0" t="0" r="r" b="b"/>
              <a:pathLst>
                <a:path w="73" h="210">
                  <a:moveTo>
                    <a:pt x="0" y="185"/>
                  </a:moveTo>
                  <a:lnTo>
                    <a:pt x="0" y="54"/>
                  </a:lnTo>
                  <a:lnTo>
                    <a:pt x="31" y="21"/>
                  </a:lnTo>
                  <a:lnTo>
                    <a:pt x="71" y="0"/>
                  </a:lnTo>
                  <a:lnTo>
                    <a:pt x="73" y="112"/>
                  </a:lnTo>
                  <a:lnTo>
                    <a:pt x="11" y="210"/>
                  </a:lnTo>
                  <a:lnTo>
                    <a:pt x="0" y="185"/>
                  </a:lnTo>
                  <a:close/>
                </a:path>
              </a:pathLst>
            </a:custGeom>
            <a:solidFill>
              <a:srgbClr val="002487"/>
            </a:solidFill>
            <a:ln>
              <a:noFill/>
            </a:ln>
          </p:spPr>
          <p:txBody>
            <a:bodyPr vert="horz" wrap="square" lIns="91440" tIns="45720" rIns="91440" bIns="45720" numCol="1" anchor="t" anchorCtr="0" compatLnSpc="1"/>
            <a:lstStyle/>
            <a:p>
              <a:endParaRPr lang="zh-CN" altLang="en-US"/>
            </a:p>
          </p:txBody>
        </p:sp>
        <p:sp>
          <p:nvSpPr>
            <p:cNvPr id="278" name="Freeform 35"/>
            <p:cNvSpPr/>
            <p:nvPr/>
          </p:nvSpPr>
          <p:spPr bwMode="auto">
            <a:xfrm>
              <a:off x="7340448" y="2362494"/>
              <a:ext cx="0" cy="3253"/>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lnTo>
                    <a:pt x="0" y="2"/>
                  </a:lnTo>
                  <a:lnTo>
                    <a:pt x="0" y="0"/>
                  </a:lnTo>
                  <a:lnTo>
                    <a:pt x="0" y="0"/>
                  </a:lnTo>
                  <a:close/>
                </a:path>
              </a:pathLst>
            </a:custGeom>
            <a:solidFill>
              <a:srgbClr val="001E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9" name="Freeform 36"/>
            <p:cNvSpPr/>
            <p:nvPr/>
          </p:nvSpPr>
          <p:spPr bwMode="auto">
            <a:xfrm>
              <a:off x="7340448" y="2362494"/>
              <a:ext cx="0" cy="3253"/>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lnTo>
                    <a:pt x="0" y="2"/>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0" name="Freeform 37"/>
            <p:cNvSpPr/>
            <p:nvPr/>
          </p:nvSpPr>
          <p:spPr bwMode="auto">
            <a:xfrm>
              <a:off x="7340448" y="2362494"/>
              <a:ext cx="104081" cy="115465"/>
            </a:xfrm>
            <a:custGeom>
              <a:avLst/>
              <a:gdLst>
                <a:gd name="T0" fmla="*/ 0 w 64"/>
                <a:gd name="T1" fmla="*/ 0 h 71"/>
                <a:gd name="T2" fmla="*/ 0 w 64"/>
                <a:gd name="T3" fmla="*/ 2 h 71"/>
                <a:gd name="T4" fmla="*/ 33 w 64"/>
                <a:gd name="T5" fmla="*/ 56 h 71"/>
                <a:gd name="T6" fmla="*/ 54 w 64"/>
                <a:gd name="T7" fmla="*/ 71 h 71"/>
                <a:gd name="T8" fmla="*/ 64 w 64"/>
                <a:gd name="T9" fmla="*/ 50 h 71"/>
                <a:gd name="T10" fmla="*/ 0 w 64"/>
                <a:gd name="T11" fmla="*/ 0 h 71"/>
              </a:gdLst>
              <a:ahLst/>
              <a:cxnLst>
                <a:cxn ang="0">
                  <a:pos x="T0" y="T1"/>
                </a:cxn>
                <a:cxn ang="0">
                  <a:pos x="T2" y="T3"/>
                </a:cxn>
                <a:cxn ang="0">
                  <a:pos x="T4" y="T5"/>
                </a:cxn>
                <a:cxn ang="0">
                  <a:pos x="T6" y="T7"/>
                </a:cxn>
                <a:cxn ang="0">
                  <a:pos x="T8" y="T9"/>
                </a:cxn>
                <a:cxn ang="0">
                  <a:pos x="T10" y="T11"/>
                </a:cxn>
              </a:cxnLst>
              <a:rect l="0" t="0" r="r" b="b"/>
              <a:pathLst>
                <a:path w="64" h="71">
                  <a:moveTo>
                    <a:pt x="0" y="0"/>
                  </a:moveTo>
                  <a:lnTo>
                    <a:pt x="0" y="2"/>
                  </a:lnTo>
                  <a:lnTo>
                    <a:pt x="33" y="56"/>
                  </a:lnTo>
                  <a:lnTo>
                    <a:pt x="54" y="71"/>
                  </a:lnTo>
                  <a:lnTo>
                    <a:pt x="64" y="50"/>
                  </a:lnTo>
                  <a:lnTo>
                    <a:pt x="0" y="0"/>
                  </a:lnTo>
                  <a:close/>
                </a:path>
              </a:pathLst>
            </a:custGeom>
            <a:solidFill>
              <a:srgbClr val="EDA28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1" name="Freeform 39"/>
            <p:cNvSpPr/>
            <p:nvPr/>
          </p:nvSpPr>
          <p:spPr bwMode="auto">
            <a:xfrm>
              <a:off x="6387455" y="2390140"/>
              <a:ext cx="330133" cy="427709"/>
            </a:xfrm>
            <a:custGeom>
              <a:avLst/>
              <a:gdLst>
                <a:gd name="T0" fmla="*/ 85 w 98"/>
                <a:gd name="T1" fmla="*/ 33 h 127"/>
                <a:gd name="T2" fmla="*/ 73 w 98"/>
                <a:gd name="T3" fmla="*/ 63 h 127"/>
                <a:gd name="T4" fmla="*/ 82 w 98"/>
                <a:gd name="T5" fmla="*/ 78 h 127"/>
                <a:gd name="T6" fmla="*/ 93 w 98"/>
                <a:gd name="T7" fmla="*/ 84 h 127"/>
                <a:gd name="T8" fmla="*/ 0 w 98"/>
                <a:gd name="T9" fmla="*/ 71 h 127"/>
                <a:gd name="T10" fmla="*/ 25 w 98"/>
                <a:gd name="T11" fmla="*/ 56 h 127"/>
                <a:gd name="T12" fmla="*/ 43 w 98"/>
                <a:gd name="T13" fmla="*/ 0 h 127"/>
                <a:gd name="T14" fmla="*/ 85 w 98"/>
                <a:gd name="T15" fmla="*/ 33 h 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27">
                  <a:moveTo>
                    <a:pt x="85" y="33"/>
                  </a:moveTo>
                  <a:cubicBezTo>
                    <a:pt x="85" y="33"/>
                    <a:pt x="67" y="33"/>
                    <a:pt x="73" y="63"/>
                  </a:cubicBezTo>
                  <a:cubicBezTo>
                    <a:pt x="74" y="69"/>
                    <a:pt x="77" y="74"/>
                    <a:pt x="82" y="78"/>
                  </a:cubicBezTo>
                  <a:cubicBezTo>
                    <a:pt x="85" y="79"/>
                    <a:pt x="88" y="82"/>
                    <a:pt x="93" y="84"/>
                  </a:cubicBezTo>
                  <a:cubicBezTo>
                    <a:pt x="93" y="84"/>
                    <a:pt x="98" y="127"/>
                    <a:pt x="0" y="71"/>
                  </a:cubicBezTo>
                  <a:cubicBezTo>
                    <a:pt x="25" y="56"/>
                    <a:pt x="25" y="56"/>
                    <a:pt x="25" y="56"/>
                  </a:cubicBezTo>
                  <a:cubicBezTo>
                    <a:pt x="25" y="56"/>
                    <a:pt x="46" y="33"/>
                    <a:pt x="43" y="0"/>
                  </a:cubicBezTo>
                  <a:lnTo>
                    <a:pt x="85" y="33"/>
                  </a:lnTo>
                  <a:close/>
                </a:path>
              </a:pathLst>
            </a:custGeom>
            <a:solidFill>
              <a:srgbClr val="EDB6B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2" name="Freeform 40"/>
            <p:cNvSpPr/>
            <p:nvPr/>
          </p:nvSpPr>
          <p:spPr bwMode="auto">
            <a:xfrm>
              <a:off x="6515931" y="2390140"/>
              <a:ext cx="147990" cy="201657"/>
            </a:xfrm>
            <a:custGeom>
              <a:avLst/>
              <a:gdLst>
                <a:gd name="T0" fmla="*/ 0 w 44"/>
                <a:gd name="T1" fmla="*/ 33 h 60"/>
                <a:gd name="T2" fmla="*/ 5 w 44"/>
                <a:gd name="T3" fmla="*/ 0 h 60"/>
                <a:gd name="T4" fmla="*/ 29 w 44"/>
                <a:gd name="T5" fmla="*/ 20 h 60"/>
                <a:gd name="T6" fmla="*/ 44 w 44"/>
                <a:gd name="T7" fmla="*/ 37 h 60"/>
                <a:gd name="T8" fmla="*/ 34 w 44"/>
                <a:gd name="T9" fmla="*/ 60 h 60"/>
                <a:gd name="T10" fmla="*/ 0 w 44"/>
                <a:gd name="T11" fmla="*/ 33 h 60"/>
              </a:gdLst>
              <a:ahLst/>
              <a:cxnLst>
                <a:cxn ang="0">
                  <a:pos x="T0" y="T1"/>
                </a:cxn>
                <a:cxn ang="0">
                  <a:pos x="T2" y="T3"/>
                </a:cxn>
                <a:cxn ang="0">
                  <a:pos x="T4" y="T5"/>
                </a:cxn>
                <a:cxn ang="0">
                  <a:pos x="T6" y="T7"/>
                </a:cxn>
                <a:cxn ang="0">
                  <a:pos x="T8" y="T9"/>
                </a:cxn>
                <a:cxn ang="0">
                  <a:pos x="T10" y="T11"/>
                </a:cxn>
              </a:cxnLst>
              <a:rect l="0" t="0" r="r" b="b"/>
              <a:pathLst>
                <a:path w="44" h="60">
                  <a:moveTo>
                    <a:pt x="0" y="33"/>
                  </a:moveTo>
                  <a:cubicBezTo>
                    <a:pt x="4" y="24"/>
                    <a:pt x="6" y="13"/>
                    <a:pt x="5" y="0"/>
                  </a:cubicBezTo>
                  <a:cubicBezTo>
                    <a:pt x="29" y="20"/>
                    <a:pt x="29" y="20"/>
                    <a:pt x="29" y="20"/>
                  </a:cubicBezTo>
                  <a:cubicBezTo>
                    <a:pt x="44" y="37"/>
                    <a:pt x="44" y="37"/>
                    <a:pt x="44" y="37"/>
                  </a:cubicBezTo>
                  <a:cubicBezTo>
                    <a:pt x="39" y="41"/>
                    <a:pt x="32" y="48"/>
                    <a:pt x="34" y="60"/>
                  </a:cubicBezTo>
                  <a:cubicBezTo>
                    <a:pt x="24" y="56"/>
                    <a:pt x="6" y="45"/>
                    <a:pt x="0" y="33"/>
                  </a:cubicBezTo>
                  <a:close/>
                </a:path>
              </a:pathLst>
            </a:custGeom>
            <a:solidFill>
              <a:srgbClr val="F3BB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3" name="Freeform 41"/>
            <p:cNvSpPr/>
            <p:nvPr/>
          </p:nvSpPr>
          <p:spPr bwMode="auto">
            <a:xfrm>
              <a:off x="6494789" y="2115302"/>
              <a:ext cx="328506" cy="483001"/>
            </a:xfrm>
            <a:custGeom>
              <a:avLst/>
              <a:gdLst>
                <a:gd name="T0" fmla="*/ 88 w 97"/>
                <a:gd name="T1" fmla="*/ 16 h 143"/>
                <a:gd name="T2" fmla="*/ 94 w 97"/>
                <a:gd name="T3" fmla="*/ 30 h 143"/>
                <a:gd name="T4" fmla="*/ 95 w 97"/>
                <a:gd name="T5" fmla="*/ 81 h 143"/>
                <a:gd name="T6" fmla="*/ 61 w 97"/>
                <a:gd name="T7" fmla="*/ 143 h 143"/>
                <a:gd name="T8" fmla="*/ 17 w 97"/>
                <a:gd name="T9" fmla="*/ 102 h 143"/>
                <a:gd name="T10" fmla="*/ 11 w 97"/>
                <a:gd name="T11" fmla="*/ 26 h 143"/>
                <a:gd name="T12" fmla="*/ 51 w 97"/>
                <a:gd name="T13" fmla="*/ 3 h 143"/>
                <a:gd name="T14" fmla="*/ 88 w 97"/>
                <a:gd name="T15" fmla="*/ 16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43">
                  <a:moveTo>
                    <a:pt x="88" y="16"/>
                  </a:moveTo>
                  <a:cubicBezTo>
                    <a:pt x="91" y="20"/>
                    <a:pt x="92" y="25"/>
                    <a:pt x="94" y="30"/>
                  </a:cubicBezTo>
                  <a:cubicBezTo>
                    <a:pt x="97" y="40"/>
                    <a:pt x="94" y="68"/>
                    <a:pt x="95" y="81"/>
                  </a:cubicBezTo>
                  <a:cubicBezTo>
                    <a:pt x="97" y="98"/>
                    <a:pt x="71" y="143"/>
                    <a:pt x="61" y="143"/>
                  </a:cubicBezTo>
                  <a:cubicBezTo>
                    <a:pt x="58" y="143"/>
                    <a:pt x="31" y="134"/>
                    <a:pt x="17" y="102"/>
                  </a:cubicBezTo>
                  <a:cubicBezTo>
                    <a:pt x="0" y="62"/>
                    <a:pt x="11" y="26"/>
                    <a:pt x="11" y="26"/>
                  </a:cubicBezTo>
                  <a:cubicBezTo>
                    <a:pt x="11" y="26"/>
                    <a:pt x="30" y="3"/>
                    <a:pt x="51" y="3"/>
                  </a:cubicBezTo>
                  <a:cubicBezTo>
                    <a:pt x="64" y="3"/>
                    <a:pt x="75" y="0"/>
                    <a:pt x="88" y="16"/>
                  </a:cubicBezTo>
                  <a:close/>
                </a:path>
              </a:pathLst>
            </a:custGeom>
            <a:solidFill>
              <a:srgbClr val="EDB6B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4" name="Freeform 42"/>
            <p:cNvSpPr/>
            <p:nvPr/>
          </p:nvSpPr>
          <p:spPr bwMode="auto">
            <a:xfrm>
              <a:off x="6447627" y="2251908"/>
              <a:ext cx="162626" cy="245567"/>
            </a:xfrm>
            <a:custGeom>
              <a:avLst/>
              <a:gdLst>
                <a:gd name="T0" fmla="*/ 30 w 48"/>
                <a:gd name="T1" fmla="*/ 20 h 73"/>
                <a:gd name="T2" fmla="*/ 9 w 48"/>
                <a:gd name="T3" fmla="*/ 14 h 73"/>
                <a:gd name="T4" fmla="*/ 36 w 48"/>
                <a:gd name="T5" fmla="*/ 37 h 73"/>
                <a:gd name="T6" fmla="*/ 30 w 48"/>
                <a:gd name="T7" fmla="*/ 20 h 73"/>
              </a:gdLst>
              <a:ahLst/>
              <a:cxnLst>
                <a:cxn ang="0">
                  <a:pos x="T0" y="T1"/>
                </a:cxn>
                <a:cxn ang="0">
                  <a:pos x="T2" y="T3"/>
                </a:cxn>
                <a:cxn ang="0">
                  <a:pos x="T4" y="T5"/>
                </a:cxn>
                <a:cxn ang="0">
                  <a:pos x="T6" y="T7"/>
                </a:cxn>
              </a:cxnLst>
              <a:rect l="0" t="0" r="r" b="b"/>
              <a:pathLst>
                <a:path w="48" h="73">
                  <a:moveTo>
                    <a:pt x="30" y="20"/>
                  </a:moveTo>
                  <a:cubicBezTo>
                    <a:pt x="30" y="20"/>
                    <a:pt x="18" y="2"/>
                    <a:pt x="9" y="14"/>
                  </a:cubicBezTo>
                  <a:cubicBezTo>
                    <a:pt x="0" y="25"/>
                    <a:pt x="24" y="73"/>
                    <a:pt x="36" y="37"/>
                  </a:cubicBezTo>
                  <a:cubicBezTo>
                    <a:pt x="48" y="0"/>
                    <a:pt x="30" y="20"/>
                    <a:pt x="30" y="20"/>
                  </a:cubicBezTo>
                  <a:close/>
                </a:path>
              </a:pathLst>
            </a:custGeom>
            <a:solidFill>
              <a:srgbClr val="EDB6B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5" name="Freeform 43"/>
            <p:cNvSpPr/>
            <p:nvPr/>
          </p:nvSpPr>
          <p:spPr bwMode="auto">
            <a:xfrm>
              <a:off x="6732224" y="2211252"/>
              <a:ext cx="76435" cy="40657"/>
            </a:xfrm>
            <a:custGeom>
              <a:avLst/>
              <a:gdLst>
                <a:gd name="T0" fmla="*/ 22 w 23"/>
                <a:gd name="T1" fmla="*/ 10 h 12"/>
                <a:gd name="T2" fmla="*/ 5 w 23"/>
                <a:gd name="T3" fmla="*/ 4 h 12"/>
                <a:gd name="T4" fmla="*/ 6 w 23"/>
                <a:gd name="T5" fmla="*/ 9 h 12"/>
                <a:gd name="T6" fmla="*/ 22 w 23"/>
                <a:gd name="T7" fmla="*/ 10 h 12"/>
              </a:gdLst>
              <a:ahLst/>
              <a:cxnLst>
                <a:cxn ang="0">
                  <a:pos x="T0" y="T1"/>
                </a:cxn>
                <a:cxn ang="0">
                  <a:pos x="T2" y="T3"/>
                </a:cxn>
                <a:cxn ang="0">
                  <a:pos x="T4" y="T5"/>
                </a:cxn>
                <a:cxn ang="0">
                  <a:pos x="T6" y="T7"/>
                </a:cxn>
              </a:cxnLst>
              <a:rect l="0" t="0" r="r" b="b"/>
              <a:pathLst>
                <a:path w="23" h="12">
                  <a:moveTo>
                    <a:pt x="22" y="10"/>
                  </a:moveTo>
                  <a:cubicBezTo>
                    <a:pt x="23" y="8"/>
                    <a:pt x="10" y="0"/>
                    <a:pt x="5" y="4"/>
                  </a:cubicBezTo>
                  <a:cubicBezTo>
                    <a:pt x="0" y="7"/>
                    <a:pt x="4" y="11"/>
                    <a:pt x="6" y="9"/>
                  </a:cubicBezTo>
                  <a:cubicBezTo>
                    <a:pt x="10" y="6"/>
                    <a:pt x="21" y="12"/>
                    <a:pt x="22" y="10"/>
                  </a:cubicBezTo>
                  <a:close/>
                </a:path>
              </a:pathLst>
            </a:custGeom>
            <a:solidFill>
              <a:srgbClr val="2323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6" name="Freeform 44"/>
            <p:cNvSpPr/>
            <p:nvPr/>
          </p:nvSpPr>
          <p:spPr bwMode="auto">
            <a:xfrm>
              <a:off x="6603750" y="2221009"/>
              <a:ext cx="81313" cy="47162"/>
            </a:xfrm>
            <a:custGeom>
              <a:avLst/>
              <a:gdLst>
                <a:gd name="T0" fmla="*/ 2 w 24"/>
                <a:gd name="T1" fmla="*/ 13 h 14"/>
                <a:gd name="T2" fmla="*/ 18 w 24"/>
                <a:gd name="T3" fmla="*/ 3 h 14"/>
                <a:gd name="T4" fmla="*/ 18 w 24"/>
                <a:gd name="T5" fmla="*/ 9 h 14"/>
                <a:gd name="T6" fmla="*/ 2 w 24"/>
                <a:gd name="T7" fmla="*/ 13 h 14"/>
              </a:gdLst>
              <a:ahLst/>
              <a:cxnLst>
                <a:cxn ang="0">
                  <a:pos x="T0" y="T1"/>
                </a:cxn>
                <a:cxn ang="0">
                  <a:pos x="T2" y="T3"/>
                </a:cxn>
                <a:cxn ang="0">
                  <a:pos x="T4" y="T5"/>
                </a:cxn>
                <a:cxn ang="0">
                  <a:pos x="T6" y="T7"/>
                </a:cxn>
              </a:cxnLst>
              <a:rect l="0" t="0" r="r" b="b"/>
              <a:pathLst>
                <a:path w="24" h="14">
                  <a:moveTo>
                    <a:pt x="2" y="13"/>
                  </a:moveTo>
                  <a:cubicBezTo>
                    <a:pt x="0" y="12"/>
                    <a:pt x="12" y="0"/>
                    <a:pt x="18" y="3"/>
                  </a:cubicBezTo>
                  <a:cubicBezTo>
                    <a:pt x="24" y="5"/>
                    <a:pt x="21" y="10"/>
                    <a:pt x="18" y="9"/>
                  </a:cubicBezTo>
                  <a:cubicBezTo>
                    <a:pt x="13" y="6"/>
                    <a:pt x="3" y="14"/>
                    <a:pt x="2" y="13"/>
                  </a:cubicBezTo>
                  <a:close/>
                </a:path>
              </a:pathLst>
            </a:custGeom>
            <a:solidFill>
              <a:srgbClr val="2323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7" name="Freeform 45"/>
            <p:cNvSpPr/>
            <p:nvPr/>
          </p:nvSpPr>
          <p:spPr bwMode="auto">
            <a:xfrm>
              <a:off x="6748486" y="2258413"/>
              <a:ext cx="34152" cy="43909"/>
            </a:xfrm>
            <a:custGeom>
              <a:avLst/>
              <a:gdLst>
                <a:gd name="T0" fmla="*/ 10 w 10"/>
                <a:gd name="T1" fmla="*/ 6 h 13"/>
                <a:gd name="T2" fmla="*/ 5 w 10"/>
                <a:gd name="T3" fmla="*/ 2 h 13"/>
                <a:gd name="T4" fmla="*/ 4 w 10"/>
                <a:gd name="T5" fmla="*/ 11 h 13"/>
                <a:gd name="T6" fmla="*/ 10 w 10"/>
                <a:gd name="T7" fmla="*/ 6 h 13"/>
              </a:gdLst>
              <a:ahLst/>
              <a:cxnLst>
                <a:cxn ang="0">
                  <a:pos x="T0" y="T1"/>
                </a:cxn>
                <a:cxn ang="0">
                  <a:pos x="T2" y="T3"/>
                </a:cxn>
                <a:cxn ang="0">
                  <a:pos x="T4" y="T5"/>
                </a:cxn>
                <a:cxn ang="0">
                  <a:pos x="T6" y="T7"/>
                </a:cxn>
              </a:cxnLst>
              <a:rect l="0" t="0" r="r" b="b"/>
              <a:pathLst>
                <a:path w="10" h="13">
                  <a:moveTo>
                    <a:pt x="10" y="6"/>
                  </a:moveTo>
                  <a:cubicBezTo>
                    <a:pt x="10" y="6"/>
                    <a:pt x="8" y="0"/>
                    <a:pt x="5" y="2"/>
                  </a:cubicBezTo>
                  <a:cubicBezTo>
                    <a:pt x="1" y="3"/>
                    <a:pt x="0" y="9"/>
                    <a:pt x="4" y="11"/>
                  </a:cubicBezTo>
                  <a:cubicBezTo>
                    <a:pt x="8" y="13"/>
                    <a:pt x="10" y="9"/>
                    <a:pt x="10" y="6"/>
                  </a:cubicBezTo>
                  <a:close/>
                </a:path>
              </a:pathLst>
            </a:custGeom>
            <a:solidFill>
              <a:srgbClr val="2323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8" name="Freeform 46"/>
            <p:cNvSpPr/>
            <p:nvPr/>
          </p:nvSpPr>
          <p:spPr bwMode="auto">
            <a:xfrm>
              <a:off x="6626517" y="2268171"/>
              <a:ext cx="34152" cy="43909"/>
            </a:xfrm>
            <a:custGeom>
              <a:avLst/>
              <a:gdLst>
                <a:gd name="T0" fmla="*/ 10 w 10"/>
                <a:gd name="T1" fmla="*/ 6 h 13"/>
                <a:gd name="T2" fmla="*/ 5 w 10"/>
                <a:gd name="T3" fmla="*/ 1 h 13"/>
                <a:gd name="T4" fmla="*/ 4 w 10"/>
                <a:gd name="T5" fmla="*/ 10 h 13"/>
                <a:gd name="T6" fmla="*/ 10 w 10"/>
                <a:gd name="T7" fmla="*/ 6 h 13"/>
              </a:gdLst>
              <a:ahLst/>
              <a:cxnLst>
                <a:cxn ang="0">
                  <a:pos x="T0" y="T1"/>
                </a:cxn>
                <a:cxn ang="0">
                  <a:pos x="T2" y="T3"/>
                </a:cxn>
                <a:cxn ang="0">
                  <a:pos x="T4" y="T5"/>
                </a:cxn>
                <a:cxn ang="0">
                  <a:pos x="T6" y="T7"/>
                </a:cxn>
              </a:cxnLst>
              <a:rect l="0" t="0" r="r" b="b"/>
              <a:pathLst>
                <a:path w="10" h="13">
                  <a:moveTo>
                    <a:pt x="10" y="6"/>
                  </a:moveTo>
                  <a:cubicBezTo>
                    <a:pt x="10" y="6"/>
                    <a:pt x="8" y="0"/>
                    <a:pt x="5" y="1"/>
                  </a:cubicBezTo>
                  <a:cubicBezTo>
                    <a:pt x="2" y="3"/>
                    <a:pt x="0" y="8"/>
                    <a:pt x="4" y="10"/>
                  </a:cubicBezTo>
                  <a:cubicBezTo>
                    <a:pt x="8" y="13"/>
                    <a:pt x="10" y="8"/>
                    <a:pt x="10" y="6"/>
                  </a:cubicBezTo>
                  <a:close/>
                </a:path>
              </a:pathLst>
            </a:custGeom>
            <a:solidFill>
              <a:srgbClr val="2323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9" name="Freeform 47"/>
            <p:cNvSpPr/>
            <p:nvPr/>
          </p:nvSpPr>
          <p:spPr bwMode="auto">
            <a:xfrm>
              <a:off x="6694820" y="2295818"/>
              <a:ext cx="97575" cy="126848"/>
            </a:xfrm>
            <a:custGeom>
              <a:avLst/>
              <a:gdLst>
                <a:gd name="T0" fmla="*/ 6 w 29"/>
                <a:gd name="T1" fmla="*/ 0 h 38"/>
                <a:gd name="T2" fmla="*/ 14 w 29"/>
                <a:gd name="T3" fmla="*/ 17 h 38"/>
                <a:gd name="T4" fmla="*/ 16 w 29"/>
                <a:gd name="T5" fmla="*/ 33 h 38"/>
                <a:gd name="T6" fmla="*/ 6 w 29"/>
                <a:gd name="T7" fmla="*/ 0 h 38"/>
              </a:gdLst>
              <a:ahLst/>
              <a:cxnLst>
                <a:cxn ang="0">
                  <a:pos x="T0" y="T1"/>
                </a:cxn>
                <a:cxn ang="0">
                  <a:pos x="T2" y="T3"/>
                </a:cxn>
                <a:cxn ang="0">
                  <a:pos x="T4" y="T5"/>
                </a:cxn>
                <a:cxn ang="0">
                  <a:pos x="T6" y="T7"/>
                </a:cxn>
              </a:cxnLst>
              <a:rect l="0" t="0" r="r" b="b"/>
              <a:pathLst>
                <a:path w="29" h="38">
                  <a:moveTo>
                    <a:pt x="6" y="0"/>
                  </a:moveTo>
                  <a:cubicBezTo>
                    <a:pt x="6" y="0"/>
                    <a:pt x="6" y="10"/>
                    <a:pt x="14" y="17"/>
                  </a:cubicBezTo>
                  <a:cubicBezTo>
                    <a:pt x="18" y="22"/>
                    <a:pt x="29" y="29"/>
                    <a:pt x="16" y="33"/>
                  </a:cubicBezTo>
                  <a:cubicBezTo>
                    <a:pt x="0" y="38"/>
                    <a:pt x="6" y="0"/>
                    <a:pt x="6" y="0"/>
                  </a:cubicBezTo>
                  <a:close/>
                </a:path>
              </a:pathLst>
            </a:custGeom>
            <a:solidFill>
              <a:srgbClr val="DD948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0" name="Freeform 48"/>
            <p:cNvSpPr/>
            <p:nvPr/>
          </p:nvSpPr>
          <p:spPr bwMode="auto">
            <a:xfrm>
              <a:off x="6654163" y="2443807"/>
              <a:ext cx="113839" cy="63424"/>
            </a:xfrm>
            <a:custGeom>
              <a:avLst/>
              <a:gdLst>
                <a:gd name="T0" fmla="*/ 34 w 34"/>
                <a:gd name="T1" fmla="*/ 4 h 19"/>
                <a:gd name="T2" fmla="*/ 0 w 34"/>
                <a:gd name="T3" fmla="*/ 0 h 19"/>
                <a:gd name="T4" fmla="*/ 13 w 34"/>
                <a:gd name="T5" fmla="*/ 16 h 19"/>
                <a:gd name="T6" fmla="*/ 34 w 34"/>
                <a:gd name="T7" fmla="*/ 4 h 19"/>
              </a:gdLst>
              <a:ahLst/>
              <a:cxnLst>
                <a:cxn ang="0">
                  <a:pos x="T0" y="T1"/>
                </a:cxn>
                <a:cxn ang="0">
                  <a:pos x="T2" y="T3"/>
                </a:cxn>
                <a:cxn ang="0">
                  <a:pos x="T4" y="T5"/>
                </a:cxn>
                <a:cxn ang="0">
                  <a:pos x="T6" y="T7"/>
                </a:cxn>
              </a:cxnLst>
              <a:rect l="0" t="0" r="r" b="b"/>
              <a:pathLst>
                <a:path w="34" h="19">
                  <a:moveTo>
                    <a:pt x="34" y="4"/>
                  </a:moveTo>
                  <a:cubicBezTo>
                    <a:pt x="0" y="0"/>
                    <a:pt x="0" y="0"/>
                    <a:pt x="0" y="0"/>
                  </a:cubicBezTo>
                  <a:cubicBezTo>
                    <a:pt x="0" y="0"/>
                    <a:pt x="0" y="14"/>
                    <a:pt x="13" y="16"/>
                  </a:cubicBezTo>
                  <a:cubicBezTo>
                    <a:pt x="25" y="19"/>
                    <a:pt x="34" y="4"/>
                    <a:pt x="34" y="4"/>
                  </a:cubicBezTo>
                  <a:close/>
                </a:path>
              </a:pathLst>
            </a:custGeom>
            <a:solidFill>
              <a:srgbClr val="A574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1" name="Freeform 49"/>
            <p:cNvSpPr/>
            <p:nvPr/>
          </p:nvSpPr>
          <p:spPr bwMode="auto">
            <a:xfrm>
              <a:off x="6667173" y="2447060"/>
              <a:ext cx="81313" cy="30899"/>
            </a:xfrm>
            <a:custGeom>
              <a:avLst/>
              <a:gdLst>
                <a:gd name="T0" fmla="*/ 24 w 24"/>
                <a:gd name="T1" fmla="*/ 2 h 9"/>
                <a:gd name="T2" fmla="*/ 11 w 24"/>
                <a:gd name="T3" fmla="*/ 7 h 9"/>
                <a:gd name="T4" fmla="*/ 0 w 24"/>
                <a:gd name="T5" fmla="*/ 0 h 9"/>
                <a:gd name="T6" fmla="*/ 24 w 24"/>
                <a:gd name="T7" fmla="*/ 2 h 9"/>
              </a:gdLst>
              <a:ahLst/>
              <a:cxnLst>
                <a:cxn ang="0">
                  <a:pos x="T0" y="T1"/>
                </a:cxn>
                <a:cxn ang="0">
                  <a:pos x="T2" y="T3"/>
                </a:cxn>
                <a:cxn ang="0">
                  <a:pos x="T4" y="T5"/>
                </a:cxn>
                <a:cxn ang="0">
                  <a:pos x="T6" y="T7"/>
                </a:cxn>
              </a:cxnLst>
              <a:rect l="0" t="0" r="r" b="b"/>
              <a:pathLst>
                <a:path w="24" h="9">
                  <a:moveTo>
                    <a:pt x="24" y="2"/>
                  </a:moveTo>
                  <a:cubicBezTo>
                    <a:pt x="24" y="2"/>
                    <a:pt x="21" y="9"/>
                    <a:pt x="11" y="7"/>
                  </a:cubicBezTo>
                  <a:cubicBezTo>
                    <a:pt x="1" y="6"/>
                    <a:pt x="0" y="0"/>
                    <a:pt x="0" y="0"/>
                  </a:cubicBezTo>
                  <a:lnTo>
                    <a:pt x="24" y="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2" name="Freeform 50"/>
            <p:cNvSpPr/>
            <p:nvPr/>
          </p:nvSpPr>
          <p:spPr bwMode="auto">
            <a:xfrm>
              <a:off x="6463890" y="1970563"/>
              <a:ext cx="466739" cy="328506"/>
            </a:xfrm>
            <a:custGeom>
              <a:avLst/>
              <a:gdLst>
                <a:gd name="T0" fmla="*/ 91 w 138"/>
                <a:gd name="T1" fmla="*/ 34 h 97"/>
                <a:gd name="T2" fmla="*/ 99 w 138"/>
                <a:gd name="T3" fmla="*/ 28 h 97"/>
                <a:gd name="T4" fmla="*/ 90 w 138"/>
                <a:gd name="T5" fmla="*/ 30 h 97"/>
                <a:gd name="T6" fmla="*/ 85 w 138"/>
                <a:gd name="T7" fmla="*/ 29 h 97"/>
                <a:gd name="T8" fmla="*/ 83 w 138"/>
                <a:gd name="T9" fmla="*/ 30 h 97"/>
                <a:gd name="T10" fmla="*/ 82 w 138"/>
                <a:gd name="T11" fmla="*/ 30 h 97"/>
                <a:gd name="T12" fmla="*/ 80 w 138"/>
                <a:gd name="T13" fmla="*/ 30 h 97"/>
                <a:gd name="T14" fmla="*/ 79 w 138"/>
                <a:gd name="T15" fmla="*/ 30 h 97"/>
                <a:gd name="T16" fmla="*/ 79 w 138"/>
                <a:gd name="T17" fmla="*/ 30 h 97"/>
                <a:gd name="T18" fmla="*/ 77 w 138"/>
                <a:gd name="T19" fmla="*/ 30 h 97"/>
                <a:gd name="T20" fmla="*/ 76 w 138"/>
                <a:gd name="T21" fmla="*/ 33 h 97"/>
                <a:gd name="T22" fmla="*/ 52 w 138"/>
                <a:gd name="T23" fmla="*/ 30 h 97"/>
                <a:gd name="T24" fmla="*/ 8 w 138"/>
                <a:gd name="T25" fmla="*/ 70 h 97"/>
                <a:gd name="T26" fmla="*/ 16 w 138"/>
                <a:gd name="T27" fmla="*/ 97 h 97"/>
                <a:gd name="T28" fmla="*/ 19 w 138"/>
                <a:gd name="T29" fmla="*/ 96 h 97"/>
                <a:gd name="T30" fmla="*/ 27 w 138"/>
                <a:gd name="T31" fmla="*/ 65 h 97"/>
                <a:gd name="T32" fmla="*/ 42 w 138"/>
                <a:gd name="T33" fmla="*/ 61 h 97"/>
                <a:gd name="T34" fmla="*/ 131 w 138"/>
                <a:gd name="T35" fmla="*/ 35 h 97"/>
                <a:gd name="T36" fmla="*/ 91 w 138"/>
                <a:gd name="T37" fmla="*/ 3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7">
                  <a:moveTo>
                    <a:pt x="91" y="34"/>
                  </a:moveTo>
                  <a:cubicBezTo>
                    <a:pt x="91" y="34"/>
                    <a:pt x="94" y="31"/>
                    <a:pt x="99" y="28"/>
                  </a:cubicBezTo>
                  <a:cubicBezTo>
                    <a:pt x="96" y="29"/>
                    <a:pt x="94" y="30"/>
                    <a:pt x="90" y="30"/>
                  </a:cubicBezTo>
                  <a:cubicBezTo>
                    <a:pt x="89" y="30"/>
                    <a:pt x="87" y="30"/>
                    <a:pt x="85" y="29"/>
                  </a:cubicBezTo>
                  <a:cubicBezTo>
                    <a:pt x="85" y="30"/>
                    <a:pt x="84" y="30"/>
                    <a:pt x="83" y="30"/>
                  </a:cubicBezTo>
                  <a:cubicBezTo>
                    <a:pt x="82" y="30"/>
                    <a:pt x="82" y="30"/>
                    <a:pt x="82" y="30"/>
                  </a:cubicBezTo>
                  <a:cubicBezTo>
                    <a:pt x="81" y="30"/>
                    <a:pt x="80" y="30"/>
                    <a:pt x="80" y="30"/>
                  </a:cubicBezTo>
                  <a:cubicBezTo>
                    <a:pt x="79" y="30"/>
                    <a:pt x="79" y="30"/>
                    <a:pt x="79" y="30"/>
                  </a:cubicBezTo>
                  <a:cubicBezTo>
                    <a:pt x="79" y="30"/>
                    <a:pt x="79" y="30"/>
                    <a:pt x="79" y="30"/>
                  </a:cubicBezTo>
                  <a:cubicBezTo>
                    <a:pt x="78" y="30"/>
                    <a:pt x="78" y="30"/>
                    <a:pt x="77" y="30"/>
                  </a:cubicBezTo>
                  <a:cubicBezTo>
                    <a:pt x="77" y="31"/>
                    <a:pt x="76" y="32"/>
                    <a:pt x="76" y="33"/>
                  </a:cubicBezTo>
                  <a:cubicBezTo>
                    <a:pt x="76" y="33"/>
                    <a:pt x="75" y="32"/>
                    <a:pt x="52" y="30"/>
                  </a:cubicBezTo>
                  <a:cubicBezTo>
                    <a:pt x="30" y="28"/>
                    <a:pt x="0" y="42"/>
                    <a:pt x="8" y="70"/>
                  </a:cubicBezTo>
                  <a:cubicBezTo>
                    <a:pt x="16" y="97"/>
                    <a:pt x="16" y="97"/>
                    <a:pt x="16" y="97"/>
                  </a:cubicBezTo>
                  <a:cubicBezTo>
                    <a:pt x="19" y="96"/>
                    <a:pt x="19" y="96"/>
                    <a:pt x="19" y="96"/>
                  </a:cubicBezTo>
                  <a:cubicBezTo>
                    <a:pt x="19" y="96"/>
                    <a:pt x="21" y="66"/>
                    <a:pt x="27" y="65"/>
                  </a:cubicBezTo>
                  <a:cubicBezTo>
                    <a:pt x="32" y="65"/>
                    <a:pt x="42" y="61"/>
                    <a:pt x="42" y="61"/>
                  </a:cubicBezTo>
                  <a:cubicBezTo>
                    <a:pt x="42" y="61"/>
                    <a:pt x="122" y="78"/>
                    <a:pt x="131" y="35"/>
                  </a:cubicBezTo>
                  <a:cubicBezTo>
                    <a:pt x="138" y="0"/>
                    <a:pt x="91" y="34"/>
                    <a:pt x="91" y="34"/>
                  </a:cubicBez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3" name="Freeform 51"/>
            <p:cNvSpPr/>
            <p:nvPr/>
          </p:nvSpPr>
          <p:spPr bwMode="auto">
            <a:xfrm>
              <a:off x="6419981" y="2058382"/>
              <a:ext cx="87819" cy="165879"/>
            </a:xfrm>
            <a:custGeom>
              <a:avLst/>
              <a:gdLst>
                <a:gd name="T0" fmla="*/ 21 w 26"/>
                <a:gd name="T1" fmla="*/ 25 h 49"/>
                <a:gd name="T2" fmla="*/ 19 w 26"/>
                <a:gd name="T3" fmla="*/ 4 h 49"/>
                <a:gd name="T4" fmla="*/ 24 w 26"/>
                <a:gd name="T5" fmla="*/ 30 h 49"/>
                <a:gd name="T6" fmla="*/ 7 w 26"/>
                <a:gd name="T7" fmla="*/ 42 h 49"/>
                <a:gd name="T8" fmla="*/ 21 w 26"/>
                <a:gd name="T9" fmla="*/ 25 h 49"/>
              </a:gdLst>
              <a:ahLst/>
              <a:cxnLst>
                <a:cxn ang="0">
                  <a:pos x="T0" y="T1"/>
                </a:cxn>
                <a:cxn ang="0">
                  <a:pos x="T2" y="T3"/>
                </a:cxn>
                <a:cxn ang="0">
                  <a:pos x="T4" y="T5"/>
                </a:cxn>
                <a:cxn ang="0">
                  <a:pos x="T6" y="T7"/>
                </a:cxn>
                <a:cxn ang="0">
                  <a:pos x="T8" y="T9"/>
                </a:cxn>
              </a:cxnLst>
              <a:rect l="0" t="0" r="r" b="b"/>
              <a:pathLst>
                <a:path w="26" h="49">
                  <a:moveTo>
                    <a:pt x="21" y="25"/>
                  </a:moveTo>
                  <a:cubicBezTo>
                    <a:pt x="21" y="25"/>
                    <a:pt x="12" y="8"/>
                    <a:pt x="19" y="4"/>
                  </a:cubicBezTo>
                  <a:cubicBezTo>
                    <a:pt x="26" y="0"/>
                    <a:pt x="24" y="30"/>
                    <a:pt x="24" y="30"/>
                  </a:cubicBezTo>
                  <a:cubicBezTo>
                    <a:pt x="24" y="30"/>
                    <a:pt x="0" y="49"/>
                    <a:pt x="7" y="42"/>
                  </a:cubicBezTo>
                  <a:cubicBezTo>
                    <a:pt x="13" y="35"/>
                    <a:pt x="21" y="25"/>
                    <a:pt x="21" y="25"/>
                  </a:cubicBez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4" name="Freeform 52"/>
            <p:cNvSpPr/>
            <p:nvPr/>
          </p:nvSpPr>
          <p:spPr bwMode="auto">
            <a:xfrm>
              <a:off x="6504547" y="1951049"/>
              <a:ext cx="362658" cy="188647"/>
            </a:xfrm>
            <a:custGeom>
              <a:avLst/>
              <a:gdLst>
                <a:gd name="T0" fmla="*/ 0 w 107"/>
                <a:gd name="T1" fmla="*/ 56 h 56"/>
                <a:gd name="T2" fmla="*/ 17 w 107"/>
                <a:gd name="T3" fmla="*/ 36 h 56"/>
                <a:gd name="T4" fmla="*/ 72 w 107"/>
                <a:gd name="T5" fmla="*/ 27 h 56"/>
                <a:gd name="T6" fmla="*/ 106 w 107"/>
                <a:gd name="T7" fmla="*/ 18 h 56"/>
                <a:gd name="T8" fmla="*/ 44 w 107"/>
                <a:gd name="T9" fmla="*/ 45 h 56"/>
                <a:gd name="T10" fmla="*/ 0 w 107"/>
                <a:gd name="T11" fmla="*/ 56 h 56"/>
              </a:gdLst>
              <a:ahLst/>
              <a:cxnLst>
                <a:cxn ang="0">
                  <a:pos x="T0" y="T1"/>
                </a:cxn>
                <a:cxn ang="0">
                  <a:pos x="T2" y="T3"/>
                </a:cxn>
                <a:cxn ang="0">
                  <a:pos x="T4" y="T5"/>
                </a:cxn>
                <a:cxn ang="0">
                  <a:pos x="T6" y="T7"/>
                </a:cxn>
                <a:cxn ang="0">
                  <a:pos x="T8" y="T9"/>
                </a:cxn>
                <a:cxn ang="0">
                  <a:pos x="T10" y="T11"/>
                </a:cxn>
              </a:cxnLst>
              <a:rect l="0" t="0" r="r" b="b"/>
              <a:pathLst>
                <a:path w="107" h="56">
                  <a:moveTo>
                    <a:pt x="0" y="56"/>
                  </a:moveTo>
                  <a:cubicBezTo>
                    <a:pt x="0" y="56"/>
                    <a:pt x="0" y="39"/>
                    <a:pt x="17" y="36"/>
                  </a:cubicBezTo>
                  <a:cubicBezTo>
                    <a:pt x="35" y="32"/>
                    <a:pt x="58" y="37"/>
                    <a:pt x="72" y="27"/>
                  </a:cubicBezTo>
                  <a:cubicBezTo>
                    <a:pt x="86" y="17"/>
                    <a:pt x="106" y="0"/>
                    <a:pt x="106" y="18"/>
                  </a:cubicBezTo>
                  <a:cubicBezTo>
                    <a:pt x="107" y="36"/>
                    <a:pt x="73" y="47"/>
                    <a:pt x="44" y="45"/>
                  </a:cubicBezTo>
                  <a:cubicBezTo>
                    <a:pt x="15" y="43"/>
                    <a:pt x="0" y="56"/>
                    <a:pt x="0" y="56"/>
                  </a:cubicBez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5" name="Freeform 53"/>
            <p:cNvSpPr/>
            <p:nvPr/>
          </p:nvSpPr>
          <p:spPr bwMode="auto">
            <a:xfrm>
              <a:off x="6234586" y="4021287"/>
              <a:ext cx="216294" cy="266707"/>
            </a:xfrm>
            <a:custGeom>
              <a:avLst/>
              <a:gdLst>
                <a:gd name="T0" fmla="*/ 56 w 64"/>
                <a:gd name="T1" fmla="*/ 79 h 79"/>
                <a:gd name="T2" fmla="*/ 8 w 64"/>
                <a:gd name="T3" fmla="*/ 79 h 79"/>
                <a:gd name="T4" fmla="*/ 0 w 64"/>
                <a:gd name="T5" fmla="*/ 70 h 79"/>
                <a:gd name="T6" fmla="*/ 0 w 64"/>
                <a:gd name="T7" fmla="*/ 0 h 79"/>
                <a:gd name="T8" fmla="*/ 64 w 64"/>
                <a:gd name="T9" fmla="*/ 0 h 79"/>
                <a:gd name="T10" fmla="*/ 64 w 64"/>
                <a:gd name="T11" fmla="*/ 70 h 79"/>
                <a:gd name="T12" fmla="*/ 56 w 64"/>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64" h="79">
                  <a:moveTo>
                    <a:pt x="56" y="79"/>
                  </a:moveTo>
                  <a:cubicBezTo>
                    <a:pt x="8" y="79"/>
                    <a:pt x="8" y="79"/>
                    <a:pt x="8" y="79"/>
                  </a:cubicBezTo>
                  <a:cubicBezTo>
                    <a:pt x="3" y="79"/>
                    <a:pt x="0" y="75"/>
                    <a:pt x="0" y="70"/>
                  </a:cubicBezTo>
                  <a:cubicBezTo>
                    <a:pt x="0" y="0"/>
                    <a:pt x="0" y="0"/>
                    <a:pt x="0" y="0"/>
                  </a:cubicBezTo>
                  <a:cubicBezTo>
                    <a:pt x="64" y="0"/>
                    <a:pt x="64" y="0"/>
                    <a:pt x="64" y="0"/>
                  </a:cubicBezTo>
                  <a:cubicBezTo>
                    <a:pt x="64" y="70"/>
                    <a:pt x="64" y="70"/>
                    <a:pt x="64" y="70"/>
                  </a:cubicBezTo>
                  <a:cubicBezTo>
                    <a:pt x="64" y="75"/>
                    <a:pt x="61" y="79"/>
                    <a:pt x="56" y="79"/>
                  </a:cubicBezTo>
                  <a:close/>
                </a:path>
              </a:pathLst>
            </a:custGeom>
            <a:solidFill>
              <a:srgbClr val="003AA5"/>
            </a:solidFill>
            <a:ln>
              <a:noFill/>
            </a:ln>
          </p:spPr>
          <p:txBody>
            <a:bodyPr vert="horz" wrap="square" lIns="91440" tIns="45720" rIns="91440" bIns="45720" numCol="1" anchor="t" anchorCtr="0" compatLnSpc="1"/>
            <a:lstStyle/>
            <a:p>
              <a:endParaRPr lang="zh-CN" altLang="en-US"/>
            </a:p>
          </p:txBody>
        </p:sp>
        <p:sp>
          <p:nvSpPr>
            <p:cNvPr id="296" name="Rectangle 54"/>
            <p:cNvSpPr/>
            <p:nvPr/>
          </p:nvSpPr>
          <p:spPr bwMode="auto">
            <a:xfrm>
              <a:off x="6234586" y="2251908"/>
              <a:ext cx="216294" cy="1832803"/>
            </a:xfrm>
            <a:prstGeom prst="rect">
              <a:avLst/>
            </a:prstGeom>
            <a:solidFill>
              <a:srgbClr val="259A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297" name="Rectangle 55"/>
            <p:cNvSpPr/>
            <p:nvPr/>
          </p:nvSpPr>
          <p:spPr bwMode="auto">
            <a:xfrm>
              <a:off x="6234586" y="2251908"/>
              <a:ext cx="40657" cy="1832803"/>
            </a:xfrm>
            <a:prstGeom prst="rect">
              <a:avLst/>
            </a:prstGeom>
            <a:solidFill>
              <a:srgbClr val="C2E1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298" name="Rectangle 56"/>
            <p:cNvSpPr/>
            <p:nvPr/>
          </p:nvSpPr>
          <p:spPr bwMode="auto">
            <a:xfrm>
              <a:off x="6322405" y="2251908"/>
              <a:ext cx="40657" cy="1832803"/>
            </a:xfrm>
            <a:prstGeom prst="rect">
              <a:avLst/>
            </a:prstGeom>
            <a:solidFill>
              <a:srgbClr val="C2E1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299" name="Rectangle 57"/>
            <p:cNvSpPr/>
            <p:nvPr/>
          </p:nvSpPr>
          <p:spPr bwMode="auto">
            <a:xfrm>
              <a:off x="6410223" y="2251908"/>
              <a:ext cx="40657" cy="1832803"/>
            </a:xfrm>
            <a:prstGeom prst="rect">
              <a:avLst/>
            </a:prstGeom>
            <a:solidFill>
              <a:srgbClr val="C2E1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00" name="Freeform 58"/>
            <p:cNvSpPr/>
            <p:nvPr/>
          </p:nvSpPr>
          <p:spPr bwMode="auto">
            <a:xfrm>
              <a:off x="6234586" y="1926654"/>
              <a:ext cx="216294" cy="325253"/>
            </a:xfrm>
            <a:custGeom>
              <a:avLst/>
              <a:gdLst>
                <a:gd name="T0" fmla="*/ 0 w 133"/>
                <a:gd name="T1" fmla="*/ 200 h 200"/>
                <a:gd name="T2" fmla="*/ 67 w 133"/>
                <a:gd name="T3" fmla="*/ 0 h 200"/>
                <a:gd name="T4" fmla="*/ 133 w 133"/>
                <a:gd name="T5" fmla="*/ 200 h 200"/>
                <a:gd name="T6" fmla="*/ 0 w 133"/>
                <a:gd name="T7" fmla="*/ 200 h 200"/>
              </a:gdLst>
              <a:ahLst/>
              <a:cxnLst>
                <a:cxn ang="0">
                  <a:pos x="T0" y="T1"/>
                </a:cxn>
                <a:cxn ang="0">
                  <a:pos x="T2" y="T3"/>
                </a:cxn>
                <a:cxn ang="0">
                  <a:pos x="T4" y="T5"/>
                </a:cxn>
                <a:cxn ang="0">
                  <a:pos x="T6" y="T7"/>
                </a:cxn>
              </a:cxnLst>
              <a:rect l="0" t="0" r="r" b="b"/>
              <a:pathLst>
                <a:path w="133" h="200">
                  <a:moveTo>
                    <a:pt x="0" y="200"/>
                  </a:moveTo>
                  <a:lnTo>
                    <a:pt x="67" y="0"/>
                  </a:lnTo>
                  <a:lnTo>
                    <a:pt x="133" y="200"/>
                  </a:lnTo>
                  <a:lnTo>
                    <a:pt x="0" y="200"/>
                  </a:lnTo>
                  <a:close/>
                </a:path>
              </a:pathLst>
            </a:custGeom>
            <a:solidFill>
              <a:srgbClr val="C2E1F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1" name="Rectangle 59"/>
            <p:cNvSpPr/>
            <p:nvPr/>
          </p:nvSpPr>
          <p:spPr bwMode="auto">
            <a:xfrm>
              <a:off x="6234586" y="4084712"/>
              <a:ext cx="216294" cy="68304"/>
            </a:xfrm>
            <a:prstGeom prst="rect">
              <a:avLst/>
            </a:prstGeom>
            <a:solidFill>
              <a:srgbClr val="C2E1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02" name="Freeform 60"/>
            <p:cNvSpPr/>
            <p:nvPr/>
          </p:nvSpPr>
          <p:spPr bwMode="auto">
            <a:xfrm>
              <a:off x="6312647" y="1926654"/>
              <a:ext cx="60172" cy="87819"/>
            </a:xfrm>
            <a:custGeom>
              <a:avLst/>
              <a:gdLst>
                <a:gd name="T0" fmla="*/ 19 w 37"/>
                <a:gd name="T1" fmla="*/ 0 h 54"/>
                <a:gd name="T2" fmla="*/ 0 w 37"/>
                <a:gd name="T3" fmla="*/ 54 h 54"/>
                <a:gd name="T4" fmla="*/ 37 w 37"/>
                <a:gd name="T5" fmla="*/ 54 h 54"/>
                <a:gd name="T6" fmla="*/ 19 w 37"/>
                <a:gd name="T7" fmla="*/ 0 h 54"/>
              </a:gdLst>
              <a:ahLst/>
              <a:cxnLst>
                <a:cxn ang="0">
                  <a:pos x="T0" y="T1"/>
                </a:cxn>
                <a:cxn ang="0">
                  <a:pos x="T2" y="T3"/>
                </a:cxn>
                <a:cxn ang="0">
                  <a:pos x="T4" y="T5"/>
                </a:cxn>
                <a:cxn ang="0">
                  <a:pos x="T6" y="T7"/>
                </a:cxn>
              </a:cxnLst>
              <a:rect l="0" t="0" r="r" b="b"/>
              <a:pathLst>
                <a:path w="37" h="54">
                  <a:moveTo>
                    <a:pt x="19" y="0"/>
                  </a:moveTo>
                  <a:lnTo>
                    <a:pt x="0" y="54"/>
                  </a:lnTo>
                  <a:lnTo>
                    <a:pt x="37" y="54"/>
                  </a:lnTo>
                  <a:lnTo>
                    <a:pt x="19" y="0"/>
                  </a:ln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3" name="Freeform 61"/>
            <p:cNvSpPr/>
            <p:nvPr/>
          </p:nvSpPr>
          <p:spPr bwMode="auto">
            <a:xfrm>
              <a:off x="6068707" y="3256941"/>
              <a:ext cx="304113" cy="274840"/>
            </a:xfrm>
            <a:custGeom>
              <a:avLst/>
              <a:gdLst>
                <a:gd name="T0" fmla="*/ 31 w 187"/>
                <a:gd name="T1" fmla="*/ 59 h 169"/>
                <a:gd name="T2" fmla="*/ 175 w 187"/>
                <a:gd name="T3" fmla="*/ 0 h 169"/>
                <a:gd name="T4" fmla="*/ 187 w 187"/>
                <a:gd name="T5" fmla="*/ 44 h 169"/>
                <a:gd name="T6" fmla="*/ 0 w 187"/>
                <a:gd name="T7" fmla="*/ 169 h 169"/>
                <a:gd name="T8" fmla="*/ 0 w 187"/>
                <a:gd name="T9" fmla="*/ 92 h 169"/>
                <a:gd name="T10" fmla="*/ 31 w 187"/>
                <a:gd name="T11" fmla="*/ 59 h 169"/>
              </a:gdLst>
              <a:ahLst/>
              <a:cxnLst>
                <a:cxn ang="0">
                  <a:pos x="T0" y="T1"/>
                </a:cxn>
                <a:cxn ang="0">
                  <a:pos x="T2" y="T3"/>
                </a:cxn>
                <a:cxn ang="0">
                  <a:pos x="T4" y="T5"/>
                </a:cxn>
                <a:cxn ang="0">
                  <a:pos x="T6" y="T7"/>
                </a:cxn>
                <a:cxn ang="0">
                  <a:pos x="T8" y="T9"/>
                </a:cxn>
                <a:cxn ang="0">
                  <a:pos x="T10" y="T11"/>
                </a:cxn>
              </a:cxnLst>
              <a:rect l="0" t="0" r="r" b="b"/>
              <a:pathLst>
                <a:path w="187" h="169">
                  <a:moveTo>
                    <a:pt x="31" y="59"/>
                  </a:moveTo>
                  <a:lnTo>
                    <a:pt x="175" y="0"/>
                  </a:lnTo>
                  <a:lnTo>
                    <a:pt x="187" y="44"/>
                  </a:lnTo>
                  <a:lnTo>
                    <a:pt x="0" y="169"/>
                  </a:lnTo>
                  <a:lnTo>
                    <a:pt x="0" y="92"/>
                  </a:lnTo>
                  <a:lnTo>
                    <a:pt x="31" y="59"/>
                  </a:lnTo>
                  <a:close/>
                </a:path>
              </a:pathLst>
            </a:custGeom>
            <a:solidFill>
              <a:srgbClr val="F3BB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4" name="Freeform 62"/>
            <p:cNvSpPr/>
            <p:nvPr/>
          </p:nvSpPr>
          <p:spPr bwMode="auto">
            <a:xfrm>
              <a:off x="6234586" y="3095941"/>
              <a:ext cx="243940" cy="235809"/>
            </a:xfrm>
            <a:custGeom>
              <a:avLst/>
              <a:gdLst>
                <a:gd name="T0" fmla="*/ 38 w 72"/>
                <a:gd name="T1" fmla="*/ 70 h 70"/>
                <a:gd name="T2" fmla="*/ 57 w 72"/>
                <a:gd name="T3" fmla="*/ 70 h 70"/>
                <a:gd name="T4" fmla="*/ 72 w 72"/>
                <a:gd name="T5" fmla="*/ 58 h 70"/>
                <a:gd name="T6" fmla="*/ 64 w 72"/>
                <a:gd name="T7" fmla="*/ 7 h 70"/>
                <a:gd name="T8" fmla="*/ 45 w 72"/>
                <a:gd name="T9" fmla="*/ 30 h 70"/>
                <a:gd name="T10" fmla="*/ 28 w 72"/>
                <a:gd name="T11" fmla="*/ 41 h 70"/>
                <a:gd name="T12" fmla="*/ 0 w 72"/>
                <a:gd name="T13" fmla="*/ 66 h 70"/>
                <a:gd name="T14" fmla="*/ 38 w 72"/>
                <a:gd name="T15" fmla="*/ 7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70">
                  <a:moveTo>
                    <a:pt x="38" y="70"/>
                  </a:moveTo>
                  <a:cubicBezTo>
                    <a:pt x="57" y="70"/>
                    <a:pt x="57" y="70"/>
                    <a:pt x="57" y="70"/>
                  </a:cubicBezTo>
                  <a:cubicBezTo>
                    <a:pt x="72" y="58"/>
                    <a:pt x="72" y="58"/>
                    <a:pt x="72" y="58"/>
                  </a:cubicBezTo>
                  <a:cubicBezTo>
                    <a:pt x="72" y="58"/>
                    <a:pt x="66" y="0"/>
                    <a:pt x="64" y="7"/>
                  </a:cubicBezTo>
                  <a:cubicBezTo>
                    <a:pt x="63" y="12"/>
                    <a:pt x="45" y="30"/>
                    <a:pt x="45" y="30"/>
                  </a:cubicBezTo>
                  <a:cubicBezTo>
                    <a:pt x="28" y="41"/>
                    <a:pt x="28" y="41"/>
                    <a:pt x="28" y="41"/>
                  </a:cubicBezTo>
                  <a:cubicBezTo>
                    <a:pt x="0" y="66"/>
                    <a:pt x="0" y="66"/>
                    <a:pt x="0" y="66"/>
                  </a:cubicBezTo>
                  <a:lnTo>
                    <a:pt x="38" y="70"/>
                  </a:lnTo>
                  <a:close/>
                </a:path>
              </a:pathLst>
            </a:custGeom>
            <a:solidFill>
              <a:srgbClr val="F3BB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5" name="Freeform 63"/>
            <p:cNvSpPr/>
            <p:nvPr/>
          </p:nvSpPr>
          <p:spPr bwMode="auto">
            <a:xfrm>
              <a:off x="6319152" y="3143102"/>
              <a:ext cx="81313" cy="128475"/>
            </a:xfrm>
            <a:custGeom>
              <a:avLst/>
              <a:gdLst>
                <a:gd name="T0" fmla="*/ 0 w 24"/>
                <a:gd name="T1" fmla="*/ 38 h 38"/>
                <a:gd name="T2" fmla="*/ 7 w 24"/>
                <a:gd name="T3" fmla="*/ 13 h 38"/>
                <a:gd name="T4" fmla="*/ 20 w 24"/>
                <a:gd name="T5" fmla="*/ 0 h 38"/>
                <a:gd name="T6" fmla="*/ 21 w 24"/>
                <a:gd name="T7" fmla="*/ 9 h 38"/>
                <a:gd name="T8" fmla="*/ 17 w 24"/>
                <a:gd name="T9" fmla="*/ 19 h 38"/>
                <a:gd name="T10" fmla="*/ 0 w 24"/>
                <a:gd name="T11" fmla="*/ 38 h 38"/>
              </a:gdLst>
              <a:ahLst/>
              <a:cxnLst>
                <a:cxn ang="0">
                  <a:pos x="T0" y="T1"/>
                </a:cxn>
                <a:cxn ang="0">
                  <a:pos x="T2" y="T3"/>
                </a:cxn>
                <a:cxn ang="0">
                  <a:pos x="T4" y="T5"/>
                </a:cxn>
                <a:cxn ang="0">
                  <a:pos x="T6" y="T7"/>
                </a:cxn>
                <a:cxn ang="0">
                  <a:pos x="T8" y="T9"/>
                </a:cxn>
                <a:cxn ang="0">
                  <a:pos x="T10" y="T11"/>
                </a:cxn>
              </a:cxnLst>
              <a:rect l="0" t="0" r="r" b="b"/>
              <a:pathLst>
                <a:path w="24" h="38">
                  <a:moveTo>
                    <a:pt x="0" y="38"/>
                  </a:moveTo>
                  <a:cubicBezTo>
                    <a:pt x="0" y="38"/>
                    <a:pt x="6" y="16"/>
                    <a:pt x="7" y="13"/>
                  </a:cubicBezTo>
                  <a:cubicBezTo>
                    <a:pt x="9" y="11"/>
                    <a:pt x="19" y="0"/>
                    <a:pt x="20" y="0"/>
                  </a:cubicBezTo>
                  <a:cubicBezTo>
                    <a:pt x="21" y="0"/>
                    <a:pt x="24" y="5"/>
                    <a:pt x="21" y="9"/>
                  </a:cubicBezTo>
                  <a:cubicBezTo>
                    <a:pt x="18" y="14"/>
                    <a:pt x="17" y="16"/>
                    <a:pt x="17" y="19"/>
                  </a:cubicBezTo>
                  <a:cubicBezTo>
                    <a:pt x="18" y="22"/>
                    <a:pt x="0" y="38"/>
                    <a:pt x="0" y="38"/>
                  </a:cubicBezTo>
                  <a:close/>
                </a:path>
              </a:pathLst>
            </a:custGeom>
            <a:solidFill>
              <a:srgbClr val="F3BB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6" name="Freeform 64"/>
            <p:cNvSpPr/>
            <p:nvPr/>
          </p:nvSpPr>
          <p:spPr bwMode="auto">
            <a:xfrm>
              <a:off x="6068707" y="3338254"/>
              <a:ext cx="68304" cy="193526"/>
            </a:xfrm>
            <a:custGeom>
              <a:avLst/>
              <a:gdLst>
                <a:gd name="T0" fmla="*/ 0 w 42"/>
                <a:gd name="T1" fmla="*/ 119 h 119"/>
                <a:gd name="T2" fmla="*/ 42 w 42"/>
                <a:gd name="T3" fmla="*/ 0 h 119"/>
                <a:gd name="T4" fmla="*/ 31 w 42"/>
                <a:gd name="T5" fmla="*/ 9 h 119"/>
                <a:gd name="T6" fmla="*/ 0 w 42"/>
                <a:gd name="T7" fmla="*/ 42 h 119"/>
                <a:gd name="T8" fmla="*/ 0 w 42"/>
                <a:gd name="T9" fmla="*/ 119 h 119"/>
              </a:gdLst>
              <a:ahLst/>
              <a:cxnLst>
                <a:cxn ang="0">
                  <a:pos x="T0" y="T1"/>
                </a:cxn>
                <a:cxn ang="0">
                  <a:pos x="T2" y="T3"/>
                </a:cxn>
                <a:cxn ang="0">
                  <a:pos x="T4" y="T5"/>
                </a:cxn>
                <a:cxn ang="0">
                  <a:pos x="T6" y="T7"/>
                </a:cxn>
                <a:cxn ang="0">
                  <a:pos x="T8" y="T9"/>
                </a:cxn>
              </a:cxnLst>
              <a:rect l="0" t="0" r="r" b="b"/>
              <a:pathLst>
                <a:path w="42" h="119">
                  <a:moveTo>
                    <a:pt x="0" y="119"/>
                  </a:moveTo>
                  <a:lnTo>
                    <a:pt x="42" y="0"/>
                  </a:lnTo>
                  <a:lnTo>
                    <a:pt x="31" y="9"/>
                  </a:lnTo>
                  <a:lnTo>
                    <a:pt x="0" y="42"/>
                  </a:lnTo>
                  <a:lnTo>
                    <a:pt x="0" y="119"/>
                  </a:lnTo>
                  <a:close/>
                </a:path>
              </a:pathLst>
            </a:custGeom>
            <a:solidFill>
              <a:srgbClr val="EDA28E"/>
            </a:solidFill>
            <a:ln>
              <a:noFill/>
            </a:ln>
          </p:spPr>
          <p:txBody>
            <a:bodyPr vert="horz" wrap="square" lIns="91440" tIns="45720" rIns="91440" bIns="45720" numCol="1" anchor="t" anchorCtr="0" compatLnSpc="1"/>
            <a:lstStyle/>
            <a:p>
              <a:endParaRPr lang="zh-CN" altLang="en-US"/>
            </a:p>
          </p:txBody>
        </p:sp>
        <p:sp>
          <p:nvSpPr>
            <p:cNvPr id="307" name="Freeform 65"/>
            <p:cNvSpPr/>
            <p:nvPr/>
          </p:nvSpPr>
          <p:spPr bwMode="auto">
            <a:xfrm>
              <a:off x="8529250" y="3078052"/>
              <a:ext cx="902578" cy="2040966"/>
            </a:xfrm>
            <a:custGeom>
              <a:avLst/>
              <a:gdLst>
                <a:gd name="T0" fmla="*/ 12 w 267"/>
                <a:gd name="T1" fmla="*/ 504 h 604"/>
                <a:gd name="T2" fmla="*/ 22 w 267"/>
                <a:gd name="T3" fmla="*/ 404 h 604"/>
                <a:gd name="T4" fmla="*/ 60 w 267"/>
                <a:gd name="T5" fmla="*/ 351 h 604"/>
                <a:gd name="T6" fmla="*/ 38 w 267"/>
                <a:gd name="T7" fmla="*/ 296 h 604"/>
                <a:gd name="T8" fmla="*/ 50 w 267"/>
                <a:gd name="T9" fmla="*/ 197 h 604"/>
                <a:gd name="T10" fmla="*/ 94 w 267"/>
                <a:gd name="T11" fmla="*/ 142 h 604"/>
                <a:gd name="T12" fmla="*/ 99 w 267"/>
                <a:gd name="T13" fmla="*/ 78 h 604"/>
                <a:gd name="T14" fmla="*/ 149 w 267"/>
                <a:gd name="T15" fmla="*/ 0 h 604"/>
                <a:gd name="T16" fmla="*/ 208 w 267"/>
                <a:gd name="T17" fmla="*/ 65 h 604"/>
                <a:gd name="T18" fmla="*/ 212 w 267"/>
                <a:gd name="T19" fmla="*/ 96 h 604"/>
                <a:gd name="T20" fmla="*/ 211 w 267"/>
                <a:gd name="T21" fmla="*/ 132 h 604"/>
                <a:gd name="T22" fmla="*/ 220 w 267"/>
                <a:gd name="T23" fmla="*/ 170 h 604"/>
                <a:gd name="T24" fmla="*/ 238 w 267"/>
                <a:gd name="T25" fmla="*/ 199 h 604"/>
                <a:gd name="T26" fmla="*/ 245 w 267"/>
                <a:gd name="T27" fmla="*/ 320 h 604"/>
                <a:gd name="T28" fmla="*/ 241 w 267"/>
                <a:gd name="T29" fmla="*/ 394 h 604"/>
                <a:gd name="T30" fmla="*/ 261 w 267"/>
                <a:gd name="T31" fmla="*/ 457 h 604"/>
                <a:gd name="T32" fmla="*/ 209 w 267"/>
                <a:gd name="T33" fmla="*/ 565 h 604"/>
                <a:gd name="T34" fmla="*/ 206 w 267"/>
                <a:gd name="T35" fmla="*/ 565 h 604"/>
                <a:gd name="T36" fmla="*/ 12 w 267"/>
                <a:gd name="T37"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7" h="604">
                  <a:moveTo>
                    <a:pt x="12" y="504"/>
                  </a:moveTo>
                  <a:cubicBezTo>
                    <a:pt x="0" y="471"/>
                    <a:pt x="2" y="433"/>
                    <a:pt x="22" y="404"/>
                  </a:cubicBezTo>
                  <a:cubicBezTo>
                    <a:pt x="34" y="387"/>
                    <a:pt x="61" y="374"/>
                    <a:pt x="60" y="351"/>
                  </a:cubicBezTo>
                  <a:cubicBezTo>
                    <a:pt x="60" y="330"/>
                    <a:pt x="45" y="314"/>
                    <a:pt x="38" y="296"/>
                  </a:cubicBezTo>
                  <a:cubicBezTo>
                    <a:pt x="26" y="263"/>
                    <a:pt x="31" y="225"/>
                    <a:pt x="50" y="197"/>
                  </a:cubicBezTo>
                  <a:cubicBezTo>
                    <a:pt x="63" y="177"/>
                    <a:pt x="85" y="165"/>
                    <a:pt x="94" y="142"/>
                  </a:cubicBezTo>
                  <a:cubicBezTo>
                    <a:pt x="103" y="122"/>
                    <a:pt x="100" y="99"/>
                    <a:pt x="99" y="78"/>
                  </a:cubicBezTo>
                  <a:cubicBezTo>
                    <a:pt x="99" y="47"/>
                    <a:pt x="110" y="0"/>
                    <a:pt x="149" y="0"/>
                  </a:cubicBezTo>
                  <a:cubicBezTo>
                    <a:pt x="183" y="1"/>
                    <a:pt x="202" y="37"/>
                    <a:pt x="208" y="65"/>
                  </a:cubicBezTo>
                  <a:cubicBezTo>
                    <a:pt x="211" y="75"/>
                    <a:pt x="212" y="86"/>
                    <a:pt x="212" y="96"/>
                  </a:cubicBezTo>
                  <a:cubicBezTo>
                    <a:pt x="212" y="108"/>
                    <a:pt x="210" y="120"/>
                    <a:pt x="211" y="132"/>
                  </a:cubicBezTo>
                  <a:cubicBezTo>
                    <a:pt x="212" y="144"/>
                    <a:pt x="214" y="158"/>
                    <a:pt x="220" y="170"/>
                  </a:cubicBezTo>
                  <a:cubicBezTo>
                    <a:pt x="225" y="180"/>
                    <a:pt x="233" y="188"/>
                    <a:pt x="238" y="199"/>
                  </a:cubicBezTo>
                  <a:cubicBezTo>
                    <a:pt x="258" y="236"/>
                    <a:pt x="256" y="280"/>
                    <a:pt x="245" y="320"/>
                  </a:cubicBezTo>
                  <a:cubicBezTo>
                    <a:pt x="237" y="346"/>
                    <a:pt x="232" y="367"/>
                    <a:pt x="241" y="394"/>
                  </a:cubicBezTo>
                  <a:cubicBezTo>
                    <a:pt x="248" y="415"/>
                    <a:pt x="258" y="435"/>
                    <a:pt x="261" y="457"/>
                  </a:cubicBezTo>
                  <a:cubicBezTo>
                    <a:pt x="267" y="500"/>
                    <a:pt x="243" y="540"/>
                    <a:pt x="209" y="565"/>
                  </a:cubicBezTo>
                  <a:cubicBezTo>
                    <a:pt x="208" y="565"/>
                    <a:pt x="207" y="566"/>
                    <a:pt x="206" y="565"/>
                  </a:cubicBezTo>
                  <a:cubicBezTo>
                    <a:pt x="138" y="604"/>
                    <a:pt x="45" y="576"/>
                    <a:pt x="12" y="504"/>
                  </a:cubicBezTo>
                </a:path>
              </a:pathLst>
            </a:custGeom>
            <a:gradFill>
              <a:gsLst>
                <a:gs pos="0">
                  <a:srgbClr val="ECA612"/>
                </a:gs>
                <a:gs pos="100000">
                  <a:srgbClr val="E8A60A"/>
                </a:gs>
              </a:gsLst>
              <a:lin ang="5400000" scaled="0"/>
            </a:gradFill>
            <a:ln>
              <a:noFill/>
            </a:ln>
          </p:spPr>
          <p:txBody>
            <a:bodyPr vert="horz" wrap="square" lIns="91440" tIns="45720" rIns="91440" bIns="45720" numCol="1" anchor="t" anchorCtr="0" compatLnSpc="1"/>
            <a:lstStyle/>
            <a:p>
              <a:endParaRPr lang="zh-CN" altLang="en-US"/>
            </a:p>
          </p:txBody>
        </p:sp>
        <p:sp>
          <p:nvSpPr>
            <p:cNvPr id="308" name="Freeform 68"/>
            <p:cNvSpPr/>
            <p:nvPr/>
          </p:nvSpPr>
          <p:spPr bwMode="auto">
            <a:xfrm>
              <a:off x="8776442" y="3234173"/>
              <a:ext cx="530163" cy="881438"/>
            </a:xfrm>
            <a:custGeom>
              <a:avLst/>
              <a:gdLst>
                <a:gd name="T0" fmla="*/ 6 w 157"/>
                <a:gd name="T1" fmla="*/ 215 h 261"/>
                <a:gd name="T2" fmla="*/ 2 w 157"/>
                <a:gd name="T3" fmla="*/ 220 h 261"/>
                <a:gd name="T4" fmla="*/ 24 w 157"/>
                <a:gd name="T5" fmla="*/ 261 h 261"/>
                <a:gd name="T6" fmla="*/ 34 w 157"/>
                <a:gd name="T7" fmla="*/ 261 h 261"/>
                <a:gd name="T8" fmla="*/ 10 w 157"/>
                <a:gd name="T9" fmla="*/ 218 h 261"/>
                <a:gd name="T10" fmla="*/ 6 w 157"/>
                <a:gd name="T11" fmla="*/ 215 h 261"/>
                <a:gd name="T12" fmla="*/ 151 w 157"/>
                <a:gd name="T13" fmla="*/ 166 h 261"/>
                <a:gd name="T14" fmla="*/ 147 w 157"/>
                <a:gd name="T15" fmla="*/ 168 h 261"/>
                <a:gd name="T16" fmla="*/ 131 w 157"/>
                <a:gd name="T17" fmla="*/ 194 h 261"/>
                <a:gd name="T18" fmla="*/ 152 w 157"/>
                <a:gd name="T19" fmla="*/ 176 h 261"/>
                <a:gd name="T20" fmla="*/ 155 w 157"/>
                <a:gd name="T21" fmla="*/ 172 h 261"/>
                <a:gd name="T22" fmla="*/ 151 w 157"/>
                <a:gd name="T23" fmla="*/ 166 h 261"/>
                <a:gd name="T24" fmla="*/ 88 w 157"/>
                <a:gd name="T25" fmla="*/ 0 h 261"/>
                <a:gd name="T26" fmla="*/ 83 w 157"/>
                <a:gd name="T27" fmla="*/ 5 h 261"/>
                <a:gd name="T28" fmla="*/ 81 w 157"/>
                <a:gd name="T29" fmla="*/ 76 h 261"/>
                <a:gd name="T30" fmla="*/ 52 w 157"/>
                <a:gd name="T31" fmla="*/ 35 h 261"/>
                <a:gd name="T32" fmla="*/ 49 w 157"/>
                <a:gd name="T33" fmla="*/ 34 h 261"/>
                <a:gd name="T34" fmla="*/ 45 w 157"/>
                <a:gd name="T35" fmla="*/ 40 h 261"/>
                <a:gd name="T36" fmla="*/ 79 w 157"/>
                <a:gd name="T37" fmla="*/ 87 h 261"/>
                <a:gd name="T38" fmla="*/ 80 w 157"/>
                <a:gd name="T39" fmla="*/ 88 h 261"/>
                <a:gd name="T40" fmla="*/ 76 w 157"/>
                <a:gd name="T41" fmla="*/ 194 h 261"/>
                <a:gd name="T42" fmla="*/ 35 w 157"/>
                <a:gd name="T43" fmla="*/ 128 h 261"/>
                <a:gd name="T44" fmla="*/ 32 w 157"/>
                <a:gd name="T45" fmla="*/ 126 h 261"/>
                <a:gd name="T46" fmla="*/ 28 w 157"/>
                <a:gd name="T47" fmla="*/ 133 h 261"/>
                <a:gd name="T48" fmla="*/ 76 w 157"/>
                <a:gd name="T49" fmla="*/ 207 h 261"/>
                <a:gd name="T50" fmla="*/ 74 w 157"/>
                <a:gd name="T51" fmla="*/ 261 h 261"/>
                <a:gd name="T52" fmla="*/ 88 w 157"/>
                <a:gd name="T53" fmla="*/ 261 h 261"/>
                <a:gd name="T54" fmla="*/ 98 w 157"/>
                <a:gd name="T55" fmla="*/ 249 h 261"/>
                <a:gd name="T56" fmla="*/ 110 w 157"/>
                <a:gd name="T57" fmla="*/ 223 h 261"/>
                <a:gd name="T58" fmla="*/ 82 w 157"/>
                <a:gd name="T59" fmla="*/ 254 h 261"/>
                <a:gd name="T60" fmla="*/ 84 w 157"/>
                <a:gd name="T61" fmla="*/ 206 h 261"/>
                <a:gd name="T62" fmla="*/ 84 w 157"/>
                <a:gd name="T63" fmla="*/ 205 h 261"/>
                <a:gd name="T64" fmla="*/ 87 w 157"/>
                <a:gd name="T65" fmla="*/ 119 h 261"/>
                <a:gd name="T66" fmla="*/ 123 w 157"/>
                <a:gd name="T67" fmla="*/ 63 h 261"/>
                <a:gd name="T68" fmla="*/ 120 w 157"/>
                <a:gd name="T69" fmla="*/ 56 h 261"/>
                <a:gd name="T70" fmla="*/ 117 w 157"/>
                <a:gd name="T71" fmla="*/ 58 h 261"/>
                <a:gd name="T72" fmla="*/ 88 w 157"/>
                <a:gd name="T73" fmla="*/ 102 h 261"/>
                <a:gd name="T74" fmla="*/ 91 w 157"/>
                <a:gd name="T75" fmla="*/ 4 h 261"/>
                <a:gd name="T76" fmla="*/ 88 w 157"/>
                <a:gd name="T77"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7" h="261">
                  <a:moveTo>
                    <a:pt x="6" y="215"/>
                  </a:moveTo>
                  <a:cubicBezTo>
                    <a:pt x="3" y="215"/>
                    <a:pt x="0" y="217"/>
                    <a:pt x="2" y="220"/>
                  </a:cubicBezTo>
                  <a:cubicBezTo>
                    <a:pt x="9" y="234"/>
                    <a:pt x="16" y="248"/>
                    <a:pt x="24" y="261"/>
                  </a:cubicBezTo>
                  <a:cubicBezTo>
                    <a:pt x="34" y="261"/>
                    <a:pt x="34" y="261"/>
                    <a:pt x="34" y="261"/>
                  </a:cubicBezTo>
                  <a:cubicBezTo>
                    <a:pt x="25" y="247"/>
                    <a:pt x="17" y="232"/>
                    <a:pt x="10" y="218"/>
                  </a:cubicBezTo>
                  <a:cubicBezTo>
                    <a:pt x="9" y="216"/>
                    <a:pt x="7" y="215"/>
                    <a:pt x="6" y="215"/>
                  </a:cubicBezTo>
                  <a:moveTo>
                    <a:pt x="151" y="166"/>
                  </a:moveTo>
                  <a:cubicBezTo>
                    <a:pt x="150" y="166"/>
                    <a:pt x="148" y="167"/>
                    <a:pt x="147" y="168"/>
                  </a:cubicBezTo>
                  <a:cubicBezTo>
                    <a:pt x="142" y="177"/>
                    <a:pt x="137" y="186"/>
                    <a:pt x="131" y="194"/>
                  </a:cubicBezTo>
                  <a:cubicBezTo>
                    <a:pt x="137" y="188"/>
                    <a:pt x="144" y="181"/>
                    <a:pt x="152" y="176"/>
                  </a:cubicBezTo>
                  <a:cubicBezTo>
                    <a:pt x="153" y="175"/>
                    <a:pt x="154" y="173"/>
                    <a:pt x="155" y="172"/>
                  </a:cubicBezTo>
                  <a:cubicBezTo>
                    <a:pt x="157" y="169"/>
                    <a:pt x="154" y="166"/>
                    <a:pt x="151" y="166"/>
                  </a:cubicBezTo>
                  <a:moveTo>
                    <a:pt x="88" y="0"/>
                  </a:moveTo>
                  <a:cubicBezTo>
                    <a:pt x="86" y="0"/>
                    <a:pt x="83" y="2"/>
                    <a:pt x="83" y="5"/>
                  </a:cubicBezTo>
                  <a:cubicBezTo>
                    <a:pt x="82" y="28"/>
                    <a:pt x="82" y="52"/>
                    <a:pt x="81" y="76"/>
                  </a:cubicBezTo>
                  <a:cubicBezTo>
                    <a:pt x="71" y="63"/>
                    <a:pt x="61" y="49"/>
                    <a:pt x="52" y="35"/>
                  </a:cubicBezTo>
                  <a:cubicBezTo>
                    <a:pt x="51" y="34"/>
                    <a:pt x="50" y="34"/>
                    <a:pt x="49" y="34"/>
                  </a:cubicBezTo>
                  <a:cubicBezTo>
                    <a:pt x="46" y="34"/>
                    <a:pt x="43" y="37"/>
                    <a:pt x="45" y="40"/>
                  </a:cubicBezTo>
                  <a:cubicBezTo>
                    <a:pt x="56" y="56"/>
                    <a:pt x="67" y="72"/>
                    <a:pt x="79" y="87"/>
                  </a:cubicBezTo>
                  <a:cubicBezTo>
                    <a:pt x="79" y="87"/>
                    <a:pt x="80" y="88"/>
                    <a:pt x="80" y="88"/>
                  </a:cubicBezTo>
                  <a:cubicBezTo>
                    <a:pt x="79" y="123"/>
                    <a:pt x="78" y="159"/>
                    <a:pt x="76" y="194"/>
                  </a:cubicBezTo>
                  <a:cubicBezTo>
                    <a:pt x="61" y="173"/>
                    <a:pt x="47" y="151"/>
                    <a:pt x="35" y="128"/>
                  </a:cubicBezTo>
                  <a:cubicBezTo>
                    <a:pt x="34" y="127"/>
                    <a:pt x="33" y="126"/>
                    <a:pt x="32" y="126"/>
                  </a:cubicBezTo>
                  <a:cubicBezTo>
                    <a:pt x="30" y="126"/>
                    <a:pt x="27" y="130"/>
                    <a:pt x="28" y="133"/>
                  </a:cubicBezTo>
                  <a:cubicBezTo>
                    <a:pt x="42" y="159"/>
                    <a:pt x="58" y="184"/>
                    <a:pt x="76" y="207"/>
                  </a:cubicBezTo>
                  <a:cubicBezTo>
                    <a:pt x="75" y="225"/>
                    <a:pt x="75" y="243"/>
                    <a:pt x="74" y="261"/>
                  </a:cubicBezTo>
                  <a:cubicBezTo>
                    <a:pt x="88" y="261"/>
                    <a:pt x="88" y="261"/>
                    <a:pt x="88" y="261"/>
                  </a:cubicBezTo>
                  <a:cubicBezTo>
                    <a:pt x="92" y="257"/>
                    <a:pt x="95" y="253"/>
                    <a:pt x="98" y="249"/>
                  </a:cubicBezTo>
                  <a:cubicBezTo>
                    <a:pt x="101" y="240"/>
                    <a:pt x="105" y="231"/>
                    <a:pt x="110" y="223"/>
                  </a:cubicBezTo>
                  <a:cubicBezTo>
                    <a:pt x="101" y="234"/>
                    <a:pt x="92" y="244"/>
                    <a:pt x="82" y="254"/>
                  </a:cubicBezTo>
                  <a:cubicBezTo>
                    <a:pt x="83" y="238"/>
                    <a:pt x="84" y="222"/>
                    <a:pt x="84" y="206"/>
                  </a:cubicBezTo>
                  <a:cubicBezTo>
                    <a:pt x="84" y="205"/>
                    <a:pt x="84" y="205"/>
                    <a:pt x="84" y="205"/>
                  </a:cubicBezTo>
                  <a:cubicBezTo>
                    <a:pt x="85" y="176"/>
                    <a:pt x="86" y="148"/>
                    <a:pt x="87" y="119"/>
                  </a:cubicBezTo>
                  <a:cubicBezTo>
                    <a:pt x="98" y="100"/>
                    <a:pt x="110" y="81"/>
                    <a:pt x="123" y="63"/>
                  </a:cubicBezTo>
                  <a:cubicBezTo>
                    <a:pt x="125" y="60"/>
                    <a:pt x="122" y="56"/>
                    <a:pt x="120" y="56"/>
                  </a:cubicBezTo>
                  <a:cubicBezTo>
                    <a:pt x="119" y="56"/>
                    <a:pt x="117" y="57"/>
                    <a:pt x="117" y="58"/>
                  </a:cubicBezTo>
                  <a:cubicBezTo>
                    <a:pt x="107" y="72"/>
                    <a:pt x="97" y="87"/>
                    <a:pt x="88" y="102"/>
                  </a:cubicBezTo>
                  <a:cubicBezTo>
                    <a:pt x="89" y="69"/>
                    <a:pt x="90" y="37"/>
                    <a:pt x="91" y="4"/>
                  </a:cubicBezTo>
                  <a:cubicBezTo>
                    <a:pt x="92" y="1"/>
                    <a:pt x="90" y="0"/>
                    <a:pt x="88" y="0"/>
                  </a:cubicBezTo>
                </a:path>
              </a:pathLst>
            </a:custGeom>
            <a:solidFill>
              <a:srgbClr val="D0770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9" name="Freeform 69"/>
            <p:cNvSpPr/>
            <p:nvPr/>
          </p:nvSpPr>
          <p:spPr bwMode="auto">
            <a:xfrm>
              <a:off x="8641461" y="3152860"/>
              <a:ext cx="1517308" cy="2345077"/>
            </a:xfrm>
            <a:custGeom>
              <a:avLst/>
              <a:gdLst>
                <a:gd name="T0" fmla="*/ 125 w 449"/>
                <a:gd name="T1" fmla="*/ 694 h 694"/>
                <a:gd name="T2" fmla="*/ 274 w 449"/>
                <a:gd name="T3" fmla="*/ 662 h 694"/>
                <a:gd name="T4" fmla="*/ 311 w 449"/>
                <a:gd name="T5" fmla="*/ 603 h 694"/>
                <a:gd name="T6" fmla="*/ 318 w 449"/>
                <a:gd name="T7" fmla="*/ 520 h 694"/>
                <a:gd name="T8" fmla="*/ 359 w 449"/>
                <a:gd name="T9" fmla="*/ 436 h 694"/>
                <a:gd name="T10" fmla="*/ 412 w 449"/>
                <a:gd name="T11" fmla="*/ 293 h 694"/>
                <a:gd name="T12" fmla="*/ 405 w 449"/>
                <a:gd name="T13" fmla="*/ 251 h 694"/>
                <a:gd name="T14" fmla="*/ 413 w 449"/>
                <a:gd name="T15" fmla="*/ 202 h 694"/>
                <a:gd name="T16" fmla="*/ 432 w 449"/>
                <a:gd name="T17" fmla="*/ 162 h 694"/>
                <a:gd name="T18" fmla="*/ 443 w 449"/>
                <a:gd name="T19" fmla="*/ 124 h 694"/>
                <a:gd name="T20" fmla="*/ 407 w 449"/>
                <a:gd name="T21" fmla="*/ 20 h 694"/>
                <a:gd name="T22" fmla="*/ 311 w 449"/>
                <a:gd name="T23" fmla="*/ 85 h 694"/>
                <a:gd name="T24" fmla="*/ 273 w 449"/>
                <a:gd name="T25" fmla="*/ 157 h 694"/>
                <a:gd name="T26" fmla="*/ 195 w 449"/>
                <a:gd name="T27" fmla="*/ 198 h 694"/>
                <a:gd name="T28" fmla="*/ 133 w 449"/>
                <a:gd name="T29" fmla="*/ 306 h 694"/>
                <a:gd name="T30" fmla="*/ 131 w 449"/>
                <a:gd name="T31" fmla="*/ 381 h 694"/>
                <a:gd name="T32" fmla="*/ 60 w 449"/>
                <a:gd name="T33" fmla="*/ 424 h 694"/>
                <a:gd name="T34" fmla="*/ 0 w 449"/>
                <a:gd name="T35" fmla="*/ 534 h 694"/>
                <a:gd name="T36" fmla="*/ 125 w 449"/>
                <a:gd name="T37" fmla="*/ 694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9" h="694">
                  <a:moveTo>
                    <a:pt x="125" y="694"/>
                  </a:moveTo>
                  <a:cubicBezTo>
                    <a:pt x="274" y="662"/>
                    <a:pt x="274" y="662"/>
                    <a:pt x="274" y="662"/>
                  </a:cubicBezTo>
                  <a:cubicBezTo>
                    <a:pt x="291" y="646"/>
                    <a:pt x="304" y="627"/>
                    <a:pt x="311" y="603"/>
                  </a:cubicBezTo>
                  <a:cubicBezTo>
                    <a:pt x="318" y="576"/>
                    <a:pt x="315" y="548"/>
                    <a:pt x="318" y="520"/>
                  </a:cubicBezTo>
                  <a:cubicBezTo>
                    <a:pt x="321" y="485"/>
                    <a:pt x="337" y="463"/>
                    <a:pt x="359" y="436"/>
                  </a:cubicBezTo>
                  <a:cubicBezTo>
                    <a:pt x="392" y="397"/>
                    <a:pt x="416" y="346"/>
                    <a:pt x="412" y="293"/>
                  </a:cubicBezTo>
                  <a:cubicBezTo>
                    <a:pt x="411" y="279"/>
                    <a:pt x="406" y="265"/>
                    <a:pt x="405" y="251"/>
                  </a:cubicBezTo>
                  <a:cubicBezTo>
                    <a:pt x="404" y="235"/>
                    <a:pt x="408" y="217"/>
                    <a:pt x="413" y="202"/>
                  </a:cubicBezTo>
                  <a:cubicBezTo>
                    <a:pt x="418" y="188"/>
                    <a:pt x="427" y="175"/>
                    <a:pt x="432" y="162"/>
                  </a:cubicBezTo>
                  <a:cubicBezTo>
                    <a:pt x="437" y="150"/>
                    <a:pt x="441" y="137"/>
                    <a:pt x="443" y="124"/>
                  </a:cubicBezTo>
                  <a:cubicBezTo>
                    <a:pt x="449" y="89"/>
                    <a:pt x="445" y="37"/>
                    <a:pt x="407" y="20"/>
                  </a:cubicBezTo>
                  <a:cubicBezTo>
                    <a:pt x="362" y="0"/>
                    <a:pt x="326" y="49"/>
                    <a:pt x="311" y="85"/>
                  </a:cubicBezTo>
                  <a:cubicBezTo>
                    <a:pt x="301" y="110"/>
                    <a:pt x="293" y="138"/>
                    <a:pt x="273" y="157"/>
                  </a:cubicBezTo>
                  <a:cubicBezTo>
                    <a:pt x="252" y="178"/>
                    <a:pt x="220" y="182"/>
                    <a:pt x="195" y="198"/>
                  </a:cubicBezTo>
                  <a:cubicBezTo>
                    <a:pt x="159" y="222"/>
                    <a:pt x="135" y="263"/>
                    <a:pt x="133" y="306"/>
                  </a:cubicBezTo>
                  <a:cubicBezTo>
                    <a:pt x="131" y="331"/>
                    <a:pt x="141" y="358"/>
                    <a:pt x="131" y="381"/>
                  </a:cubicBezTo>
                  <a:cubicBezTo>
                    <a:pt x="120" y="408"/>
                    <a:pt x="83" y="410"/>
                    <a:pt x="60" y="424"/>
                  </a:cubicBezTo>
                  <a:cubicBezTo>
                    <a:pt x="22" y="447"/>
                    <a:pt x="1" y="490"/>
                    <a:pt x="0" y="534"/>
                  </a:cubicBezTo>
                  <a:cubicBezTo>
                    <a:pt x="1" y="610"/>
                    <a:pt x="56" y="673"/>
                    <a:pt x="125" y="694"/>
                  </a:cubicBezTo>
                </a:path>
              </a:pathLst>
            </a:custGeom>
            <a:gradFill>
              <a:gsLst>
                <a:gs pos="0">
                  <a:srgbClr val="FCD840"/>
                </a:gs>
                <a:gs pos="100000">
                  <a:srgbClr val="E8A60A"/>
                </a:gs>
              </a:gsLst>
              <a:lin ang="5400000" scaled="0"/>
            </a:gradFill>
            <a:ln>
              <a:noFill/>
            </a:ln>
          </p:spPr>
          <p:txBody>
            <a:bodyPr vert="horz" wrap="square" lIns="91440" tIns="45720" rIns="91440" bIns="45720" numCol="1" anchor="t" anchorCtr="0" compatLnSpc="1"/>
            <a:lstStyle/>
            <a:p>
              <a:endParaRPr lang="zh-CN" altLang="en-US"/>
            </a:p>
          </p:txBody>
        </p:sp>
        <p:sp>
          <p:nvSpPr>
            <p:cNvPr id="310" name="Freeform 70"/>
            <p:cNvSpPr/>
            <p:nvPr/>
          </p:nvSpPr>
          <p:spPr bwMode="auto">
            <a:xfrm>
              <a:off x="9365151" y="3416315"/>
              <a:ext cx="634243" cy="1392084"/>
            </a:xfrm>
            <a:custGeom>
              <a:avLst/>
              <a:gdLst>
                <a:gd name="T0" fmla="*/ 81 w 188"/>
                <a:gd name="T1" fmla="*/ 405 h 412"/>
                <a:gd name="T2" fmla="*/ 79 w 188"/>
                <a:gd name="T3" fmla="*/ 405 h 412"/>
                <a:gd name="T4" fmla="*/ 63 w 188"/>
                <a:gd name="T5" fmla="*/ 412 h 412"/>
                <a:gd name="T6" fmla="*/ 86 w 188"/>
                <a:gd name="T7" fmla="*/ 412 h 412"/>
                <a:gd name="T8" fmla="*/ 81 w 188"/>
                <a:gd name="T9" fmla="*/ 405 h 412"/>
                <a:gd name="T10" fmla="*/ 173 w 188"/>
                <a:gd name="T11" fmla="*/ 223 h 412"/>
                <a:gd name="T12" fmla="*/ 169 w 188"/>
                <a:gd name="T13" fmla="*/ 224 h 412"/>
                <a:gd name="T14" fmla="*/ 157 w 188"/>
                <a:gd name="T15" fmla="*/ 233 h 412"/>
                <a:gd name="T16" fmla="*/ 160 w 188"/>
                <a:gd name="T17" fmla="*/ 244 h 412"/>
                <a:gd name="T18" fmla="*/ 176 w 188"/>
                <a:gd name="T19" fmla="*/ 232 h 412"/>
                <a:gd name="T20" fmla="*/ 173 w 188"/>
                <a:gd name="T21" fmla="*/ 223 h 412"/>
                <a:gd name="T22" fmla="*/ 55 w 188"/>
                <a:gd name="T23" fmla="*/ 118 h 412"/>
                <a:gd name="T24" fmla="*/ 49 w 188"/>
                <a:gd name="T25" fmla="*/ 125 h 412"/>
                <a:gd name="T26" fmla="*/ 68 w 188"/>
                <a:gd name="T27" fmla="*/ 234 h 412"/>
                <a:gd name="T28" fmla="*/ 10 w 188"/>
                <a:gd name="T29" fmla="*/ 355 h 412"/>
                <a:gd name="T30" fmla="*/ 0 w 188"/>
                <a:gd name="T31" fmla="*/ 316 h 412"/>
                <a:gd name="T32" fmla="*/ 0 w 188"/>
                <a:gd name="T33" fmla="*/ 357 h 412"/>
                <a:gd name="T34" fmla="*/ 3 w 188"/>
                <a:gd name="T35" fmla="*/ 367 h 412"/>
                <a:gd name="T36" fmla="*/ 4 w 188"/>
                <a:gd name="T37" fmla="*/ 369 h 412"/>
                <a:gd name="T38" fmla="*/ 0 w 188"/>
                <a:gd name="T39" fmla="*/ 376 h 412"/>
                <a:gd name="T40" fmla="*/ 0 w 188"/>
                <a:gd name="T41" fmla="*/ 400 h 412"/>
                <a:gd name="T42" fmla="*/ 45 w 188"/>
                <a:gd name="T43" fmla="*/ 306 h 412"/>
                <a:gd name="T44" fmla="*/ 122 w 188"/>
                <a:gd name="T45" fmla="*/ 268 h 412"/>
                <a:gd name="T46" fmla="*/ 118 w 188"/>
                <a:gd name="T47" fmla="*/ 258 h 412"/>
                <a:gd name="T48" fmla="*/ 52 w 188"/>
                <a:gd name="T49" fmla="*/ 292 h 412"/>
                <a:gd name="T50" fmla="*/ 78 w 188"/>
                <a:gd name="T51" fmla="*/ 237 h 412"/>
                <a:gd name="T52" fmla="*/ 78 w 188"/>
                <a:gd name="T53" fmla="*/ 236 h 412"/>
                <a:gd name="T54" fmla="*/ 94 w 188"/>
                <a:gd name="T55" fmla="*/ 202 h 412"/>
                <a:gd name="T56" fmla="*/ 89 w 188"/>
                <a:gd name="T57" fmla="*/ 189 h 412"/>
                <a:gd name="T58" fmla="*/ 75 w 188"/>
                <a:gd name="T59" fmla="*/ 219 h 412"/>
                <a:gd name="T60" fmla="*/ 60 w 188"/>
                <a:gd name="T61" fmla="*/ 122 h 412"/>
                <a:gd name="T62" fmla="*/ 55 w 188"/>
                <a:gd name="T63" fmla="*/ 118 h 412"/>
                <a:gd name="T64" fmla="*/ 120 w 188"/>
                <a:gd name="T65" fmla="*/ 20 h 412"/>
                <a:gd name="T66" fmla="*/ 114 w 188"/>
                <a:gd name="T67" fmla="*/ 26 h 412"/>
                <a:gd name="T68" fmla="*/ 125 w 188"/>
                <a:gd name="T69" fmla="*/ 75 h 412"/>
                <a:gd name="T70" fmla="*/ 133 w 188"/>
                <a:gd name="T71" fmla="*/ 64 h 412"/>
                <a:gd name="T72" fmla="*/ 125 w 188"/>
                <a:gd name="T73" fmla="*/ 24 h 412"/>
                <a:gd name="T74" fmla="*/ 120 w 188"/>
                <a:gd name="T75" fmla="*/ 20 h 412"/>
                <a:gd name="T76" fmla="*/ 181 w 188"/>
                <a:gd name="T77" fmla="*/ 0 h 412"/>
                <a:gd name="T78" fmla="*/ 176 w 188"/>
                <a:gd name="T79" fmla="*/ 3 h 412"/>
                <a:gd name="T80" fmla="*/ 162 w 188"/>
                <a:gd name="T81" fmla="*/ 34 h 412"/>
                <a:gd name="T82" fmla="*/ 162 w 188"/>
                <a:gd name="T83" fmla="*/ 34 h 412"/>
                <a:gd name="T84" fmla="*/ 175 w 188"/>
                <a:gd name="T85" fmla="*/ 30 h 412"/>
                <a:gd name="T86" fmla="*/ 186 w 188"/>
                <a:gd name="T87" fmla="*/ 7 h 412"/>
                <a:gd name="T88" fmla="*/ 181 w 188"/>
                <a:gd name="T89"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8" h="412">
                  <a:moveTo>
                    <a:pt x="81" y="405"/>
                  </a:moveTo>
                  <a:cubicBezTo>
                    <a:pt x="80" y="405"/>
                    <a:pt x="79" y="405"/>
                    <a:pt x="79" y="405"/>
                  </a:cubicBezTo>
                  <a:cubicBezTo>
                    <a:pt x="73" y="407"/>
                    <a:pt x="68" y="409"/>
                    <a:pt x="63" y="412"/>
                  </a:cubicBezTo>
                  <a:cubicBezTo>
                    <a:pt x="86" y="412"/>
                    <a:pt x="86" y="412"/>
                    <a:pt x="86" y="412"/>
                  </a:cubicBezTo>
                  <a:cubicBezTo>
                    <a:pt x="87" y="409"/>
                    <a:pt x="84" y="405"/>
                    <a:pt x="81" y="405"/>
                  </a:cubicBezTo>
                  <a:moveTo>
                    <a:pt x="173" y="223"/>
                  </a:moveTo>
                  <a:cubicBezTo>
                    <a:pt x="172" y="223"/>
                    <a:pt x="170" y="223"/>
                    <a:pt x="169" y="224"/>
                  </a:cubicBezTo>
                  <a:cubicBezTo>
                    <a:pt x="165" y="227"/>
                    <a:pt x="161" y="230"/>
                    <a:pt x="157" y="233"/>
                  </a:cubicBezTo>
                  <a:cubicBezTo>
                    <a:pt x="160" y="244"/>
                    <a:pt x="160" y="244"/>
                    <a:pt x="160" y="244"/>
                  </a:cubicBezTo>
                  <a:cubicBezTo>
                    <a:pt x="165" y="240"/>
                    <a:pt x="171" y="236"/>
                    <a:pt x="176" y="232"/>
                  </a:cubicBezTo>
                  <a:cubicBezTo>
                    <a:pt x="181" y="229"/>
                    <a:pt x="177" y="223"/>
                    <a:pt x="173" y="223"/>
                  </a:cubicBezTo>
                  <a:moveTo>
                    <a:pt x="55" y="118"/>
                  </a:moveTo>
                  <a:cubicBezTo>
                    <a:pt x="52" y="118"/>
                    <a:pt x="49" y="121"/>
                    <a:pt x="49" y="125"/>
                  </a:cubicBezTo>
                  <a:cubicBezTo>
                    <a:pt x="53" y="162"/>
                    <a:pt x="59" y="198"/>
                    <a:pt x="68" y="234"/>
                  </a:cubicBezTo>
                  <a:cubicBezTo>
                    <a:pt x="49" y="274"/>
                    <a:pt x="29" y="315"/>
                    <a:pt x="10" y="355"/>
                  </a:cubicBezTo>
                  <a:cubicBezTo>
                    <a:pt x="7" y="342"/>
                    <a:pt x="3" y="329"/>
                    <a:pt x="0" y="316"/>
                  </a:cubicBezTo>
                  <a:cubicBezTo>
                    <a:pt x="0" y="357"/>
                    <a:pt x="0" y="357"/>
                    <a:pt x="0" y="357"/>
                  </a:cubicBezTo>
                  <a:cubicBezTo>
                    <a:pt x="1" y="361"/>
                    <a:pt x="2" y="364"/>
                    <a:pt x="3" y="367"/>
                  </a:cubicBezTo>
                  <a:cubicBezTo>
                    <a:pt x="3" y="368"/>
                    <a:pt x="4" y="368"/>
                    <a:pt x="4" y="369"/>
                  </a:cubicBezTo>
                  <a:cubicBezTo>
                    <a:pt x="3" y="371"/>
                    <a:pt x="1" y="374"/>
                    <a:pt x="0" y="376"/>
                  </a:cubicBezTo>
                  <a:cubicBezTo>
                    <a:pt x="0" y="400"/>
                    <a:pt x="0" y="400"/>
                    <a:pt x="0" y="400"/>
                  </a:cubicBezTo>
                  <a:cubicBezTo>
                    <a:pt x="15" y="369"/>
                    <a:pt x="30" y="337"/>
                    <a:pt x="45" y="306"/>
                  </a:cubicBezTo>
                  <a:cubicBezTo>
                    <a:pt x="72" y="295"/>
                    <a:pt x="98" y="282"/>
                    <a:pt x="122" y="268"/>
                  </a:cubicBezTo>
                  <a:cubicBezTo>
                    <a:pt x="118" y="258"/>
                    <a:pt x="118" y="258"/>
                    <a:pt x="118" y="258"/>
                  </a:cubicBezTo>
                  <a:cubicBezTo>
                    <a:pt x="97" y="271"/>
                    <a:pt x="75" y="282"/>
                    <a:pt x="52" y="292"/>
                  </a:cubicBezTo>
                  <a:cubicBezTo>
                    <a:pt x="60" y="274"/>
                    <a:pt x="69" y="255"/>
                    <a:pt x="78" y="237"/>
                  </a:cubicBezTo>
                  <a:cubicBezTo>
                    <a:pt x="78" y="237"/>
                    <a:pt x="78" y="236"/>
                    <a:pt x="78" y="236"/>
                  </a:cubicBezTo>
                  <a:cubicBezTo>
                    <a:pt x="84" y="224"/>
                    <a:pt x="89" y="213"/>
                    <a:pt x="94" y="202"/>
                  </a:cubicBezTo>
                  <a:cubicBezTo>
                    <a:pt x="89" y="189"/>
                    <a:pt x="89" y="189"/>
                    <a:pt x="89" y="189"/>
                  </a:cubicBezTo>
                  <a:cubicBezTo>
                    <a:pt x="84" y="199"/>
                    <a:pt x="79" y="209"/>
                    <a:pt x="75" y="219"/>
                  </a:cubicBezTo>
                  <a:cubicBezTo>
                    <a:pt x="67" y="187"/>
                    <a:pt x="62" y="155"/>
                    <a:pt x="60" y="122"/>
                  </a:cubicBezTo>
                  <a:cubicBezTo>
                    <a:pt x="59" y="120"/>
                    <a:pt x="57" y="118"/>
                    <a:pt x="55" y="118"/>
                  </a:cubicBezTo>
                  <a:moveTo>
                    <a:pt x="120" y="20"/>
                  </a:moveTo>
                  <a:cubicBezTo>
                    <a:pt x="117" y="20"/>
                    <a:pt x="114" y="22"/>
                    <a:pt x="114" y="26"/>
                  </a:cubicBezTo>
                  <a:cubicBezTo>
                    <a:pt x="117" y="42"/>
                    <a:pt x="121" y="59"/>
                    <a:pt x="125" y="75"/>
                  </a:cubicBezTo>
                  <a:cubicBezTo>
                    <a:pt x="133" y="64"/>
                    <a:pt x="133" y="64"/>
                    <a:pt x="133" y="64"/>
                  </a:cubicBezTo>
                  <a:cubicBezTo>
                    <a:pt x="130" y="51"/>
                    <a:pt x="127" y="37"/>
                    <a:pt x="125" y="24"/>
                  </a:cubicBezTo>
                  <a:cubicBezTo>
                    <a:pt x="124" y="21"/>
                    <a:pt x="122" y="20"/>
                    <a:pt x="120" y="20"/>
                  </a:cubicBezTo>
                  <a:moveTo>
                    <a:pt x="181" y="0"/>
                  </a:moveTo>
                  <a:cubicBezTo>
                    <a:pt x="179" y="0"/>
                    <a:pt x="177" y="1"/>
                    <a:pt x="176" y="3"/>
                  </a:cubicBezTo>
                  <a:cubicBezTo>
                    <a:pt x="172" y="14"/>
                    <a:pt x="167" y="24"/>
                    <a:pt x="162" y="34"/>
                  </a:cubicBezTo>
                  <a:cubicBezTo>
                    <a:pt x="162" y="34"/>
                    <a:pt x="162" y="34"/>
                    <a:pt x="162" y="34"/>
                  </a:cubicBezTo>
                  <a:cubicBezTo>
                    <a:pt x="175" y="30"/>
                    <a:pt x="175" y="30"/>
                    <a:pt x="175" y="30"/>
                  </a:cubicBezTo>
                  <a:cubicBezTo>
                    <a:pt x="179" y="22"/>
                    <a:pt x="182" y="14"/>
                    <a:pt x="186" y="7"/>
                  </a:cubicBezTo>
                  <a:cubicBezTo>
                    <a:pt x="188" y="3"/>
                    <a:pt x="185" y="0"/>
                    <a:pt x="181" y="0"/>
                  </a:cubicBezTo>
                </a:path>
              </a:pathLst>
            </a:custGeom>
            <a:solidFill>
              <a:srgbClr val="E0980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1" name="Freeform 71"/>
            <p:cNvSpPr/>
            <p:nvPr/>
          </p:nvSpPr>
          <p:spPr bwMode="auto">
            <a:xfrm>
              <a:off x="8378007" y="4808400"/>
              <a:ext cx="3028109" cy="289476"/>
            </a:xfrm>
            <a:custGeom>
              <a:avLst/>
              <a:gdLst>
                <a:gd name="T0" fmla="*/ 853 w 896"/>
                <a:gd name="T1" fmla="*/ 86 h 86"/>
                <a:gd name="T2" fmla="*/ 43 w 896"/>
                <a:gd name="T3" fmla="*/ 86 h 86"/>
                <a:gd name="T4" fmla="*/ 0 w 896"/>
                <a:gd name="T5" fmla="*/ 43 h 86"/>
                <a:gd name="T6" fmla="*/ 43 w 896"/>
                <a:gd name="T7" fmla="*/ 0 h 86"/>
                <a:gd name="T8" fmla="*/ 853 w 896"/>
                <a:gd name="T9" fmla="*/ 0 h 86"/>
                <a:gd name="T10" fmla="*/ 896 w 896"/>
                <a:gd name="T11" fmla="*/ 43 h 86"/>
                <a:gd name="T12" fmla="*/ 853 w 896"/>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896" h="86">
                  <a:moveTo>
                    <a:pt x="853" y="86"/>
                  </a:moveTo>
                  <a:cubicBezTo>
                    <a:pt x="43" y="86"/>
                    <a:pt x="43" y="86"/>
                    <a:pt x="43" y="86"/>
                  </a:cubicBezTo>
                  <a:cubicBezTo>
                    <a:pt x="19" y="86"/>
                    <a:pt x="0" y="67"/>
                    <a:pt x="0" y="43"/>
                  </a:cubicBezTo>
                  <a:cubicBezTo>
                    <a:pt x="0" y="19"/>
                    <a:pt x="19" y="0"/>
                    <a:pt x="43" y="0"/>
                  </a:cubicBezTo>
                  <a:cubicBezTo>
                    <a:pt x="853" y="0"/>
                    <a:pt x="853" y="0"/>
                    <a:pt x="853" y="0"/>
                  </a:cubicBezTo>
                  <a:cubicBezTo>
                    <a:pt x="877" y="0"/>
                    <a:pt x="896" y="19"/>
                    <a:pt x="896" y="43"/>
                  </a:cubicBezTo>
                  <a:cubicBezTo>
                    <a:pt x="896" y="67"/>
                    <a:pt x="877" y="86"/>
                    <a:pt x="853" y="86"/>
                  </a:cubicBezTo>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2" name="Freeform 72"/>
            <p:cNvSpPr/>
            <p:nvPr/>
          </p:nvSpPr>
          <p:spPr bwMode="auto">
            <a:xfrm>
              <a:off x="9365151" y="4808400"/>
              <a:ext cx="2040966" cy="289476"/>
            </a:xfrm>
            <a:custGeom>
              <a:avLst/>
              <a:gdLst>
                <a:gd name="T0" fmla="*/ 149 w 604"/>
                <a:gd name="T1" fmla="*/ 43 h 86"/>
                <a:gd name="T2" fmla="*/ 149 w 604"/>
                <a:gd name="T3" fmla="*/ 43 h 86"/>
                <a:gd name="T4" fmla="*/ 179 w 604"/>
                <a:gd name="T5" fmla="*/ 13 h 86"/>
                <a:gd name="T6" fmla="*/ 209 w 604"/>
                <a:gd name="T7" fmla="*/ 43 h 86"/>
                <a:gd name="T8" fmla="*/ 209 w 604"/>
                <a:gd name="T9" fmla="*/ 43 h 86"/>
                <a:gd name="T10" fmla="*/ 209 w 604"/>
                <a:gd name="T11" fmla="*/ 43 h 86"/>
                <a:gd name="T12" fmla="*/ 179 w 604"/>
                <a:gd name="T13" fmla="*/ 73 h 86"/>
                <a:gd name="T14" fmla="*/ 149 w 604"/>
                <a:gd name="T15" fmla="*/ 43 h 86"/>
                <a:gd name="T16" fmla="*/ 149 w 604"/>
                <a:gd name="T17" fmla="*/ 43 h 86"/>
                <a:gd name="T18" fmla="*/ 268 w 604"/>
                <a:gd name="T19" fmla="*/ 43 h 86"/>
                <a:gd name="T20" fmla="*/ 268 w 604"/>
                <a:gd name="T21" fmla="*/ 43 h 86"/>
                <a:gd name="T22" fmla="*/ 298 w 604"/>
                <a:gd name="T23" fmla="*/ 13 h 86"/>
                <a:gd name="T24" fmla="*/ 328 w 604"/>
                <a:gd name="T25" fmla="*/ 43 h 86"/>
                <a:gd name="T26" fmla="*/ 328 w 604"/>
                <a:gd name="T27" fmla="*/ 43 h 86"/>
                <a:gd name="T28" fmla="*/ 328 w 604"/>
                <a:gd name="T29" fmla="*/ 43 h 86"/>
                <a:gd name="T30" fmla="*/ 298 w 604"/>
                <a:gd name="T31" fmla="*/ 73 h 86"/>
                <a:gd name="T32" fmla="*/ 268 w 604"/>
                <a:gd name="T33" fmla="*/ 43 h 86"/>
                <a:gd name="T34" fmla="*/ 268 w 604"/>
                <a:gd name="T35" fmla="*/ 43 h 86"/>
                <a:gd name="T36" fmla="*/ 561 w 604"/>
                <a:gd name="T37" fmla="*/ 0 h 86"/>
                <a:gd name="T38" fmla="*/ 86 w 604"/>
                <a:gd name="T39" fmla="*/ 0 h 86"/>
                <a:gd name="T40" fmla="*/ 63 w 604"/>
                <a:gd name="T41" fmla="*/ 0 h 86"/>
                <a:gd name="T42" fmla="*/ 0 w 604"/>
                <a:gd name="T43" fmla="*/ 0 h 86"/>
                <a:gd name="T44" fmla="*/ 0 w 604"/>
                <a:gd name="T45" fmla="*/ 86 h 86"/>
                <a:gd name="T46" fmla="*/ 561 w 604"/>
                <a:gd name="T47" fmla="*/ 86 h 86"/>
                <a:gd name="T48" fmla="*/ 604 w 604"/>
                <a:gd name="T49" fmla="*/ 43 h 86"/>
                <a:gd name="T50" fmla="*/ 561 w 604"/>
                <a:gd name="T5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4" h="86">
                  <a:moveTo>
                    <a:pt x="149" y="43"/>
                  </a:moveTo>
                  <a:cubicBezTo>
                    <a:pt x="149" y="43"/>
                    <a:pt x="149" y="43"/>
                    <a:pt x="149" y="43"/>
                  </a:cubicBezTo>
                  <a:cubicBezTo>
                    <a:pt x="149" y="26"/>
                    <a:pt x="162" y="13"/>
                    <a:pt x="179" y="13"/>
                  </a:cubicBezTo>
                  <a:cubicBezTo>
                    <a:pt x="196" y="13"/>
                    <a:pt x="209" y="26"/>
                    <a:pt x="209" y="43"/>
                  </a:cubicBezTo>
                  <a:cubicBezTo>
                    <a:pt x="209" y="43"/>
                    <a:pt x="209" y="43"/>
                    <a:pt x="209" y="43"/>
                  </a:cubicBezTo>
                  <a:cubicBezTo>
                    <a:pt x="209" y="43"/>
                    <a:pt x="209" y="43"/>
                    <a:pt x="209" y="43"/>
                  </a:cubicBezTo>
                  <a:cubicBezTo>
                    <a:pt x="209" y="60"/>
                    <a:pt x="196" y="73"/>
                    <a:pt x="179" y="73"/>
                  </a:cubicBezTo>
                  <a:cubicBezTo>
                    <a:pt x="162" y="73"/>
                    <a:pt x="149" y="60"/>
                    <a:pt x="149" y="43"/>
                  </a:cubicBezTo>
                  <a:cubicBezTo>
                    <a:pt x="149" y="43"/>
                    <a:pt x="149" y="43"/>
                    <a:pt x="149" y="43"/>
                  </a:cubicBezTo>
                  <a:moveTo>
                    <a:pt x="268" y="43"/>
                  </a:moveTo>
                  <a:cubicBezTo>
                    <a:pt x="268" y="43"/>
                    <a:pt x="268" y="43"/>
                    <a:pt x="268" y="43"/>
                  </a:cubicBezTo>
                  <a:cubicBezTo>
                    <a:pt x="268" y="26"/>
                    <a:pt x="281" y="13"/>
                    <a:pt x="298" y="13"/>
                  </a:cubicBezTo>
                  <a:cubicBezTo>
                    <a:pt x="315" y="13"/>
                    <a:pt x="328" y="26"/>
                    <a:pt x="328" y="43"/>
                  </a:cubicBezTo>
                  <a:cubicBezTo>
                    <a:pt x="328" y="43"/>
                    <a:pt x="328" y="43"/>
                    <a:pt x="328" y="43"/>
                  </a:cubicBezTo>
                  <a:cubicBezTo>
                    <a:pt x="328" y="43"/>
                    <a:pt x="328" y="43"/>
                    <a:pt x="328" y="43"/>
                  </a:cubicBezTo>
                  <a:cubicBezTo>
                    <a:pt x="328" y="60"/>
                    <a:pt x="315" y="73"/>
                    <a:pt x="298" y="73"/>
                  </a:cubicBezTo>
                  <a:cubicBezTo>
                    <a:pt x="281" y="73"/>
                    <a:pt x="268" y="60"/>
                    <a:pt x="268" y="43"/>
                  </a:cubicBezTo>
                  <a:cubicBezTo>
                    <a:pt x="268" y="43"/>
                    <a:pt x="268" y="43"/>
                    <a:pt x="268" y="43"/>
                  </a:cubicBezTo>
                  <a:moveTo>
                    <a:pt x="561" y="0"/>
                  </a:moveTo>
                  <a:cubicBezTo>
                    <a:pt x="86" y="0"/>
                    <a:pt x="86" y="0"/>
                    <a:pt x="86" y="0"/>
                  </a:cubicBezTo>
                  <a:cubicBezTo>
                    <a:pt x="63" y="0"/>
                    <a:pt x="63" y="0"/>
                    <a:pt x="63" y="0"/>
                  </a:cubicBezTo>
                  <a:cubicBezTo>
                    <a:pt x="0" y="0"/>
                    <a:pt x="0" y="0"/>
                    <a:pt x="0" y="0"/>
                  </a:cubicBezTo>
                  <a:cubicBezTo>
                    <a:pt x="0" y="86"/>
                    <a:pt x="0" y="86"/>
                    <a:pt x="0" y="86"/>
                  </a:cubicBezTo>
                  <a:cubicBezTo>
                    <a:pt x="561" y="86"/>
                    <a:pt x="561" y="86"/>
                    <a:pt x="561" y="86"/>
                  </a:cubicBezTo>
                  <a:cubicBezTo>
                    <a:pt x="585" y="86"/>
                    <a:pt x="604" y="67"/>
                    <a:pt x="604" y="43"/>
                  </a:cubicBezTo>
                  <a:cubicBezTo>
                    <a:pt x="604" y="19"/>
                    <a:pt x="585" y="0"/>
                    <a:pt x="561" y="0"/>
                  </a:cubicBezTo>
                </a:path>
              </a:pathLst>
            </a:custGeom>
            <a:solidFill>
              <a:srgbClr val="00238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3" name="Freeform 73"/>
            <p:cNvSpPr/>
            <p:nvPr/>
          </p:nvSpPr>
          <p:spPr bwMode="auto">
            <a:xfrm>
              <a:off x="10472639" y="2447060"/>
              <a:ext cx="385426" cy="458608"/>
            </a:xfrm>
            <a:custGeom>
              <a:avLst/>
              <a:gdLst>
                <a:gd name="T0" fmla="*/ 114 w 114"/>
                <a:gd name="T1" fmla="*/ 58 h 136"/>
                <a:gd name="T2" fmla="*/ 54 w 114"/>
                <a:gd name="T3" fmla="*/ 2 h 136"/>
                <a:gd name="T4" fmla="*/ 2 w 114"/>
                <a:gd name="T5" fmla="*/ 52 h 136"/>
                <a:gd name="T6" fmla="*/ 19 w 114"/>
                <a:gd name="T7" fmla="*/ 99 h 136"/>
                <a:gd name="T8" fmla="*/ 35 w 114"/>
                <a:gd name="T9" fmla="*/ 136 h 136"/>
                <a:gd name="T10" fmla="*/ 81 w 114"/>
                <a:gd name="T11" fmla="*/ 136 h 136"/>
                <a:gd name="T12" fmla="*/ 97 w 114"/>
                <a:gd name="T13" fmla="*/ 98 h 136"/>
                <a:gd name="T14" fmla="*/ 114 w 114"/>
                <a:gd name="T15" fmla="*/ 58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36">
                  <a:moveTo>
                    <a:pt x="114" y="58"/>
                  </a:moveTo>
                  <a:cubicBezTo>
                    <a:pt x="114" y="26"/>
                    <a:pt x="87" y="0"/>
                    <a:pt x="54" y="2"/>
                  </a:cubicBezTo>
                  <a:cubicBezTo>
                    <a:pt x="27" y="4"/>
                    <a:pt x="5" y="25"/>
                    <a:pt x="2" y="52"/>
                  </a:cubicBezTo>
                  <a:cubicBezTo>
                    <a:pt x="0" y="71"/>
                    <a:pt x="7" y="88"/>
                    <a:pt x="19" y="99"/>
                  </a:cubicBezTo>
                  <a:cubicBezTo>
                    <a:pt x="30" y="109"/>
                    <a:pt x="35" y="122"/>
                    <a:pt x="35" y="136"/>
                  </a:cubicBezTo>
                  <a:cubicBezTo>
                    <a:pt x="81" y="136"/>
                    <a:pt x="81" y="136"/>
                    <a:pt x="81" y="136"/>
                  </a:cubicBezTo>
                  <a:cubicBezTo>
                    <a:pt x="81" y="122"/>
                    <a:pt x="87" y="109"/>
                    <a:pt x="97" y="98"/>
                  </a:cubicBezTo>
                  <a:cubicBezTo>
                    <a:pt x="108" y="88"/>
                    <a:pt x="114" y="74"/>
                    <a:pt x="114" y="58"/>
                  </a:cubicBezTo>
                  <a:close/>
                </a:path>
              </a:pathLst>
            </a:custGeom>
            <a:solidFill>
              <a:srgbClr val="FEC008"/>
            </a:solidFill>
            <a:ln>
              <a:noFill/>
            </a:ln>
          </p:spPr>
          <p:txBody>
            <a:bodyPr vert="horz" wrap="square" lIns="91440" tIns="45720" rIns="91440" bIns="45720" numCol="1" anchor="t" anchorCtr="0" compatLnSpc="1"/>
            <a:lstStyle/>
            <a:p>
              <a:endParaRPr lang="zh-CN" altLang="en-US"/>
            </a:p>
          </p:txBody>
        </p:sp>
        <p:sp>
          <p:nvSpPr>
            <p:cNvPr id="314" name="任意多边形: 形状 255"/>
            <p:cNvSpPr/>
            <p:nvPr/>
          </p:nvSpPr>
          <p:spPr bwMode="auto">
            <a:xfrm>
              <a:off x="10560456" y="2622698"/>
              <a:ext cx="216294" cy="276466"/>
            </a:xfrm>
            <a:custGeom>
              <a:avLst/>
              <a:gdLst>
                <a:gd name="connsiteX0" fmla="*/ 181723 w 211138"/>
                <a:gd name="connsiteY0" fmla="*/ 9874 h 269875"/>
                <a:gd name="connsiteX1" fmla="*/ 145771 w 211138"/>
                <a:gd name="connsiteY1" fmla="*/ 46076 h 269875"/>
                <a:gd name="connsiteX2" fmla="*/ 142502 w 211138"/>
                <a:gd name="connsiteY2" fmla="*/ 52659 h 269875"/>
                <a:gd name="connsiteX3" fmla="*/ 181723 w 211138"/>
                <a:gd name="connsiteY3" fmla="*/ 52659 h 269875"/>
                <a:gd name="connsiteX4" fmla="*/ 201333 w 211138"/>
                <a:gd name="connsiteY4" fmla="*/ 29621 h 269875"/>
                <a:gd name="connsiteX5" fmla="*/ 181723 w 211138"/>
                <a:gd name="connsiteY5" fmla="*/ 9874 h 269875"/>
                <a:gd name="connsiteX6" fmla="*/ 29836 w 211138"/>
                <a:gd name="connsiteY6" fmla="*/ 9874 h 269875"/>
                <a:gd name="connsiteX7" fmla="*/ 9945 w 211138"/>
                <a:gd name="connsiteY7" fmla="*/ 29621 h 269875"/>
                <a:gd name="connsiteX8" fmla="*/ 29836 w 211138"/>
                <a:gd name="connsiteY8" fmla="*/ 52659 h 269875"/>
                <a:gd name="connsiteX9" fmla="*/ 69617 w 211138"/>
                <a:gd name="connsiteY9" fmla="*/ 52659 h 269875"/>
                <a:gd name="connsiteX10" fmla="*/ 69617 w 211138"/>
                <a:gd name="connsiteY10" fmla="*/ 46076 h 269875"/>
                <a:gd name="connsiteX11" fmla="*/ 29836 w 211138"/>
                <a:gd name="connsiteY11" fmla="*/ 9874 h 269875"/>
                <a:gd name="connsiteX12" fmla="*/ 29836 w 211138"/>
                <a:gd name="connsiteY12" fmla="*/ 0 h 269875"/>
                <a:gd name="connsiteX13" fmla="*/ 79562 w 211138"/>
                <a:gd name="connsiteY13" fmla="*/ 46076 h 269875"/>
                <a:gd name="connsiteX14" fmla="*/ 79562 w 211138"/>
                <a:gd name="connsiteY14" fmla="*/ 52659 h 269875"/>
                <a:gd name="connsiteX15" fmla="*/ 98727 w 211138"/>
                <a:gd name="connsiteY15" fmla="*/ 52659 h 269875"/>
                <a:gd name="connsiteX16" fmla="*/ 100013 w 211138"/>
                <a:gd name="connsiteY16" fmla="*/ 52659 h 269875"/>
                <a:gd name="connsiteX17" fmla="*/ 108569 w 211138"/>
                <a:gd name="connsiteY17" fmla="*/ 52659 h 269875"/>
                <a:gd name="connsiteX18" fmla="*/ 112713 w 211138"/>
                <a:gd name="connsiteY18" fmla="*/ 52659 h 269875"/>
                <a:gd name="connsiteX19" fmla="*/ 118909 w 211138"/>
                <a:gd name="connsiteY19" fmla="*/ 52659 h 269875"/>
                <a:gd name="connsiteX20" fmla="*/ 132697 w 211138"/>
                <a:gd name="connsiteY20" fmla="*/ 52659 h 269875"/>
                <a:gd name="connsiteX21" fmla="*/ 132697 w 211138"/>
                <a:gd name="connsiteY21" fmla="*/ 46076 h 269875"/>
                <a:gd name="connsiteX22" fmla="*/ 181723 w 211138"/>
                <a:gd name="connsiteY22" fmla="*/ 0 h 269875"/>
                <a:gd name="connsiteX23" fmla="*/ 211138 w 211138"/>
                <a:gd name="connsiteY23" fmla="*/ 29621 h 269875"/>
                <a:gd name="connsiteX24" fmla="*/ 181723 w 211138"/>
                <a:gd name="connsiteY24" fmla="*/ 62532 h 269875"/>
                <a:gd name="connsiteX25" fmla="*/ 142502 w 211138"/>
                <a:gd name="connsiteY25" fmla="*/ 62532 h 269875"/>
                <a:gd name="connsiteX26" fmla="*/ 126160 w 211138"/>
                <a:gd name="connsiteY26" fmla="*/ 269875 h 269875"/>
                <a:gd name="connsiteX27" fmla="*/ 116355 w 211138"/>
                <a:gd name="connsiteY27" fmla="*/ 269875 h 269875"/>
                <a:gd name="connsiteX28" fmla="*/ 132697 w 211138"/>
                <a:gd name="connsiteY28" fmla="*/ 62532 h 269875"/>
                <a:gd name="connsiteX29" fmla="*/ 113802 w 211138"/>
                <a:gd name="connsiteY29" fmla="*/ 62532 h 269875"/>
                <a:gd name="connsiteX30" fmla="*/ 112713 w 211138"/>
                <a:gd name="connsiteY30" fmla="*/ 62532 h 269875"/>
                <a:gd name="connsiteX31" fmla="*/ 104099 w 211138"/>
                <a:gd name="connsiteY31" fmla="*/ 62532 h 269875"/>
                <a:gd name="connsiteX32" fmla="*/ 100013 w 211138"/>
                <a:gd name="connsiteY32" fmla="*/ 62532 h 269875"/>
                <a:gd name="connsiteX33" fmla="*/ 93547 w 211138"/>
                <a:gd name="connsiteY33" fmla="*/ 62532 h 269875"/>
                <a:gd name="connsiteX34" fmla="*/ 79562 w 211138"/>
                <a:gd name="connsiteY34" fmla="*/ 62532 h 269875"/>
                <a:gd name="connsiteX35" fmla="*/ 96137 w 211138"/>
                <a:gd name="connsiteY35" fmla="*/ 269875 h 269875"/>
                <a:gd name="connsiteX36" fmla="*/ 86192 w 211138"/>
                <a:gd name="connsiteY36" fmla="*/ 269875 h 269875"/>
                <a:gd name="connsiteX37" fmla="*/ 69617 w 211138"/>
                <a:gd name="connsiteY37" fmla="*/ 62532 h 269875"/>
                <a:gd name="connsiteX38" fmla="*/ 29836 w 211138"/>
                <a:gd name="connsiteY38" fmla="*/ 62532 h 269875"/>
                <a:gd name="connsiteX39" fmla="*/ 0 w 211138"/>
                <a:gd name="connsiteY39" fmla="*/ 29621 h 269875"/>
                <a:gd name="connsiteX40" fmla="*/ 29836 w 211138"/>
                <a:gd name="connsiteY40" fmla="*/ 0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11138" h="269875">
                  <a:moveTo>
                    <a:pt x="181723" y="9874"/>
                  </a:moveTo>
                  <a:cubicBezTo>
                    <a:pt x="162113" y="9874"/>
                    <a:pt x="145771" y="26329"/>
                    <a:pt x="145771" y="46076"/>
                  </a:cubicBezTo>
                  <a:lnTo>
                    <a:pt x="142502" y="52659"/>
                  </a:lnTo>
                  <a:cubicBezTo>
                    <a:pt x="181723" y="52659"/>
                    <a:pt x="181723" y="52659"/>
                    <a:pt x="181723" y="52659"/>
                  </a:cubicBezTo>
                  <a:cubicBezTo>
                    <a:pt x="194796" y="52659"/>
                    <a:pt x="201333" y="42785"/>
                    <a:pt x="201333" y="29621"/>
                  </a:cubicBezTo>
                  <a:cubicBezTo>
                    <a:pt x="201333" y="19747"/>
                    <a:pt x="194796" y="9874"/>
                    <a:pt x="181723" y="9874"/>
                  </a:cubicBezTo>
                  <a:close/>
                  <a:moveTo>
                    <a:pt x="29836" y="9874"/>
                  </a:moveTo>
                  <a:cubicBezTo>
                    <a:pt x="19890" y="9874"/>
                    <a:pt x="9945" y="19747"/>
                    <a:pt x="9945" y="29621"/>
                  </a:cubicBezTo>
                  <a:cubicBezTo>
                    <a:pt x="9945" y="42785"/>
                    <a:pt x="19890" y="52659"/>
                    <a:pt x="29836" y="52659"/>
                  </a:cubicBezTo>
                  <a:cubicBezTo>
                    <a:pt x="69617" y="52659"/>
                    <a:pt x="69617" y="52659"/>
                    <a:pt x="69617" y="52659"/>
                  </a:cubicBezTo>
                  <a:cubicBezTo>
                    <a:pt x="69617" y="46076"/>
                    <a:pt x="69617" y="46076"/>
                    <a:pt x="69617" y="46076"/>
                  </a:cubicBezTo>
                  <a:cubicBezTo>
                    <a:pt x="66302" y="26329"/>
                    <a:pt x="49726" y="9874"/>
                    <a:pt x="29836" y="9874"/>
                  </a:cubicBezTo>
                  <a:close/>
                  <a:moveTo>
                    <a:pt x="29836" y="0"/>
                  </a:moveTo>
                  <a:cubicBezTo>
                    <a:pt x="56356" y="0"/>
                    <a:pt x="76247" y="19747"/>
                    <a:pt x="79562" y="46076"/>
                  </a:cubicBezTo>
                  <a:cubicBezTo>
                    <a:pt x="79562" y="52659"/>
                    <a:pt x="79562" y="52659"/>
                    <a:pt x="79562" y="52659"/>
                  </a:cubicBezTo>
                  <a:cubicBezTo>
                    <a:pt x="87850" y="52659"/>
                    <a:pt x="94065" y="52659"/>
                    <a:pt x="98727" y="52659"/>
                  </a:cubicBezTo>
                  <a:lnTo>
                    <a:pt x="100013" y="52659"/>
                  </a:lnTo>
                  <a:lnTo>
                    <a:pt x="108569" y="52659"/>
                  </a:lnTo>
                  <a:lnTo>
                    <a:pt x="112713" y="52659"/>
                  </a:lnTo>
                  <a:lnTo>
                    <a:pt x="118909" y="52659"/>
                  </a:lnTo>
                  <a:cubicBezTo>
                    <a:pt x="132697" y="52659"/>
                    <a:pt x="132697" y="52659"/>
                    <a:pt x="132697" y="52659"/>
                  </a:cubicBezTo>
                  <a:cubicBezTo>
                    <a:pt x="132697" y="46076"/>
                    <a:pt x="132697" y="46076"/>
                    <a:pt x="132697" y="46076"/>
                  </a:cubicBezTo>
                  <a:cubicBezTo>
                    <a:pt x="135965" y="19747"/>
                    <a:pt x="155576" y="0"/>
                    <a:pt x="181723" y="0"/>
                  </a:cubicBezTo>
                  <a:cubicBezTo>
                    <a:pt x="198065" y="0"/>
                    <a:pt x="211138" y="13165"/>
                    <a:pt x="211138" y="29621"/>
                  </a:cubicBezTo>
                  <a:cubicBezTo>
                    <a:pt x="211138" y="49368"/>
                    <a:pt x="198065" y="62532"/>
                    <a:pt x="181723" y="62532"/>
                  </a:cubicBezTo>
                  <a:cubicBezTo>
                    <a:pt x="142502" y="62532"/>
                    <a:pt x="142502" y="62532"/>
                    <a:pt x="142502" y="62532"/>
                  </a:cubicBezTo>
                  <a:lnTo>
                    <a:pt x="126160" y="269875"/>
                  </a:lnTo>
                  <a:cubicBezTo>
                    <a:pt x="116355" y="269875"/>
                    <a:pt x="116355" y="269875"/>
                    <a:pt x="116355" y="269875"/>
                  </a:cubicBezTo>
                  <a:cubicBezTo>
                    <a:pt x="132697" y="62532"/>
                    <a:pt x="132697" y="62532"/>
                    <a:pt x="132697" y="62532"/>
                  </a:cubicBezTo>
                  <a:cubicBezTo>
                    <a:pt x="124526" y="62532"/>
                    <a:pt x="118398" y="62532"/>
                    <a:pt x="113802" y="62532"/>
                  </a:cubicBezTo>
                  <a:lnTo>
                    <a:pt x="112713" y="62532"/>
                  </a:lnTo>
                  <a:lnTo>
                    <a:pt x="104099" y="62532"/>
                  </a:lnTo>
                  <a:cubicBezTo>
                    <a:pt x="100013" y="62532"/>
                    <a:pt x="100013" y="62532"/>
                    <a:pt x="100013" y="62532"/>
                  </a:cubicBezTo>
                  <a:lnTo>
                    <a:pt x="93547" y="62532"/>
                  </a:lnTo>
                  <a:cubicBezTo>
                    <a:pt x="79562" y="62532"/>
                    <a:pt x="79562" y="62532"/>
                    <a:pt x="79562" y="62532"/>
                  </a:cubicBezTo>
                  <a:cubicBezTo>
                    <a:pt x="96137" y="269875"/>
                    <a:pt x="96137" y="269875"/>
                    <a:pt x="96137" y="269875"/>
                  </a:cubicBezTo>
                  <a:lnTo>
                    <a:pt x="86192" y="269875"/>
                  </a:lnTo>
                  <a:cubicBezTo>
                    <a:pt x="69617" y="62532"/>
                    <a:pt x="69617" y="62532"/>
                    <a:pt x="69617" y="62532"/>
                  </a:cubicBezTo>
                  <a:cubicBezTo>
                    <a:pt x="29836" y="62532"/>
                    <a:pt x="29836" y="62532"/>
                    <a:pt x="29836" y="62532"/>
                  </a:cubicBezTo>
                  <a:cubicBezTo>
                    <a:pt x="13260" y="62532"/>
                    <a:pt x="0" y="49368"/>
                    <a:pt x="0" y="29621"/>
                  </a:cubicBezTo>
                  <a:cubicBezTo>
                    <a:pt x="0" y="13165"/>
                    <a:pt x="13260" y="0"/>
                    <a:pt x="29836" y="0"/>
                  </a:cubicBezTo>
                  <a:close/>
                </a:path>
              </a:pathLst>
            </a:custGeom>
            <a:solidFill>
              <a:srgbClr val="DCA402"/>
            </a:solidFill>
            <a:ln>
              <a:noFill/>
            </a:ln>
          </p:spPr>
          <p:txBody>
            <a:bodyPr vert="horz" wrap="square" lIns="91440" tIns="45720" rIns="91440" bIns="45720" numCol="1" anchor="t" anchorCtr="0" compatLnSpc="1">
              <a:noAutofit/>
            </a:bodyPr>
            <a:lstStyle/>
            <a:p>
              <a:endParaRPr lang="zh-CN" altLang="en-US"/>
            </a:p>
          </p:txBody>
        </p:sp>
        <p:sp>
          <p:nvSpPr>
            <p:cNvPr id="315" name="Freeform 76"/>
            <p:cNvSpPr/>
            <p:nvPr/>
          </p:nvSpPr>
          <p:spPr bwMode="auto">
            <a:xfrm>
              <a:off x="10591357" y="2889405"/>
              <a:ext cx="156121" cy="144738"/>
            </a:xfrm>
            <a:custGeom>
              <a:avLst/>
              <a:gdLst>
                <a:gd name="T0" fmla="*/ 46 w 46"/>
                <a:gd name="T1" fmla="*/ 0 h 43"/>
                <a:gd name="T2" fmla="*/ 37 w 46"/>
                <a:gd name="T3" fmla="*/ 0 h 43"/>
                <a:gd name="T4" fmla="*/ 9 w 46"/>
                <a:gd name="T5" fmla="*/ 0 h 43"/>
                <a:gd name="T6" fmla="*/ 0 w 46"/>
                <a:gd name="T7" fmla="*/ 0 h 43"/>
                <a:gd name="T8" fmla="*/ 0 w 46"/>
                <a:gd name="T9" fmla="*/ 36 h 43"/>
                <a:gd name="T10" fmla="*/ 10 w 46"/>
                <a:gd name="T11" fmla="*/ 36 h 43"/>
                <a:gd name="T12" fmla="*/ 23 w 46"/>
                <a:gd name="T13" fmla="*/ 43 h 43"/>
                <a:gd name="T14" fmla="*/ 36 w 46"/>
                <a:gd name="T15" fmla="*/ 36 h 43"/>
                <a:gd name="T16" fmla="*/ 46 w 46"/>
                <a:gd name="T17" fmla="*/ 36 h 43"/>
                <a:gd name="T18" fmla="*/ 46 w 46"/>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3">
                  <a:moveTo>
                    <a:pt x="46" y="0"/>
                  </a:moveTo>
                  <a:cubicBezTo>
                    <a:pt x="37" y="0"/>
                    <a:pt x="37" y="0"/>
                    <a:pt x="37" y="0"/>
                  </a:cubicBezTo>
                  <a:cubicBezTo>
                    <a:pt x="9" y="0"/>
                    <a:pt x="9" y="0"/>
                    <a:pt x="9" y="0"/>
                  </a:cubicBezTo>
                  <a:cubicBezTo>
                    <a:pt x="0" y="0"/>
                    <a:pt x="0" y="0"/>
                    <a:pt x="0" y="0"/>
                  </a:cubicBezTo>
                  <a:cubicBezTo>
                    <a:pt x="0" y="36"/>
                    <a:pt x="0" y="36"/>
                    <a:pt x="0" y="36"/>
                  </a:cubicBezTo>
                  <a:cubicBezTo>
                    <a:pt x="10" y="36"/>
                    <a:pt x="10" y="36"/>
                    <a:pt x="10" y="36"/>
                  </a:cubicBezTo>
                  <a:cubicBezTo>
                    <a:pt x="13" y="40"/>
                    <a:pt x="18" y="43"/>
                    <a:pt x="23" y="43"/>
                  </a:cubicBezTo>
                  <a:cubicBezTo>
                    <a:pt x="29" y="43"/>
                    <a:pt x="33" y="40"/>
                    <a:pt x="36" y="36"/>
                  </a:cubicBezTo>
                  <a:cubicBezTo>
                    <a:pt x="46" y="36"/>
                    <a:pt x="46" y="36"/>
                    <a:pt x="46" y="36"/>
                  </a:cubicBezTo>
                  <a:lnTo>
                    <a:pt x="46" y="0"/>
                  </a:ln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6" name="Freeform 77"/>
            <p:cNvSpPr/>
            <p:nvPr/>
          </p:nvSpPr>
          <p:spPr bwMode="auto">
            <a:xfrm>
              <a:off x="10591357" y="2889405"/>
              <a:ext cx="156121" cy="144738"/>
            </a:xfrm>
            <a:custGeom>
              <a:avLst/>
              <a:gdLst>
                <a:gd name="T0" fmla="*/ 46 w 46"/>
                <a:gd name="T1" fmla="*/ 0 h 43"/>
                <a:gd name="T2" fmla="*/ 37 w 46"/>
                <a:gd name="T3" fmla="*/ 0 h 43"/>
                <a:gd name="T4" fmla="*/ 9 w 46"/>
                <a:gd name="T5" fmla="*/ 0 h 43"/>
                <a:gd name="T6" fmla="*/ 0 w 46"/>
                <a:gd name="T7" fmla="*/ 0 h 43"/>
                <a:gd name="T8" fmla="*/ 0 w 46"/>
                <a:gd name="T9" fmla="*/ 36 h 43"/>
                <a:gd name="T10" fmla="*/ 10 w 46"/>
                <a:gd name="T11" fmla="*/ 36 h 43"/>
                <a:gd name="T12" fmla="*/ 23 w 46"/>
                <a:gd name="T13" fmla="*/ 43 h 43"/>
                <a:gd name="T14" fmla="*/ 36 w 46"/>
                <a:gd name="T15" fmla="*/ 36 h 43"/>
                <a:gd name="T16" fmla="*/ 46 w 46"/>
                <a:gd name="T17" fmla="*/ 36 h 43"/>
                <a:gd name="T18" fmla="*/ 46 w 46"/>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3">
                  <a:moveTo>
                    <a:pt x="46" y="0"/>
                  </a:moveTo>
                  <a:cubicBezTo>
                    <a:pt x="37" y="0"/>
                    <a:pt x="37" y="0"/>
                    <a:pt x="37" y="0"/>
                  </a:cubicBezTo>
                  <a:cubicBezTo>
                    <a:pt x="9" y="0"/>
                    <a:pt x="9" y="0"/>
                    <a:pt x="9" y="0"/>
                  </a:cubicBezTo>
                  <a:cubicBezTo>
                    <a:pt x="0" y="0"/>
                    <a:pt x="0" y="0"/>
                    <a:pt x="0" y="0"/>
                  </a:cubicBezTo>
                  <a:cubicBezTo>
                    <a:pt x="0" y="36"/>
                    <a:pt x="0" y="36"/>
                    <a:pt x="0" y="36"/>
                  </a:cubicBezTo>
                  <a:cubicBezTo>
                    <a:pt x="10" y="36"/>
                    <a:pt x="10" y="36"/>
                    <a:pt x="10" y="36"/>
                  </a:cubicBezTo>
                  <a:cubicBezTo>
                    <a:pt x="13" y="40"/>
                    <a:pt x="18" y="43"/>
                    <a:pt x="23" y="43"/>
                  </a:cubicBezTo>
                  <a:cubicBezTo>
                    <a:pt x="29" y="43"/>
                    <a:pt x="33" y="40"/>
                    <a:pt x="36" y="36"/>
                  </a:cubicBezTo>
                  <a:cubicBezTo>
                    <a:pt x="46" y="36"/>
                    <a:pt x="46" y="36"/>
                    <a:pt x="46" y="36"/>
                  </a:cubicBezTo>
                  <a:lnTo>
                    <a:pt x="46" y="0"/>
                  </a:lnTo>
                  <a:close/>
                </a:path>
              </a:pathLst>
            </a:custGeom>
            <a:solidFill>
              <a:srgbClr val="00298F"/>
            </a:solidFill>
            <a:ln w="9525">
              <a:noFill/>
              <a:round/>
            </a:ln>
          </p:spPr>
          <p:txBody>
            <a:bodyPr vert="horz" wrap="square" lIns="91440" tIns="45720" rIns="91440" bIns="45720" numCol="1" anchor="t" anchorCtr="0" compatLnSpc="1"/>
            <a:lstStyle/>
            <a:p>
              <a:endParaRPr lang="zh-CN" altLang="en-US"/>
            </a:p>
          </p:txBody>
        </p:sp>
        <p:sp>
          <p:nvSpPr>
            <p:cNvPr id="317" name="Freeform 78"/>
            <p:cNvSpPr/>
            <p:nvPr/>
          </p:nvSpPr>
          <p:spPr bwMode="auto">
            <a:xfrm>
              <a:off x="10581599" y="2889405"/>
              <a:ext cx="175638" cy="21143"/>
            </a:xfrm>
            <a:custGeom>
              <a:avLst/>
              <a:gdLst>
                <a:gd name="T0" fmla="*/ 1 w 52"/>
                <a:gd name="T1" fmla="*/ 0 h 6"/>
                <a:gd name="T2" fmla="*/ 0 w 52"/>
                <a:gd name="T3" fmla="*/ 2 h 6"/>
                <a:gd name="T4" fmla="*/ 4 w 52"/>
                <a:gd name="T5" fmla="*/ 6 h 6"/>
                <a:gd name="T6" fmla="*/ 48 w 52"/>
                <a:gd name="T7" fmla="*/ 6 h 6"/>
                <a:gd name="T8" fmla="*/ 52 w 52"/>
                <a:gd name="T9" fmla="*/ 2 h 6"/>
                <a:gd name="T10" fmla="*/ 51 w 52"/>
                <a:gd name="T11" fmla="*/ 0 h 6"/>
                <a:gd name="T12" fmla="*/ 1 w 5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2" h="6">
                  <a:moveTo>
                    <a:pt x="1" y="0"/>
                  </a:moveTo>
                  <a:cubicBezTo>
                    <a:pt x="1" y="1"/>
                    <a:pt x="0" y="2"/>
                    <a:pt x="0" y="2"/>
                  </a:cubicBezTo>
                  <a:cubicBezTo>
                    <a:pt x="0" y="5"/>
                    <a:pt x="2" y="6"/>
                    <a:pt x="4" y="6"/>
                  </a:cubicBezTo>
                  <a:cubicBezTo>
                    <a:pt x="48" y="6"/>
                    <a:pt x="48" y="6"/>
                    <a:pt x="48" y="6"/>
                  </a:cubicBezTo>
                  <a:cubicBezTo>
                    <a:pt x="50" y="6"/>
                    <a:pt x="52" y="5"/>
                    <a:pt x="52" y="2"/>
                  </a:cubicBezTo>
                  <a:cubicBezTo>
                    <a:pt x="52" y="2"/>
                    <a:pt x="52" y="1"/>
                    <a:pt x="51" y="0"/>
                  </a:cubicBezTo>
                  <a:lnTo>
                    <a:pt x="1" y="0"/>
                  </a:lnTo>
                  <a:close/>
                </a:path>
              </a:pathLst>
            </a:custGeom>
            <a:solidFill>
              <a:srgbClr val="393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8" name="Freeform 79"/>
            <p:cNvSpPr/>
            <p:nvPr/>
          </p:nvSpPr>
          <p:spPr bwMode="auto">
            <a:xfrm>
              <a:off x="10581599" y="2933314"/>
              <a:ext cx="175638" cy="27647"/>
            </a:xfrm>
            <a:custGeom>
              <a:avLst/>
              <a:gdLst>
                <a:gd name="T0" fmla="*/ 48 w 52"/>
                <a:gd name="T1" fmla="*/ 8 h 8"/>
                <a:gd name="T2" fmla="*/ 4 w 52"/>
                <a:gd name="T3" fmla="*/ 8 h 8"/>
                <a:gd name="T4" fmla="*/ 0 w 52"/>
                <a:gd name="T5" fmla="*/ 4 h 8"/>
                <a:gd name="T6" fmla="*/ 4 w 52"/>
                <a:gd name="T7" fmla="*/ 0 h 8"/>
                <a:gd name="T8" fmla="*/ 48 w 52"/>
                <a:gd name="T9" fmla="*/ 0 h 8"/>
                <a:gd name="T10" fmla="*/ 52 w 52"/>
                <a:gd name="T11" fmla="*/ 4 h 8"/>
                <a:gd name="T12" fmla="*/ 48 w 52"/>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52" h="8">
                  <a:moveTo>
                    <a:pt x="48" y="8"/>
                  </a:moveTo>
                  <a:cubicBezTo>
                    <a:pt x="4" y="8"/>
                    <a:pt x="4" y="8"/>
                    <a:pt x="4" y="8"/>
                  </a:cubicBezTo>
                  <a:cubicBezTo>
                    <a:pt x="2" y="8"/>
                    <a:pt x="0" y="6"/>
                    <a:pt x="0" y="4"/>
                  </a:cubicBezTo>
                  <a:cubicBezTo>
                    <a:pt x="0" y="2"/>
                    <a:pt x="2" y="0"/>
                    <a:pt x="4" y="0"/>
                  </a:cubicBezTo>
                  <a:cubicBezTo>
                    <a:pt x="48" y="0"/>
                    <a:pt x="48" y="0"/>
                    <a:pt x="48" y="0"/>
                  </a:cubicBezTo>
                  <a:cubicBezTo>
                    <a:pt x="50" y="0"/>
                    <a:pt x="52" y="2"/>
                    <a:pt x="52" y="4"/>
                  </a:cubicBezTo>
                  <a:cubicBezTo>
                    <a:pt x="52" y="6"/>
                    <a:pt x="50" y="8"/>
                    <a:pt x="48" y="8"/>
                  </a:cubicBez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9" name="Freeform 80"/>
            <p:cNvSpPr/>
            <p:nvPr/>
          </p:nvSpPr>
          <p:spPr bwMode="auto">
            <a:xfrm>
              <a:off x="10581599" y="2983728"/>
              <a:ext cx="175638" cy="27647"/>
            </a:xfrm>
            <a:custGeom>
              <a:avLst/>
              <a:gdLst>
                <a:gd name="T0" fmla="*/ 48 w 52"/>
                <a:gd name="T1" fmla="*/ 8 h 8"/>
                <a:gd name="T2" fmla="*/ 4 w 52"/>
                <a:gd name="T3" fmla="*/ 8 h 8"/>
                <a:gd name="T4" fmla="*/ 0 w 52"/>
                <a:gd name="T5" fmla="*/ 4 h 8"/>
                <a:gd name="T6" fmla="*/ 4 w 52"/>
                <a:gd name="T7" fmla="*/ 0 h 8"/>
                <a:gd name="T8" fmla="*/ 48 w 52"/>
                <a:gd name="T9" fmla="*/ 0 h 8"/>
                <a:gd name="T10" fmla="*/ 52 w 52"/>
                <a:gd name="T11" fmla="*/ 4 h 8"/>
                <a:gd name="T12" fmla="*/ 48 w 52"/>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52" h="8">
                  <a:moveTo>
                    <a:pt x="48" y="8"/>
                  </a:moveTo>
                  <a:cubicBezTo>
                    <a:pt x="4" y="8"/>
                    <a:pt x="4" y="8"/>
                    <a:pt x="4" y="8"/>
                  </a:cubicBezTo>
                  <a:cubicBezTo>
                    <a:pt x="2" y="8"/>
                    <a:pt x="0" y="6"/>
                    <a:pt x="0" y="4"/>
                  </a:cubicBezTo>
                  <a:cubicBezTo>
                    <a:pt x="0" y="2"/>
                    <a:pt x="2" y="0"/>
                    <a:pt x="4" y="0"/>
                  </a:cubicBezTo>
                  <a:cubicBezTo>
                    <a:pt x="48" y="0"/>
                    <a:pt x="48" y="0"/>
                    <a:pt x="48" y="0"/>
                  </a:cubicBezTo>
                  <a:cubicBezTo>
                    <a:pt x="50" y="0"/>
                    <a:pt x="52" y="2"/>
                    <a:pt x="52" y="4"/>
                  </a:cubicBezTo>
                  <a:cubicBezTo>
                    <a:pt x="52" y="6"/>
                    <a:pt x="50" y="8"/>
                    <a:pt x="48" y="8"/>
                  </a:cubicBez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0" name="Freeform 81"/>
            <p:cNvSpPr/>
            <p:nvPr/>
          </p:nvSpPr>
          <p:spPr bwMode="auto">
            <a:xfrm>
              <a:off x="10581599" y="2882899"/>
              <a:ext cx="175638" cy="27647"/>
            </a:xfrm>
            <a:custGeom>
              <a:avLst/>
              <a:gdLst>
                <a:gd name="T0" fmla="*/ 48 w 52"/>
                <a:gd name="T1" fmla="*/ 8 h 8"/>
                <a:gd name="T2" fmla="*/ 4 w 52"/>
                <a:gd name="T3" fmla="*/ 8 h 8"/>
                <a:gd name="T4" fmla="*/ 0 w 52"/>
                <a:gd name="T5" fmla="*/ 4 h 8"/>
                <a:gd name="T6" fmla="*/ 4 w 52"/>
                <a:gd name="T7" fmla="*/ 0 h 8"/>
                <a:gd name="T8" fmla="*/ 48 w 52"/>
                <a:gd name="T9" fmla="*/ 0 h 8"/>
                <a:gd name="T10" fmla="*/ 52 w 52"/>
                <a:gd name="T11" fmla="*/ 4 h 8"/>
                <a:gd name="T12" fmla="*/ 48 w 52"/>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52" h="8">
                  <a:moveTo>
                    <a:pt x="48" y="8"/>
                  </a:moveTo>
                  <a:cubicBezTo>
                    <a:pt x="4" y="8"/>
                    <a:pt x="4" y="8"/>
                    <a:pt x="4" y="8"/>
                  </a:cubicBezTo>
                  <a:cubicBezTo>
                    <a:pt x="2" y="8"/>
                    <a:pt x="0" y="7"/>
                    <a:pt x="0" y="4"/>
                  </a:cubicBezTo>
                  <a:cubicBezTo>
                    <a:pt x="0" y="2"/>
                    <a:pt x="2" y="0"/>
                    <a:pt x="4" y="0"/>
                  </a:cubicBezTo>
                  <a:cubicBezTo>
                    <a:pt x="48" y="0"/>
                    <a:pt x="48" y="0"/>
                    <a:pt x="48" y="0"/>
                  </a:cubicBezTo>
                  <a:cubicBezTo>
                    <a:pt x="50" y="0"/>
                    <a:pt x="52" y="2"/>
                    <a:pt x="52" y="4"/>
                  </a:cubicBezTo>
                  <a:cubicBezTo>
                    <a:pt x="52" y="7"/>
                    <a:pt x="50" y="8"/>
                    <a:pt x="48" y="8"/>
                  </a:cubicBez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1" name="Freeform 82"/>
            <p:cNvSpPr/>
            <p:nvPr/>
          </p:nvSpPr>
          <p:spPr bwMode="auto">
            <a:xfrm>
              <a:off x="9979880" y="5179188"/>
              <a:ext cx="455355" cy="670022"/>
            </a:xfrm>
            <a:custGeom>
              <a:avLst/>
              <a:gdLst>
                <a:gd name="T0" fmla="*/ 32 w 135"/>
                <a:gd name="T1" fmla="*/ 8 h 198"/>
                <a:gd name="T2" fmla="*/ 118 w 135"/>
                <a:gd name="T3" fmla="*/ 41 h 198"/>
                <a:gd name="T4" fmla="*/ 111 w 135"/>
                <a:gd name="T5" fmla="*/ 165 h 198"/>
                <a:gd name="T6" fmla="*/ 132 w 135"/>
                <a:gd name="T7" fmla="*/ 198 h 198"/>
                <a:gd name="T8" fmla="*/ 3 w 135"/>
                <a:gd name="T9" fmla="*/ 198 h 198"/>
                <a:gd name="T10" fmla="*/ 31 w 135"/>
                <a:gd name="T11" fmla="*/ 131 h 198"/>
                <a:gd name="T12" fmla="*/ 54 w 135"/>
                <a:gd name="T13" fmla="*/ 94 h 198"/>
                <a:gd name="T14" fmla="*/ 37 w 135"/>
                <a:gd name="T15" fmla="*/ 98 h 198"/>
                <a:gd name="T16" fmla="*/ 32 w 135"/>
                <a:gd name="T17" fmla="*/ 116 h 198"/>
                <a:gd name="T18" fmla="*/ 11 w 135"/>
                <a:gd name="T19" fmla="*/ 126 h 198"/>
                <a:gd name="T20" fmla="*/ 3 w 135"/>
                <a:gd name="T21" fmla="*/ 101 h 198"/>
                <a:gd name="T22" fmla="*/ 14 w 135"/>
                <a:gd name="T23" fmla="*/ 80 h 198"/>
                <a:gd name="T24" fmla="*/ 19 w 135"/>
                <a:gd name="T25" fmla="*/ 47 h 198"/>
                <a:gd name="T26" fmla="*/ 24 w 135"/>
                <a:gd name="T27" fmla="*/ 36 h 198"/>
                <a:gd name="T28" fmla="*/ 11 w 135"/>
                <a:gd name="T29" fmla="*/ 19 h 198"/>
                <a:gd name="T30" fmla="*/ 32 w 135"/>
                <a:gd name="T31" fmla="*/ 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5" h="198">
                  <a:moveTo>
                    <a:pt x="32" y="8"/>
                  </a:moveTo>
                  <a:cubicBezTo>
                    <a:pt x="61" y="0"/>
                    <a:pt x="102" y="4"/>
                    <a:pt x="118" y="41"/>
                  </a:cubicBezTo>
                  <a:cubicBezTo>
                    <a:pt x="135" y="79"/>
                    <a:pt x="91" y="132"/>
                    <a:pt x="111" y="165"/>
                  </a:cubicBezTo>
                  <a:cubicBezTo>
                    <a:pt x="132" y="198"/>
                    <a:pt x="132" y="198"/>
                    <a:pt x="132" y="198"/>
                  </a:cubicBezTo>
                  <a:cubicBezTo>
                    <a:pt x="3" y="198"/>
                    <a:pt x="3" y="198"/>
                    <a:pt x="3" y="198"/>
                  </a:cubicBezTo>
                  <a:cubicBezTo>
                    <a:pt x="3" y="198"/>
                    <a:pt x="0" y="154"/>
                    <a:pt x="31" y="131"/>
                  </a:cubicBezTo>
                  <a:cubicBezTo>
                    <a:pt x="62" y="107"/>
                    <a:pt x="54" y="94"/>
                    <a:pt x="54" y="94"/>
                  </a:cubicBezTo>
                  <a:cubicBezTo>
                    <a:pt x="54" y="94"/>
                    <a:pt x="47" y="96"/>
                    <a:pt x="37" y="98"/>
                  </a:cubicBezTo>
                  <a:cubicBezTo>
                    <a:pt x="26" y="100"/>
                    <a:pt x="36" y="111"/>
                    <a:pt x="32" y="116"/>
                  </a:cubicBezTo>
                  <a:cubicBezTo>
                    <a:pt x="28" y="122"/>
                    <a:pt x="11" y="126"/>
                    <a:pt x="11" y="126"/>
                  </a:cubicBezTo>
                  <a:cubicBezTo>
                    <a:pt x="11" y="126"/>
                    <a:pt x="4" y="106"/>
                    <a:pt x="3" y="101"/>
                  </a:cubicBezTo>
                  <a:cubicBezTo>
                    <a:pt x="2" y="96"/>
                    <a:pt x="11" y="95"/>
                    <a:pt x="14" y="80"/>
                  </a:cubicBezTo>
                  <a:cubicBezTo>
                    <a:pt x="17" y="65"/>
                    <a:pt x="18" y="55"/>
                    <a:pt x="19" y="47"/>
                  </a:cubicBezTo>
                  <a:cubicBezTo>
                    <a:pt x="20" y="38"/>
                    <a:pt x="24" y="36"/>
                    <a:pt x="24" y="36"/>
                  </a:cubicBezTo>
                  <a:cubicBezTo>
                    <a:pt x="11" y="19"/>
                    <a:pt x="11" y="19"/>
                    <a:pt x="11" y="19"/>
                  </a:cubicBezTo>
                  <a:cubicBezTo>
                    <a:pt x="11" y="19"/>
                    <a:pt x="21" y="11"/>
                    <a:pt x="32" y="8"/>
                  </a:cubicBez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2" name="Rectangle 83"/>
            <p:cNvSpPr/>
            <p:nvPr/>
          </p:nvSpPr>
          <p:spPr bwMode="auto">
            <a:xfrm>
              <a:off x="9973374" y="5834575"/>
              <a:ext cx="465112" cy="91072"/>
            </a:xfrm>
            <a:prstGeom prst="rect">
              <a:avLst/>
            </a:prstGeom>
            <a:solidFill>
              <a:srgbClr val="003A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23" name="Rectangle 84"/>
            <p:cNvSpPr/>
            <p:nvPr/>
          </p:nvSpPr>
          <p:spPr bwMode="auto">
            <a:xfrm>
              <a:off x="9952233" y="5912636"/>
              <a:ext cx="507396" cy="125223"/>
            </a:xfrm>
            <a:prstGeom prst="rect">
              <a:avLst/>
            </a:prstGeom>
            <a:solidFill>
              <a:srgbClr val="003A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24" name="Rectangle 85"/>
            <p:cNvSpPr/>
            <p:nvPr/>
          </p:nvSpPr>
          <p:spPr bwMode="auto">
            <a:xfrm>
              <a:off x="9973374" y="5834575"/>
              <a:ext cx="465112" cy="91072"/>
            </a:xfrm>
            <a:prstGeom prst="rect">
              <a:avLst/>
            </a:prstGeom>
            <a:solidFill>
              <a:srgbClr val="002D94">
                <a:alpha val="50000"/>
              </a:srgbClr>
            </a:solidFill>
            <a:ln>
              <a:noFill/>
            </a:ln>
          </p:spPr>
          <p:txBody>
            <a:bodyPr vert="horz" wrap="square" lIns="91440" tIns="45720" rIns="91440" bIns="45720" numCol="1" anchor="t" anchorCtr="0" compatLnSpc="1"/>
            <a:lstStyle/>
            <a:p>
              <a:endParaRPr lang="zh-CN" altLang="en-US"/>
            </a:p>
          </p:txBody>
        </p:sp>
        <p:sp>
          <p:nvSpPr>
            <p:cNvPr id="325" name="Rectangle 86"/>
            <p:cNvSpPr/>
            <p:nvPr/>
          </p:nvSpPr>
          <p:spPr bwMode="auto">
            <a:xfrm>
              <a:off x="9952233" y="5912636"/>
              <a:ext cx="507396" cy="125223"/>
            </a:xfrm>
            <a:prstGeom prst="rect">
              <a:avLst/>
            </a:prstGeom>
            <a:solidFill>
              <a:srgbClr val="002D94"/>
            </a:solidFill>
            <a:ln>
              <a:noFill/>
            </a:ln>
          </p:spPr>
          <p:txBody>
            <a:bodyPr vert="horz" wrap="square" lIns="91440" tIns="45720" rIns="91440" bIns="45720" numCol="1" anchor="t" anchorCtr="0" compatLnSpc="1"/>
            <a:lstStyle/>
            <a:p>
              <a:endParaRPr lang="zh-CN" altLang="en-US"/>
            </a:p>
          </p:txBody>
        </p:sp>
        <p:sp>
          <p:nvSpPr>
            <p:cNvPr id="326" name="Oval 87"/>
            <p:cNvSpPr/>
            <p:nvPr/>
          </p:nvSpPr>
          <p:spPr bwMode="auto">
            <a:xfrm>
              <a:off x="9064291" y="4852310"/>
              <a:ext cx="201657" cy="201657"/>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7" name="Oval 88"/>
            <p:cNvSpPr/>
            <p:nvPr/>
          </p:nvSpPr>
          <p:spPr bwMode="auto">
            <a:xfrm>
              <a:off x="9049656" y="4852310"/>
              <a:ext cx="203284" cy="201657"/>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8" name="Oval 89"/>
            <p:cNvSpPr/>
            <p:nvPr/>
          </p:nvSpPr>
          <p:spPr bwMode="auto">
            <a:xfrm>
              <a:off x="9114706" y="4915734"/>
              <a:ext cx="73183" cy="74808"/>
            </a:xfrm>
            <a:prstGeom prst="ellipse">
              <a:avLst/>
            </a:prstGeom>
            <a:solidFill>
              <a:srgbClr val="86C0F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9" name="Oval 90"/>
            <p:cNvSpPr/>
            <p:nvPr/>
          </p:nvSpPr>
          <p:spPr bwMode="auto">
            <a:xfrm>
              <a:off x="9465980" y="4852310"/>
              <a:ext cx="203284" cy="201657"/>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0" name="Oval 91"/>
            <p:cNvSpPr/>
            <p:nvPr/>
          </p:nvSpPr>
          <p:spPr bwMode="auto">
            <a:xfrm>
              <a:off x="9465980" y="4852310"/>
              <a:ext cx="203284" cy="201657"/>
            </a:xfrm>
            <a:prstGeom prst="ellipse">
              <a:avLst/>
            </a:prstGeom>
            <a:solidFill>
              <a:srgbClr val="002D94"/>
            </a:solidFill>
            <a:ln>
              <a:noFill/>
            </a:ln>
          </p:spPr>
          <p:txBody>
            <a:bodyPr vert="horz" wrap="square" lIns="91440" tIns="45720" rIns="91440" bIns="45720" numCol="1" anchor="t" anchorCtr="0" compatLnSpc="1"/>
            <a:lstStyle/>
            <a:p>
              <a:endParaRPr lang="zh-CN" altLang="en-US"/>
            </a:p>
          </p:txBody>
        </p:sp>
        <p:sp>
          <p:nvSpPr>
            <p:cNvPr id="331" name="Oval 92"/>
            <p:cNvSpPr/>
            <p:nvPr/>
          </p:nvSpPr>
          <p:spPr bwMode="auto">
            <a:xfrm>
              <a:off x="9452969" y="4852310"/>
              <a:ext cx="201657" cy="201657"/>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2" name="Oval 93"/>
            <p:cNvSpPr/>
            <p:nvPr/>
          </p:nvSpPr>
          <p:spPr bwMode="auto">
            <a:xfrm>
              <a:off x="9516393" y="4915734"/>
              <a:ext cx="74808" cy="74808"/>
            </a:xfrm>
            <a:prstGeom prst="ellipse">
              <a:avLst/>
            </a:prstGeom>
            <a:solidFill>
              <a:srgbClr val="86C0F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3" name="Oval 94"/>
            <p:cNvSpPr/>
            <p:nvPr/>
          </p:nvSpPr>
          <p:spPr bwMode="auto">
            <a:xfrm>
              <a:off x="9867667" y="4852310"/>
              <a:ext cx="203284" cy="201657"/>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4" name="Oval 95"/>
            <p:cNvSpPr/>
            <p:nvPr/>
          </p:nvSpPr>
          <p:spPr bwMode="auto">
            <a:xfrm>
              <a:off x="9867667" y="4852310"/>
              <a:ext cx="203284" cy="201657"/>
            </a:xfrm>
            <a:prstGeom prst="ellipse">
              <a:avLst/>
            </a:prstGeom>
            <a:solidFill>
              <a:srgbClr val="000D6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5" name="Oval 96"/>
            <p:cNvSpPr/>
            <p:nvPr/>
          </p:nvSpPr>
          <p:spPr bwMode="auto">
            <a:xfrm>
              <a:off x="9854657" y="4852310"/>
              <a:ext cx="203284" cy="201657"/>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6" name="Oval 97"/>
            <p:cNvSpPr/>
            <p:nvPr/>
          </p:nvSpPr>
          <p:spPr bwMode="auto">
            <a:xfrm>
              <a:off x="9918081" y="4915734"/>
              <a:ext cx="74808" cy="74808"/>
            </a:xfrm>
            <a:prstGeom prst="ellipse">
              <a:avLst/>
            </a:prstGeom>
            <a:solidFill>
              <a:srgbClr val="86C0F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7" name="Oval 98"/>
            <p:cNvSpPr/>
            <p:nvPr/>
          </p:nvSpPr>
          <p:spPr bwMode="auto">
            <a:xfrm>
              <a:off x="10270981" y="4852310"/>
              <a:ext cx="201657" cy="201657"/>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8" name="Oval 99"/>
            <p:cNvSpPr/>
            <p:nvPr/>
          </p:nvSpPr>
          <p:spPr bwMode="auto">
            <a:xfrm>
              <a:off x="10270981" y="4852310"/>
              <a:ext cx="201657" cy="201657"/>
            </a:xfrm>
            <a:prstGeom prst="ellipse">
              <a:avLst/>
            </a:prstGeom>
            <a:solidFill>
              <a:srgbClr val="000D6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9" name="Oval 100"/>
            <p:cNvSpPr/>
            <p:nvPr/>
          </p:nvSpPr>
          <p:spPr bwMode="auto">
            <a:xfrm>
              <a:off x="10256345" y="4852310"/>
              <a:ext cx="203284" cy="201657"/>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0" name="Oval 101"/>
            <p:cNvSpPr/>
            <p:nvPr/>
          </p:nvSpPr>
          <p:spPr bwMode="auto">
            <a:xfrm>
              <a:off x="10321396" y="4915734"/>
              <a:ext cx="73183" cy="74808"/>
            </a:xfrm>
            <a:prstGeom prst="ellipse">
              <a:avLst/>
            </a:prstGeom>
            <a:solidFill>
              <a:srgbClr val="86C0F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1" name="Oval 102"/>
            <p:cNvSpPr/>
            <p:nvPr/>
          </p:nvSpPr>
          <p:spPr bwMode="auto">
            <a:xfrm>
              <a:off x="10672671" y="4852310"/>
              <a:ext cx="203284" cy="201657"/>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2" name="Oval 103"/>
            <p:cNvSpPr/>
            <p:nvPr/>
          </p:nvSpPr>
          <p:spPr bwMode="auto">
            <a:xfrm>
              <a:off x="10672671" y="4852310"/>
              <a:ext cx="203284" cy="201657"/>
            </a:xfrm>
            <a:prstGeom prst="ellipse">
              <a:avLst/>
            </a:prstGeom>
            <a:solidFill>
              <a:srgbClr val="002D94"/>
            </a:solidFill>
            <a:ln>
              <a:noFill/>
            </a:ln>
          </p:spPr>
          <p:txBody>
            <a:bodyPr vert="horz" wrap="square" lIns="91440" tIns="45720" rIns="91440" bIns="45720" numCol="1" anchor="t" anchorCtr="0" compatLnSpc="1"/>
            <a:lstStyle/>
            <a:p>
              <a:endParaRPr lang="zh-CN" altLang="en-US"/>
            </a:p>
          </p:txBody>
        </p:sp>
        <p:sp>
          <p:nvSpPr>
            <p:cNvPr id="343" name="Oval 104"/>
            <p:cNvSpPr/>
            <p:nvPr/>
          </p:nvSpPr>
          <p:spPr bwMode="auto">
            <a:xfrm>
              <a:off x="10659659" y="4852310"/>
              <a:ext cx="201657" cy="201657"/>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4" name="Oval 105"/>
            <p:cNvSpPr/>
            <p:nvPr/>
          </p:nvSpPr>
          <p:spPr bwMode="auto">
            <a:xfrm>
              <a:off x="10723084" y="4915734"/>
              <a:ext cx="74808" cy="74808"/>
            </a:xfrm>
            <a:prstGeom prst="ellipse">
              <a:avLst/>
            </a:prstGeom>
            <a:solidFill>
              <a:srgbClr val="86C0F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5" name="Oval 106"/>
            <p:cNvSpPr/>
            <p:nvPr/>
          </p:nvSpPr>
          <p:spPr bwMode="auto">
            <a:xfrm>
              <a:off x="11074358" y="4852310"/>
              <a:ext cx="203284" cy="201657"/>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6" name="Oval 107"/>
            <p:cNvSpPr/>
            <p:nvPr/>
          </p:nvSpPr>
          <p:spPr bwMode="auto">
            <a:xfrm>
              <a:off x="11074358" y="4852310"/>
              <a:ext cx="203284" cy="201657"/>
            </a:xfrm>
            <a:prstGeom prst="ellipse">
              <a:avLst/>
            </a:prstGeom>
            <a:solidFill>
              <a:srgbClr val="002D94"/>
            </a:solidFill>
            <a:ln>
              <a:noFill/>
            </a:ln>
          </p:spPr>
          <p:txBody>
            <a:bodyPr vert="horz" wrap="square" lIns="91440" tIns="45720" rIns="91440" bIns="45720" numCol="1" anchor="t" anchorCtr="0" compatLnSpc="1"/>
            <a:lstStyle/>
            <a:p>
              <a:endParaRPr lang="zh-CN" altLang="en-US"/>
            </a:p>
          </p:txBody>
        </p:sp>
        <p:sp>
          <p:nvSpPr>
            <p:cNvPr id="347" name="Oval 108"/>
            <p:cNvSpPr/>
            <p:nvPr/>
          </p:nvSpPr>
          <p:spPr bwMode="auto">
            <a:xfrm>
              <a:off x="11061347" y="4852310"/>
              <a:ext cx="203284" cy="201657"/>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8" name="Oval 109"/>
            <p:cNvSpPr/>
            <p:nvPr/>
          </p:nvSpPr>
          <p:spPr bwMode="auto">
            <a:xfrm>
              <a:off x="11124773" y="4915734"/>
              <a:ext cx="74808" cy="74808"/>
            </a:xfrm>
            <a:prstGeom prst="ellipse">
              <a:avLst/>
            </a:prstGeom>
            <a:solidFill>
              <a:srgbClr val="86C0F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9" name="Freeform 110"/>
            <p:cNvSpPr/>
            <p:nvPr/>
          </p:nvSpPr>
          <p:spPr bwMode="auto">
            <a:xfrm>
              <a:off x="9716425" y="4501036"/>
              <a:ext cx="787113" cy="169132"/>
            </a:xfrm>
            <a:custGeom>
              <a:avLst/>
              <a:gdLst>
                <a:gd name="T0" fmla="*/ 177 w 233"/>
                <a:gd name="T1" fmla="*/ 50 h 50"/>
                <a:gd name="T2" fmla="*/ 0 w 233"/>
                <a:gd name="T3" fmla="*/ 50 h 50"/>
                <a:gd name="T4" fmla="*/ 0 w 233"/>
                <a:gd name="T5" fmla="*/ 0 h 50"/>
                <a:gd name="T6" fmla="*/ 233 w 233"/>
                <a:gd name="T7" fmla="*/ 0 h 50"/>
                <a:gd name="T8" fmla="*/ 191 w 233"/>
                <a:gd name="T9" fmla="*/ 44 h 50"/>
                <a:gd name="T10" fmla="*/ 177 w 233"/>
                <a:gd name="T11" fmla="*/ 50 h 50"/>
              </a:gdLst>
              <a:ahLst/>
              <a:cxnLst>
                <a:cxn ang="0">
                  <a:pos x="T0" y="T1"/>
                </a:cxn>
                <a:cxn ang="0">
                  <a:pos x="T2" y="T3"/>
                </a:cxn>
                <a:cxn ang="0">
                  <a:pos x="T4" y="T5"/>
                </a:cxn>
                <a:cxn ang="0">
                  <a:pos x="T6" y="T7"/>
                </a:cxn>
                <a:cxn ang="0">
                  <a:pos x="T8" y="T9"/>
                </a:cxn>
                <a:cxn ang="0">
                  <a:pos x="T10" y="T11"/>
                </a:cxn>
              </a:cxnLst>
              <a:rect l="0" t="0" r="r" b="b"/>
              <a:pathLst>
                <a:path w="233" h="50">
                  <a:moveTo>
                    <a:pt x="177" y="50"/>
                  </a:moveTo>
                  <a:cubicBezTo>
                    <a:pt x="0" y="50"/>
                    <a:pt x="0" y="50"/>
                    <a:pt x="0" y="50"/>
                  </a:cubicBezTo>
                  <a:cubicBezTo>
                    <a:pt x="0" y="0"/>
                    <a:pt x="0" y="0"/>
                    <a:pt x="0" y="0"/>
                  </a:cubicBezTo>
                  <a:cubicBezTo>
                    <a:pt x="233" y="0"/>
                    <a:pt x="233" y="0"/>
                    <a:pt x="233" y="0"/>
                  </a:cubicBezTo>
                  <a:cubicBezTo>
                    <a:pt x="191" y="44"/>
                    <a:pt x="191" y="44"/>
                    <a:pt x="191" y="44"/>
                  </a:cubicBezTo>
                  <a:cubicBezTo>
                    <a:pt x="188" y="48"/>
                    <a:pt x="183" y="50"/>
                    <a:pt x="177" y="50"/>
                  </a:cubicBezTo>
                  <a:close/>
                </a:path>
              </a:pathLst>
            </a:custGeom>
            <a:solidFill>
              <a:srgbClr val="A3C7E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0" name="Freeform 111"/>
            <p:cNvSpPr/>
            <p:nvPr/>
          </p:nvSpPr>
          <p:spPr bwMode="auto">
            <a:xfrm>
              <a:off x="9604212" y="4453873"/>
              <a:ext cx="899326" cy="1496166"/>
            </a:xfrm>
            <a:custGeom>
              <a:avLst/>
              <a:gdLst>
                <a:gd name="T0" fmla="*/ 349 w 553"/>
                <a:gd name="T1" fmla="*/ 0 h 920"/>
                <a:gd name="T2" fmla="*/ 148 w 553"/>
                <a:gd name="T3" fmla="*/ 139 h 920"/>
                <a:gd name="T4" fmla="*/ 100 w 553"/>
                <a:gd name="T5" fmla="*/ 205 h 920"/>
                <a:gd name="T6" fmla="*/ 92 w 553"/>
                <a:gd name="T7" fmla="*/ 880 h 920"/>
                <a:gd name="T8" fmla="*/ 0 w 553"/>
                <a:gd name="T9" fmla="*/ 920 h 920"/>
                <a:gd name="T10" fmla="*/ 135 w 553"/>
                <a:gd name="T11" fmla="*/ 920 h 920"/>
                <a:gd name="T12" fmla="*/ 283 w 553"/>
                <a:gd name="T13" fmla="*/ 324 h 920"/>
                <a:gd name="T14" fmla="*/ 545 w 553"/>
                <a:gd name="T15" fmla="*/ 176 h 920"/>
                <a:gd name="T16" fmla="*/ 553 w 553"/>
                <a:gd name="T17" fmla="*/ 29 h 920"/>
                <a:gd name="T18" fmla="*/ 374 w 553"/>
                <a:gd name="T19" fmla="*/ 0 h 920"/>
                <a:gd name="T20" fmla="*/ 349 w 553"/>
                <a:gd name="T21"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3" h="920">
                  <a:moveTo>
                    <a:pt x="349" y="0"/>
                  </a:moveTo>
                  <a:lnTo>
                    <a:pt x="148" y="139"/>
                  </a:lnTo>
                  <a:lnTo>
                    <a:pt x="100" y="205"/>
                  </a:lnTo>
                  <a:lnTo>
                    <a:pt x="92" y="880"/>
                  </a:lnTo>
                  <a:lnTo>
                    <a:pt x="0" y="920"/>
                  </a:lnTo>
                  <a:lnTo>
                    <a:pt x="135" y="920"/>
                  </a:lnTo>
                  <a:lnTo>
                    <a:pt x="283" y="324"/>
                  </a:lnTo>
                  <a:lnTo>
                    <a:pt x="545" y="176"/>
                  </a:lnTo>
                  <a:lnTo>
                    <a:pt x="553" y="29"/>
                  </a:lnTo>
                  <a:lnTo>
                    <a:pt x="374" y="0"/>
                  </a:lnTo>
                  <a:lnTo>
                    <a:pt x="349" y="0"/>
                  </a:lnTo>
                  <a:close/>
                </a:path>
              </a:pathLst>
            </a:custGeom>
            <a:solidFill>
              <a:srgbClr val="FFBE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1" name="Freeform 112"/>
            <p:cNvSpPr/>
            <p:nvPr/>
          </p:nvSpPr>
          <p:spPr bwMode="auto">
            <a:xfrm>
              <a:off x="9604212" y="4453873"/>
              <a:ext cx="899326" cy="1496166"/>
            </a:xfrm>
            <a:custGeom>
              <a:avLst/>
              <a:gdLst>
                <a:gd name="T0" fmla="*/ 349 w 553"/>
                <a:gd name="T1" fmla="*/ 0 h 920"/>
                <a:gd name="T2" fmla="*/ 148 w 553"/>
                <a:gd name="T3" fmla="*/ 139 h 920"/>
                <a:gd name="T4" fmla="*/ 100 w 553"/>
                <a:gd name="T5" fmla="*/ 205 h 920"/>
                <a:gd name="T6" fmla="*/ 92 w 553"/>
                <a:gd name="T7" fmla="*/ 880 h 920"/>
                <a:gd name="T8" fmla="*/ 0 w 553"/>
                <a:gd name="T9" fmla="*/ 920 h 920"/>
                <a:gd name="T10" fmla="*/ 135 w 553"/>
                <a:gd name="T11" fmla="*/ 920 h 920"/>
                <a:gd name="T12" fmla="*/ 283 w 553"/>
                <a:gd name="T13" fmla="*/ 324 h 920"/>
                <a:gd name="T14" fmla="*/ 545 w 553"/>
                <a:gd name="T15" fmla="*/ 176 h 920"/>
                <a:gd name="T16" fmla="*/ 553 w 553"/>
                <a:gd name="T17" fmla="*/ 29 h 920"/>
                <a:gd name="T18" fmla="*/ 374 w 553"/>
                <a:gd name="T19" fmla="*/ 0 h 920"/>
                <a:gd name="T20" fmla="*/ 349 w 553"/>
                <a:gd name="T21"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3" h="920">
                  <a:moveTo>
                    <a:pt x="349" y="0"/>
                  </a:moveTo>
                  <a:lnTo>
                    <a:pt x="148" y="139"/>
                  </a:lnTo>
                  <a:lnTo>
                    <a:pt x="100" y="205"/>
                  </a:lnTo>
                  <a:lnTo>
                    <a:pt x="92" y="880"/>
                  </a:lnTo>
                  <a:lnTo>
                    <a:pt x="0" y="920"/>
                  </a:lnTo>
                  <a:lnTo>
                    <a:pt x="135" y="920"/>
                  </a:lnTo>
                  <a:lnTo>
                    <a:pt x="283" y="324"/>
                  </a:lnTo>
                  <a:lnTo>
                    <a:pt x="545" y="176"/>
                  </a:lnTo>
                  <a:lnTo>
                    <a:pt x="553" y="29"/>
                  </a:lnTo>
                  <a:lnTo>
                    <a:pt x="374" y="0"/>
                  </a:lnTo>
                  <a:lnTo>
                    <a:pt x="349" y="0"/>
                  </a:lnTo>
                  <a:close/>
                </a:path>
              </a:pathLst>
            </a:custGeom>
            <a:gradFill>
              <a:gsLst>
                <a:gs pos="0">
                  <a:srgbClr val="EBAF14"/>
                </a:gs>
                <a:gs pos="100000">
                  <a:srgbClr val="FAD33A"/>
                </a:gs>
              </a:gsLst>
              <a:lin ang="5400000" scaled="0"/>
            </a:gradFill>
            <a:ln>
              <a:noFill/>
            </a:ln>
          </p:spPr>
          <p:txBody>
            <a:bodyPr vert="horz" wrap="square" lIns="91440" tIns="45720" rIns="91440" bIns="45720" numCol="1" anchor="t" anchorCtr="0" compatLnSpc="1"/>
            <a:lstStyle/>
            <a:p>
              <a:endParaRPr lang="zh-CN" altLang="en-US"/>
            </a:p>
          </p:txBody>
        </p:sp>
        <p:sp>
          <p:nvSpPr>
            <p:cNvPr id="352" name="Freeform 113"/>
            <p:cNvSpPr/>
            <p:nvPr/>
          </p:nvSpPr>
          <p:spPr bwMode="auto">
            <a:xfrm>
              <a:off x="9657880" y="3757831"/>
              <a:ext cx="494385" cy="696042"/>
            </a:xfrm>
            <a:custGeom>
              <a:avLst/>
              <a:gdLst>
                <a:gd name="T0" fmla="*/ 71 w 304"/>
                <a:gd name="T1" fmla="*/ 0 h 428"/>
                <a:gd name="T2" fmla="*/ 0 w 304"/>
                <a:gd name="T3" fmla="*/ 174 h 428"/>
                <a:gd name="T4" fmla="*/ 110 w 304"/>
                <a:gd name="T5" fmla="*/ 428 h 428"/>
                <a:gd name="T6" fmla="*/ 179 w 304"/>
                <a:gd name="T7" fmla="*/ 411 h 428"/>
                <a:gd name="T8" fmla="*/ 129 w 304"/>
                <a:gd name="T9" fmla="*/ 210 h 428"/>
                <a:gd name="T10" fmla="*/ 304 w 304"/>
                <a:gd name="T11" fmla="*/ 27 h 428"/>
                <a:gd name="T12" fmla="*/ 71 w 304"/>
                <a:gd name="T13" fmla="*/ 0 h 428"/>
              </a:gdLst>
              <a:ahLst/>
              <a:cxnLst>
                <a:cxn ang="0">
                  <a:pos x="T0" y="T1"/>
                </a:cxn>
                <a:cxn ang="0">
                  <a:pos x="T2" y="T3"/>
                </a:cxn>
                <a:cxn ang="0">
                  <a:pos x="T4" y="T5"/>
                </a:cxn>
                <a:cxn ang="0">
                  <a:pos x="T6" y="T7"/>
                </a:cxn>
                <a:cxn ang="0">
                  <a:pos x="T8" y="T9"/>
                </a:cxn>
                <a:cxn ang="0">
                  <a:pos x="T10" y="T11"/>
                </a:cxn>
                <a:cxn ang="0">
                  <a:pos x="T12" y="T13"/>
                </a:cxn>
              </a:cxnLst>
              <a:rect l="0" t="0" r="r" b="b"/>
              <a:pathLst>
                <a:path w="304" h="428">
                  <a:moveTo>
                    <a:pt x="71" y="0"/>
                  </a:moveTo>
                  <a:lnTo>
                    <a:pt x="0" y="174"/>
                  </a:lnTo>
                  <a:lnTo>
                    <a:pt x="110" y="428"/>
                  </a:lnTo>
                  <a:lnTo>
                    <a:pt x="179" y="411"/>
                  </a:lnTo>
                  <a:lnTo>
                    <a:pt x="129" y="210"/>
                  </a:lnTo>
                  <a:lnTo>
                    <a:pt x="304" y="27"/>
                  </a:lnTo>
                  <a:lnTo>
                    <a:pt x="71" y="0"/>
                  </a:lnTo>
                  <a:close/>
                </a:path>
              </a:pathLst>
            </a:custGeom>
            <a:solidFill>
              <a:srgbClr val="EDB6B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3" name="Freeform 114"/>
            <p:cNvSpPr/>
            <p:nvPr/>
          </p:nvSpPr>
          <p:spPr bwMode="auto">
            <a:xfrm>
              <a:off x="9657880" y="3757831"/>
              <a:ext cx="494385" cy="696042"/>
            </a:xfrm>
            <a:custGeom>
              <a:avLst/>
              <a:gdLst>
                <a:gd name="T0" fmla="*/ 71 w 304"/>
                <a:gd name="T1" fmla="*/ 0 h 428"/>
                <a:gd name="T2" fmla="*/ 0 w 304"/>
                <a:gd name="T3" fmla="*/ 174 h 428"/>
                <a:gd name="T4" fmla="*/ 110 w 304"/>
                <a:gd name="T5" fmla="*/ 428 h 428"/>
                <a:gd name="T6" fmla="*/ 179 w 304"/>
                <a:gd name="T7" fmla="*/ 411 h 428"/>
                <a:gd name="T8" fmla="*/ 129 w 304"/>
                <a:gd name="T9" fmla="*/ 210 h 428"/>
                <a:gd name="T10" fmla="*/ 304 w 304"/>
                <a:gd name="T11" fmla="*/ 27 h 428"/>
                <a:gd name="T12" fmla="*/ 71 w 304"/>
                <a:gd name="T13" fmla="*/ 0 h 428"/>
              </a:gdLst>
              <a:ahLst/>
              <a:cxnLst>
                <a:cxn ang="0">
                  <a:pos x="T0" y="T1"/>
                </a:cxn>
                <a:cxn ang="0">
                  <a:pos x="T2" y="T3"/>
                </a:cxn>
                <a:cxn ang="0">
                  <a:pos x="T4" y="T5"/>
                </a:cxn>
                <a:cxn ang="0">
                  <a:pos x="T6" y="T7"/>
                </a:cxn>
                <a:cxn ang="0">
                  <a:pos x="T8" y="T9"/>
                </a:cxn>
                <a:cxn ang="0">
                  <a:pos x="T10" y="T11"/>
                </a:cxn>
                <a:cxn ang="0">
                  <a:pos x="T12" y="T13"/>
                </a:cxn>
              </a:cxnLst>
              <a:rect l="0" t="0" r="r" b="b"/>
              <a:pathLst>
                <a:path w="304" h="428">
                  <a:moveTo>
                    <a:pt x="71" y="0"/>
                  </a:moveTo>
                  <a:lnTo>
                    <a:pt x="0" y="174"/>
                  </a:lnTo>
                  <a:lnTo>
                    <a:pt x="110" y="428"/>
                  </a:lnTo>
                  <a:lnTo>
                    <a:pt x="179" y="411"/>
                  </a:lnTo>
                  <a:lnTo>
                    <a:pt x="129" y="210"/>
                  </a:lnTo>
                  <a:lnTo>
                    <a:pt x="304" y="27"/>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4" name="Freeform 115"/>
            <p:cNvSpPr/>
            <p:nvPr/>
          </p:nvSpPr>
          <p:spPr bwMode="auto">
            <a:xfrm>
              <a:off x="10171779" y="4435986"/>
              <a:ext cx="783861" cy="1554712"/>
            </a:xfrm>
            <a:custGeom>
              <a:avLst/>
              <a:gdLst>
                <a:gd name="T0" fmla="*/ 468 w 482"/>
                <a:gd name="T1" fmla="*/ 73 h 956"/>
                <a:gd name="T2" fmla="*/ 482 w 482"/>
                <a:gd name="T3" fmla="*/ 187 h 956"/>
                <a:gd name="T4" fmla="*/ 468 w 482"/>
                <a:gd name="T5" fmla="*/ 225 h 956"/>
                <a:gd name="T6" fmla="*/ 254 w 482"/>
                <a:gd name="T7" fmla="*/ 279 h 956"/>
                <a:gd name="T8" fmla="*/ 391 w 482"/>
                <a:gd name="T9" fmla="*/ 918 h 956"/>
                <a:gd name="T10" fmla="*/ 289 w 482"/>
                <a:gd name="T11" fmla="*/ 956 h 956"/>
                <a:gd name="T12" fmla="*/ 335 w 482"/>
                <a:gd name="T13" fmla="*/ 908 h 956"/>
                <a:gd name="T14" fmla="*/ 17 w 482"/>
                <a:gd name="T15" fmla="*/ 279 h 956"/>
                <a:gd name="T16" fmla="*/ 0 w 482"/>
                <a:gd name="T17" fmla="*/ 216 h 956"/>
                <a:gd name="T18" fmla="*/ 169 w 482"/>
                <a:gd name="T19" fmla="*/ 0 h 956"/>
                <a:gd name="T20" fmla="*/ 468 w 482"/>
                <a:gd name="T21" fmla="*/ 73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2" h="956">
                  <a:moveTo>
                    <a:pt x="468" y="73"/>
                  </a:moveTo>
                  <a:lnTo>
                    <a:pt x="482" y="187"/>
                  </a:lnTo>
                  <a:lnTo>
                    <a:pt x="468" y="225"/>
                  </a:lnTo>
                  <a:lnTo>
                    <a:pt x="254" y="279"/>
                  </a:lnTo>
                  <a:lnTo>
                    <a:pt x="391" y="918"/>
                  </a:lnTo>
                  <a:lnTo>
                    <a:pt x="289" y="956"/>
                  </a:lnTo>
                  <a:lnTo>
                    <a:pt x="335" y="908"/>
                  </a:lnTo>
                  <a:lnTo>
                    <a:pt x="17" y="279"/>
                  </a:lnTo>
                  <a:lnTo>
                    <a:pt x="0" y="216"/>
                  </a:lnTo>
                  <a:lnTo>
                    <a:pt x="169" y="0"/>
                  </a:lnTo>
                  <a:lnTo>
                    <a:pt x="468" y="73"/>
                  </a:lnTo>
                  <a:close/>
                </a:path>
              </a:pathLst>
            </a:custGeom>
            <a:solidFill>
              <a:srgbClr val="FFBE00"/>
            </a:solidFill>
            <a:ln>
              <a:noFill/>
            </a:ln>
          </p:spPr>
          <p:txBody>
            <a:bodyPr vert="horz" wrap="square" lIns="91440" tIns="45720" rIns="91440" bIns="45720" numCol="1" anchor="t" anchorCtr="0" compatLnSpc="1"/>
            <a:lstStyle/>
            <a:p>
              <a:endParaRPr lang="zh-CN" altLang="en-US"/>
            </a:p>
          </p:txBody>
        </p:sp>
        <p:sp>
          <p:nvSpPr>
            <p:cNvPr id="355" name="Freeform 116"/>
            <p:cNvSpPr/>
            <p:nvPr/>
          </p:nvSpPr>
          <p:spPr bwMode="auto">
            <a:xfrm>
              <a:off x="9973374" y="3466730"/>
              <a:ext cx="959498" cy="1203438"/>
            </a:xfrm>
            <a:custGeom>
              <a:avLst/>
              <a:gdLst>
                <a:gd name="T0" fmla="*/ 0 w 590"/>
                <a:gd name="T1" fmla="*/ 237 h 740"/>
                <a:gd name="T2" fmla="*/ 50 w 590"/>
                <a:gd name="T3" fmla="*/ 472 h 740"/>
                <a:gd name="T4" fmla="*/ 37 w 590"/>
                <a:gd name="T5" fmla="*/ 669 h 740"/>
                <a:gd name="T6" fmla="*/ 376 w 590"/>
                <a:gd name="T7" fmla="*/ 740 h 740"/>
                <a:gd name="T8" fmla="*/ 590 w 590"/>
                <a:gd name="T9" fmla="*/ 669 h 740"/>
                <a:gd name="T10" fmla="*/ 496 w 590"/>
                <a:gd name="T11" fmla="*/ 258 h 740"/>
                <a:gd name="T12" fmla="*/ 226 w 590"/>
                <a:gd name="T13" fmla="*/ 0 h 740"/>
                <a:gd name="T14" fmla="*/ 0 w 590"/>
                <a:gd name="T15" fmla="*/ 237 h 7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740">
                  <a:moveTo>
                    <a:pt x="0" y="237"/>
                  </a:moveTo>
                  <a:lnTo>
                    <a:pt x="50" y="472"/>
                  </a:lnTo>
                  <a:lnTo>
                    <a:pt x="37" y="669"/>
                  </a:lnTo>
                  <a:lnTo>
                    <a:pt x="376" y="740"/>
                  </a:lnTo>
                  <a:lnTo>
                    <a:pt x="590" y="669"/>
                  </a:lnTo>
                  <a:lnTo>
                    <a:pt x="496" y="258"/>
                  </a:lnTo>
                  <a:lnTo>
                    <a:pt x="226" y="0"/>
                  </a:lnTo>
                  <a:lnTo>
                    <a:pt x="0" y="237"/>
                  </a:lnTo>
                  <a:close/>
                </a:path>
              </a:pathLst>
            </a:custGeom>
            <a:solidFill>
              <a:schemeClr val="accent6">
                <a:lumMod val="60000"/>
                <a:lumOff val="40000"/>
              </a:schemeClr>
            </a:solidFill>
            <a:ln>
              <a:noFill/>
            </a:ln>
          </p:spPr>
          <p:txBody>
            <a:bodyPr vert="horz" wrap="square" lIns="91440" tIns="45720" rIns="91440" bIns="45720" numCol="1" anchor="t" anchorCtr="0" compatLnSpc="1"/>
            <a:lstStyle/>
            <a:p>
              <a:endParaRPr lang="zh-CN" altLang="en-US"/>
            </a:p>
          </p:txBody>
        </p:sp>
        <p:sp>
          <p:nvSpPr>
            <p:cNvPr id="356" name="Freeform 117"/>
            <p:cNvSpPr/>
            <p:nvPr/>
          </p:nvSpPr>
          <p:spPr bwMode="auto">
            <a:xfrm>
              <a:off x="9973374" y="3466730"/>
              <a:ext cx="959498" cy="1203438"/>
            </a:xfrm>
            <a:custGeom>
              <a:avLst/>
              <a:gdLst>
                <a:gd name="T0" fmla="*/ 0 w 590"/>
                <a:gd name="T1" fmla="*/ 237 h 740"/>
                <a:gd name="T2" fmla="*/ 50 w 590"/>
                <a:gd name="T3" fmla="*/ 472 h 740"/>
                <a:gd name="T4" fmla="*/ 37 w 590"/>
                <a:gd name="T5" fmla="*/ 669 h 740"/>
                <a:gd name="T6" fmla="*/ 376 w 590"/>
                <a:gd name="T7" fmla="*/ 740 h 740"/>
                <a:gd name="T8" fmla="*/ 590 w 590"/>
                <a:gd name="T9" fmla="*/ 669 h 740"/>
                <a:gd name="T10" fmla="*/ 496 w 590"/>
                <a:gd name="T11" fmla="*/ 258 h 740"/>
                <a:gd name="T12" fmla="*/ 226 w 590"/>
                <a:gd name="T13" fmla="*/ 0 h 740"/>
                <a:gd name="T14" fmla="*/ 0 w 590"/>
                <a:gd name="T15" fmla="*/ 237 h 7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740">
                  <a:moveTo>
                    <a:pt x="0" y="237"/>
                  </a:moveTo>
                  <a:lnTo>
                    <a:pt x="50" y="472"/>
                  </a:lnTo>
                  <a:lnTo>
                    <a:pt x="37" y="669"/>
                  </a:lnTo>
                  <a:lnTo>
                    <a:pt x="376" y="740"/>
                  </a:lnTo>
                  <a:lnTo>
                    <a:pt x="590" y="669"/>
                  </a:lnTo>
                  <a:lnTo>
                    <a:pt x="496" y="258"/>
                  </a:lnTo>
                  <a:lnTo>
                    <a:pt x="226" y="0"/>
                  </a:lnTo>
                  <a:lnTo>
                    <a:pt x="0"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7" name="Freeform 118"/>
            <p:cNvSpPr/>
            <p:nvPr/>
          </p:nvSpPr>
          <p:spPr bwMode="auto">
            <a:xfrm>
              <a:off x="9713172" y="3440710"/>
              <a:ext cx="526911" cy="590336"/>
            </a:xfrm>
            <a:custGeom>
              <a:avLst/>
              <a:gdLst>
                <a:gd name="T0" fmla="*/ 156 w 156"/>
                <a:gd name="T1" fmla="*/ 0 h 175"/>
                <a:gd name="T2" fmla="*/ 59 w 156"/>
                <a:gd name="T3" fmla="*/ 27 h 175"/>
                <a:gd name="T4" fmla="*/ 44 w 156"/>
                <a:gd name="T5" fmla="*/ 37 h 175"/>
                <a:gd name="T6" fmla="*/ 0 w 156"/>
                <a:gd name="T7" fmla="*/ 99 h 175"/>
                <a:gd name="T8" fmla="*/ 78 w 156"/>
                <a:gd name="T9" fmla="*/ 175 h 175"/>
                <a:gd name="T10" fmla="*/ 156 w 156"/>
                <a:gd name="T11" fmla="*/ 81 h 175"/>
                <a:gd name="T12" fmla="*/ 156 w 156"/>
                <a:gd name="T13" fmla="*/ 0 h 175"/>
              </a:gdLst>
              <a:ahLst/>
              <a:cxnLst>
                <a:cxn ang="0">
                  <a:pos x="T0" y="T1"/>
                </a:cxn>
                <a:cxn ang="0">
                  <a:pos x="T2" y="T3"/>
                </a:cxn>
                <a:cxn ang="0">
                  <a:pos x="T4" y="T5"/>
                </a:cxn>
                <a:cxn ang="0">
                  <a:pos x="T6" y="T7"/>
                </a:cxn>
                <a:cxn ang="0">
                  <a:pos x="T8" y="T9"/>
                </a:cxn>
                <a:cxn ang="0">
                  <a:pos x="T10" y="T11"/>
                </a:cxn>
                <a:cxn ang="0">
                  <a:pos x="T12" y="T13"/>
                </a:cxn>
              </a:cxnLst>
              <a:rect l="0" t="0" r="r" b="b"/>
              <a:pathLst>
                <a:path w="156" h="175">
                  <a:moveTo>
                    <a:pt x="156" y="0"/>
                  </a:moveTo>
                  <a:cubicBezTo>
                    <a:pt x="59" y="27"/>
                    <a:pt x="59" y="27"/>
                    <a:pt x="59" y="27"/>
                  </a:cubicBezTo>
                  <a:cubicBezTo>
                    <a:pt x="53" y="28"/>
                    <a:pt x="48" y="32"/>
                    <a:pt x="44" y="37"/>
                  </a:cubicBezTo>
                  <a:cubicBezTo>
                    <a:pt x="0" y="99"/>
                    <a:pt x="0" y="99"/>
                    <a:pt x="0" y="99"/>
                  </a:cubicBezTo>
                  <a:cubicBezTo>
                    <a:pt x="78" y="175"/>
                    <a:pt x="78" y="175"/>
                    <a:pt x="78" y="175"/>
                  </a:cubicBezTo>
                  <a:cubicBezTo>
                    <a:pt x="156" y="81"/>
                    <a:pt x="156" y="81"/>
                    <a:pt x="156" y="81"/>
                  </a:cubicBezTo>
                  <a:cubicBezTo>
                    <a:pt x="156" y="0"/>
                    <a:pt x="156" y="0"/>
                    <a:pt x="156" y="0"/>
                  </a:cubicBezTo>
                </a:path>
              </a:pathLst>
            </a:custGeom>
            <a:solidFill>
              <a:schemeClr val="accent6">
                <a:lumMod val="60000"/>
                <a:lumOff val="40000"/>
              </a:schemeClr>
            </a:solidFill>
            <a:ln>
              <a:noFill/>
            </a:ln>
          </p:spPr>
          <p:txBody>
            <a:bodyPr vert="horz" wrap="square" lIns="91440" tIns="45720" rIns="91440" bIns="45720" numCol="1" anchor="t" anchorCtr="0" compatLnSpc="1"/>
            <a:lstStyle/>
            <a:p>
              <a:endParaRPr lang="zh-CN" altLang="en-US"/>
            </a:p>
          </p:txBody>
        </p:sp>
        <p:sp>
          <p:nvSpPr>
            <p:cNvPr id="358" name="Freeform 119"/>
            <p:cNvSpPr/>
            <p:nvPr/>
          </p:nvSpPr>
          <p:spPr bwMode="auto">
            <a:xfrm>
              <a:off x="10443365" y="3832639"/>
              <a:ext cx="728568" cy="621234"/>
            </a:xfrm>
            <a:custGeom>
              <a:avLst/>
              <a:gdLst>
                <a:gd name="T0" fmla="*/ 376 w 448"/>
                <a:gd name="T1" fmla="*/ 0 h 382"/>
                <a:gd name="T2" fmla="*/ 384 w 448"/>
                <a:gd name="T3" fmla="*/ 29 h 382"/>
                <a:gd name="T4" fmla="*/ 448 w 448"/>
                <a:gd name="T5" fmla="*/ 257 h 382"/>
                <a:gd name="T6" fmla="*/ 351 w 448"/>
                <a:gd name="T7" fmla="*/ 373 h 382"/>
                <a:gd name="T8" fmla="*/ 2 w 448"/>
                <a:gd name="T9" fmla="*/ 382 h 382"/>
                <a:gd name="T10" fmla="*/ 0 w 448"/>
                <a:gd name="T11" fmla="*/ 322 h 382"/>
                <a:gd name="T12" fmla="*/ 228 w 448"/>
                <a:gd name="T13" fmla="*/ 259 h 382"/>
                <a:gd name="T14" fmla="*/ 178 w 448"/>
                <a:gd name="T15" fmla="*/ 99 h 382"/>
                <a:gd name="T16" fmla="*/ 376 w 448"/>
                <a:gd name="T17"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382">
                  <a:moveTo>
                    <a:pt x="376" y="0"/>
                  </a:moveTo>
                  <a:lnTo>
                    <a:pt x="384" y="29"/>
                  </a:lnTo>
                  <a:lnTo>
                    <a:pt x="448" y="257"/>
                  </a:lnTo>
                  <a:lnTo>
                    <a:pt x="351" y="373"/>
                  </a:lnTo>
                  <a:lnTo>
                    <a:pt x="2" y="382"/>
                  </a:lnTo>
                  <a:lnTo>
                    <a:pt x="0" y="322"/>
                  </a:lnTo>
                  <a:lnTo>
                    <a:pt x="228" y="259"/>
                  </a:lnTo>
                  <a:lnTo>
                    <a:pt x="178" y="99"/>
                  </a:lnTo>
                  <a:lnTo>
                    <a:pt x="376" y="0"/>
                  </a:lnTo>
                  <a:close/>
                </a:path>
              </a:pathLst>
            </a:custGeom>
            <a:solidFill>
              <a:srgbClr val="EDB6B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9" name="Freeform 120"/>
            <p:cNvSpPr/>
            <p:nvPr/>
          </p:nvSpPr>
          <p:spPr bwMode="auto">
            <a:xfrm>
              <a:off x="10443365" y="3832639"/>
              <a:ext cx="728568" cy="621234"/>
            </a:xfrm>
            <a:custGeom>
              <a:avLst/>
              <a:gdLst>
                <a:gd name="T0" fmla="*/ 376 w 448"/>
                <a:gd name="T1" fmla="*/ 0 h 382"/>
                <a:gd name="T2" fmla="*/ 384 w 448"/>
                <a:gd name="T3" fmla="*/ 29 h 382"/>
                <a:gd name="T4" fmla="*/ 448 w 448"/>
                <a:gd name="T5" fmla="*/ 257 h 382"/>
                <a:gd name="T6" fmla="*/ 351 w 448"/>
                <a:gd name="T7" fmla="*/ 373 h 382"/>
                <a:gd name="T8" fmla="*/ 2 w 448"/>
                <a:gd name="T9" fmla="*/ 382 h 382"/>
                <a:gd name="T10" fmla="*/ 0 w 448"/>
                <a:gd name="T11" fmla="*/ 322 h 382"/>
                <a:gd name="T12" fmla="*/ 228 w 448"/>
                <a:gd name="T13" fmla="*/ 259 h 382"/>
                <a:gd name="T14" fmla="*/ 178 w 448"/>
                <a:gd name="T15" fmla="*/ 99 h 382"/>
                <a:gd name="T16" fmla="*/ 376 w 448"/>
                <a:gd name="T17"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382">
                  <a:moveTo>
                    <a:pt x="376" y="0"/>
                  </a:moveTo>
                  <a:lnTo>
                    <a:pt x="384" y="29"/>
                  </a:lnTo>
                  <a:lnTo>
                    <a:pt x="448" y="257"/>
                  </a:lnTo>
                  <a:lnTo>
                    <a:pt x="351" y="373"/>
                  </a:lnTo>
                  <a:lnTo>
                    <a:pt x="2" y="382"/>
                  </a:lnTo>
                  <a:lnTo>
                    <a:pt x="0" y="322"/>
                  </a:lnTo>
                  <a:lnTo>
                    <a:pt x="228" y="259"/>
                  </a:lnTo>
                  <a:lnTo>
                    <a:pt x="178" y="99"/>
                  </a:lnTo>
                  <a:lnTo>
                    <a:pt x="3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0" name="Freeform 121"/>
            <p:cNvSpPr/>
            <p:nvPr/>
          </p:nvSpPr>
          <p:spPr bwMode="auto">
            <a:xfrm>
              <a:off x="10222193" y="4356298"/>
              <a:ext cx="224425" cy="131728"/>
            </a:xfrm>
            <a:custGeom>
              <a:avLst/>
              <a:gdLst>
                <a:gd name="T0" fmla="*/ 66 w 66"/>
                <a:gd name="T1" fmla="*/ 29 h 39"/>
                <a:gd name="T2" fmla="*/ 56 w 66"/>
                <a:gd name="T3" fmla="*/ 36 h 39"/>
                <a:gd name="T4" fmla="*/ 29 w 66"/>
                <a:gd name="T5" fmla="*/ 39 h 39"/>
                <a:gd name="T6" fmla="*/ 5 w 66"/>
                <a:gd name="T7" fmla="*/ 7 h 39"/>
                <a:gd name="T8" fmla="*/ 29 w 66"/>
                <a:gd name="T9" fmla="*/ 0 h 39"/>
                <a:gd name="T10" fmla="*/ 56 w 66"/>
                <a:gd name="T11" fmla="*/ 0 h 39"/>
                <a:gd name="T12" fmla="*/ 65 w 66"/>
                <a:gd name="T13" fmla="*/ 0 h 39"/>
                <a:gd name="T14" fmla="*/ 66 w 66"/>
                <a:gd name="T15" fmla="*/ 2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39">
                  <a:moveTo>
                    <a:pt x="66" y="29"/>
                  </a:moveTo>
                  <a:cubicBezTo>
                    <a:pt x="56" y="36"/>
                    <a:pt x="56" y="36"/>
                    <a:pt x="56" y="36"/>
                  </a:cubicBezTo>
                  <a:cubicBezTo>
                    <a:pt x="29" y="39"/>
                    <a:pt x="29" y="39"/>
                    <a:pt x="29" y="39"/>
                  </a:cubicBezTo>
                  <a:cubicBezTo>
                    <a:pt x="29" y="39"/>
                    <a:pt x="0" y="9"/>
                    <a:pt x="5" y="7"/>
                  </a:cubicBezTo>
                  <a:cubicBezTo>
                    <a:pt x="10" y="5"/>
                    <a:pt x="29" y="0"/>
                    <a:pt x="29" y="0"/>
                  </a:cubicBezTo>
                  <a:cubicBezTo>
                    <a:pt x="56" y="0"/>
                    <a:pt x="56" y="0"/>
                    <a:pt x="56" y="0"/>
                  </a:cubicBezTo>
                  <a:cubicBezTo>
                    <a:pt x="65" y="0"/>
                    <a:pt x="65" y="0"/>
                    <a:pt x="65" y="0"/>
                  </a:cubicBezTo>
                  <a:lnTo>
                    <a:pt x="66" y="29"/>
                  </a:lnTo>
                  <a:close/>
                </a:path>
              </a:pathLst>
            </a:custGeom>
            <a:solidFill>
              <a:srgbClr val="EDB6B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1" name="Freeform 122"/>
            <p:cNvSpPr/>
            <p:nvPr/>
          </p:nvSpPr>
          <p:spPr bwMode="auto">
            <a:xfrm>
              <a:off x="10340911" y="3422820"/>
              <a:ext cx="777356" cy="673275"/>
            </a:xfrm>
            <a:custGeom>
              <a:avLst/>
              <a:gdLst>
                <a:gd name="T0" fmla="*/ 44 w 230"/>
                <a:gd name="T1" fmla="*/ 0 h 199"/>
                <a:gd name="T2" fmla="*/ 173 w 230"/>
                <a:gd name="T3" fmla="*/ 54 h 199"/>
                <a:gd name="T4" fmla="*/ 193 w 230"/>
                <a:gd name="T5" fmla="*/ 70 h 199"/>
                <a:gd name="T6" fmla="*/ 203 w 230"/>
                <a:gd name="T7" fmla="*/ 82 h 199"/>
                <a:gd name="T8" fmla="*/ 214 w 230"/>
                <a:gd name="T9" fmla="*/ 100 h 199"/>
                <a:gd name="T10" fmla="*/ 230 w 230"/>
                <a:gd name="T11" fmla="*/ 134 h 199"/>
                <a:gd name="T12" fmla="*/ 100 w 230"/>
                <a:gd name="T13" fmla="*/ 199 h 199"/>
                <a:gd name="T14" fmla="*/ 0 w 230"/>
                <a:gd name="T15" fmla="*/ 34 h 199"/>
                <a:gd name="T16" fmla="*/ 44 w 230"/>
                <a:gd name="T17"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0" h="199">
                  <a:moveTo>
                    <a:pt x="44" y="0"/>
                  </a:moveTo>
                  <a:cubicBezTo>
                    <a:pt x="173" y="54"/>
                    <a:pt x="173" y="54"/>
                    <a:pt x="173" y="54"/>
                  </a:cubicBezTo>
                  <a:cubicBezTo>
                    <a:pt x="181" y="58"/>
                    <a:pt x="188" y="63"/>
                    <a:pt x="193" y="70"/>
                  </a:cubicBezTo>
                  <a:cubicBezTo>
                    <a:pt x="203" y="82"/>
                    <a:pt x="203" y="82"/>
                    <a:pt x="203" y="82"/>
                  </a:cubicBezTo>
                  <a:cubicBezTo>
                    <a:pt x="207" y="87"/>
                    <a:pt x="211" y="94"/>
                    <a:pt x="214" y="100"/>
                  </a:cubicBezTo>
                  <a:cubicBezTo>
                    <a:pt x="230" y="134"/>
                    <a:pt x="230" y="134"/>
                    <a:pt x="230" y="134"/>
                  </a:cubicBezTo>
                  <a:cubicBezTo>
                    <a:pt x="100" y="199"/>
                    <a:pt x="100" y="199"/>
                    <a:pt x="100" y="199"/>
                  </a:cubicBezTo>
                  <a:cubicBezTo>
                    <a:pt x="0" y="34"/>
                    <a:pt x="0" y="34"/>
                    <a:pt x="0" y="34"/>
                  </a:cubicBezTo>
                  <a:cubicBezTo>
                    <a:pt x="44" y="0"/>
                    <a:pt x="44" y="0"/>
                    <a:pt x="44" y="0"/>
                  </a:cubicBezTo>
                </a:path>
              </a:pathLst>
            </a:custGeom>
            <a:solidFill>
              <a:schemeClr val="accent6">
                <a:lumMod val="60000"/>
                <a:lumOff val="40000"/>
              </a:schemeClr>
            </a:solidFill>
            <a:ln>
              <a:noFill/>
            </a:ln>
          </p:spPr>
          <p:txBody>
            <a:bodyPr vert="horz" wrap="square" lIns="91440" tIns="45720" rIns="91440" bIns="45720" numCol="1" anchor="t" anchorCtr="0" compatLnSpc="1"/>
            <a:lstStyle/>
            <a:p>
              <a:endParaRPr lang="zh-CN" altLang="en-US"/>
            </a:p>
          </p:txBody>
        </p:sp>
        <p:sp>
          <p:nvSpPr>
            <p:cNvPr id="362" name="Freeform 123"/>
            <p:cNvSpPr/>
            <p:nvPr/>
          </p:nvSpPr>
          <p:spPr bwMode="auto">
            <a:xfrm>
              <a:off x="10111607" y="2895910"/>
              <a:ext cx="40657" cy="112213"/>
            </a:xfrm>
            <a:custGeom>
              <a:avLst/>
              <a:gdLst>
                <a:gd name="T0" fmla="*/ 12 w 12"/>
                <a:gd name="T1" fmla="*/ 0 h 33"/>
                <a:gd name="T2" fmla="*/ 0 w 12"/>
                <a:gd name="T3" fmla="*/ 33 h 33"/>
                <a:gd name="T4" fmla="*/ 7 w 12"/>
                <a:gd name="T5" fmla="*/ 29 h 33"/>
                <a:gd name="T6" fmla="*/ 12 w 12"/>
                <a:gd name="T7" fmla="*/ 10 h 33"/>
              </a:gdLst>
              <a:ahLst/>
              <a:cxnLst>
                <a:cxn ang="0">
                  <a:pos x="T0" y="T1"/>
                </a:cxn>
                <a:cxn ang="0">
                  <a:pos x="T2" y="T3"/>
                </a:cxn>
                <a:cxn ang="0">
                  <a:pos x="T4" y="T5"/>
                </a:cxn>
                <a:cxn ang="0">
                  <a:pos x="T6" y="T7"/>
                </a:cxn>
              </a:cxnLst>
              <a:rect l="0" t="0" r="r" b="b"/>
              <a:pathLst>
                <a:path w="12" h="33">
                  <a:moveTo>
                    <a:pt x="12" y="0"/>
                  </a:moveTo>
                  <a:cubicBezTo>
                    <a:pt x="12" y="0"/>
                    <a:pt x="1" y="9"/>
                    <a:pt x="0" y="33"/>
                  </a:cubicBezTo>
                  <a:cubicBezTo>
                    <a:pt x="7" y="29"/>
                    <a:pt x="7" y="29"/>
                    <a:pt x="7" y="29"/>
                  </a:cubicBezTo>
                  <a:cubicBezTo>
                    <a:pt x="12" y="10"/>
                    <a:pt x="12" y="10"/>
                    <a:pt x="12" y="10"/>
                  </a:cubicBezTo>
                </a:path>
              </a:pathLst>
            </a:custGeom>
            <a:solidFill>
              <a:srgbClr val="5F322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3" name="Freeform 124"/>
            <p:cNvSpPr/>
            <p:nvPr/>
          </p:nvSpPr>
          <p:spPr bwMode="auto">
            <a:xfrm>
              <a:off x="10111607" y="2895910"/>
              <a:ext cx="43909" cy="112213"/>
            </a:xfrm>
            <a:custGeom>
              <a:avLst/>
              <a:gdLst>
                <a:gd name="T0" fmla="*/ 0 w 13"/>
                <a:gd name="T1" fmla="*/ 33 h 33"/>
                <a:gd name="T2" fmla="*/ 7 w 13"/>
                <a:gd name="T3" fmla="*/ 29 h 33"/>
                <a:gd name="T4" fmla="*/ 13 w 13"/>
                <a:gd name="T5" fmla="*/ 10 h 33"/>
                <a:gd name="T6" fmla="*/ 12 w 13"/>
                <a:gd name="T7" fmla="*/ 10 h 33"/>
                <a:gd name="T8" fmla="*/ 7 w 13"/>
                <a:gd name="T9" fmla="*/ 28 h 33"/>
                <a:gd name="T10" fmla="*/ 1 w 13"/>
                <a:gd name="T11" fmla="*/ 32 h 33"/>
                <a:gd name="T12" fmla="*/ 13 w 13"/>
                <a:gd name="T13" fmla="*/ 0 h 33"/>
                <a:gd name="T14" fmla="*/ 12 w 13"/>
                <a:gd name="T15" fmla="*/ 0 h 33"/>
                <a:gd name="T16" fmla="*/ 0 w 1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33">
                  <a:moveTo>
                    <a:pt x="0" y="33"/>
                  </a:moveTo>
                  <a:cubicBezTo>
                    <a:pt x="7" y="29"/>
                    <a:pt x="7" y="29"/>
                    <a:pt x="7" y="29"/>
                  </a:cubicBezTo>
                  <a:cubicBezTo>
                    <a:pt x="13" y="10"/>
                    <a:pt x="13" y="10"/>
                    <a:pt x="13" y="10"/>
                  </a:cubicBezTo>
                  <a:cubicBezTo>
                    <a:pt x="12" y="10"/>
                    <a:pt x="12" y="10"/>
                    <a:pt x="12" y="10"/>
                  </a:cubicBezTo>
                  <a:cubicBezTo>
                    <a:pt x="7" y="28"/>
                    <a:pt x="7" y="28"/>
                    <a:pt x="7" y="28"/>
                  </a:cubicBezTo>
                  <a:cubicBezTo>
                    <a:pt x="1" y="32"/>
                    <a:pt x="1" y="32"/>
                    <a:pt x="1" y="32"/>
                  </a:cubicBezTo>
                  <a:cubicBezTo>
                    <a:pt x="1" y="10"/>
                    <a:pt x="12" y="0"/>
                    <a:pt x="13" y="0"/>
                  </a:cubicBezTo>
                  <a:cubicBezTo>
                    <a:pt x="12" y="0"/>
                    <a:pt x="12" y="0"/>
                    <a:pt x="12" y="0"/>
                  </a:cubicBezTo>
                  <a:cubicBezTo>
                    <a:pt x="12" y="0"/>
                    <a:pt x="0" y="9"/>
                    <a:pt x="0" y="33"/>
                  </a:cubicBezTo>
                  <a:close/>
                </a:path>
              </a:pathLst>
            </a:custGeom>
            <a:solidFill>
              <a:srgbClr val="5F322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4" name="Freeform 126"/>
            <p:cNvSpPr/>
            <p:nvPr/>
          </p:nvSpPr>
          <p:spPr bwMode="auto">
            <a:xfrm>
              <a:off x="10111607" y="3169122"/>
              <a:ext cx="378920" cy="447224"/>
            </a:xfrm>
            <a:custGeom>
              <a:avLst/>
              <a:gdLst>
                <a:gd name="T0" fmla="*/ 79 w 112"/>
                <a:gd name="T1" fmla="*/ 0 h 132"/>
                <a:gd name="T2" fmla="*/ 112 w 112"/>
                <a:gd name="T3" fmla="*/ 75 h 132"/>
                <a:gd name="T4" fmla="*/ 50 w 112"/>
                <a:gd name="T5" fmla="*/ 122 h 132"/>
                <a:gd name="T6" fmla="*/ 38 w 112"/>
                <a:gd name="T7" fmla="*/ 81 h 132"/>
                <a:gd name="T8" fmla="*/ 27 w 112"/>
                <a:gd name="T9" fmla="*/ 50 h 132"/>
                <a:gd name="T10" fmla="*/ 79 w 112"/>
                <a:gd name="T11" fmla="*/ 0 h 132"/>
              </a:gdLst>
              <a:ahLst/>
              <a:cxnLst>
                <a:cxn ang="0">
                  <a:pos x="T0" y="T1"/>
                </a:cxn>
                <a:cxn ang="0">
                  <a:pos x="T2" y="T3"/>
                </a:cxn>
                <a:cxn ang="0">
                  <a:pos x="T4" y="T5"/>
                </a:cxn>
                <a:cxn ang="0">
                  <a:pos x="T6" y="T7"/>
                </a:cxn>
                <a:cxn ang="0">
                  <a:pos x="T8" y="T9"/>
                </a:cxn>
                <a:cxn ang="0">
                  <a:pos x="T10" y="T11"/>
                </a:cxn>
              </a:cxnLst>
              <a:rect l="0" t="0" r="r" b="b"/>
              <a:pathLst>
                <a:path w="112" h="132">
                  <a:moveTo>
                    <a:pt x="79" y="0"/>
                  </a:moveTo>
                  <a:cubicBezTo>
                    <a:pt x="79" y="0"/>
                    <a:pt x="83" y="63"/>
                    <a:pt x="112" y="75"/>
                  </a:cubicBezTo>
                  <a:cubicBezTo>
                    <a:pt x="112" y="75"/>
                    <a:pt x="100" y="132"/>
                    <a:pt x="50" y="122"/>
                  </a:cubicBezTo>
                  <a:cubicBezTo>
                    <a:pt x="0" y="113"/>
                    <a:pt x="38" y="81"/>
                    <a:pt x="38" y="81"/>
                  </a:cubicBezTo>
                  <a:cubicBezTo>
                    <a:pt x="38" y="81"/>
                    <a:pt x="40" y="60"/>
                    <a:pt x="27" y="50"/>
                  </a:cubicBezTo>
                  <a:lnTo>
                    <a:pt x="79" y="0"/>
                  </a:lnTo>
                  <a:close/>
                </a:path>
              </a:pathLst>
            </a:custGeom>
            <a:solidFill>
              <a:srgbClr val="EDB6B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5" name="Freeform 127"/>
            <p:cNvSpPr/>
            <p:nvPr/>
          </p:nvSpPr>
          <p:spPr bwMode="auto">
            <a:xfrm>
              <a:off x="10202679" y="3169122"/>
              <a:ext cx="203284" cy="271587"/>
            </a:xfrm>
            <a:custGeom>
              <a:avLst/>
              <a:gdLst>
                <a:gd name="T0" fmla="*/ 0 w 60"/>
                <a:gd name="T1" fmla="*/ 50 h 80"/>
                <a:gd name="T2" fmla="*/ 52 w 60"/>
                <a:gd name="T3" fmla="*/ 0 h 80"/>
                <a:gd name="T4" fmla="*/ 11 w 60"/>
                <a:gd name="T5" fmla="*/ 80 h 80"/>
                <a:gd name="T6" fmla="*/ 0 w 60"/>
                <a:gd name="T7" fmla="*/ 50 h 80"/>
              </a:gdLst>
              <a:ahLst/>
              <a:cxnLst>
                <a:cxn ang="0">
                  <a:pos x="T0" y="T1"/>
                </a:cxn>
                <a:cxn ang="0">
                  <a:pos x="T2" y="T3"/>
                </a:cxn>
                <a:cxn ang="0">
                  <a:pos x="T4" y="T5"/>
                </a:cxn>
                <a:cxn ang="0">
                  <a:pos x="T6" y="T7"/>
                </a:cxn>
              </a:cxnLst>
              <a:rect l="0" t="0" r="r" b="b"/>
              <a:pathLst>
                <a:path w="60" h="80">
                  <a:moveTo>
                    <a:pt x="0" y="50"/>
                  </a:moveTo>
                  <a:cubicBezTo>
                    <a:pt x="52" y="0"/>
                    <a:pt x="52" y="0"/>
                    <a:pt x="52" y="0"/>
                  </a:cubicBezTo>
                  <a:cubicBezTo>
                    <a:pt x="52" y="0"/>
                    <a:pt x="60" y="69"/>
                    <a:pt x="11" y="80"/>
                  </a:cubicBezTo>
                  <a:cubicBezTo>
                    <a:pt x="11" y="76"/>
                    <a:pt x="11" y="59"/>
                    <a:pt x="0" y="50"/>
                  </a:cubicBezTo>
                  <a:close/>
                </a:path>
              </a:pathLst>
            </a:custGeom>
            <a:solidFill>
              <a:srgbClr val="F3BB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6" name="Freeform 128"/>
            <p:cNvSpPr/>
            <p:nvPr/>
          </p:nvSpPr>
          <p:spPr bwMode="auto">
            <a:xfrm>
              <a:off x="10083962" y="2902415"/>
              <a:ext cx="328506" cy="450476"/>
            </a:xfrm>
            <a:custGeom>
              <a:avLst/>
              <a:gdLst>
                <a:gd name="T0" fmla="*/ 12 w 97"/>
                <a:gd name="T1" fmla="*/ 16 h 133"/>
                <a:gd name="T2" fmla="*/ 6 w 97"/>
                <a:gd name="T3" fmla="*/ 30 h 133"/>
                <a:gd name="T4" fmla="*/ 2 w 97"/>
                <a:gd name="T5" fmla="*/ 79 h 133"/>
                <a:gd name="T6" fmla="*/ 29 w 97"/>
                <a:gd name="T7" fmla="*/ 130 h 133"/>
                <a:gd name="T8" fmla="*/ 81 w 97"/>
                <a:gd name="T9" fmla="*/ 100 h 133"/>
                <a:gd name="T10" fmla="*/ 87 w 97"/>
                <a:gd name="T11" fmla="*/ 26 h 133"/>
                <a:gd name="T12" fmla="*/ 48 w 97"/>
                <a:gd name="T13" fmla="*/ 3 h 133"/>
                <a:gd name="T14" fmla="*/ 12 w 97"/>
                <a:gd name="T15" fmla="*/ 16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33">
                  <a:moveTo>
                    <a:pt x="12" y="16"/>
                  </a:moveTo>
                  <a:cubicBezTo>
                    <a:pt x="9" y="20"/>
                    <a:pt x="7" y="25"/>
                    <a:pt x="6" y="30"/>
                  </a:cubicBezTo>
                  <a:cubicBezTo>
                    <a:pt x="5" y="39"/>
                    <a:pt x="3" y="67"/>
                    <a:pt x="2" y="79"/>
                  </a:cubicBezTo>
                  <a:cubicBezTo>
                    <a:pt x="0" y="96"/>
                    <a:pt x="6" y="127"/>
                    <a:pt x="29" y="130"/>
                  </a:cubicBezTo>
                  <a:cubicBezTo>
                    <a:pt x="53" y="133"/>
                    <a:pt x="72" y="122"/>
                    <a:pt x="81" y="100"/>
                  </a:cubicBezTo>
                  <a:cubicBezTo>
                    <a:pt x="97" y="61"/>
                    <a:pt x="87" y="26"/>
                    <a:pt x="87" y="26"/>
                  </a:cubicBezTo>
                  <a:cubicBezTo>
                    <a:pt x="87" y="26"/>
                    <a:pt x="68" y="3"/>
                    <a:pt x="48" y="3"/>
                  </a:cubicBezTo>
                  <a:cubicBezTo>
                    <a:pt x="35" y="3"/>
                    <a:pt x="24" y="0"/>
                    <a:pt x="12" y="16"/>
                  </a:cubicBezTo>
                  <a:close/>
                </a:path>
              </a:pathLst>
            </a:custGeom>
            <a:solidFill>
              <a:srgbClr val="EDB6B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7" name="Freeform 129"/>
            <p:cNvSpPr/>
            <p:nvPr/>
          </p:nvSpPr>
          <p:spPr bwMode="auto">
            <a:xfrm>
              <a:off x="10108354" y="2998365"/>
              <a:ext cx="73183" cy="35778"/>
            </a:xfrm>
            <a:custGeom>
              <a:avLst/>
              <a:gdLst>
                <a:gd name="T0" fmla="*/ 1 w 22"/>
                <a:gd name="T1" fmla="*/ 10 h 11"/>
                <a:gd name="T2" fmla="*/ 17 w 22"/>
                <a:gd name="T3" fmla="*/ 3 h 11"/>
                <a:gd name="T4" fmla="*/ 16 w 22"/>
                <a:gd name="T5" fmla="*/ 9 h 11"/>
                <a:gd name="T6" fmla="*/ 1 w 22"/>
                <a:gd name="T7" fmla="*/ 10 h 11"/>
              </a:gdLst>
              <a:ahLst/>
              <a:cxnLst>
                <a:cxn ang="0">
                  <a:pos x="T0" y="T1"/>
                </a:cxn>
                <a:cxn ang="0">
                  <a:pos x="T2" y="T3"/>
                </a:cxn>
                <a:cxn ang="0">
                  <a:pos x="T4" y="T5"/>
                </a:cxn>
                <a:cxn ang="0">
                  <a:pos x="T6" y="T7"/>
                </a:cxn>
              </a:cxnLst>
              <a:rect l="0" t="0" r="r" b="b"/>
              <a:pathLst>
                <a:path w="22" h="11">
                  <a:moveTo>
                    <a:pt x="1" y="10"/>
                  </a:moveTo>
                  <a:cubicBezTo>
                    <a:pt x="0" y="8"/>
                    <a:pt x="13" y="0"/>
                    <a:pt x="17" y="3"/>
                  </a:cubicBezTo>
                  <a:cubicBezTo>
                    <a:pt x="22" y="7"/>
                    <a:pt x="19" y="11"/>
                    <a:pt x="16" y="9"/>
                  </a:cubicBezTo>
                  <a:cubicBezTo>
                    <a:pt x="13" y="6"/>
                    <a:pt x="2" y="11"/>
                    <a:pt x="1" y="10"/>
                  </a:cubicBezTo>
                  <a:close/>
                </a:path>
              </a:pathLst>
            </a:custGeom>
            <a:solidFill>
              <a:srgbClr val="2323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8" name="Freeform 130"/>
            <p:cNvSpPr/>
            <p:nvPr/>
          </p:nvSpPr>
          <p:spPr bwMode="auto">
            <a:xfrm>
              <a:off x="10230325" y="3008122"/>
              <a:ext cx="79688" cy="47162"/>
            </a:xfrm>
            <a:custGeom>
              <a:avLst/>
              <a:gdLst>
                <a:gd name="T0" fmla="*/ 22 w 24"/>
                <a:gd name="T1" fmla="*/ 13 h 14"/>
                <a:gd name="T2" fmla="*/ 6 w 24"/>
                <a:gd name="T3" fmla="*/ 2 h 14"/>
                <a:gd name="T4" fmla="*/ 6 w 24"/>
                <a:gd name="T5" fmla="*/ 8 h 14"/>
                <a:gd name="T6" fmla="*/ 22 w 24"/>
                <a:gd name="T7" fmla="*/ 13 h 14"/>
              </a:gdLst>
              <a:ahLst/>
              <a:cxnLst>
                <a:cxn ang="0">
                  <a:pos x="T0" y="T1"/>
                </a:cxn>
                <a:cxn ang="0">
                  <a:pos x="T2" y="T3"/>
                </a:cxn>
                <a:cxn ang="0">
                  <a:pos x="T4" y="T5"/>
                </a:cxn>
                <a:cxn ang="0">
                  <a:pos x="T6" y="T7"/>
                </a:cxn>
              </a:cxnLst>
              <a:rect l="0" t="0" r="r" b="b"/>
              <a:pathLst>
                <a:path w="24" h="14">
                  <a:moveTo>
                    <a:pt x="22" y="13"/>
                  </a:moveTo>
                  <a:cubicBezTo>
                    <a:pt x="24" y="11"/>
                    <a:pt x="12" y="0"/>
                    <a:pt x="6" y="2"/>
                  </a:cubicBezTo>
                  <a:cubicBezTo>
                    <a:pt x="0" y="5"/>
                    <a:pt x="3" y="10"/>
                    <a:pt x="6" y="8"/>
                  </a:cubicBezTo>
                  <a:cubicBezTo>
                    <a:pt x="11" y="6"/>
                    <a:pt x="20" y="14"/>
                    <a:pt x="22" y="13"/>
                  </a:cubicBezTo>
                  <a:close/>
                </a:path>
              </a:pathLst>
            </a:custGeom>
            <a:solidFill>
              <a:srgbClr val="2323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9" name="Freeform 131"/>
            <p:cNvSpPr/>
            <p:nvPr/>
          </p:nvSpPr>
          <p:spPr bwMode="auto">
            <a:xfrm>
              <a:off x="10134375" y="3045527"/>
              <a:ext cx="30899" cy="43909"/>
            </a:xfrm>
            <a:custGeom>
              <a:avLst/>
              <a:gdLst>
                <a:gd name="T0" fmla="*/ 0 w 9"/>
                <a:gd name="T1" fmla="*/ 5 h 13"/>
                <a:gd name="T2" fmla="*/ 5 w 9"/>
                <a:gd name="T3" fmla="*/ 1 h 13"/>
                <a:gd name="T4" fmla="*/ 6 w 9"/>
                <a:gd name="T5" fmla="*/ 10 h 13"/>
                <a:gd name="T6" fmla="*/ 0 w 9"/>
                <a:gd name="T7" fmla="*/ 5 h 13"/>
              </a:gdLst>
              <a:ahLst/>
              <a:cxnLst>
                <a:cxn ang="0">
                  <a:pos x="T0" y="T1"/>
                </a:cxn>
                <a:cxn ang="0">
                  <a:pos x="T2" y="T3"/>
                </a:cxn>
                <a:cxn ang="0">
                  <a:pos x="T4" y="T5"/>
                </a:cxn>
                <a:cxn ang="0">
                  <a:pos x="T6" y="T7"/>
                </a:cxn>
              </a:cxnLst>
              <a:rect l="0" t="0" r="r" b="b"/>
              <a:pathLst>
                <a:path w="9" h="13">
                  <a:moveTo>
                    <a:pt x="0" y="5"/>
                  </a:moveTo>
                  <a:cubicBezTo>
                    <a:pt x="0" y="5"/>
                    <a:pt x="2" y="0"/>
                    <a:pt x="5" y="1"/>
                  </a:cubicBezTo>
                  <a:cubicBezTo>
                    <a:pt x="8" y="3"/>
                    <a:pt x="9" y="8"/>
                    <a:pt x="6" y="10"/>
                  </a:cubicBezTo>
                  <a:cubicBezTo>
                    <a:pt x="2" y="13"/>
                    <a:pt x="0" y="8"/>
                    <a:pt x="0" y="5"/>
                  </a:cubicBezTo>
                  <a:close/>
                </a:path>
              </a:pathLst>
            </a:custGeom>
            <a:solidFill>
              <a:srgbClr val="2323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0" name="Freeform 132"/>
            <p:cNvSpPr/>
            <p:nvPr/>
          </p:nvSpPr>
          <p:spPr bwMode="auto">
            <a:xfrm>
              <a:off x="10253093" y="3052031"/>
              <a:ext cx="30899" cy="43909"/>
            </a:xfrm>
            <a:custGeom>
              <a:avLst/>
              <a:gdLst>
                <a:gd name="T0" fmla="*/ 0 w 9"/>
                <a:gd name="T1" fmla="*/ 6 h 13"/>
                <a:gd name="T2" fmla="*/ 5 w 9"/>
                <a:gd name="T3" fmla="*/ 2 h 13"/>
                <a:gd name="T4" fmla="*/ 5 w 9"/>
                <a:gd name="T5" fmla="*/ 11 h 13"/>
                <a:gd name="T6" fmla="*/ 0 w 9"/>
                <a:gd name="T7" fmla="*/ 6 h 13"/>
              </a:gdLst>
              <a:ahLst/>
              <a:cxnLst>
                <a:cxn ang="0">
                  <a:pos x="T0" y="T1"/>
                </a:cxn>
                <a:cxn ang="0">
                  <a:pos x="T2" y="T3"/>
                </a:cxn>
                <a:cxn ang="0">
                  <a:pos x="T4" y="T5"/>
                </a:cxn>
                <a:cxn ang="0">
                  <a:pos x="T6" y="T7"/>
                </a:cxn>
              </a:cxnLst>
              <a:rect l="0" t="0" r="r" b="b"/>
              <a:pathLst>
                <a:path w="9" h="13">
                  <a:moveTo>
                    <a:pt x="0" y="6"/>
                  </a:moveTo>
                  <a:cubicBezTo>
                    <a:pt x="0" y="6"/>
                    <a:pt x="1" y="0"/>
                    <a:pt x="5" y="2"/>
                  </a:cubicBezTo>
                  <a:cubicBezTo>
                    <a:pt x="8" y="3"/>
                    <a:pt x="9" y="8"/>
                    <a:pt x="5" y="11"/>
                  </a:cubicBezTo>
                  <a:cubicBezTo>
                    <a:pt x="2" y="13"/>
                    <a:pt x="0" y="9"/>
                    <a:pt x="0" y="6"/>
                  </a:cubicBezTo>
                  <a:close/>
                </a:path>
              </a:pathLst>
            </a:custGeom>
            <a:solidFill>
              <a:srgbClr val="2323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1" name="Freeform 133"/>
            <p:cNvSpPr/>
            <p:nvPr/>
          </p:nvSpPr>
          <p:spPr bwMode="auto">
            <a:xfrm>
              <a:off x="10108354" y="3061789"/>
              <a:ext cx="107334" cy="141485"/>
            </a:xfrm>
            <a:custGeom>
              <a:avLst/>
              <a:gdLst>
                <a:gd name="T0" fmla="*/ 26 w 32"/>
                <a:gd name="T1" fmla="*/ 0 h 42"/>
                <a:gd name="T2" fmla="*/ 17 w 32"/>
                <a:gd name="T3" fmla="*/ 18 h 42"/>
                <a:gd name="T4" fmla="*/ 14 w 32"/>
                <a:gd name="T5" fmla="*/ 36 h 42"/>
                <a:gd name="T6" fmla="*/ 26 w 32"/>
                <a:gd name="T7" fmla="*/ 0 h 42"/>
              </a:gdLst>
              <a:ahLst/>
              <a:cxnLst>
                <a:cxn ang="0">
                  <a:pos x="T0" y="T1"/>
                </a:cxn>
                <a:cxn ang="0">
                  <a:pos x="T2" y="T3"/>
                </a:cxn>
                <a:cxn ang="0">
                  <a:pos x="T4" y="T5"/>
                </a:cxn>
                <a:cxn ang="0">
                  <a:pos x="T6" y="T7"/>
                </a:cxn>
              </a:cxnLst>
              <a:rect l="0" t="0" r="r" b="b"/>
              <a:pathLst>
                <a:path w="32" h="42">
                  <a:moveTo>
                    <a:pt x="26" y="0"/>
                  </a:moveTo>
                  <a:cubicBezTo>
                    <a:pt x="26" y="0"/>
                    <a:pt x="25" y="10"/>
                    <a:pt x="17" y="18"/>
                  </a:cubicBezTo>
                  <a:cubicBezTo>
                    <a:pt x="12" y="23"/>
                    <a:pt x="0" y="31"/>
                    <a:pt x="14" y="36"/>
                  </a:cubicBezTo>
                  <a:cubicBezTo>
                    <a:pt x="32" y="42"/>
                    <a:pt x="26" y="0"/>
                    <a:pt x="26" y="0"/>
                  </a:cubicBezTo>
                  <a:close/>
                </a:path>
              </a:pathLst>
            </a:custGeom>
            <a:solidFill>
              <a:srgbClr val="DD948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2" name="Freeform 134"/>
            <p:cNvSpPr/>
            <p:nvPr/>
          </p:nvSpPr>
          <p:spPr bwMode="auto">
            <a:xfrm>
              <a:off x="10358799" y="3027639"/>
              <a:ext cx="110586" cy="185394"/>
            </a:xfrm>
            <a:custGeom>
              <a:avLst/>
              <a:gdLst>
                <a:gd name="T0" fmla="*/ 0 w 33"/>
                <a:gd name="T1" fmla="*/ 39 h 55"/>
                <a:gd name="T2" fmla="*/ 11 w 33"/>
                <a:gd name="T3" fmla="*/ 51 h 55"/>
                <a:gd name="T4" fmla="*/ 31 w 33"/>
                <a:gd name="T5" fmla="*/ 18 h 55"/>
                <a:gd name="T6" fmla="*/ 6 w 33"/>
                <a:gd name="T7" fmla="*/ 16 h 55"/>
                <a:gd name="T8" fmla="*/ 0 w 33"/>
                <a:gd name="T9" fmla="*/ 39 h 55"/>
              </a:gdLst>
              <a:ahLst/>
              <a:cxnLst>
                <a:cxn ang="0">
                  <a:pos x="T0" y="T1"/>
                </a:cxn>
                <a:cxn ang="0">
                  <a:pos x="T2" y="T3"/>
                </a:cxn>
                <a:cxn ang="0">
                  <a:pos x="T4" y="T5"/>
                </a:cxn>
                <a:cxn ang="0">
                  <a:pos x="T6" y="T7"/>
                </a:cxn>
                <a:cxn ang="0">
                  <a:pos x="T8" y="T9"/>
                </a:cxn>
              </a:cxnLst>
              <a:rect l="0" t="0" r="r" b="b"/>
              <a:pathLst>
                <a:path w="33" h="55">
                  <a:moveTo>
                    <a:pt x="0" y="39"/>
                  </a:moveTo>
                  <a:cubicBezTo>
                    <a:pt x="0" y="39"/>
                    <a:pt x="4" y="46"/>
                    <a:pt x="11" y="51"/>
                  </a:cubicBezTo>
                  <a:cubicBezTo>
                    <a:pt x="17" y="55"/>
                    <a:pt x="29" y="36"/>
                    <a:pt x="31" y="18"/>
                  </a:cubicBezTo>
                  <a:cubicBezTo>
                    <a:pt x="33" y="0"/>
                    <a:pt x="6" y="16"/>
                    <a:pt x="6" y="16"/>
                  </a:cubicBezTo>
                  <a:lnTo>
                    <a:pt x="0" y="39"/>
                  </a:lnTo>
                  <a:close/>
                </a:path>
              </a:pathLst>
            </a:custGeom>
            <a:solidFill>
              <a:srgbClr val="EDB6B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3" name="任意多边形: 形状 314"/>
            <p:cNvSpPr/>
            <p:nvPr/>
          </p:nvSpPr>
          <p:spPr bwMode="auto">
            <a:xfrm>
              <a:off x="9964881" y="2819650"/>
              <a:ext cx="505592" cy="309928"/>
            </a:xfrm>
            <a:custGeom>
              <a:avLst/>
              <a:gdLst>
                <a:gd name="connsiteX0" fmla="*/ 213912 w 493539"/>
                <a:gd name="connsiteY0" fmla="*/ 408 h 302540"/>
                <a:gd name="connsiteX1" fmla="*/ 407978 w 493539"/>
                <a:gd name="connsiteY1" fmla="*/ 64290 h 302540"/>
                <a:gd name="connsiteX2" fmla="*/ 413349 w 493539"/>
                <a:gd name="connsiteY2" fmla="*/ 69212 h 302540"/>
                <a:gd name="connsiteX3" fmla="*/ 403489 w 493539"/>
                <a:gd name="connsiteY3" fmla="*/ 42845 h 302540"/>
                <a:gd name="connsiteX4" fmla="*/ 403895 w 493539"/>
                <a:gd name="connsiteY4" fmla="*/ 28506 h 302540"/>
                <a:gd name="connsiteX5" fmla="*/ 441881 w 493539"/>
                <a:gd name="connsiteY5" fmla="*/ 87500 h 302540"/>
                <a:gd name="connsiteX6" fmla="*/ 440403 w 493539"/>
                <a:gd name="connsiteY6" fmla="*/ 98183 h 302540"/>
                <a:gd name="connsiteX7" fmla="*/ 441075 w 493539"/>
                <a:gd name="connsiteY7" fmla="*/ 98223 h 302540"/>
                <a:gd name="connsiteX8" fmla="*/ 441106 w 493539"/>
                <a:gd name="connsiteY8" fmla="*/ 97966 h 302540"/>
                <a:gd name="connsiteX9" fmla="*/ 446971 w 493539"/>
                <a:gd name="connsiteY9" fmla="*/ 98378 h 302540"/>
                <a:gd name="connsiteX10" fmla="*/ 447099 w 493539"/>
                <a:gd name="connsiteY10" fmla="*/ 98577 h 302540"/>
                <a:gd name="connsiteX11" fmla="*/ 464940 w 493539"/>
                <a:gd name="connsiteY11" fmla="*/ 99624 h 302540"/>
                <a:gd name="connsiteX12" fmla="*/ 489656 w 493539"/>
                <a:gd name="connsiteY12" fmla="*/ 127661 h 302540"/>
                <a:gd name="connsiteX13" fmla="*/ 457608 w 493539"/>
                <a:gd name="connsiteY13" fmla="*/ 110290 h 302540"/>
                <a:gd name="connsiteX14" fmla="*/ 453816 w 493539"/>
                <a:gd name="connsiteY14" fmla="*/ 109002 h 302540"/>
                <a:gd name="connsiteX15" fmla="*/ 458596 w 493539"/>
                <a:gd name="connsiteY15" fmla="*/ 116420 h 302540"/>
                <a:gd name="connsiteX16" fmla="*/ 467079 w 493539"/>
                <a:gd name="connsiteY16" fmla="*/ 184153 h 302540"/>
                <a:gd name="connsiteX17" fmla="*/ 440268 w 493539"/>
                <a:gd name="connsiteY17" fmla="*/ 293021 h 302540"/>
                <a:gd name="connsiteX18" fmla="*/ 396699 w 493539"/>
                <a:gd name="connsiteY18" fmla="*/ 289722 h 302540"/>
                <a:gd name="connsiteX19" fmla="*/ 389996 w 493539"/>
                <a:gd name="connsiteY19" fmla="*/ 243536 h 302540"/>
                <a:gd name="connsiteX20" fmla="*/ 381151 w 493539"/>
                <a:gd name="connsiteY20" fmla="*/ 178233 h 302540"/>
                <a:gd name="connsiteX21" fmla="*/ 370547 w 493539"/>
                <a:gd name="connsiteY21" fmla="*/ 180926 h 302540"/>
                <a:gd name="connsiteX22" fmla="*/ 360648 w 493539"/>
                <a:gd name="connsiteY22" fmla="*/ 134766 h 302540"/>
                <a:gd name="connsiteX23" fmla="*/ 109868 w 493539"/>
                <a:gd name="connsiteY23" fmla="*/ 164440 h 302540"/>
                <a:gd name="connsiteX24" fmla="*/ 96585 w 493539"/>
                <a:gd name="connsiteY24" fmla="*/ 127695 h 302540"/>
                <a:gd name="connsiteX25" fmla="*/ 97260 w 493539"/>
                <a:gd name="connsiteY25" fmla="*/ 127533 h 302540"/>
                <a:gd name="connsiteX26" fmla="*/ 151785 w 493539"/>
                <a:gd name="connsiteY26" fmla="*/ 124566 h 302540"/>
                <a:gd name="connsiteX27" fmla="*/ 182462 w 493539"/>
                <a:gd name="connsiteY27" fmla="*/ 121578 h 302540"/>
                <a:gd name="connsiteX28" fmla="*/ 115230 w 493539"/>
                <a:gd name="connsiteY28" fmla="*/ 123226 h 302540"/>
                <a:gd name="connsiteX29" fmla="*/ 97260 w 493539"/>
                <a:gd name="connsiteY29" fmla="*/ 127533 h 302540"/>
                <a:gd name="connsiteX30" fmla="*/ 85532 w 493539"/>
                <a:gd name="connsiteY30" fmla="*/ 128172 h 302540"/>
                <a:gd name="connsiteX31" fmla="*/ 976 w 493539"/>
                <a:gd name="connsiteY31" fmla="*/ 105092 h 302540"/>
                <a:gd name="connsiteX32" fmla="*/ 95844 w 493539"/>
                <a:gd name="connsiteY32" fmla="*/ 62229 h 302540"/>
                <a:gd name="connsiteX33" fmla="*/ 145732 w 493539"/>
                <a:gd name="connsiteY33" fmla="*/ 59690 h 302540"/>
                <a:gd name="connsiteX34" fmla="*/ 168026 w 493539"/>
                <a:gd name="connsiteY34" fmla="*/ 63466 h 302540"/>
                <a:gd name="connsiteX35" fmla="*/ 284754 w 493539"/>
                <a:gd name="connsiteY35" fmla="*/ 68824 h 302540"/>
                <a:gd name="connsiteX36" fmla="*/ 182874 w 493539"/>
                <a:gd name="connsiteY36" fmla="*/ 57799 h 302540"/>
                <a:gd name="connsiteX37" fmla="*/ 145732 w 493539"/>
                <a:gd name="connsiteY37" fmla="*/ 59690 h 302540"/>
                <a:gd name="connsiteX38" fmla="*/ 132173 w 493539"/>
                <a:gd name="connsiteY38" fmla="*/ 57393 h 302540"/>
                <a:gd name="connsiteX39" fmla="*/ 123067 w 493539"/>
                <a:gd name="connsiteY39" fmla="*/ 16070 h 302540"/>
                <a:gd name="connsiteX40" fmla="*/ 213912 w 493539"/>
                <a:gd name="connsiteY40" fmla="*/ 408 h 30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93539" h="302540">
                  <a:moveTo>
                    <a:pt x="213912" y="408"/>
                  </a:moveTo>
                  <a:cubicBezTo>
                    <a:pt x="283413" y="4118"/>
                    <a:pt x="363225" y="32555"/>
                    <a:pt x="407978" y="64290"/>
                  </a:cubicBezTo>
                  <a:lnTo>
                    <a:pt x="413349" y="69212"/>
                  </a:lnTo>
                  <a:lnTo>
                    <a:pt x="403489" y="42845"/>
                  </a:lnTo>
                  <a:cubicBezTo>
                    <a:pt x="401048" y="34242"/>
                    <a:pt x="400641" y="28506"/>
                    <a:pt x="403895" y="28506"/>
                  </a:cubicBezTo>
                  <a:cubicBezTo>
                    <a:pt x="416099" y="26048"/>
                    <a:pt x="439287" y="51243"/>
                    <a:pt x="441881" y="87500"/>
                  </a:cubicBezTo>
                  <a:lnTo>
                    <a:pt x="440403" y="98183"/>
                  </a:lnTo>
                  <a:lnTo>
                    <a:pt x="441075" y="98223"/>
                  </a:lnTo>
                  <a:lnTo>
                    <a:pt x="441106" y="97966"/>
                  </a:lnTo>
                  <a:cubicBezTo>
                    <a:pt x="442781" y="96729"/>
                    <a:pt x="445295" y="96729"/>
                    <a:pt x="446971" y="98378"/>
                  </a:cubicBezTo>
                  <a:lnTo>
                    <a:pt x="447099" y="98577"/>
                  </a:lnTo>
                  <a:lnTo>
                    <a:pt x="464940" y="99624"/>
                  </a:lnTo>
                  <a:cubicBezTo>
                    <a:pt x="484629" y="102469"/>
                    <a:pt x="501386" y="109782"/>
                    <a:pt x="489656" y="127661"/>
                  </a:cubicBezTo>
                  <a:cubicBezTo>
                    <a:pt x="477089" y="152041"/>
                    <a:pt x="481487" y="127051"/>
                    <a:pt x="457608" y="110290"/>
                  </a:cubicBezTo>
                  <a:lnTo>
                    <a:pt x="453816" y="109002"/>
                  </a:lnTo>
                  <a:lnTo>
                    <a:pt x="458596" y="116420"/>
                  </a:lnTo>
                  <a:cubicBezTo>
                    <a:pt x="467079" y="137142"/>
                    <a:pt x="467079" y="164359"/>
                    <a:pt x="467079" y="184153"/>
                  </a:cubicBezTo>
                  <a:cubicBezTo>
                    <a:pt x="467079" y="217143"/>
                    <a:pt x="463728" y="266629"/>
                    <a:pt x="440268" y="293021"/>
                  </a:cubicBezTo>
                  <a:cubicBezTo>
                    <a:pt x="430214" y="306217"/>
                    <a:pt x="410105" y="306217"/>
                    <a:pt x="396699" y="289722"/>
                  </a:cubicBezTo>
                  <a:cubicBezTo>
                    <a:pt x="389996" y="279825"/>
                    <a:pt x="389996" y="256732"/>
                    <a:pt x="389996" y="243536"/>
                  </a:cubicBezTo>
                  <a:lnTo>
                    <a:pt x="381151" y="178233"/>
                  </a:lnTo>
                  <a:lnTo>
                    <a:pt x="370547" y="180926"/>
                  </a:lnTo>
                  <a:cubicBezTo>
                    <a:pt x="327650" y="177629"/>
                    <a:pt x="360648" y="134766"/>
                    <a:pt x="360648" y="134766"/>
                  </a:cubicBezTo>
                  <a:cubicBezTo>
                    <a:pt x="360648" y="134766"/>
                    <a:pt x="189061" y="220491"/>
                    <a:pt x="109868" y="164440"/>
                  </a:cubicBezTo>
                  <a:cubicBezTo>
                    <a:pt x="78933" y="144657"/>
                    <a:pt x="81407" y="133684"/>
                    <a:pt x="96585" y="127695"/>
                  </a:cubicBezTo>
                  <a:lnTo>
                    <a:pt x="97260" y="127533"/>
                  </a:lnTo>
                  <a:lnTo>
                    <a:pt x="151785" y="124566"/>
                  </a:lnTo>
                  <a:cubicBezTo>
                    <a:pt x="170088" y="123020"/>
                    <a:pt x="182462" y="121578"/>
                    <a:pt x="182462" y="121578"/>
                  </a:cubicBezTo>
                  <a:cubicBezTo>
                    <a:pt x="182462" y="121578"/>
                    <a:pt x="143690" y="119105"/>
                    <a:pt x="115230" y="123226"/>
                  </a:cubicBezTo>
                  <a:lnTo>
                    <a:pt x="97260" y="127533"/>
                  </a:lnTo>
                  <a:lnTo>
                    <a:pt x="85532" y="128172"/>
                  </a:lnTo>
                  <a:cubicBezTo>
                    <a:pt x="38098" y="128996"/>
                    <a:pt x="-7273" y="124875"/>
                    <a:pt x="976" y="105092"/>
                  </a:cubicBezTo>
                  <a:cubicBezTo>
                    <a:pt x="9226" y="85309"/>
                    <a:pt x="44698" y="69648"/>
                    <a:pt x="95844" y="62229"/>
                  </a:cubicBezTo>
                  <a:lnTo>
                    <a:pt x="145732" y="59690"/>
                  </a:lnTo>
                  <a:lnTo>
                    <a:pt x="168026" y="63466"/>
                  </a:lnTo>
                  <a:cubicBezTo>
                    <a:pt x="220409" y="69648"/>
                    <a:pt x="284754" y="68824"/>
                    <a:pt x="284754" y="68824"/>
                  </a:cubicBezTo>
                  <a:cubicBezTo>
                    <a:pt x="249282" y="62229"/>
                    <a:pt x="214841" y="58726"/>
                    <a:pt x="182874" y="57799"/>
                  </a:cubicBezTo>
                  <a:lnTo>
                    <a:pt x="145732" y="59690"/>
                  </a:lnTo>
                  <a:lnTo>
                    <a:pt x="132173" y="57393"/>
                  </a:lnTo>
                  <a:cubicBezTo>
                    <a:pt x="100948" y="49762"/>
                    <a:pt x="87182" y="37089"/>
                    <a:pt x="123067" y="16070"/>
                  </a:cubicBezTo>
                  <a:cubicBezTo>
                    <a:pt x="146990" y="2881"/>
                    <a:pt x="179162" y="-1446"/>
                    <a:pt x="213912" y="408"/>
                  </a:cubicBez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zh-CN" altLang="en-US"/>
            </a:p>
          </p:txBody>
        </p:sp>
        <p:sp>
          <p:nvSpPr>
            <p:cNvPr id="374" name="Freeform 138"/>
            <p:cNvSpPr/>
            <p:nvPr/>
          </p:nvSpPr>
          <p:spPr bwMode="auto">
            <a:xfrm>
              <a:off x="10131122" y="3243932"/>
              <a:ext cx="134981" cy="65051"/>
            </a:xfrm>
            <a:custGeom>
              <a:avLst/>
              <a:gdLst>
                <a:gd name="T0" fmla="*/ 0 w 40"/>
                <a:gd name="T1" fmla="*/ 0 h 19"/>
                <a:gd name="T2" fmla="*/ 40 w 40"/>
                <a:gd name="T3" fmla="*/ 2 h 19"/>
                <a:gd name="T4" fmla="*/ 22 w 40"/>
                <a:gd name="T5" fmla="*/ 18 h 19"/>
                <a:gd name="T6" fmla="*/ 0 w 40"/>
                <a:gd name="T7" fmla="*/ 0 h 19"/>
              </a:gdLst>
              <a:ahLst/>
              <a:cxnLst>
                <a:cxn ang="0">
                  <a:pos x="T0" y="T1"/>
                </a:cxn>
                <a:cxn ang="0">
                  <a:pos x="T2" y="T3"/>
                </a:cxn>
                <a:cxn ang="0">
                  <a:pos x="T4" y="T5"/>
                </a:cxn>
                <a:cxn ang="0">
                  <a:pos x="T6" y="T7"/>
                </a:cxn>
              </a:cxnLst>
              <a:rect l="0" t="0" r="r" b="b"/>
              <a:pathLst>
                <a:path w="40" h="19">
                  <a:moveTo>
                    <a:pt x="0" y="0"/>
                  </a:moveTo>
                  <a:cubicBezTo>
                    <a:pt x="40" y="2"/>
                    <a:pt x="40" y="2"/>
                    <a:pt x="40" y="2"/>
                  </a:cubicBezTo>
                  <a:cubicBezTo>
                    <a:pt x="40" y="2"/>
                    <a:pt x="36" y="18"/>
                    <a:pt x="22" y="18"/>
                  </a:cubicBezTo>
                  <a:cubicBezTo>
                    <a:pt x="7" y="19"/>
                    <a:pt x="0" y="0"/>
                    <a:pt x="0" y="0"/>
                  </a:cubicBezTo>
                  <a:close/>
                </a:path>
              </a:pathLst>
            </a:custGeom>
            <a:solidFill>
              <a:srgbClr val="7F33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5" name="Freeform 139"/>
            <p:cNvSpPr/>
            <p:nvPr/>
          </p:nvSpPr>
          <p:spPr bwMode="auto">
            <a:xfrm>
              <a:off x="10152264" y="3243932"/>
              <a:ext cx="97575" cy="30899"/>
            </a:xfrm>
            <a:custGeom>
              <a:avLst/>
              <a:gdLst>
                <a:gd name="T0" fmla="*/ 0 w 29"/>
                <a:gd name="T1" fmla="*/ 0 h 9"/>
                <a:gd name="T2" fmla="*/ 14 w 29"/>
                <a:gd name="T3" fmla="*/ 9 h 9"/>
                <a:gd name="T4" fmla="*/ 29 w 29"/>
                <a:gd name="T5" fmla="*/ 2 h 9"/>
                <a:gd name="T6" fmla="*/ 0 w 29"/>
                <a:gd name="T7" fmla="*/ 0 h 9"/>
              </a:gdLst>
              <a:ahLst/>
              <a:cxnLst>
                <a:cxn ang="0">
                  <a:pos x="T0" y="T1"/>
                </a:cxn>
                <a:cxn ang="0">
                  <a:pos x="T2" y="T3"/>
                </a:cxn>
                <a:cxn ang="0">
                  <a:pos x="T4" y="T5"/>
                </a:cxn>
                <a:cxn ang="0">
                  <a:pos x="T6" y="T7"/>
                </a:cxn>
              </a:cxnLst>
              <a:rect l="0" t="0" r="r" b="b"/>
              <a:pathLst>
                <a:path w="29" h="9">
                  <a:moveTo>
                    <a:pt x="0" y="0"/>
                  </a:moveTo>
                  <a:cubicBezTo>
                    <a:pt x="0" y="0"/>
                    <a:pt x="3" y="8"/>
                    <a:pt x="14" y="9"/>
                  </a:cubicBezTo>
                  <a:cubicBezTo>
                    <a:pt x="26" y="9"/>
                    <a:pt x="29" y="2"/>
                    <a:pt x="29" y="2"/>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6" name="Freeform 140"/>
            <p:cNvSpPr/>
            <p:nvPr/>
          </p:nvSpPr>
          <p:spPr bwMode="auto">
            <a:xfrm>
              <a:off x="9500131" y="4136752"/>
              <a:ext cx="874932" cy="533415"/>
            </a:xfrm>
            <a:custGeom>
              <a:avLst/>
              <a:gdLst>
                <a:gd name="T0" fmla="*/ 244 w 259"/>
                <a:gd name="T1" fmla="*/ 158 h 158"/>
                <a:gd name="T2" fmla="*/ 32 w 259"/>
                <a:gd name="T3" fmla="*/ 158 h 158"/>
                <a:gd name="T4" fmla="*/ 18 w 259"/>
                <a:gd name="T5" fmla="*/ 146 h 158"/>
                <a:gd name="T6" fmla="*/ 1 w 259"/>
                <a:gd name="T7" fmla="*/ 16 h 158"/>
                <a:gd name="T8" fmla="*/ 15 w 259"/>
                <a:gd name="T9" fmla="*/ 0 h 158"/>
                <a:gd name="T10" fmla="*/ 227 w 259"/>
                <a:gd name="T11" fmla="*/ 0 h 158"/>
                <a:gd name="T12" fmla="*/ 241 w 259"/>
                <a:gd name="T13" fmla="*/ 12 h 158"/>
                <a:gd name="T14" fmla="*/ 258 w 259"/>
                <a:gd name="T15" fmla="*/ 142 h 158"/>
                <a:gd name="T16" fmla="*/ 244 w 259"/>
                <a:gd name="T1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9" h="158">
                  <a:moveTo>
                    <a:pt x="244" y="158"/>
                  </a:moveTo>
                  <a:cubicBezTo>
                    <a:pt x="32" y="158"/>
                    <a:pt x="32" y="158"/>
                    <a:pt x="32" y="158"/>
                  </a:cubicBezTo>
                  <a:cubicBezTo>
                    <a:pt x="25" y="158"/>
                    <a:pt x="19" y="153"/>
                    <a:pt x="18" y="146"/>
                  </a:cubicBezTo>
                  <a:cubicBezTo>
                    <a:pt x="1" y="16"/>
                    <a:pt x="1" y="16"/>
                    <a:pt x="1" y="16"/>
                  </a:cubicBezTo>
                  <a:cubicBezTo>
                    <a:pt x="0" y="7"/>
                    <a:pt x="7" y="0"/>
                    <a:pt x="15" y="0"/>
                  </a:cubicBezTo>
                  <a:cubicBezTo>
                    <a:pt x="227" y="0"/>
                    <a:pt x="227" y="0"/>
                    <a:pt x="227" y="0"/>
                  </a:cubicBezTo>
                  <a:cubicBezTo>
                    <a:pt x="234" y="0"/>
                    <a:pt x="240" y="5"/>
                    <a:pt x="241" y="12"/>
                  </a:cubicBezTo>
                  <a:cubicBezTo>
                    <a:pt x="258" y="142"/>
                    <a:pt x="258" y="142"/>
                    <a:pt x="258" y="142"/>
                  </a:cubicBezTo>
                  <a:cubicBezTo>
                    <a:pt x="259" y="151"/>
                    <a:pt x="252" y="158"/>
                    <a:pt x="244" y="158"/>
                  </a:cubicBezTo>
                  <a:close/>
                </a:path>
              </a:pathLst>
            </a:custGeom>
            <a:solidFill>
              <a:srgbClr val="C2E1F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7" name="Oval 141"/>
            <p:cNvSpPr/>
            <p:nvPr/>
          </p:nvSpPr>
          <p:spPr bwMode="auto">
            <a:xfrm>
              <a:off x="9867667" y="4335157"/>
              <a:ext cx="134981" cy="134981"/>
            </a:xfrm>
            <a:prstGeom prst="ellipse">
              <a:avLst/>
            </a:prstGeom>
            <a:solidFill>
              <a:srgbClr val="F9F9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8" name="Freeform 142"/>
            <p:cNvSpPr/>
            <p:nvPr/>
          </p:nvSpPr>
          <p:spPr bwMode="auto">
            <a:xfrm>
              <a:off x="9748949" y="3811499"/>
              <a:ext cx="203284" cy="237436"/>
            </a:xfrm>
            <a:custGeom>
              <a:avLst/>
              <a:gdLst>
                <a:gd name="T0" fmla="*/ 0 w 125"/>
                <a:gd name="T1" fmla="*/ 0 h 146"/>
                <a:gd name="T2" fmla="*/ 104 w 125"/>
                <a:gd name="T3" fmla="*/ 146 h 146"/>
                <a:gd name="T4" fmla="*/ 125 w 125"/>
                <a:gd name="T5" fmla="*/ 123 h 146"/>
                <a:gd name="T6" fmla="*/ 19 w 125"/>
                <a:gd name="T7" fmla="*/ 19 h 146"/>
                <a:gd name="T8" fmla="*/ 0 w 125"/>
                <a:gd name="T9" fmla="*/ 0 h 146"/>
              </a:gdLst>
              <a:ahLst/>
              <a:cxnLst>
                <a:cxn ang="0">
                  <a:pos x="T0" y="T1"/>
                </a:cxn>
                <a:cxn ang="0">
                  <a:pos x="T2" y="T3"/>
                </a:cxn>
                <a:cxn ang="0">
                  <a:pos x="T4" y="T5"/>
                </a:cxn>
                <a:cxn ang="0">
                  <a:pos x="T6" y="T7"/>
                </a:cxn>
                <a:cxn ang="0">
                  <a:pos x="T8" y="T9"/>
                </a:cxn>
              </a:cxnLst>
              <a:rect l="0" t="0" r="r" b="b"/>
              <a:pathLst>
                <a:path w="125" h="146">
                  <a:moveTo>
                    <a:pt x="0" y="0"/>
                  </a:moveTo>
                  <a:lnTo>
                    <a:pt x="104" y="146"/>
                  </a:lnTo>
                  <a:lnTo>
                    <a:pt x="125" y="123"/>
                  </a:lnTo>
                  <a:lnTo>
                    <a:pt x="19" y="19"/>
                  </a:lnTo>
                  <a:lnTo>
                    <a:pt x="0" y="0"/>
                  </a:lnTo>
                  <a:close/>
                </a:path>
              </a:pathLst>
            </a:custGeom>
            <a:solidFill>
              <a:srgbClr val="E79D9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9" name="Freeform 143"/>
            <p:cNvSpPr/>
            <p:nvPr/>
          </p:nvSpPr>
          <p:spPr bwMode="auto">
            <a:xfrm>
              <a:off x="9748949" y="3811499"/>
              <a:ext cx="203284" cy="237436"/>
            </a:xfrm>
            <a:custGeom>
              <a:avLst/>
              <a:gdLst>
                <a:gd name="T0" fmla="*/ 0 w 125"/>
                <a:gd name="T1" fmla="*/ 0 h 146"/>
                <a:gd name="T2" fmla="*/ 104 w 125"/>
                <a:gd name="T3" fmla="*/ 146 h 146"/>
                <a:gd name="T4" fmla="*/ 125 w 125"/>
                <a:gd name="T5" fmla="*/ 123 h 146"/>
                <a:gd name="T6" fmla="*/ 19 w 125"/>
                <a:gd name="T7" fmla="*/ 19 h 146"/>
                <a:gd name="T8" fmla="*/ 0 w 125"/>
                <a:gd name="T9" fmla="*/ 0 h 146"/>
              </a:gdLst>
              <a:ahLst/>
              <a:cxnLst>
                <a:cxn ang="0">
                  <a:pos x="T0" y="T1"/>
                </a:cxn>
                <a:cxn ang="0">
                  <a:pos x="T2" y="T3"/>
                </a:cxn>
                <a:cxn ang="0">
                  <a:pos x="T4" y="T5"/>
                </a:cxn>
                <a:cxn ang="0">
                  <a:pos x="T6" y="T7"/>
                </a:cxn>
                <a:cxn ang="0">
                  <a:pos x="T8" y="T9"/>
                </a:cxn>
              </a:cxnLst>
              <a:rect l="0" t="0" r="r" b="b"/>
              <a:pathLst>
                <a:path w="125" h="146">
                  <a:moveTo>
                    <a:pt x="0" y="0"/>
                  </a:moveTo>
                  <a:lnTo>
                    <a:pt x="104" y="146"/>
                  </a:lnTo>
                  <a:lnTo>
                    <a:pt x="125" y="123"/>
                  </a:lnTo>
                  <a:lnTo>
                    <a:pt x="19" y="1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0" name="Freeform 144"/>
            <p:cNvSpPr/>
            <p:nvPr/>
          </p:nvSpPr>
          <p:spPr bwMode="auto">
            <a:xfrm>
              <a:off x="11087367" y="3952983"/>
              <a:ext cx="4879" cy="14637"/>
            </a:xfrm>
            <a:custGeom>
              <a:avLst/>
              <a:gdLst>
                <a:gd name="T0" fmla="*/ 0 w 3"/>
                <a:gd name="T1" fmla="*/ 0 h 9"/>
                <a:gd name="T2" fmla="*/ 3 w 3"/>
                <a:gd name="T3" fmla="*/ 9 h 9"/>
                <a:gd name="T4" fmla="*/ 3 w 3"/>
                <a:gd name="T5" fmla="*/ 9 h 9"/>
                <a:gd name="T6" fmla="*/ 0 w 3"/>
                <a:gd name="T7" fmla="*/ 0 h 9"/>
              </a:gdLst>
              <a:ahLst/>
              <a:cxnLst>
                <a:cxn ang="0">
                  <a:pos x="T0" y="T1"/>
                </a:cxn>
                <a:cxn ang="0">
                  <a:pos x="T2" y="T3"/>
                </a:cxn>
                <a:cxn ang="0">
                  <a:pos x="T4" y="T5"/>
                </a:cxn>
                <a:cxn ang="0">
                  <a:pos x="T6" y="T7"/>
                </a:cxn>
              </a:cxnLst>
              <a:rect l="0" t="0" r="r" b="b"/>
              <a:pathLst>
                <a:path w="3" h="9">
                  <a:moveTo>
                    <a:pt x="0" y="0"/>
                  </a:moveTo>
                  <a:lnTo>
                    <a:pt x="3" y="9"/>
                  </a:lnTo>
                  <a:lnTo>
                    <a:pt x="3" y="9"/>
                  </a:lnTo>
                  <a:lnTo>
                    <a:pt x="0" y="0"/>
                  </a:lnTo>
                  <a:close/>
                </a:path>
              </a:pathLst>
            </a:custGeom>
            <a:solidFill>
              <a:srgbClr val="F9DD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1" name="Freeform 145"/>
            <p:cNvSpPr/>
            <p:nvPr/>
          </p:nvSpPr>
          <p:spPr bwMode="auto">
            <a:xfrm>
              <a:off x="11087367" y="3952983"/>
              <a:ext cx="4879" cy="14637"/>
            </a:xfrm>
            <a:custGeom>
              <a:avLst/>
              <a:gdLst>
                <a:gd name="T0" fmla="*/ 0 w 3"/>
                <a:gd name="T1" fmla="*/ 0 h 9"/>
                <a:gd name="T2" fmla="*/ 3 w 3"/>
                <a:gd name="T3" fmla="*/ 9 h 9"/>
                <a:gd name="T4" fmla="*/ 3 w 3"/>
                <a:gd name="T5" fmla="*/ 9 h 9"/>
                <a:gd name="T6" fmla="*/ 0 w 3"/>
                <a:gd name="T7" fmla="*/ 0 h 9"/>
              </a:gdLst>
              <a:ahLst/>
              <a:cxnLst>
                <a:cxn ang="0">
                  <a:pos x="T0" y="T1"/>
                </a:cxn>
                <a:cxn ang="0">
                  <a:pos x="T2" y="T3"/>
                </a:cxn>
                <a:cxn ang="0">
                  <a:pos x="T4" y="T5"/>
                </a:cxn>
                <a:cxn ang="0">
                  <a:pos x="T6" y="T7"/>
                </a:cxn>
              </a:cxnLst>
              <a:rect l="0" t="0" r="r" b="b"/>
              <a:pathLst>
                <a:path w="3" h="9">
                  <a:moveTo>
                    <a:pt x="0" y="0"/>
                  </a:moveTo>
                  <a:lnTo>
                    <a:pt x="3" y="9"/>
                  </a:lnTo>
                  <a:lnTo>
                    <a:pt x="3" y="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2" name="Freeform 146"/>
            <p:cNvSpPr/>
            <p:nvPr/>
          </p:nvSpPr>
          <p:spPr bwMode="auto">
            <a:xfrm>
              <a:off x="10753984" y="3899318"/>
              <a:ext cx="338264" cy="159374"/>
            </a:xfrm>
            <a:custGeom>
              <a:avLst/>
              <a:gdLst>
                <a:gd name="T0" fmla="*/ 197 w 208"/>
                <a:gd name="T1" fmla="*/ 0 h 98"/>
                <a:gd name="T2" fmla="*/ 139 w 208"/>
                <a:gd name="T3" fmla="*/ 29 h 98"/>
                <a:gd name="T4" fmla="*/ 0 w 208"/>
                <a:gd name="T5" fmla="*/ 98 h 98"/>
                <a:gd name="T6" fmla="*/ 208 w 208"/>
                <a:gd name="T7" fmla="*/ 42 h 98"/>
                <a:gd name="T8" fmla="*/ 205 w 208"/>
                <a:gd name="T9" fmla="*/ 33 h 98"/>
                <a:gd name="T10" fmla="*/ 197 w 208"/>
                <a:gd name="T11" fmla="*/ 0 h 98"/>
              </a:gdLst>
              <a:ahLst/>
              <a:cxnLst>
                <a:cxn ang="0">
                  <a:pos x="T0" y="T1"/>
                </a:cxn>
                <a:cxn ang="0">
                  <a:pos x="T2" y="T3"/>
                </a:cxn>
                <a:cxn ang="0">
                  <a:pos x="T4" y="T5"/>
                </a:cxn>
                <a:cxn ang="0">
                  <a:pos x="T6" y="T7"/>
                </a:cxn>
                <a:cxn ang="0">
                  <a:pos x="T8" y="T9"/>
                </a:cxn>
                <a:cxn ang="0">
                  <a:pos x="T10" y="T11"/>
                </a:cxn>
              </a:cxnLst>
              <a:rect l="0" t="0" r="r" b="b"/>
              <a:pathLst>
                <a:path w="208" h="98">
                  <a:moveTo>
                    <a:pt x="197" y="0"/>
                  </a:moveTo>
                  <a:lnTo>
                    <a:pt x="139" y="29"/>
                  </a:lnTo>
                  <a:lnTo>
                    <a:pt x="0" y="98"/>
                  </a:lnTo>
                  <a:lnTo>
                    <a:pt x="208" y="42"/>
                  </a:lnTo>
                  <a:lnTo>
                    <a:pt x="205" y="33"/>
                  </a:lnTo>
                  <a:lnTo>
                    <a:pt x="197" y="0"/>
                  </a:lnTo>
                  <a:close/>
                </a:path>
              </a:pathLst>
            </a:custGeom>
            <a:solidFill>
              <a:srgbClr val="E79D9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3" name="Freeform 147"/>
            <p:cNvSpPr/>
            <p:nvPr/>
          </p:nvSpPr>
          <p:spPr bwMode="auto">
            <a:xfrm>
              <a:off x="10753984" y="3899318"/>
              <a:ext cx="338264" cy="159374"/>
            </a:xfrm>
            <a:custGeom>
              <a:avLst/>
              <a:gdLst>
                <a:gd name="T0" fmla="*/ 197 w 208"/>
                <a:gd name="T1" fmla="*/ 0 h 98"/>
                <a:gd name="T2" fmla="*/ 139 w 208"/>
                <a:gd name="T3" fmla="*/ 29 h 98"/>
                <a:gd name="T4" fmla="*/ 0 w 208"/>
                <a:gd name="T5" fmla="*/ 98 h 98"/>
                <a:gd name="T6" fmla="*/ 208 w 208"/>
                <a:gd name="T7" fmla="*/ 42 h 98"/>
                <a:gd name="T8" fmla="*/ 205 w 208"/>
                <a:gd name="T9" fmla="*/ 33 h 98"/>
                <a:gd name="T10" fmla="*/ 197 w 208"/>
                <a:gd name="T11" fmla="*/ 0 h 98"/>
              </a:gdLst>
              <a:ahLst/>
              <a:cxnLst>
                <a:cxn ang="0">
                  <a:pos x="T0" y="T1"/>
                </a:cxn>
                <a:cxn ang="0">
                  <a:pos x="T2" y="T3"/>
                </a:cxn>
                <a:cxn ang="0">
                  <a:pos x="T4" y="T5"/>
                </a:cxn>
                <a:cxn ang="0">
                  <a:pos x="T6" y="T7"/>
                </a:cxn>
                <a:cxn ang="0">
                  <a:pos x="T8" y="T9"/>
                </a:cxn>
                <a:cxn ang="0">
                  <a:pos x="T10" y="T11"/>
                </a:cxn>
              </a:cxnLst>
              <a:rect l="0" t="0" r="r" b="b"/>
              <a:pathLst>
                <a:path w="208" h="98">
                  <a:moveTo>
                    <a:pt x="197" y="0"/>
                  </a:moveTo>
                  <a:lnTo>
                    <a:pt x="139" y="29"/>
                  </a:lnTo>
                  <a:lnTo>
                    <a:pt x="0" y="98"/>
                  </a:lnTo>
                  <a:lnTo>
                    <a:pt x="208" y="42"/>
                  </a:lnTo>
                  <a:lnTo>
                    <a:pt x="205" y="33"/>
                  </a:lnTo>
                  <a:lnTo>
                    <a:pt x="19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4" name="Freeform 148"/>
            <p:cNvSpPr/>
            <p:nvPr/>
          </p:nvSpPr>
          <p:spPr bwMode="auto">
            <a:xfrm>
              <a:off x="10980034" y="3899318"/>
              <a:ext cx="94323" cy="47162"/>
            </a:xfrm>
            <a:custGeom>
              <a:avLst/>
              <a:gdLst>
                <a:gd name="T0" fmla="*/ 58 w 58"/>
                <a:gd name="T1" fmla="*/ 0 h 29"/>
                <a:gd name="T2" fmla="*/ 0 w 58"/>
                <a:gd name="T3" fmla="*/ 29 h 29"/>
                <a:gd name="T4" fmla="*/ 58 w 58"/>
                <a:gd name="T5" fmla="*/ 0 h 29"/>
                <a:gd name="T6" fmla="*/ 58 w 58"/>
                <a:gd name="T7" fmla="*/ 0 h 29"/>
              </a:gdLst>
              <a:ahLst/>
              <a:cxnLst>
                <a:cxn ang="0">
                  <a:pos x="T0" y="T1"/>
                </a:cxn>
                <a:cxn ang="0">
                  <a:pos x="T2" y="T3"/>
                </a:cxn>
                <a:cxn ang="0">
                  <a:pos x="T4" y="T5"/>
                </a:cxn>
                <a:cxn ang="0">
                  <a:pos x="T6" y="T7"/>
                </a:cxn>
              </a:cxnLst>
              <a:rect l="0" t="0" r="r" b="b"/>
              <a:pathLst>
                <a:path w="58" h="29">
                  <a:moveTo>
                    <a:pt x="58" y="0"/>
                  </a:moveTo>
                  <a:lnTo>
                    <a:pt x="0" y="29"/>
                  </a:lnTo>
                  <a:lnTo>
                    <a:pt x="58" y="0"/>
                  </a:lnTo>
                  <a:lnTo>
                    <a:pt x="58" y="0"/>
                  </a:lnTo>
                  <a:close/>
                </a:path>
              </a:pathLst>
            </a:custGeom>
            <a:solidFill>
              <a:srgbClr val="83A6C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5" name="Freeform 149"/>
            <p:cNvSpPr/>
            <p:nvPr/>
          </p:nvSpPr>
          <p:spPr bwMode="auto">
            <a:xfrm>
              <a:off x="10980034" y="3899318"/>
              <a:ext cx="94323" cy="47162"/>
            </a:xfrm>
            <a:custGeom>
              <a:avLst/>
              <a:gdLst>
                <a:gd name="T0" fmla="*/ 58 w 58"/>
                <a:gd name="T1" fmla="*/ 0 h 29"/>
                <a:gd name="T2" fmla="*/ 0 w 58"/>
                <a:gd name="T3" fmla="*/ 29 h 29"/>
                <a:gd name="T4" fmla="*/ 58 w 58"/>
                <a:gd name="T5" fmla="*/ 0 h 29"/>
                <a:gd name="T6" fmla="*/ 58 w 58"/>
                <a:gd name="T7" fmla="*/ 0 h 29"/>
              </a:gdLst>
              <a:ahLst/>
              <a:cxnLst>
                <a:cxn ang="0">
                  <a:pos x="T0" y="T1"/>
                </a:cxn>
                <a:cxn ang="0">
                  <a:pos x="T2" y="T3"/>
                </a:cxn>
                <a:cxn ang="0">
                  <a:pos x="T4" y="T5"/>
                </a:cxn>
                <a:cxn ang="0">
                  <a:pos x="T6" y="T7"/>
                </a:cxn>
              </a:cxnLst>
              <a:rect l="0" t="0" r="r" b="b"/>
              <a:pathLst>
                <a:path w="58" h="29">
                  <a:moveTo>
                    <a:pt x="58" y="0"/>
                  </a:moveTo>
                  <a:lnTo>
                    <a:pt x="0" y="29"/>
                  </a:lnTo>
                  <a:lnTo>
                    <a:pt x="58" y="0"/>
                  </a:lnTo>
                  <a:lnTo>
                    <a:pt x="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6" name="Freeform 156"/>
            <p:cNvSpPr/>
            <p:nvPr/>
          </p:nvSpPr>
          <p:spPr bwMode="auto">
            <a:xfrm>
              <a:off x="7491691" y="3149607"/>
              <a:ext cx="1429490" cy="736699"/>
            </a:xfrm>
            <a:custGeom>
              <a:avLst/>
              <a:gdLst>
                <a:gd name="T0" fmla="*/ 439 w 879"/>
                <a:gd name="T1" fmla="*/ 0 h 453"/>
                <a:gd name="T2" fmla="*/ 432 w 879"/>
                <a:gd name="T3" fmla="*/ 0 h 453"/>
                <a:gd name="T4" fmla="*/ 0 w 879"/>
                <a:gd name="T5" fmla="*/ 0 h 453"/>
                <a:gd name="T6" fmla="*/ 152 w 879"/>
                <a:gd name="T7" fmla="*/ 453 h 453"/>
                <a:gd name="T8" fmla="*/ 432 w 879"/>
                <a:gd name="T9" fmla="*/ 453 h 453"/>
                <a:gd name="T10" fmla="*/ 439 w 879"/>
                <a:gd name="T11" fmla="*/ 453 h 453"/>
                <a:gd name="T12" fmla="*/ 719 w 879"/>
                <a:gd name="T13" fmla="*/ 453 h 453"/>
                <a:gd name="T14" fmla="*/ 879 w 879"/>
                <a:gd name="T15" fmla="*/ 0 h 453"/>
                <a:gd name="T16" fmla="*/ 439 w 879"/>
                <a:gd name="T17" fmla="*/ 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9" h="453">
                  <a:moveTo>
                    <a:pt x="439" y="0"/>
                  </a:moveTo>
                  <a:lnTo>
                    <a:pt x="432" y="0"/>
                  </a:lnTo>
                  <a:lnTo>
                    <a:pt x="0" y="0"/>
                  </a:lnTo>
                  <a:lnTo>
                    <a:pt x="152" y="453"/>
                  </a:lnTo>
                  <a:lnTo>
                    <a:pt x="432" y="453"/>
                  </a:lnTo>
                  <a:lnTo>
                    <a:pt x="439" y="453"/>
                  </a:lnTo>
                  <a:lnTo>
                    <a:pt x="719" y="453"/>
                  </a:lnTo>
                  <a:lnTo>
                    <a:pt x="879" y="0"/>
                  </a:lnTo>
                  <a:lnTo>
                    <a:pt x="43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7" name="Freeform 157"/>
            <p:cNvSpPr/>
            <p:nvPr/>
          </p:nvSpPr>
          <p:spPr bwMode="auto">
            <a:xfrm>
              <a:off x="7698226" y="3839145"/>
              <a:ext cx="1018044" cy="408194"/>
            </a:xfrm>
            <a:custGeom>
              <a:avLst/>
              <a:gdLst>
                <a:gd name="T0" fmla="*/ 314 w 626"/>
                <a:gd name="T1" fmla="*/ 0 h 251"/>
                <a:gd name="T2" fmla="*/ 310 w 626"/>
                <a:gd name="T3" fmla="*/ 0 h 251"/>
                <a:gd name="T4" fmla="*/ 0 w 626"/>
                <a:gd name="T5" fmla="*/ 0 h 251"/>
                <a:gd name="T6" fmla="*/ 81 w 626"/>
                <a:gd name="T7" fmla="*/ 251 h 251"/>
                <a:gd name="T8" fmla="*/ 310 w 626"/>
                <a:gd name="T9" fmla="*/ 251 h 251"/>
                <a:gd name="T10" fmla="*/ 314 w 626"/>
                <a:gd name="T11" fmla="*/ 251 h 251"/>
                <a:gd name="T12" fmla="*/ 542 w 626"/>
                <a:gd name="T13" fmla="*/ 251 h 251"/>
                <a:gd name="T14" fmla="*/ 626 w 626"/>
                <a:gd name="T15" fmla="*/ 0 h 251"/>
                <a:gd name="T16" fmla="*/ 314 w 626"/>
                <a:gd name="T17"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6" h="251">
                  <a:moveTo>
                    <a:pt x="314" y="0"/>
                  </a:moveTo>
                  <a:lnTo>
                    <a:pt x="310" y="0"/>
                  </a:lnTo>
                  <a:lnTo>
                    <a:pt x="0" y="0"/>
                  </a:lnTo>
                  <a:lnTo>
                    <a:pt x="81" y="251"/>
                  </a:lnTo>
                  <a:lnTo>
                    <a:pt x="310" y="251"/>
                  </a:lnTo>
                  <a:lnTo>
                    <a:pt x="314" y="251"/>
                  </a:lnTo>
                  <a:lnTo>
                    <a:pt x="542" y="251"/>
                  </a:lnTo>
                  <a:lnTo>
                    <a:pt x="626" y="0"/>
                  </a:lnTo>
                  <a:lnTo>
                    <a:pt x="314" y="0"/>
                  </a:ln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8" name="Freeform 158"/>
            <p:cNvSpPr/>
            <p:nvPr/>
          </p:nvSpPr>
          <p:spPr bwMode="auto">
            <a:xfrm>
              <a:off x="7698226" y="3839145"/>
              <a:ext cx="1018044" cy="408194"/>
            </a:xfrm>
            <a:custGeom>
              <a:avLst/>
              <a:gdLst>
                <a:gd name="T0" fmla="*/ 314 w 626"/>
                <a:gd name="T1" fmla="*/ 0 h 251"/>
                <a:gd name="T2" fmla="*/ 310 w 626"/>
                <a:gd name="T3" fmla="*/ 0 h 251"/>
                <a:gd name="T4" fmla="*/ 0 w 626"/>
                <a:gd name="T5" fmla="*/ 0 h 251"/>
                <a:gd name="T6" fmla="*/ 81 w 626"/>
                <a:gd name="T7" fmla="*/ 251 h 251"/>
                <a:gd name="T8" fmla="*/ 310 w 626"/>
                <a:gd name="T9" fmla="*/ 251 h 251"/>
                <a:gd name="T10" fmla="*/ 314 w 626"/>
                <a:gd name="T11" fmla="*/ 251 h 251"/>
                <a:gd name="T12" fmla="*/ 542 w 626"/>
                <a:gd name="T13" fmla="*/ 251 h 251"/>
                <a:gd name="T14" fmla="*/ 626 w 626"/>
                <a:gd name="T15" fmla="*/ 0 h 251"/>
                <a:gd name="T16" fmla="*/ 314 w 626"/>
                <a:gd name="T17"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6" h="251">
                  <a:moveTo>
                    <a:pt x="314" y="0"/>
                  </a:moveTo>
                  <a:lnTo>
                    <a:pt x="310" y="0"/>
                  </a:lnTo>
                  <a:lnTo>
                    <a:pt x="0" y="0"/>
                  </a:lnTo>
                  <a:lnTo>
                    <a:pt x="81" y="251"/>
                  </a:lnTo>
                  <a:lnTo>
                    <a:pt x="310" y="251"/>
                  </a:lnTo>
                  <a:lnTo>
                    <a:pt x="314" y="251"/>
                  </a:lnTo>
                  <a:lnTo>
                    <a:pt x="542" y="251"/>
                  </a:lnTo>
                  <a:lnTo>
                    <a:pt x="626" y="0"/>
                  </a:lnTo>
                  <a:lnTo>
                    <a:pt x="314" y="0"/>
                  </a:lnTo>
                  <a:close/>
                </a:path>
              </a:pathLst>
            </a:custGeom>
            <a:solidFill>
              <a:srgbClr val="172D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9" name="Rectangle 159"/>
            <p:cNvSpPr/>
            <p:nvPr/>
          </p:nvSpPr>
          <p:spPr bwMode="auto">
            <a:xfrm>
              <a:off x="7667328" y="3798488"/>
              <a:ext cx="1078216" cy="56921"/>
            </a:xfrm>
            <a:prstGeom prst="rect">
              <a:avLst/>
            </a:prstGeom>
            <a:solidFill>
              <a:srgbClr val="003A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90" name="Rectangle 160"/>
            <p:cNvSpPr/>
            <p:nvPr/>
          </p:nvSpPr>
          <p:spPr bwMode="auto">
            <a:xfrm>
              <a:off x="7667328" y="3798488"/>
              <a:ext cx="1078216" cy="56921"/>
            </a:xfrm>
            <a:prstGeom prst="rect">
              <a:avLst/>
            </a:prstGeom>
            <a:solidFill>
              <a:srgbClr val="003A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91" name="Rectangle 161"/>
            <p:cNvSpPr/>
            <p:nvPr/>
          </p:nvSpPr>
          <p:spPr bwMode="auto">
            <a:xfrm>
              <a:off x="7046094" y="4115610"/>
              <a:ext cx="2319056" cy="1665298"/>
            </a:xfrm>
            <a:prstGeom prst="rect">
              <a:avLst/>
            </a:prstGeom>
            <a:solidFill>
              <a:srgbClr val="003AA5"/>
            </a:solidFill>
            <a:ln w="9525">
              <a:noFill/>
              <a:miter lim="800000"/>
            </a:ln>
          </p:spPr>
          <p:txBody>
            <a:bodyPr vert="horz" wrap="square" lIns="91440" tIns="45720" rIns="91440" bIns="45720" numCol="1" anchor="t" anchorCtr="0" compatLnSpc="1"/>
            <a:lstStyle/>
            <a:p>
              <a:endParaRPr lang="zh-CN" altLang="en-US"/>
            </a:p>
          </p:txBody>
        </p:sp>
        <p:sp>
          <p:nvSpPr>
            <p:cNvPr id="392" name="Rectangle 162"/>
            <p:cNvSpPr/>
            <p:nvPr/>
          </p:nvSpPr>
          <p:spPr bwMode="auto">
            <a:xfrm>
              <a:off x="7046094" y="4115610"/>
              <a:ext cx="2319056" cy="1665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93" name="Freeform 163"/>
            <p:cNvSpPr/>
            <p:nvPr/>
          </p:nvSpPr>
          <p:spPr bwMode="auto">
            <a:xfrm>
              <a:off x="8641461" y="4774248"/>
              <a:ext cx="510648" cy="689537"/>
            </a:xfrm>
            <a:custGeom>
              <a:avLst/>
              <a:gdLst>
                <a:gd name="T0" fmla="*/ 150 w 151"/>
                <a:gd name="T1" fmla="*/ 10 h 204"/>
                <a:gd name="T2" fmla="*/ 150 w 151"/>
                <a:gd name="T3" fmla="*/ 10 h 204"/>
                <a:gd name="T4" fmla="*/ 150 w 151"/>
                <a:gd name="T5" fmla="*/ 10 h 204"/>
                <a:gd name="T6" fmla="*/ 149 w 151"/>
                <a:gd name="T7" fmla="*/ 8 h 204"/>
                <a:gd name="T8" fmla="*/ 142 w 151"/>
                <a:gd name="T9" fmla="*/ 0 h 204"/>
                <a:gd name="T10" fmla="*/ 138 w 151"/>
                <a:gd name="T11" fmla="*/ 6 h 204"/>
                <a:gd name="T12" fmla="*/ 14 w 151"/>
                <a:gd name="T13" fmla="*/ 6 h 204"/>
                <a:gd name="T14" fmla="*/ 6 w 151"/>
                <a:gd name="T15" fmla="*/ 14 h 204"/>
                <a:gd name="T16" fmla="*/ 6 w 151"/>
                <a:gd name="T17" fmla="*/ 191 h 204"/>
                <a:gd name="T18" fmla="*/ 0 w 151"/>
                <a:gd name="T19" fmla="*/ 191 h 204"/>
                <a:gd name="T20" fmla="*/ 7 w 151"/>
                <a:gd name="T21" fmla="*/ 200 h 204"/>
                <a:gd name="T22" fmla="*/ 9 w 151"/>
                <a:gd name="T23" fmla="*/ 202 h 204"/>
                <a:gd name="T24" fmla="*/ 14 w 151"/>
                <a:gd name="T25" fmla="*/ 204 h 204"/>
                <a:gd name="T26" fmla="*/ 144 w 151"/>
                <a:gd name="T27" fmla="*/ 204 h 204"/>
                <a:gd name="T28" fmla="*/ 151 w 151"/>
                <a:gd name="T29" fmla="*/ 196 h 204"/>
                <a:gd name="T30" fmla="*/ 151 w 151"/>
                <a:gd name="T31" fmla="*/ 14 h 204"/>
                <a:gd name="T32" fmla="*/ 150 w 151"/>
                <a:gd name="T33"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1" h="204">
                  <a:moveTo>
                    <a:pt x="150" y="10"/>
                  </a:moveTo>
                  <a:cubicBezTo>
                    <a:pt x="150" y="10"/>
                    <a:pt x="150" y="10"/>
                    <a:pt x="150" y="10"/>
                  </a:cubicBezTo>
                  <a:cubicBezTo>
                    <a:pt x="150" y="10"/>
                    <a:pt x="150" y="10"/>
                    <a:pt x="150" y="10"/>
                  </a:cubicBezTo>
                  <a:cubicBezTo>
                    <a:pt x="150" y="9"/>
                    <a:pt x="149" y="9"/>
                    <a:pt x="149" y="8"/>
                  </a:cubicBezTo>
                  <a:cubicBezTo>
                    <a:pt x="142" y="0"/>
                    <a:pt x="142" y="0"/>
                    <a:pt x="142" y="0"/>
                  </a:cubicBezTo>
                  <a:cubicBezTo>
                    <a:pt x="138" y="6"/>
                    <a:pt x="138" y="6"/>
                    <a:pt x="138" y="6"/>
                  </a:cubicBezTo>
                  <a:cubicBezTo>
                    <a:pt x="14" y="6"/>
                    <a:pt x="14" y="6"/>
                    <a:pt x="14" y="6"/>
                  </a:cubicBezTo>
                  <a:cubicBezTo>
                    <a:pt x="9" y="6"/>
                    <a:pt x="6" y="10"/>
                    <a:pt x="6" y="14"/>
                  </a:cubicBezTo>
                  <a:cubicBezTo>
                    <a:pt x="6" y="191"/>
                    <a:pt x="6" y="191"/>
                    <a:pt x="6" y="191"/>
                  </a:cubicBezTo>
                  <a:cubicBezTo>
                    <a:pt x="0" y="191"/>
                    <a:pt x="0" y="191"/>
                    <a:pt x="0" y="191"/>
                  </a:cubicBezTo>
                  <a:cubicBezTo>
                    <a:pt x="7" y="200"/>
                    <a:pt x="7" y="200"/>
                    <a:pt x="7" y="200"/>
                  </a:cubicBezTo>
                  <a:cubicBezTo>
                    <a:pt x="8" y="201"/>
                    <a:pt x="8" y="201"/>
                    <a:pt x="9" y="202"/>
                  </a:cubicBezTo>
                  <a:cubicBezTo>
                    <a:pt x="10" y="203"/>
                    <a:pt x="12" y="204"/>
                    <a:pt x="14" y="204"/>
                  </a:cubicBezTo>
                  <a:cubicBezTo>
                    <a:pt x="144" y="204"/>
                    <a:pt x="144" y="204"/>
                    <a:pt x="144" y="204"/>
                  </a:cubicBezTo>
                  <a:cubicBezTo>
                    <a:pt x="148" y="204"/>
                    <a:pt x="151" y="200"/>
                    <a:pt x="151" y="196"/>
                  </a:cubicBezTo>
                  <a:cubicBezTo>
                    <a:pt x="151" y="14"/>
                    <a:pt x="151" y="14"/>
                    <a:pt x="151" y="14"/>
                  </a:cubicBezTo>
                  <a:cubicBezTo>
                    <a:pt x="151" y="12"/>
                    <a:pt x="151" y="11"/>
                    <a:pt x="150" y="10"/>
                  </a:cubicBez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4" name="Freeform 164"/>
            <p:cNvSpPr/>
            <p:nvPr/>
          </p:nvSpPr>
          <p:spPr bwMode="auto">
            <a:xfrm>
              <a:off x="8641461" y="4774248"/>
              <a:ext cx="510648" cy="689537"/>
            </a:xfrm>
            <a:custGeom>
              <a:avLst/>
              <a:gdLst>
                <a:gd name="T0" fmla="*/ 150 w 151"/>
                <a:gd name="T1" fmla="*/ 10 h 204"/>
                <a:gd name="T2" fmla="*/ 150 w 151"/>
                <a:gd name="T3" fmla="*/ 10 h 204"/>
                <a:gd name="T4" fmla="*/ 150 w 151"/>
                <a:gd name="T5" fmla="*/ 10 h 204"/>
                <a:gd name="T6" fmla="*/ 149 w 151"/>
                <a:gd name="T7" fmla="*/ 8 h 204"/>
                <a:gd name="T8" fmla="*/ 142 w 151"/>
                <a:gd name="T9" fmla="*/ 0 h 204"/>
                <a:gd name="T10" fmla="*/ 138 w 151"/>
                <a:gd name="T11" fmla="*/ 6 h 204"/>
                <a:gd name="T12" fmla="*/ 14 w 151"/>
                <a:gd name="T13" fmla="*/ 6 h 204"/>
                <a:gd name="T14" fmla="*/ 6 w 151"/>
                <a:gd name="T15" fmla="*/ 14 h 204"/>
                <a:gd name="T16" fmla="*/ 6 w 151"/>
                <a:gd name="T17" fmla="*/ 191 h 204"/>
                <a:gd name="T18" fmla="*/ 0 w 151"/>
                <a:gd name="T19" fmla="*/ 191 h 204"/>
                <a:gd name="T20" fmla="*/ 7 w 151"/>
                <a:gd name="T21" fmla="*/ 200 h 204"/>
                <a:gd name="T22" fmla="*/ 9 w 151"/>
                <a:gd name="T23" fmla="*/ 202 h 204"/>
                <a:gd name="T24" fmla="*/ 14 w 151"/>
                <a:gd name="T25" fmla="*/ 204 h 204"/>
                <a:gd name="T26" fmla="*/ 144 w 151"/>
                <a:gd name="T27" fmla="*/ 204 h 204"/>
                <a:gd name="T28" fmla="*/ 151 w 151"/>
                <a:gd name="T29" fmla="*/ 196 h 204"/>
                <a:gd name="T30" fmla="*/ 151 w 151"/>
                <a:gd name="T31" fmla="*/ 14 h 204"/>
                <a:gd name="T32" fmla="*/ 150 w 151"/>
                <a:gd name="T33"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1" h="204">
                  <a:moveTo>
                    <a:pt x="150" y="10"/>
                  </a:moveTo>
                  <a:cubicBezTo>
                    <a:pt x="150" y="10"/>
                    <a:pt x="150" y="10"/>
                    <a:pt x="150" y="10"/>
                  </a:cubicBezTo>
                  <a:cubicBezTo>
                    <a:pt x="150" y="10"/>
                    <a:pt x="150" y="10"/>
                    <a:pt x="150" y="10"/>
                  </a:cubicBezTo>
                  <a:cubicBezTo>
                    <a:pt x="150" y="9"/>
                    <a:pt x="149" y="9"/>
                    <a:pt x="149" y="8"/>
                  </a:cubicBezTo>
                  <a:cubicBezTo>
                    <a:pt x="142" y="0"/>
                    <a:pt x="142" y="0"/>
                    <a:pt x="142" y="0"/>
                  </a:cubicBezTo>
                  <a:cubicBezTo>
                    <a:pt x="138" y="6"/>
                    <a:pt x="138" y="6"/>
                    <a:pt x="138" y="6"/>
                  </a:cubicBezTo>
                  <a:cubicBezTo>
                    <a:pt x="14" y="6"/>
                    <a:pt x="14" y="6"/>
                    <a:pt x="14" y="6"/>
                  </a:cubicBezTo>
                  <a:cubicBezTo>
                    <a:pt x="9" y="6"/>
                    <a:pt x="6" y="10"/>
                    <a:pt x="6" y="14"/>
                  </a:cubicBezTo>
                  <a:cubicBezTo>
                    <a:pt x="6" y="191"/>
                    <a:pt x="6" y="191"/>
                    <a:pt x="6" y="191"/>
                  </a:cubicBezTo>
                  <a:cubicBezTo>
                    <a:pt x="0" y="191"/>
                    <a:pt x="0" y="191"/>
                    <a:pt x="0" y="191"/>
                  </a:cubicBezTo>
                  <a:cubicBezTo>
                    <a:pt x="7" y="200"/>
                    <a:pt x="7" y="200"/>
                    <a:pt x="7" y="200"/>
                  </a:cubicBezTo>
                  <a:cubicBezTo>
                    <a:pt x="8" y="201"/>
                    <a:pt x="8" y="201"/>
                    <a:pt x="9" y="202"/>
                  </a:cubicBezTo>
                  <a:cubicBezTo>
                    <a:pt x="10" y="203"/>
                    <a:pt x="12" y="204"/>
                    <a:pt x="14" y="204"/>
                  </a:cubicBezTo>
                  <a:cubicBezTo>
                    <a:pt x="144" y="204"/>
                    <a:pt x="144" y="204"/>
                    <a:pt x="144" y="204"/>
                  </a:cubicBezTo>
                  <a:cubicBezTo>
                    <a:pt x="148" y="204"/>
                    <a:pt x="151" y="200"/>
                    <a:pt x="151" y="196"/>
                  </a:cubicBezTo>
                  <a:cubicBezTo>
                    <a:pt x="151" y="14"/>
                    <a:pt x="151" y="14"/>
                    <a:pt x="151" y="14"/>
                  </a:cubicBezTo>
                  <a:cubicBezTo>
                    <a:pt x="151" y="12"/>
                    <a:pt x="151" y="11"/>
                    <a:pt x="150" y="10"/>
                  </a:cubicBez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5" name="Rectangle 165"/>
            <p:cNvSpPr/>
            <p:nvPr/>
          </p:nvSpPr>
          <p:spPr bwMode="auto">
            <a:xfrm>
              <a:off x="7174569" y="4639268"/>
              <a:ext cx="1162782" cy="975760"/>
            </a:xfrm>
            <a:prstGeom prst="rect">
              <a:avLst/>
            </a:prstGeom>
            <a:solidFill>
              <a:srgbClr val="003A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96" name="Oval 167"/>
            <p:cNvSpPr/>
            <p:nvPr/>
          </p:nvSpPr>
          <p:spPr bwMode="auto">
            <a:xfrm>
              <a:off x="7194083" y="4287994"/>
              <a:ext cx="209789" cy="209789"/>
            </a:xfrm>
            <a:prstGeom prst="ellipse">
              <a:avLst/>
            </a:prstGeom>
            <a:solidFill>
              <a:srgbClr val="59A0E9"/>
            </a:solidFill>
            <a:ln>
              <a:noFill/>
            </a:ln>
          </p:spPr>
          <p:txBody>
            <a:bodyPr vert="horz" wrap="square" lIns="91440" tIns="45720" rIns="91440" bIns="45720" numCol="1" anchor="t" anchorCtr="0" compatLnSpc="1"/>
            <a:lstStyle/>
            <a:p>
              <a:endParaRPr lang="zh-CN" altLang="en-US"/>
            </a:p>
          </p:txBody>
        </p:sp>
        <p:sp>
          <p:nvSpPr>
            <p:cNvPr id="397" name="Oval 169"/>
            <p:cNvSpPr/>
            <p:nvPr/>
          </p:nvSpPr>
          <p:spPr bwMode="auto">
            <a:xfrm>
              <a:off x="7174569" y="4281489"/>
              <a:ext cx="209789" cy="213041"/>
            </a:xfrm>
            <a:prstGeom prst="ellipse">
              <a:avLst/>
            </a:prstGeom>
            <a:solidFill>
              <a:schemeClr val="accent6">
                <a:lumMod val="60000"/>
                <a:lumOff val="40000"/>
              </a:schemeClr>
            </a:solidFill>
            <a:ln>
              <a:noFill/>
            </a:ln>
          </p:spPr>
          <p:txBody>
            <a:bodyPr vert="horz" wrap="square" lIns="91440" tIns="45720" rIns="91440" bIns="45720" numCol="1" anchor="t" anchorCtr="0" compatLnSpc="1"/>
            <a:lstStyle/>
            <a:p>
              <a:endParaRPr lang="zh-CN" altLang="en-US"/>
            </a:p>
          </p:txBody>
        </p:sp>
        <p:sp>
          <p:nvSpPr>
            <p:cNvPr id="398" name="Oval 170"/>
            <p:cNvSpPr/>
            <p:nvPr/>
          </p:nvSpPr>
          <p:spPr bwMode="auto">
            <a:xfrm>
              <a:off x="8397522" y="4905975"/>
              <a:ext cx="102456" cy="100828"/>
            </a:xfrm>
            <a:prstGeom prst="ellipse">
              <a:avLst/>
            </a:prstGeom>
            <a:solidFill>
              <a:srgbClr val="86C0F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9" name="Oval 171"/>
            <p:cNvSpPr/>
            <p:nvPr/>
          </p:nvSpPr>
          <p:spPr bwMode="auto">
            <a:xfrm>
              <a:off x="8397522" y="4905975"/>
              <a:ext cx="102456" cy="100828"/>
            </a:xfrm>
            <a:prstGeom prst="ellipse">
              <a:avLst/>
            </a:prstGeom>
            <a:solidFill>
              <a:srgbClr val="539AE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0" name="Oval 172"/>
            <p:cNvSpPr/>
            <p:nvPr/>
          </p:nvSpPr>
          <p:spPr bwMode="auto">
            <a:xfrm>
              <a:off x="8387764" y="4902723"/>
              <a:ext cx="100828" cy="100828"/>
            </a:xfrm>
            <a:prstGeom prst="ellipse">
              <a:avLst/>
            </a:prstGeom>
            <a:solidFill>
              <a:schemeClr val="accent6">
                <a:lumMod val="60000"/>
                <a:lumOff val="40000"/>
              </a:schemeClr>
            </a:solidFill>
            <a:ln>
              <a:noFill/>
            </a:ln>
          </p:spPr>
          <p:txBody>
            <a:bodyPr vert="horz" wrap="square" lIns="91440" tIns="45720" rIns="91440" bIns="45720" numCol="1" anchor="t" anchorCtr="0" compatLnSpc="1"/>
            <a:lstStyle/>
            <a:p>
              <a:endParaRPr lang="zh-CN" altLang="en-US"/>
            </a:p>
          </p:txBody>
        </p:sp>
        <p:sp>
          <p:nvSpPr>
            <p:cNvPr id="401" name="Oval 173"/>
            <p:cNvSpPr/>
            <p:nvPr/>
          </p:nvSpPr>
          <p:spPr bwMode="auto">
            <a:xfrm>
              <a:off x="8397522" y="5078360"/>
              <a:ext cx="102456" cy="100828"/>
            </a:xfrm>
            <a:prstGeom prst="ellipse">
              <a:avLst/>
            </a:prstGeom>
            <a:solidFill>
              <a:srgbClr val="86C0F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2" name="Oval 174"/>
            <p:cNvSpPr/>
            <p:nvPr/>
          </p:nvSpPr>
          <p:spPr bwMode="auto">
            <a:xfrm>
              <a:off x="8397522" y="5078360"/>
              <a:ext cx="102456" cy="100828"/>
            </a:xfrm>
            <a:prstGeom prst="ellipse">
              <a:avLst/>
            </a:prstGeom>
            <a:solidFill>
              <a:srgbClr val="539AE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3" name="Oval 175"/>
            <p:cNvSpPr/>
            <p:nvPr/>
          </p:nvSpPr>
          <p:spPr bwMode="auto">
            <a:xfrm>
              <a:off x="8387764" y="5075107"/>
              <a:ext cx="100828" cy="100828"/>
            </a:xfrm>
            <a:prstGeom prst="ellipse">
              <a:avLst/>
            </a:prstGeom>
            <a:solidFill>
              <a:schemeClr val="accent6">
                <a:lumMod val="60000"/>
                <a:lumOff val="40000"/>
              </a:schemeClr>
            </a:solidFill>
            <a:ln>
              <a:noFill/>
            </a:ln>
          </p:spPr>
          <p:txBody>
            <a:bodyPr vert="horz" wrap="square" lIns="91440" tIns="45720" rIns="91440" bIns="45720" numCol="1" anchor="t" anchorCtr="0" compatLnSpc="1"/>
            <a:lstStyle/>
            <a:p>
              <a:endParaRPr lang="zh-CN" altLang="en-US"/>
            </a:p>
          </p:txBody>
        </p:sp>
        <p:sp>
          <p:nvSpPr>
            <p:cNvPr id="404" name="Oval 176"/>
            <p:cNvSpPr/>
            <p:nvPr/>
          </p:nvSpPr>
          <p:spPr bwMode="auto">
            <a:xfrm>
              <a:off x="8397522" y="5250745"/>
              <a:ext cx="102456" cy="100828"/>
            </a:xfrm>
            <a:prstGeom prst="ellipse">
              <a:avLst/>
            </a:prstGeom>
            <a:solidFill>
              <a:srgbClr val="86C0F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5" name="Oval 177"/>
            <p:cNvSpPr/>
            <p:nvPr/>
          </p:nvSpPr>
          <p:spPr bwMode="auto">
            <a:xfrm>
              <a:off x="8397522" y="5250745"/>
              <a:ext cx="102456" cy="100828"/>
            </a:xfrm>
            <a:prstGeom prst="ellipse">
              <a:avLst/>
            </a:prstGeom>
            <a:solidFill>
              <a:srgbClr val="539AE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6" name="Oval 178"/>
            <p:cNvSpPr/>
            <p:nvPr/>
          </p:nvSpPr>
          <p:spPr bwMode="auto">
            <a:xfrm>
              <a:off x="8387764" y="5247492"/>
              <a:ext cx="100828" cy="100828"/>
            </a:xfrm>
            <a:prstGeom prst="ellipse">
              <a:avLst/>
            </a:prstGeom>
            <a:solidFill>
              <a:srgbClr val="86C0F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7" name="Freeform 180"/>
            <p:cNvSpPr/>
            <p:nvPr/>
          </p:nvSpPr>
          <p:spPr bwMode="auto">
            <a:xfrm>
              <a:off x="8638209" y="4767744"/>
              <a:ext cx="489507" cy="665144"/>
            </a:xfrm>
            <a:custGeom>
              <a:avLst/>
              <a:gdLst>
                <a:gd name="T0" fmla="*/ 138 w 145"/>
                <a:gd name="T1" fmla="*/ 197 h 197"/>
                <a:gd name="T2" fmla="*/ 7 w 145"/>
                <a:gd name="T3" fmla="*/ 197 h 197"/>
                <a:gd name="T4" fmla="*/ 0 w 145"/>
                <a:gd name="T5" fmla="*/ 190 h 197"/>
                <a:gd name="T6" fmla="*/ 0 w 145"/>
                <a:gd name="T7" fmla="*/ 7 h 197"/>
                <a:gd name="T8" fmla="*/ 7 w 145"/>
                <a:gd name="T9" fmla="*/ 0 h 197"/>
                <a:gd name="T10" fmla="*/ 138 w 145"/>
                <a:gd name="T11" fmla="*/ 0 h 197"/>
                <a:gd name="T12" fmla="*/ 145 w 145"/>
                <a:gd name="T13" fmla="*/ 7 h 197"/>
                <a:gd name="T14" fmla="*/ 145 w 145"/>
                <a:gd name="T15" fmla="*/ 190 h 197"/>
                <a:gd name="T16" fmla="*/ 138 w 145"/>
                <a:gd name="T17"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197">
                  <a:moveTo>
                    <a:pt x="138" y="197"/>
                  </a:moveTo>
                  <a:cubicBezTo>
                    <a:pt x="7" y="197"/>
                    <a:pt x="7" y="197"/>
                    <a:pt x="7" y="197"/>
                  </a:cubicBezTo>
                  <a:cubicBezTo>
                    <a:pt x="3" y="197"/>
                    <a:pt x="0" y="194"/>
                    <a:pt x="0" y="190"/>
                  </a:cubicBezTo>
                  <a:cubicBezTo>
                    <a:pt x="0" y="7"/>
                    <a:pt x="0" y="7"/>
                    <a:pt x="0" y="7"/>
                  </a:cubicBezTo>
                  <a:cubicBezTo>
                    <a:pt x="0" y="3"/>
                    <a:pt x="3" y="0"/>
                    <a:pt x="7" y="0"/>
                  </a:cubicBezTo>
                  <a:cubicBezTo>
                    <a:pt x="138" y="0"/>
                    <a:pt x="138" y="0"/>
                    <a:pt x="138" y="0"/>
                  </a:cubicBezTo>
                  <a:cubicBezTo>
                    <a:pt x="142" y="0"/>
                    <a:pt x="145" y="3"/>
                    <a:pt x="145" y="7"/>
                  </a:cubicBezTo>
                  <a:cubicBezTo>
                    <a:pt x="145" y="190"/>
                    <a:pt x="145" y="190"/>
                    <a:pt x="145" y="190"/>
                  </a:cubicBezTo>
                  <a:cubicBezTo>
                    <a:pt x="145" y="194"/>
                    <a:pt x="142" y="197"/>
                    <a:pt x="138" y="197"/>
                  </a:cubicBezTo>
                  <a:close/>
                </a:path>
              </a:pathLst>
            </a:custGeom>
            <a:solidFill>
              <a:srgbClr val="F8DC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8" name="任意多边形: 形状 349"/>
            <p:cNvSpPr/>
            <p:nvPr/>
          </p:nvSpPr>
          <p:spPr bwMode="auto">
            <a:xfrm>
              <a:off x="8639836" y="4768560"/>
              <a:ext cx="487881" cy="664327"/>
            </a:xfrm>
            <a:custGeom>
              <a:avLst/>
              <a:gdLst>
                <a:gd name="connsiteX0" fmla="*/ 0 w 476250"/>
                <a:gd name="connsiteY0" fmla="*/ 350590 h 648491"/>
                <a:gd name="connsiteX1" fmla="*/ 307148 w 476250"/>
                <a:gd name="connsiteY1" fmla="*/ 648491 h 648491"/>
                <a:gd name="connsiteX2" fmla="*/ 174681 w 476250"/>
                <a:gd name="connsiteY2" fmla="*/ 648491 h 648491"/>
                <a:gd name="connsiteX3" fmla="*/ 0 w 476250"/>
                <a:gd name="connsiteY3" fmla="*/ 480156 h 648491"/>
                <a:gd name="connsiteX4" fmla="*/ 0 w 476250"/>
                <a:gd name="connsiteY4" fmla="*/ 103542 h 648491"/>
                <a:gd name="connsiteX5" fmla="*/ 476250 w 476250"/>
                <a:gd name="connsiteY5" fmla="*/ 565454 h 648491"/>
                <a:gd name="connsiteX6" fmla="*/ 476250 w 476250"/>
                <a:gd name="connsiteY6" fmla="*/ 636613 h 648491"/>
                <a:gd name="connsiteX7" fmla="*/ 465893 w 476250"/>
                <a:gd name="connsiteY7" fmla="*/ 648491 h 648491"/>
                <a:gd name="connsiteX8" fmla="*/ 430232 w 476250"/>
                <a:gd name="connsiteY8" fmla="*/ 648491 h 648491"/>
                <a:gd name="connsiteX9" fmla="*/ 0 w 476250"/>
                <a:gd name="connsiteY9" fmla="*/ 233888 h 648491"/>
                <a:gd name="connsiteX10" fmla="*/ 267616 w 476250"/>
                <a:gd name="connsiteY10" fmla="*/ 0 h 648491"/>
                <a:gd name="connsiteX11" fmla="*/ 402637 w 476250"/>
                <a:gd name="connsiteY11" fmla="*/ 0 h 648491"/>
                <a:gd name="connsiteX12" fmla="*/ 476250 w 476250"/>
                <a:gd name="connsiteY12" fmla="*/ 70934 h 648491"/>
                <a:gd name="connsiteX13" fmla="*/ 476250 w 476250"/>
                <a:gd name="connsiteY13" fmla="*/ 201947 h 648491"/>
                <a:gd name="connsiteX14" fmla="*/ 12850 w 476250"/>
                <a:gd name="connsiteY14" fmla="*/ 0 h 648491"/>
                <a:gd name="connsiteX15" fmla="*/ 148463 w 476250"/>
                <a:gd name="connsiteY15" fmla="*/ 0 h 648491"/>
                <a:gd name="connsiteX16" fmla="*/ 476250 w 476250"/>
                <a:gd name="connsiteY16" fmla="*/ 316558 h 648491"/>
                <a:gd name="connsiteX17" fmla="*/ 476250 w 476250"/>
                <a:gd name="connsiteY17" fmla="*/ 446568 h 64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6250" h="648491">
                  <a:moveTo>
                    <a:pt x="0" y="350590"/>
                  </a:moveTo>
                  <a:lnTo>
                    <a:pt x="307148" y="648491"/>
                  </a:lnTo>
                  <a:lnTo>
                    <a:pt x="174681" y="648491"/>
                  </a:lnTo>
                  <a:lnTo>
                    <a:pt x="0" y="480156"/>
                  </a:lnTo>
                  <a:close/>
                  <a:moveTo>
                    <a:pt x="0" y="103542"/>
                  </a:moveTo>
                  <a:lnTo>
                    <a:pt x="476250" y="565454"/>
                  </a:lnTo>
                  <a:lnTo>
                    <a:pt x="476250" y="636613"/>
                  </a:lnTo>
                  <a:lnTo>
                    <a:pt x="465893" y="648491"/>
                  </a:lnTo>
                  <a:lnTo>
                    <a:pt x="430232" y="648491"/>
                  </a:lnTo>
                  <a:lnTo>
                    <a:pt x="0" y="233888"/>
                  </a:lnTo>
                  <a:close/>
                  <a:moveTo>
                    <a:pt x="267616" y="0"/>
                  </a:moveTo>
                  <a:lnTo>
                    <a:pt x="402637" y="0"/>
                  </a:lnTo>
                  <a:lnTo>
                    <a:pt x="476250" y="70934"/>
                  </a:lnTo>
                  <a:lnTo>
                    <a:pt x="476250" y="201947"/>
                  </a:lnTo>
                  <a:close/>
                  <a:moveTo>
                    <a:pt x="12850" y="0"/>
                  </a:moveTo>
                  <a:lnTo>
                    <a:pt x="148463" y="0"/>
                  </a:lnTo>
                  <a:lnTo>
                    <a:pt x="476250" y="316558"/>
                  </a:lnTo>
                  <a:lnTo>
                    <a:pt x="476250" y="446568"/>
                  </a:lnTo>
                  <a:close/>
                </a:path>
              </a:pathLst>
            </a:custGeom>
            <a:solidFill>
              <a:srgbClr val="E6B0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zh-CN" altLang="en-US"/>
            </a:p>
          </p:txBody>
        </p:sp>
        <p:sp>
          <p:nvSpPr>
            <p:cNvPr id="409" name="Freeform 185"/>
            <p:cNvSpPr/>
            <p:nvPr/>
          </p:nvSpPr>
          <p:spPr bwMode="auto">
            <a:xfrm>
              <a:off x="8799210" y="4852310"/>
              <a:ext cx="162626" cy="496012"/>
            </a:xfrm>
            <a:custGeom>
              <a:avLst/>
              <a:gdLst>
                <a:gd name="T0" fmla="*/ 24 w 48"/>
                <a:gd name="T1" fmla="*/ 147 h 147"/>
                <a:gd name="T2" fmla="*/ 24 w 48"/>
                <a:gd name="T3" fmla="*/ 147 h 147"/>
                <a:gd name="T4" fmla="*/ 0 w 48"/>
                <a:gd name="T5" fmla="*/ 123 h 147"/>
                <a:gd name="T6" fmla="*/ 0 w 48"/>
                <a:gd name="T7" fmla="*/ 24 h 147"/>
                <a:gd name="T8" fmla="*/ 24 w 48"/>
                <a:gd name="T9" fmla="*/ 0 h 147"/>
                <a:gd name="T10" fmla="*/ 48 w 48"/>
                <a:gd name="T11" fmla="*/ 24 h 147"/>
                <a:gd name="T12" fmla="*/ 48 w 48"/>
                <a:gd name="T13" fmla="*/ 123 h 147"/>
                <a:gd name="T14" fmla="*/ 24 w 48"/>
                <a:gd name="T15" fmla="*/ 147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47">
                  <a:moveTo>
                    <a:pt x="24" y="147"/>
                  </a:moveTo>
                  <a:cubicBezTo>
                    <a:pt x="24" y="147"/>
                    <a:pt x="24" y="147"/>
                    <a:pt x="24" y="147"/>
                  </a:cubicBezTo>
                  <a:cubicBezTo>
                    <a:pt x="11" y="147"/>
                    <a:pt x="0" y="136"/>
                    <a:pt x="0" y="123"/>
                  </a:cubicBezTo>
                  <a:cubicBezTo>
                    <a:pt x="0" y="24"/>
                    <a:pt x="0" y="24"/>
                    <a:pt x="0" y="24"/>
                  </a:cubicBezTo>
                  <a:cubicBezTo>
                    <a:pt x="0" y="11"/>
                    <a:pt x="11" y="0"/>
                    <a:pt x="24" y="0"/>
                  </a:cubicBezTo>
                  <a:cubicBezTo>
                    <a:pt x="38" y="0"/>
                    <a:pt x="48" y="11"/>
                    <a:pt x="48" y="24"/>
                  </a:cubicBezTo>
                  <a:cubicBezTo>
                    <a:pt x="48" y="123"/>
                    <a:pt x="48" y="123"/>
                    <a:pt x="48" y="123"/>
                  </a:cubicBezTo>
                  <a:cubicBezTo>
                    <a:pt x="48" y="136"/>
                    <a:pt x="38" y="147"/>
                    <a:pt x="24" y="147"/>
                  </a:cubicBez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0" name="Freeform 186"/>
            <p:cNvSpPr/>
            <p:nvPr/>
          </p:nvSpPr>
          <p:spPr bwMode="auto">
            <a:xfrm>
              <a:off x="8799210" y="4852310"/>
              <a:ext cx="162626" cy="496012"/>
            </a:xfrm>
            <a:custGeom>
              <a:avLst/>
              <a:gdLst>
                <a:gd name="T0" fmla="*/ 24 w 48"/>
                <a:gd name="T1" fmla="*/ 147 h 147"/>
                <a:gd name="T2" fmla="*/ 24 w 48"/>
                <a:gd name="T3" fmla="*/ 147 h 147"/>
                <a:gd name="T4" fmla="*/ 0 w 48"/>
                <a:gd name="T5" fmla="*/ 123 h 147"/>
                <a:gd name="T6" fmla="*/ 0 w 48"/>
                <a:gd name="T7" fmla="*/ 24 h 147"/>
                <a:gd name="T8" fmla="*/ 24 w 48"/>
                <a:gd name="T9" fmla="*/ 0 h 147"/>
                <a:gd name="T10" fmla="*/ 48 w 48"/>
                <a:gd name="T11" fmla="*/ 24 h 147"/>
                <a:gd name="T12" fmla="*/ 48 w 48"/>
                <a:gd name="T13" fmla="*/ 123 h 147"/>
                <a:gd name="T14" fmla="*/ 24 w 48"/>
                <a:gd name="T15" fmla="*/ 147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47">
                  <a:moveTo>
                    <a:pt x="24" y="147"/>
                  </a:moveTo>
                  <a:cubicBezTo>
                    <a:pt x="24" y="147"/>
                    <a:pt x="24" y="147"/>
                    <a:pt x="24" y="147"/>
                  </a:cubicBezTo>
                  <a:cubicBezTo>
                    <a:pt x="11" y="147"/>
                    <a:pt x="0" y="136"/>
                    <a:pt x="0" y="123"/>
                  </a:cubicBezTo>
                  <a:cubicBezTo>
                    <a:pt x="0" y="24"/>
                    <a:pt x="0" y="24"/>
                    <a:pt x="0" y="24"/>
                  </a:cubicBezTo>
                  <a:cubicBezTo>
                    <a:pt x="0" y="11"/>
                    <a:pt x="11" y="0"/>
                    <a:pt x="24" y="0"/>
                  </a:cubicBezTo>
                  <a:cubicBezTo>
                    <a:pt x="38" y="0"/>
                    <a:pt x="48" y="11"/>
                    <a:pt x="48" y="24"/>
                  </a:cubicBezTo>
                  <a:cubicBezTo>
                    <a:pt x="48" y="123"/>
                    <a:pt x="48" y="123"/>
                    <a:pt x="48" y="123"/>
                  </a:cubicBezTo>
                  <a:cubicBezTo>
                    <a:pt x="48" y="136"/>
                    <a:pt x="38" y="147"/>
                    <a:pt x="24" y="147"/>
                  </a:cubicBezTo>
                  <a:close/>
                </a:path>
              </a:pathLst>
            </a:custGeom>
            <a:solidFill>
              <a:srgbClr val="002488"/>
            </a:solidFill>
            <a:ln>
              <a:noFill/>
            </a:ln>
          </p:spPr>
          <p:txBody>
            <a:bodyPr vert="horz" wrap="square" lIns="91440" tIns="45720" rIns="91440" bIns="45720" numCol="1" anchor="t" anchorCtr="0" compatLnSpc="1"/>
            <a:lstStyle/>
            <a:p>
              <a:endParaRPr lang="zh-CN" altLang="en-US"/>
            </a:p>
          </p:txBody>
        </p:sp>
        <p:sp>
          <p:nvSpPr>
            <p:cNvPr id="411" name="Rectangle 187"/>
            <p:cNvSpPr/>
            <p:nvPr/>
          </p:nvSpPr>
          <p:spPr bwMode="auto">
            <a:xfrm>
              <a:off x="8864261" y="4579097"/>
              <a:ext cx="34152" cy="455355"/>
            </a:xfrm>
            <a:prstGeom prst="rect">
              <a:avLst/>
            </a:prstGeom>
            <a:solidFill>
              <a:srgbClr val="9ED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12" name="Freeform 188"/>
            <p:cNvSpPr/>
            <p:nvPr/>
          </p:nvSpPr>
          <p:spPr bwMode="auto">
            <a:xfrm>
              <a:off x="8833362" y="4912481"/>
              <a:ext cx="94323" cy="121971"/>
            </a:xfrm>
            <a:custGeom>
              <a:avLst/>
              <a:gdLst>
                <a:gd name="T0" fmla="*/ 22 w 28"/>
                <a:gd name="T1" fmla="*/ 36 h 36"/>
                <a:gd name="T2" fmla="*/ 6 w 28"/>
                <a:gd name="T3" fmla="*/ 36 h 36"/>
                <a:gd name="T4" fmla="*/ 0 w 28"/>
                <a:gd name="T5" fmla="*/ 30 h 36"/>
                <a:gd name="T6" fmla="*/ 0 w 28"/>
                <a:gd name="T7" fmla="*/ 6 h 36"/>
                <a:gd name="T8" fmla="*/ 6 w 28"/>
                <a:gd name="T9" fmla="*/ 0 h 36"/>
                <a:gd name="T10" fmla="*/ 22 w 28"/>
                <a:gd name="T11" fmla="*/ 0 h 36"/>
                <a:gd name="T12" fmla="*/ 28 w 28"/>
                <a:gd name="T13" fmla="*/ 6 h 36"/>
                <a:gd name="T14" fmla="*/ 28 w 28"/>
                <a:gd name="T15" fmla="*/ 30 h 36"/>
                <a:gd name="T16" fmla="*/ 22 w 28"/>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6">
                  <a:moveTo>
                    <a:pt x="22" y="36"/>
                  </a:moveTo>
                  <a:cubicBezTo>
                    <a:pt x="6" y="36"/>
                    <a:pt x="6" y="36"/>
                    <a:pt x="6" y="36"/>
                  </a:cubicBezTo>
                  <a:cubicBezTo>
                    <a:pt x="2" y="36"/>
                    <a:pt x="0" y="33"/>
                    <a:pt x="0" y="30"/>
                  </a:cubicBezTo>
                  <a:cubicBezTo>
                    <a:pt x="0" y="6"/>
                    <a:pt x="0" y="6"/>
                    <a:pt x="0" y="6"/>
                  </a:cubicBezTo>
                  <a:cubicBezTo>
                    <a:pt x="0" y="2"/>
                    <a:pt x="2" y="0"/>
                    <a:pt x="6" y="0"/>
                  </a:cubicBezTo>
                  <a:cubicBezTo>
                    <a:pt x="22" y="0"/>
                    <a:pt x="22" y="0"/>
                    <a:pt x="22" y="0"/>
                  </a:cubicBezTo>
                  <a:cubicBezTo>
                    <a:pt x="26" y="0"/>
                    <a:pt x="28" y="2"/>
                    <a:pt x="28" y="6"/>
                  </a:cubicBezTo>
                  <a:cubicBezTo>
                    <a:pt x="28" y="30"/>
                    <a:pt x="28" y="30"/>
                    <a:pt x="28" y="30"/>
                  </a:cubicBezTo>
                  <a:cubicBezTo>
                    <a:pt x="28" y="33"/>
                    <a:pt x="26" y="36"/>
                    <a:pt x="22" y="36"/>
                  </a:cubicBezTo>
                  <a:close/>
                </a:path>
              </a:pathLst>
            </a:custGeom>
            <a:solidFill>
              <a:srgbClr val="9ED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3" name="Oval 189"/>
            <p:cNvSpPr/>
            <p:nvPr/>
          </p:nvSpPr>
          <p:spPr bwMode="auto">
            <a:xfrm>
              <a:off x="8804089" y="4479894"/>
              <a:ext cx="157749" cy="159374"/>
            </a:xfrm>
            <a:prstGeom prst="ellipse">
              <a:avLst/>
            </a:prstGeom>
            <a:solidFill>
              <a:srgbClr val="64A9D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4" name="Rectangle 190"/>
            <p:cNvSpPr/>
            <p:nvPr/>
          </p:nvSpPr>
          <p:spPr bwMode="auto">
            <a:xfrm>
              <a:off x="7303044" y="4774248"/>
              <a:ext cx="905831" cy="175638"/>
            </a:xfrm>
            <a:prstGeom prst="rect">
              <a:avLst/>
            </a:prstGeom>
            <a:solidFill>
              <a:schemeClr val="accent6">
                <a:lumMod val="60000"/>
                <a:lumOff val="40000"/>
              </a:schemeClr>
            </a:solidFill>
            <a:ln>
              <a:noFill/>
            </a:ln>
          </p:spPr>
          <p:txBody>
            <a:bodyPr vert="horz" wrap="square" lIns="91440" tIns="45720" rIns="91440" bIns="45720" numCol="1" anchor="t" anchorCtr="0" compatLnSpc="1"/>
            <a:lstStyle/>
            <a:p>
              <a:endParaRPr lang="zh-CN" altLang="en-US"/>
            </a:p>
          </p:txBody>
        </p:sp>
        <p:sp>
          <p:nvSpPr>
            <p:cNvPr id="415" name="Rectangle 191"/>
            <p:cNvSpPr/>
            <p:nvPr/>
          </p:nvSpPr>
          <p:spPr bwMode="auto">
            <a:xfrm>
              <a:off x="7303044" y="5040957"/>
              <a:ext cx="905831" cy="172385"/>
            </a:xfrm>
            <a:prstGeom prst="rect">
              <a:avLst/>
            </a:prstGeom>
            <a:solidFill>
              <a:schemeClr val="accent6">
                <a:lumMod val="60000"/>
                <a:lumOff val="40000"/>
              </a:schemeClr>
            </a:solidFill>
            <a:ln>
              <a:noFill/>
            </a:ln>
          </p:spPr>
          <p:txBody>
            <a:bodyPr vert="horz" wrap="square" lIns="91440" tIns="45720" rIns="91440" bIns="45720" numCol="1" anchor="t" anchorCtr="0" compatLnSpc="1"/>
            <a:lstStyle/>
            <a:p>
              <a:endParaRPr lang="zh-CN" altLang="en-US"/>
            </a:p>
          </p:txBody>
        </p:sp>
        <p:sp>
          <p:nvSpPr>
            <p:cNvPr id="416" name="Rectangle 192"/>
            <p:cNvSpPr/>
            <p:nvPr/>
          </p:nvSpPr>
          <p:spPr bwMode="auto">
            <a:xfrm>
              <a:off x="7303044" y="5304413"/>
              <a:ext cx="905831" cy="175638"/>
            </a:xfrm>
            <a:prstGeom prst="rect">
              <a:avLst/>
            </a:prstGeom>
            <a:solidFill>
              <a:schemeClr val="accent6">
                <a:lumMod val="60000"/>
                <a:lumOff val="40000"/>
              </a:schemeClr>
            </a:solidFill>
            <a:ln>
              <a:noFill/>
            </a:ln>
          </p:spPr>
          <p:txBody>
            <a:bodyPr vert="horz" wrap="square" lIns="91440" tIns="45720" rIns="91440" bIns="45720" numCol="1" anchor="t" anchorCtr="0" compatLnSpc="1"/>
            <a:lstStyle/>
            <a:p>
              <a:endParaRPr lang="zh-CN" altLang="en-US"/>
            </a:p>
          </p:txBody>
        </p:sp>
        <p:sp>
          <p:nvSpPr>
            <p:cNvPr id="417" name="Freeform 194"/>
            <p:cNvSpPr/>
            <p:nvPr/>
          </p:nvSpPr>
          <p:spPr bwMode="auto">
            <a:xfrm>
              <a:off x="8391016" y="2949576"/>
              <a:ext cx="273213" cy="278092"/>
            </a:xfrm>
            <a:custGeom>
              <a:avLst/>
              <a:gdLst>
                <a:gd name="T0" fmla="*/ 40 w 81"/>
                <a:gd name="T1" fmla="*/ 0 h 82"/>
                <a:gd name="T2" fmla="*/ 0 w 81"/>
                <a:gd name="T3" fmla="*/ 41 h 82"/>
                <a:gd name="T4" fmla="*/ 40 w 81"/>
                <a:gd name="T5" fmla="*/ 82 h 82"/>
                <a:gd name="T6" fmla="*/ 81 w 81"/>
                <a:gd name="T7" fmla="*/ 41 h 82"/>
                <a:gd name="T8" fmla="*/ 40 w 81"/>
                <a:gd name="T9" fmla="*/ 0 h 82"/>
              </a:gdLst>
              <a:ahLst/>
              <a:cxnLst>
                <a:cxn ang="0">
                  <a:pos x="T0" y="T1"/>
                </a:cxn>
                <a:cxn ang="0">
                  <a:pos x="T2" y="T3"/>
                </a:cxn>
                <a:cxn ang="0">
                  <a:pos x="T4" y="T5"/>
                </a:cxn>
                <a:cxn ang="0">
                  <a:pos x="T6" y="T7"/>
                </a:cxn>
                <a:cxn ang="0">
                  <a:pos x="T8" y="T9"/>
                </a:cxn>
              </a:cxnLst>
              <a:rect l="0" t="0" r="r" b="b"/>
              <a:pathLst>
                <a:path w="81" h="82">
                  <a:moveTo>
                    <a:pt x="40" y="0"/>
                  </a:moveTo>
                  <a:cubicBezTo>
                    <a:pt x="40" y="23"/>
                    <a:pt x="22" y="41"/>
                    <a:pt x="0" y="41"/>
                  </a:cubicBezTo>
                  <a:cubicBezTo>
                    <a:pt x="22" y="41"/>
                    <a:pt x="40" y="60"/>
                    <a:pt x="40" y="82"/>
                  </a:cubicBezTo>
                  <a:cubicBezTo>
                    <a:pt x="40" y="60"/>
                    <a:pt x="59" y="41"/>
                    <a:pt x="81" y="41"/>
                  </a:cubicBezTo>
                  <a:cubicBezTo>
                    <a:pt x="59" y="41"/>
                    <a:pt x="40" y="23"/>
                    <a:pt x="40" y="0"/>
                  </a:cubicBezTo>
                  <a:close/>
                </a:path>
              </a:pathLst>
            </a:custGeom>
            <a:solidFill>
              <a:srgbClr val="FFBE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8" name="Freeform 195"/>
            <p:cNvSpPr/>
            <p:nvPr/>
          </p:nvSpPr>
          <p:spPr bwMode="auto">
            <a:xfrm>
              <a:off x="8299945" y="2964212"/>
              <a:ext cx="118718" cy="113839"/>
            </a:xfrm>
            <a:custGeom>
              <a:avLst/>
              <a:gdLst>
                <a:gd name="T0" fmla="*/ 18 w 35"/>
                <a:gd name="T1" fmla="*/ 0 h 34"/>
                <a:gd name="T2" fmla="*/ 0 w 35"/>
                <a:gd name="T3" fmla="*/ 17 h 34"/>
                <a:gd name="T4" fmla="*/ 18 w 35"/>
                <a:gd name="T5" fmla="*/ 34 h 34"/>
                <a:gd name="T6" fmla="*/ 35 w 35"/>
                <a:gd name="T7" fmla="*/ 17 h 34"/>
                <a:gd name="T8" fmla="*/ 18 w 35"/>
                <a:gd name="T9" fmla="*/ 0 h 34"/>
              </a:gdLst>
              <a:ahLst/>
              <a:cxnLst>
                <a:cxn ang="0">
                  <a:pos x="T0" y="T1"/>
                </a:cxn>
                <a:cxn ang="0">
                  <a:pos x="T2" y="T3"/>
                </a:cxn>
                <a:cxn ang="0">
                  <a:pos x="T4" y="T5"/>
                </a:cxn>
                <a:cxn ang="0">
                  <a:pos x="T6" y="T7"/>
                </a:cxn>
                <a:cxn ang="0">
                  <a:pos x="T8" y="T9"/>
                </a:cxn>
              </a:cxnLst>
              <a:rect l="0" t="0" r="r" b="b"/>
              <a:pathLst>
                <a:path w="35" h="34">
                  <a:moveTo>
                    <a:pt x="18" y="0"/>
                  </a:moveTo>
                  <a:cubicBezTo>
                    <a:pt x="18" y="10"/>
                    <a:pt x="10" y="17"/>
                    <a:pt x="0" y="17"/>
                  </a:cubicBezTo>
                  <a:cubicBezTo>
                    <a:pt x="10" y="17"/>
                    <a:pt x="18" y="25"/>
                    <a:pt x="18" y="34"/>
                  </a:cubicBezTo>
                  <a:cubicBezTo>
                    <a:pt x="18" y="25"/>
                    <a:pt x="25" y="17"/>
                    <a:pt x="35" y="17"/>
                  </a:cubicBezTo>
                  <a:cubicBezTo>
                    <a:pt x="25" y="17"/>
                    <a:pt x="18" y="10"/>
                    <a:pt x="18" y="0"/>
                  </a:cubicBezTo>
                  <a:close/>
                </a:path>
              </a:pathLst>
            </a:custGeom>
            <a:solidFill>
              <a:srgbClr val="FFBE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9" name="Freeform 196"/>
            <p:cNvSpPr/>
            <p:nvPr/>
          </p:nvSpPr>
          <p:spPr bwMode="auto">
            <a:xfrm>
              <a:off x="7691721" y="3504133"/>
              <a:ext cx="113839" cy="118718"/>
            </a:xfrm>
            <a:custGeom>
              <a:avLst/>
              <a:gdLst>
                <a:gd name="T0" fmla="*/ 17 w 34"/>
                <a:gd name="T1" fmla="*/ 0 h 35"/>
                <a:gd name="T2" fmla="*/ 0 w 34"/>
                <a:gd name="T3" fmla="*/ 17 h 35"/>
                <a:gd name="T4" fmla="*/ 17 w 34"/>
                <a:gd name="T5" fmla="*/ 35 h 35"/>
                <a:gd name="T6" fmla="*/ 34 w 34"/>
                <a:gd name="T7" fmla="*/ 17 h 35"/>
                <a:gd name="T8" fmla="*/ 17 w 34"/>
                <a:gd name="T9" fmla="*/ 0 h 35"/>
              </a:gdLst>
              <a:ahLst/>
              <a:cxnLst>
                <a:cxn ang="0">
                  <a:pos x="T0" y="T1"/>
                </a:cxn>
                <a:cxn ang="0">
                  <a:pos x="T2" y="T3"/>
                </a:cxn>
                <a:cxn ang="0">
                  <a:pos x="T4" y="T5"/>
                </a:cxn>
                <a:cxn ang="0">
                  <a:pos x="T6" y="T7"/>
                </a:cxn>
                <a:cxn ang="0">
                  <a:pos x="T8" y="T9"/>
                </a:cxn>
              </a:cxnLst>
              <a:rect l="0" t="0" r="r" b="b"/>
              <a:pathLst>
                <a:path w="34" h="35">
                  <a:moveTo>
                    <a:pt x="17" y="0"/>
                  </a:moveTo>
                  <a:cubicBezTo>
                    <a:pt x="17" y="10"/>
                    <a:pt x="9" y="17"/>
                    <a:pt x="0" y="17"/>
                  </a:cubicBezTo>
                  <a:cubicBezTo>
                    <a:pt x="9" y="17"/>
                    <a:pt x="17" y="25"/>
                    <a:pt x="17" y="35"/>
                  </a:cubicBezTo>
                  <a:cubicBezTo>
                    <a:pt x="17" y="25"/>
                    <a:pt x="25" y="17"/>
                    <a:pt x="34" y="17"/>
                  </a:cubicBezTo>
                  <a:cubicBezTo>
                    <a:pt x="25" y="17"/>
                    <a:pt x="17" y="10"/>
                    <a:pt x="17" y="0"/>
                  </a:cubicBezTo>
                  <a:close/>
                </a:path>
              </a:pathLst>
            </a:custGeom>
            <a:solidFill>
              <a:srgbClr val="FFBE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0" name="Freeform 197"/>
            <p:cNvSpPr/>
            <p:nvPr/>
          </p:nvSpPr>
          <p:spPr bwMode="auto">
            <a:xfrm>
              <a:off x="7416883" y="5413371"/>
              <a:ext cx="240687" cy="361032"/>
            </a:xfrm>
            <a:custGeom>
              <a:avLst/>
              <a:gdLst>
                <a:gd name="T0" fmla="*/ 70 w 71"/>
                <a:gd name="T1" fmla="*/ 102 h 107"/>
                <a:gd name="T2" fmla="*/ 40 w 71"/>
                <a:gd name="T3" fmla="*/ 69 h 107"/>
                <a:gd name="T4" fmla="*/ 7 w 71"/>
                <a:gd name="T5" fmla="*/ 39 h 107"/>
                <a:gd name="T6" fmla="*/ 2 w 71"/>
                <a:gd name="T7" fmla="*/ 10 h 107"/>
                <a:gd name="T8" fmla="*/ 3 w 71"/>
                <a:gd name="T9" fmla="*/ 7 h 107"/>
                <a:gd name="T10" fmla="*/ 6 w 71"/>
                <a:gd name="T11" fmla="*/ 5 h 107"/>
                <a:gd name="T12" fmla="*/ 37 w 71"/>
                <a:gd name="T13" fmla="*/ 11 h 107"/>
                <a:gd name="T14" fmla="*/ 55 w 71"/>
                <a:gd name="T15" fmla="*/ 40 h 107"/>
                <a:gd name="T16" fmla="*/ 71 w 71"/>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07">
                  <a:moveTo>
                    <a:pt x="70" y="102"/>
                  </a:moveTo>
                  <a:cubicBezTo>
                    <a:pt x="65" y="88"/>
                    <a:pt x="52" y="78"/>
                    <a:pt x="40" y="69"/>
                  </a:cubicBezTo>
                  <a:cubicBezTo>
                    <a:pt x="27" y="61"/>
                    <a:pt x="14" y="52"/>
                    <a:pt x="7" y="39"/>
                  </a:cubicBezTo>
                  <a:cubicBezTo>
                    <a:pt x="2" y="30"/>
                    <a:pt x="0" y="20"/>
                    <a:pt x="2" y="10"/>
                  </a:cubicBezTo>
                  <a:cubicBezTo>
                    <a:pt x="2" y="9"/>
                    <a:pt x="2" y="8"/>
                    <a:pt x="3" y="7"/>
                  </a:cubicBezTo>
                  <a:cubicBezTo>
                    <a:pt x="4" y="6"/>
                    <a:pt x="5" y="5"/>
                    <a:pt x="6" y="5"/>
                  </a:cubicBezTo>
                  <a:cubicBezTo>
                    <a:pt x="16" y="0"/>
                    <a:pt x="29" y="4"/>
                    <a:pt x="37" y="11"/>
                  </a:cubicBezTo>
                  <a:cubicBezTo>
                    <a:pt x="46" y="19"/>
                    <a:pt x="51" y="29"/>
                    <a:pt x="55" y="40"/>
                  </a:cubicBezTo>
                  <a:cubicBezTo>
                    <a:pt x="64" y="61"/>
                    <a:pt x="70" y="84"/>
                    <a:pt x="71" y="107"/>
                  </a:cubicBezTo>
                </a:path>
              </a:pathLst>
            </a:custGeom>
            <a:solidFill>
              <a:srgbClr val="F5C82E"/>
            </a:solidFill>
            <a:ln>
              <a:noFill/>
            </a:ln>
          </p:spPr>
          <p:txBody>
            <a:bodyPr vert="horz" wrap="square" lIns="91440" tIns="45720" rIns="91440" bIns="45720" numCol="1" anchor="t" anchorCtr="0" compatLnSpc="1"/>
            <a:lstStyle/>
            <a:p>
              <a:endParaRPr lang="zh-CN" altLang="en-US"/>
            </a:p>
          </p:txBody>
        </p:sp>
        <p:sp>
          <p:nvSpPr>
            <p:cNvPr id="421" name="Freeform 198"/>
            <p:cNvSpPr/>
            <p:nvPr/>
          </p:nvSpPr>
          <p:spPr bwMode="auto">
            <a:xfrm>
              <a:off x="7738884" y="5361331"/>
              <a:ext cx="287850" cy="473245"/>
            </a:xfrm>
            <a:custGeom>
              <a:avLst/>
              <a:gdLst>
                <a:gd name="T0" fmla="*/ 0 w 85"/>
                <a:gd name="T1" fmla="*/ 135 h 140"/>
                <a:gd name="T2" fmla="*/ 30 w 85"/>
                <a:gd name="T3" fmla="*/ 34 h 140"/>
                <a:gd name="T4" fmla="*/ 66 w 85"/>
                <a:gd name="T5" fmla="*/ 0 h 140"/>
                <a:gd name="T6" fmla="*/ 78 w 85"/>
                <a:gd name="T7" fmla="*/ 2 h 140"/>
                <a:gd name="T8" fmla="*/ 84 w 85"/>
                <a:gd name="T9" fmla="*/ 17 h 140"/>
                <a:gd name="T10" fmla="*/ 79 w 85"/>
                <a:gd name="T11" fmla="*/ 33 h 140"/>
                <a:gd name="T12" fmla="*/ 43 w 85"/>
                <a:gd name="T13" fmla="*/ 79 h 140"/>
                <a:gd name="T14" fmla="*/ 19 w 85"/>
                <a:gd name="T15" fmla="*/ 100 h 140"/>
                <a:gd name="T16" fmla="*/ 0 w 85"/>
                <a:gd name="T17"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40">
                  <a:moveTo>
                    <a:pt x="0" y="135"/>
                  </a:moveTo>
                  <a:cubicBezTo>
                    <a:pt x="3" y="100"/>
                    <a:pt x="13" y="65"/>
                    <a:pt x="30" y="34"/>
                  </a:cubicBezTo>
                  <a:cubicBezTo>
                    <a:pt x="37" y="19"/>
                    <a:pt x="49" y="3"/>
                    <a:pt x="66" y="0"/>
                  </a:cubicBezTo>
                  <a:cubicBezTo>
                    <a:pt x="70" y="0"/>
                    <a:pt x="74" y="0"/>
                    <a:pt x="78" y="2"/>
                  </a:cubicBezTo>
                  <a:cubicBezTo>
                    <a:pt x="82" y="5"/>
                    <a:pt x="85" y="11"/>
                    <a:pt x="84" y="17"/>
                  </a:cubicBezTo>
                  <a:cubicBezTo>
                    <a:pt x="84" y="22"/>
                    <a:pt x="82" y="28"/>
                    <a:pt x="79" y="33"/>
                  </a:cubicBezTo>
                  <a:cubicBezTo>
                    <a:pt x="70" y="50"/>
                    <a:pt x="58" y="65"/>
                    <a:pt x="43" y="79"/>
                  </a:cubicBezTo>
                  <a:cubicBezTo>
                    <a:pt x="35" y="86"/>
                    <a:pt x="27" y="92"/>
                    <a:pt x="19" y="100"/>
                  </a:cubicBezTo>
                  <a:cubicBezTo>
                    <a:pt x="9" y="111"/>
                    <a:pt x="3" y="125"/>
                    <a:pt x="0" y="140"/>
                  </a:cubicBezTo>
                </a:path>
              </a:pathLst>
            </a:custGeom>
            <a:solidFill>
              <a:srgbClr val="F5C82E"/>
            </a:solidFill>
            <a:ln>
              <a:noFill/>
            </a:ln>
          </p:spPr>
          <p:txBody>
            <a:bodyPr vert="horz" wrap="square" lIns="91440" tIns="45720" rIns="91440" bIns="45720" numCol="1" anchor="t" anchorCtr="0" compatLnSpc="1"/>
            <a:lstStyle/>
            <a:p>
              <a:endParaRPr lang="zh-CN" altLang="en-US"/>
            </a:p>
          </p:txBody>
        </p:sp>
        <p:sp>
          <p:nvSpPr>
            <p:cNvPr id="422" name="Freeform 200"/>
            <p:cNvSpPr/>
            <p:nvPr/>
          </p:nvSpPr>
          <p:spPr bwMode="auto">
            <a:xfrm>
              <a:off x="7607155" y="4905975"/>
              <a:ext cx="235809" cy="962751"/>
            </a:xfrm>
            <a:custGeom>
              <a:avLst/>
              <a:gdLst>
                <a:gd name="T0" fmla="*/ 33 w 70"/>
                <a:gd name="T1" fmla="*/ 1 h 285"/>
                <a:gd name="T2" fmla="*/ 9 w 70"/>
                <a:gd name="T3" fmla="*/ 31 h 285"/>
                <a:gd name="T4" fmla="*/ 1 w 70"/>
                <a:gd name="T5" fmla="*/ 103 h 285"/>
                <a:gd name="T6" fmla="*/ 23 w 70"/>
                <a:gd name="T7" fmla="*/ 268 h 285"/>
                <a:gd name="T8" fmla="*/ 26 w 70"/>
                <a:gd name="T9" fmla="*/ 271 h 285"/>
                <a:gd name="T10" fmla="*/ 26 w 70"/>
                <a:gd name="T11" fmla="*/ 281 h 285"/>
                <a:gd name="T12" fmla="*/ 31 w 70"/>
                <a:gd name="T13" fmla="*/ 282 h 285"/>
                <a:gd name="T14" fmla="*/ 55 w 70"/>
                <a:gd name="T15" fmla="*/ 112 h 285"/>
                <a:gd name="T16" fmla="*/ 33 w 70"/>
                <a:gd name="T17" fmla="*/ 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285">
                  <a:moveTo>
                    <a:pt x="33" y="1"/>
                  </a:moveTo>
                  <a:cubicBezTo>
                    <a:pt x="19" y="0"/>
                    <a:pt x="13" y="20"/>
                    <a:pt x="9" y="31"/>
                  </a:cubicBezTo>
                  <a:cubicBezTo>
                    <a:pt x="1" y="54"/>
                    <a:pt x="0" y="79"/>
                    <a:pt x="1" y="103"/>
                  </a:cubicBezTo>
                  <a:cubicBezTo>
                    <a:pt x="3" y="159"/>
                    <a:pt x="10" y="214"/>
                    <a:pt x="23" y="268"/>
                  </a:cubicBezTo>
                  <a:cubicBezTo>
                    <a:pt x="23" y="270"/>
                    <a:pt x="24" y="271"/>
                    <a:pt x="26" y="271"/>
                  </a:cubicBezTo>
                  <a:cubicBezTo>
                    <a:pt x="26" y="274"/>
                    <a:pt x="26" y="278"/>
                    <a:pt x="26" y="281"/>
                  </a:cubicBezTo>
                  <a:cubicBezTo>
                    <a:pt x="26" y="284"/>
                    <a:pt x="30" y="285"/>
                    <a:pt x="31" y="282"/>
                  </a:cubicBezTo>
                  <a:cubicBezTo>
                    <a:pt x="44" y="227"/>
                    <a:pt x="51" y="168"/>
                    <a:pt x="55" y="112"/>
                  </a:cubicBezTo>
                  <a:cubicBezTo>
                    <a:pt x="57" y="93"/>
                    <a:pt x="70" y="2"/>
                    <a:pt x="33" y="1"/>
                  </a:cubicBezTo>
                  <a:close/>
                </a:path>
              </a:pathLst>
            </a:custGeom>
            <a:solidFill>
              <a:srgbClr val="F8DC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3" name="Freeform 201"/>
            <p:cNvSpPr/>
            <p:nvPr/>
          </p:nvSpPr>
          <p:spPr bwMode="auto">
            <a:xfrm>
              <a:off x="7606343" y="4905975"/>
              <a:ext cx="237436" cy="962751"/>
            </a:xfrm>
            <a:custGeom>
              <a:avLst/>
              <a:gdLst>
                <a:gd name="T0" fmla="*/ 33 w 70"/>
                <a:gd name="T1" fmla="*/ 1 h 285"/>
                <a:gd name="T2" fmla="*/ 9 w 70"/>
                <a:gd name="T3" fmla="*/ 31 h 285"/>
                <a:gd name="T4" fmla="*/ 1 w 70"/>
                <a:gd name="T5" fmla="*/ 103 h 285"/>
                <a:gd name="T6" fmla="*/ 23 w 70"/>
                <a:gd name="T7" fmla="*/ 268 h 285"/>
                <a:gd name="T8" fmla="*/ 25 w 70"/>
                <a:gd name="T9" fmla="*/ 271 h 285"/>
                <a:gd name="T10" fmla="*/ 26 w 70"/>
                <a:gd name="T11" fmla="*/ 281 h 285"/>
                <a:gd name="T12" fmla="*/ 31 w 70"/>
                <a:gd name="T13" fmla="*/ 282 h 285"/>
                <a:gd name="T14" fmla="*/ 55 w 70"/>
                <a:gd name="T15" fmla="*/ 112 h 285"/>
                <a:gd name="T16" fmla="*/ 33 w 70"/>
                <a:gd name="T17" fmla="*/ 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285">
                  <a:moveTo>
                    <a:pt x="33" y="1"/>
                  </a:moveTo>
                  <a:cubicBezTo>
                    <a:pt x="19" y="0"/>
                    <a:pt x="12" y="20"/>
                    <a:pt x="9" y="31"/>
                  </a:cubicBezTo>
                  <a:cubicBezTo>
                    <a:pt x="1" y="54"/>
                    <a:pt x="0" y="79"/>
                    <a:pt x="1" y="103"/>
                  </a:cubicBezTo>
                  <a:cubicBezTo>
                    <a:pt x="3" y="159"/>
                    <a:pt x="10" y="214"/>
                    <a:pt x="23" y="268"/>
                  </a:cubicBezTo>
                  <a:cubicBezTo>
                    <a:pt x="23" y="270"/>
                    <a:pt x="24" y="271"/>
                    <a:pt x="25" y="271"/>
                  </a:cubicBezTo>
                  <a:cubicBezTo>
                    <a:pt x="26" y="274"/>
                    <a:pt x="26" y="278"/>
                    <a:pt x="26" y="281"/>
                  </a:cubicBezTo>
                  <a:cubicBezTo>
                    <a:pt x="26" y="284"/>
                    <a:pt x="30" y="285"/>
                    <a:pt x="31" y="282"/>
                  </a:cubicBezTo>
                  <a:cubicBezTo>
                    <a:pt x="44" y="227"/>
                    <a:pt x="51" y="168"/>
                    <a:pt x="55" y="112"/>
                  </a:cubicBezTo>
                  <a:cubicBezTo>
                    <a:pt x="57" y="93"/>
                    <a:pt x="70" y="2"/>
                    <a:pt x="33" y="1"/>
                  </a:cubicBezTo>
                  <a:close/>
                </a:path>
              </a:pathLst>
            </a:custGeom>
            <a:gradFill>
              <a:gsLst>
                <a:gs pos="0">
                  <a:srgbClr val="D47301"/>
                </a:gs>
                <a:gs pos="100000">
                  <a:srgbClr val="F2B014"/>
                </a:gs>
              </a:gsLst>
              <a:lin ang="16200000" scaled="0"/>
            </a:gradFill>
            <a:ln>
              <a:noFill/>
            </a:ln>
          </p:spPr>
          <p:txBody>
            <a:bodyPr vert="horz" wrap="square" lIns="91440" tIns="45720" rIns="91440" bIns="45720" numCol="1" anchor="t" anchorCtr="0" compatLnSpc="1"/>
            <a:lstStyle/>
            <a:p>
              <a:endParaRPr lang="zh-CN" altLang="en-US"/>
            </a:p>
          </p:txBody>
        </p:sp>
        <p:sp>
          <p:nvSpPr>
            <p:cNvPr id="424" name="Freeform 202"/>
            <p:cNvSpPr/>
            <p:nvPr/>
          </p:nvSpPr>
          <p:spPr bwMode="auto">
            <a:xfrm>
              <a:off x="7475429" y="5467039"/>
              <a:ext cx="198404" cy="320375"/>
            </a:xfrm>
            <a:custGeom>
              <a:avLst/>
              <a:gdLst>
                <a:gd name="T0" fmla="*/ 59 w 59"/>
                <a:gd name="T1" fmla="*/ 92 h 95"/>
                <a:gd name="T2" fmla="*/ 3 w 59"/>
                <a:gd name="T3" fmla="*/ 1 h 95"/>
                <a:gd name="T4" fmla="*/ 1 w 59"/>
                <a:gd name="T5" fmla="*/ 4 h 95"/>
                <a:gd name="T6" fmla="*/ 56 w 59"/>
                <a:gd name="T7" fmla="*/ 93 h 95"/>
                <a:gd name="T8" fmla="*/ 59 w 59"/>
                <a:gd name="T9" fmla="*/ 92 h 95"/>
              </a:gdLst>
              <a:ahLst/>
              <a:cxnLst>
                <a:cxn ang="0">
                  <a:pos x="T0" y="T1"/>
                </a:cxn>
                <a:cxn ang="0">
                  <a:pos x="T2" y="T3"/>
                </a:cxn>
                <a:cxn ang="0">
                  <a:pos x="T4" y="T5"/>
                </a:cxn>
                <a:cxn ang="0">
                  <a:pos x="T6" y="T7"/>
                </a:cxn>
                <a:cxn ang="0">
                  <a:pos x="T8" y="T9"/>
                </a:cxn>
              </a:cxnLst>
              <a:rect l="0" t="0" r="r" b="b"/>
              <a:pathLst>
                <a:path w="59" h="95">
                  <a:moveTo>
                    <a:pt x="59" y="92"/>
                  </a:moveTo>
                  <a:cubicBezTo>
                    <a:pt x="53" y="56"/>
                    <a:pt x="34" y="22"/>
                    <a:pt x="3" y="1"/>
                  </a:cubicBezTo>
                  <a:cubicBezTo>
                    <a:pt x="2" y="0"/>
                    <a:pt x="0" y="2"/>
                    <a:pt x="1" y="4"/>
                  </a:cubicBezTo>
                  <a:cubicBezTo>
                    <a:pt x="30" y="27"/>
                    <a:pt x="49" y="56"/>
                    <a:pt x="56" y="93"/>
                  </a:cubicBezTo>
                  <a:cubicBezTo>
                    <a:pt x="57" y="95"/>
                    <a:pt x="59" y="94"/>
                    <a:pt x="59" y="92"/>
                  </a:cubicBezTo>
                  <a:close/>
                </a:path>
              </a:pathLst>
            </a:custGeom>
            <a:solidFill>
              <a:srgbClr val="E6B0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5" name="Freeform 203"/>
            <p:cNvSpPr/>
            <p:nvPr/>
          </p:nvSpPr>
          <p:spPr bwMode="auto">
            <a:xfrm>
              <a:off x="7717741" y="5432886"/>
              <a:ext cx="237436" cy="395183"/>
            </a:xfrm>
            <a:custGeom>
              <a:avLst/>
              <a:gdLst>
                <a:gd name="T0" fmla="*/ 4 w 70"/>
                <a:gd name="T1" fmla="*/ 114 h 117"/>
                <a:gd name="T2" fmla="*/ 69 w 70"/>
                <a:gd name="T3" fmla="*/ 3 h 117"/>
                <a:gd name="T4" fmla="*/ 67 w 70"/>
                <a:gd name="T5" fmla="*/ 1 h 117"/>
                <a:gd name="T6" fmla="*/ 1 w 70"/>
                <a:gd name="T7" fmla="*/ 113 h 117"/>
                <a:gd name="T8" fmla="*/ 4 w 70"/>
                <a:gd name="T9" fmla="*/ 114 h 117"/>
              </a:gdLst>
              <a:ahLst/>
              <a:cxnLst>
                <a:cxn ang="0">
                  <a:pos x="T0" y="T1"/>
                </a:cxn>
                <a:cxn ang="0">
                  <a:pos x="T2" y="T3"/>
                </a:cxn>
                <a:cxn ang="0">
                  <a:pos x="T4" y="T5"/>
                </a:cxn>
                <a:cxn ang="0">
                  <a:pos x="T6" y="T7"/>
                </a:cxn>
                <a:cxn ang="0">
                  <a:pos x="T8" y="T9"/>
                </a:cxn>
              </a:cxnLst>
              <a:rect l="0" t="0" r="r" b="b"/>
              <a:pathLst>
                <a:path w="70" h="117">
                  <a:moveTo>
                    <a:pt x="4" y="114"/>
                  </a:moveTo>
                  <a:cubicBezTo>
                    <a:pt x="19" y="73"/>
                    <a:pt x="43" y="38"/>
                    <a:pt x="69" y="3"/>
                  </a:cubicBezTo>
                  <a:cubicBezTo>
                    <a:pt x="70" y="2"/>
                    <a:pt x="68" y="0"/>
                    <a:pt x="67" y="1"/>
                  </a:cubicBezTo>
                  <a:cubicBezTo>
                    <a:pt x="37" y="34"/>
                    <a:pt x="18" y="73"/>
                    <a:pt x="1" y="113"/>
                  </a:cubicBezTo>
                  <a:cubicBezTo>
                    <a:pt x="0" y="116"/>
                    <a:pt x="3" y="117"/>
                    <a:pt x="4" y="114"/>
                  </a:cubicBezTo>
                  <a:close/>
                </a:path>
              </a:pathLst>
            </a:custGeom>
            <a:solidFill>
              <a:srgbClr val="E6B0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6" name="Freeform 204"/>
            <p:cNvSpPr/>
            <p:nvPr/>
          </p:nvSpPr>
          <p:spPr bwMode="auto">
            <a:xfrm>
              <a:off x="7685217" y="5024694"/>
              <a:ext cx="37405" cy="796872"/>
            </a:xfrm>
            <a:custGeom>
              <a:avLst/>
              <a:gdLst>
                <a:gd name="T0" fmla="*/ 9 w 11"/>
                <a:gd name="T1" fmla="*/ 233 h 236"/>
                <a:gd name="T2" fmla="*/ 8 w 11"/>
                <a:gd name="T3" fmla="*/ 118 h 236"/>
                <a:gd name="T4" fmla="*/ 9 w 11"/>
                <a:gd name="T5" fmla="*/ 3 h 236"/>
                <a:gd name="T6" fmla="*/ 5 w 11"/>
                <a:gd name="T7" fmla="*/ 2 h 236"/>
                <a:gd name="T8" fmla="*/ 3 w 11"/>
                <a:gd name="T9" fmla="*/ 114 h 236"/>
                <a:gd name="T10" fmla="*/ 5 w 11"/>
                <a:gd name="T11" fmla="*/ 233 h 236"/>
                <a:gd name="T12" fmla="*/ 9 w 11"/>
                <a:gd name="T13" fmla="*/ 233 h 236"/>
              </a:gdLst>
              <a:ahLst/>
              <a:cxnLst>
                <a:cxn ang="0">
                  <a:pos x="T0" y="T1"/>
                </a:cxn>
                <a:cxn ang="0">
                  <a:pos x="T2" y="T3"/>
                </a:cxn>
                <a:cxn ang="0">
                  <a:pos x="T4" y="T5"/>
                </a:cxn>
                <a:cxn ang="0">
                  <a:pos x="T6" y="T7"/>
                </a:cxn>
                <a:cxn ang="0">
                  <a:pos x="T8" y="T9"/>
                </a:cxn>
                <a:cxn ang="0">
                  <a:pos x="T10" y="T11"/>
                </a:cxn>
                <a:cxn ang="0">
                  <a:pos x="T12" y="T13"/>
                </a:cxn>
              </a:cxnLst>
              <a:rect l="0" t="0" r="r" b="b"/>
              <a:pathLst>
                <a:path w="11" h="236">
                  <a:moveTo>
                    <a:pt x="9" y="233"/>
                  </a:moveTo>
                  <a:cubicBezTo>
                    <a:pt x="10" y="195"/>
                    <a:pt x="9" y="156"/>
                    <a:pt x="8" y="118"/>
                  </a:cubicBezTo>
                  <a:cubicBezTo>
                    <a:pt x="8" y="80"/>
                    <a:pt x="11" y="41"/>
                    <a:pt x="9" y="3"/>
                  </a:cubicBezTo>
                  <a:cubicBezTo>
                    <a:pt x="8" y="1"/>
                    <a:pt x="6" y="0"/>
                    <a:pt x="5" y="2"/>
                  </a:cubicBezTo>
                  <a:cubicBezTo>
                    <a:pt x="0" y="39"/>
                    <a:pt x="3" y="77"/>
                    <a:pt x="3" y="114"/>
                  </a:cubicBezTo>
                  <a:cubicBezTo>
                    <a:pt x="4" y="154"/>
                    <a:pt x="4" y="193"/>
                    <a:pt x="5" y="233"/>
                  </a:cubicBezTo>
                  <a:cubicBezTo>
                    <a:pt x="5" y="236"/>
                    <a:pt x="9" y="236"/>
                    <a:pt x="9" y="233"/>
                  </a:cubicBezTo>
                  <a:close/>
                </a:path>
              </a:pathLst>
            </a:custGeom>
            <a:solidFill>
              <a:srgbClr val="F7CB33"/>
            </a:solidFill>
            <a:ln>
              <a:noFill/>
            </a:ln>
          </p:spPr>
          <p:txBody>
            <a:bodyPr vert="horz" wrap="square" lIns="91440" tIns="45720" rIns="91440" bIns="45720" numCol="1" anchor="t" anchorCtr="0" compatLnSpc="1"/>
            <a:lstStyle/>
            <a:p>
              <a:endParaRPr lang="zh-CN" altLang="en-US"/>
            </a:p>
          </p:txBody>
        </p:sp>
        <p:sp>
          <p:nvSpPr>
            <p:cNvPr id="427" name="Freeform 206"/>
            <p:cNvSpPr/>
            <p:nvPr/>
          </p:nvSpPr>
          <p:spPr bwMode="auto">
            <a:xfrm>
              <a:off x="7566499" y="5780907"/>
              <a:ext cx="313869" cy="256951"/>
            </a:xfrm>
            <a:custGeom>
              <a:avLst/>
              <a:gdLst>
                <a:gd name="T0" fmla="*/ 185 w 193"/>
                <a:gd name="T1" fmla="*/ 158 h 158"/>
                <a:gd name="T2" fmla="*/ 8 w 193"/>
                <a:gd name="T3" fmla="*/ 158 h 158"/>
                <a:gd name="T4" fmla="*/ 0 w 193"/>
                <a:gd name="T5" fmla="*/ 0 h 158"/>
                <a:gd name="T6" fmla="*/ 193 w 193"/>
                <a:gd name="T7" fmla="*/ 0 h 158"/>
                <a:gd name="T8" fmla="*/ 185 w 193"/>
                <a:gd name="T9" fmla="*/ 158 h 158"/>
              </a:gdLst>
              <a:ahLst/>
              <a:cxnLst>
                <a:cxn ang="0">
                  <a:pos x="T0" y="T1"/>
                </a:cxn>
                <a:cxn ang="0">
                  <a:pos x="T2" y="T3"/>
                </a:cxn>
                <a:cxn ang="0">
                  <a:pos x="T4" y="T5"/>
                </a:cxn>
                <a:cxn ang="0">
                  <a:pos x="T6" y="T7"/>
                </a:cxn>
                <a:cxn ang="0">
                  <a:pos x="T8" y="T9"/>
                </a:cxn>
              </a:cxnLst>
              <a:rect l="0" t="0" r="r" b="b"/>
              <a:pathLst>
                <a:path w="193" h="158">
                  <a:moveTo>
                    <a:pt x="185" y="158"/>
                  </a:moveTo>
                  <a:lnTo>
                    <a:pt x="8" y="158"/>
                  </a:lnTo>
                  <a:lnTo>
                    <a:pt x="0" y="0"/>
                  </a:lnTo>
                  <a:lnTo>
                    <a:pt x="193" y="0"/>
                  </a:lnTo>
                  <a:lnTo>
                    <a:pt x="185" y="158"/>
                  </a:ln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8" name="Freeform 207"/>
            <p:cNvSpPr/>
            <p:nvPr/>
          </p:nvSpPr>
          <p:spPr bwMode="auto">
            <a:xfrm>
              <a:off x="7566499" y="5780907"/>
              <a:ext cx="313869" cy="256951"/>
            </a:xfrm>
            <a:custGeom>
              <a:avLst/>
              <a:gdLst>
                <a:gd name="T0" fmla="*/ 185 w 193"/>
                <a:gd name="T1" fmla="*/ 158 h 158"/>
                <a:gd name="T2" fmla="*/ 8 w 193"/>
                <a:gd name="T3" fmla="*/ 158 h 158"/>
                <a:gd name="T4" fmla="*/ 0 w 193"/>
                <a:gd name="T5" fmla="*/ 0 h 158"/>
                <a:gd name="T6" fmla="*/ 193 w 193"/>
                <a:gd name="T7" fmla="*/ 0 h 158"/>
                <a:gd name="T8" fmla="*/ 185 w 193"/>
                <a:gd name="T9" fmla="*/ 158 h 158"/>
              </a:gdLst>
              <a:ahLst/>
              <a:cxnLst>
                <a:cxn ang="0">
                  <a:pos x="T0" y="T1"/>
                </a:cxn>
                <a:cxn ang="0">
                  <a:pos x="T2" y="T3"/>
                </a:cxn>
                <a:cxn ang="0">
                  <a:pos x="T4" y="T5"/>
                </a:cxn>
                <a:cxn ang="0">
                  <a:pos x="T6" y="T7"/>
                </a:cxn>
                <a:cxn ang="0">
                  <a:pos x="T8" y="T9"/>
                </a:cxn>
              </a:cxnLst>
              <a:rect l="0" t="0" r="r" b="b"/>
              <a:pathLst>
                <a:path w="193" h="158">
                  <a:moveTo>
                    <a:pt x="185" y="158"/>
                  </a:moveTo>
                  <a:lnTo>
                    <a:pt x="8" y="158"/>
                  </a:lnTo>
                  <a:lnTo>
                    <a:pt x="0" y="0"/>
                  </a:lnTo>
                  <a:lnTo>
                    <a:pt x="193" y="0"/>
                  </a:lnTo>
                  <a:lnTo>
                    <a:pt x="185" y="158"/>
                  </a:ln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9" name="Rectangle 208"/>
            <p:cNvSpPr/>
            <p:nvPr/>
          </p:nvSpPr>
          <p:spPr bwMode="auto">
            <a:xfrm>
              <a:off x="7538853" y="5743504"/>
              <a:ext cx="369163" cy="87819"/>
            </a:xfrm>
            <a:prstGeom prst="rect">
              <a:avLst/>
            </a:prstGeom>
            <a:solidFill>
              <a:srgbClr val="003A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30" name="Rectangle 209"/>
            <p:cNvSpPr/>
            <p:nvPr/>
          </p:nvSpPr>
          <p:spPr bwMode="auto">
            <a:xfrm>
              <a:off x="7538853" y="5743504"/>
              <a:ext cx="369163" cy="87819"/>
            </a:xfrm>
            <a:prstGeom prst="rect">
              <a:avLst/>
            </a:prstGeom>
            <a:solidFill>
              <a:srgbClr val="002488"/>
            </a:solidFill>
            <a:ln>
              <a:noFill/>
            </a:ln>
          </p:spPr>
          <p:txBody>
            <a:bodyPr vert="horz" wrap="square" lIns="91440" tIns="45720" rIns="91440" bIns="45720" numCol="1" anchor="t" anchorCtr="0" compatLnSpc="1"/>
            <a:lstStyle/>
            <a:p>
              <a:endParaRPr lang="zh-CN" altLang="en-US"/>
            </a:p>
          </p:txBody>
        </p:sp>
        <p:sp>
          <p:nvSpPr>
            <p:cNvPr id="431" name="Oval 167"/>
            <p:cNvSpPr/>
            <p:nvPr/>
          </p:nvSpPr>
          <p:spPr bwMode="auto">
            <a:xfrm>
              <a:off x="7543731" y="4287994"/>
              <a:ext cx="209789" cy="209789"/>
            </a:xfrm>
            <a:prstGeom prst="ellipse">
              <a:avLst/>
            </a:prstGeom>
            <a:solidFill>
              <a:srgbClr val="E57F00"/>
            </a:solidFill>
            <a:ln>
              <a:noFill/>
            </a:ln>
          </p:spPr>
          <p:txBody>
            <a:bodyPr vert="horz" wrap="square" lIns="91440" tIns="45720" rIns="91440" bIns="45720" numCol="1" anchor="t" anchorCtr="0" compatLnSpc="1"/>
            <a:lstStyle/>
            <a:p>
              <a:endParaRPr lang="zh-CN" altLang="en-US"/>
            </a:p>
          </p:txBody>
        </p:sp>
        <p:sp>
          <p:nvSpPr>
            <p:cNvPr id="432" name="Oval 179"/>
            <p:cNvSpPr/>
            <p:nvPr/>
          </p:nvSpPr>
          <p:spPr bwMode="auto">
            <a:xfrm>
              <a:off x="7522590" y="4281489"/>
              <a:ext cx="213041" cy="213041"/>
            </a:xfrm>
            <a:prstGeom prst="ellipse">
              <a:avLst/>
            </a:prstGeom>
            <a:solidFill>
              <a:srgbClr val="F8DC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433" name="等腰三角形 432"/>
          <p:cNvSpPr/>
          <p:nvPr userDrawn="1"/>
        </p:nvSpPr>
        <p:spPr>
          <a:xfrm flipV="1">
            <a:off x="9795249" y="3329878"/>
            <a:ext cx="1268317" cy="861864"/>
          </a:xfrm>
          <a:prstGeom prst="triangl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image" Target="../media/image2.png"/></Relationships>
</file>

<file path=ppt/slides/_rels/slide10.xml.rels><?xml version="1.0" encoding="UTF-8" standalone="yes"?>
<Relationships xmlns="http://schemas.openxmlformats.org/package/2006/relationships"><Relationship Id="rId9" Type="http://schemas.openxmlformats.org/officeDocument/2006/relationships/tags" Target="../tags/tag117.xml"/><Relationship Id="rId8" Type="http://schemas.openxmlformats.org/officeDocument/2006/relationships/tags" Target="../tags/tag116.xml"/><Relationship Id="rId7" Type="http://schemas.openxmlformats.org/officeDocument/2006/relationships/tags" Target="../tags/tag115.xml"/><Relationship Id="rId6" Type="http://schemas.openxmlformats.org/officeDocument/2006/relationships/tags" Target="../tags/tag114.xml"/><Relationship Id="rId5" Type="http://schemas.openxmlformats.org/officeDocument/2006/relationships/tags" Target="../tags/tag113.xml"/><Relationship Id="rId4" Type="http://schemas.openxmlformats.org/officeDocument/2006/relationships/tags" Target="../tags/tag112.xml"/><Relationship Id="rId33" Type="http://schemas.openxmlformats.org/officeDocument/2006/relationships/slideLayout" Target="../slideLayouts/slideLayout3.xml"/><Relationship Id="rId32" Type="http://schemas.openxmlformats.org/officeDocument/2006/relationships/tags" Target="../tags/tag135.xml"/><Relationship Id="rId31" Type="http://schemas.openxmlformats.org/officeDocument/2006/relationships/image" Target="../media/image21.png"/><Relationship Id="rId30" Type="http://schemas.openxmlformats.org/officeDocument/2006/relationships/tags" Target="../tags/tag134.xml"/><Relationship Id="rId3" Type="http://schemas.openxmlformats.org/officeDocument/2006/relationships/tags" Target="../tags/tag111.xml"/><Relationship Id="rId29" Type="http://schemas.openxmlformats.org/officeDocument/2006/relationships/tags" Target="../tags/tag133.xml"/><Relationship Id="rId28" Type="http://schemas.openxmlformats.org/officeDocument/2006/relationships/tags" Target="../tags/tag132.xml"/><Relationship Id="rId27" Type="http://schemas.openxmlformats.org/officeDocument/2006/relationships/image" Target="../media/image20.png"/><Relationship Id="rId26" Type="http://schemas.openxmlformats.org/officeDocument/2006/relationships/tags" Target="../tags/tag131.xml"/><Relationship Id="rId25" Type="http://schemas.openxmlformats.org/officeDocument/2006/relationships/image" Target="../media/image19.png"/><Relationship Id="rId24" Type="http://schemas.openxmlformats.org/officeDocument/2006/relationships/tags" Target="../tags/tag130.xml"/><Relationship Id="rId23" Type="http://schemas.openxmlformats.org/officeDocument/2006/relationships/image" Target="../media/image18.png"/><Relationship Id="rId22" Type="http://schemas.openxmlformats.org/officeDocument/2006/relationships/tags" Target="../tags/tag129.xml"/><Relationship Id="rId21" Type="http://schemas.openxmlformats.org/officeDocument/2006/relationships/image" Target="../media/image17.png"/><Relationship Id="rId20" Type="http://schemas.openxmlformats.org/officeDocument/2006/relationships/tags" Target="../tags/tag128.xml"/><Relationship Id="rId2" Type="http://schemas.openxmlformats.org/officeDocument/2006/relationships/tags" Target="../tags/tag110.xml"/><Relationship Id="rId19" Type="http://schemas.openxmlformats.org/officeDocument/2006/relationships/tags" Target="../tags/tag127.xml"/><Relationship Id="rId18" Type="http://schemas.openxmlformats.org/officeDocument/2006/relationships/tags" Target="../tags/tag126.xml"/><Relationship Id="rId17" Type="http://schemas.openxmlformats.org/officeDocument/2006/relationships/tags" Target="../tags/tag125.xml"/><Relationship Id="rId16" Type="http://schemas.openxmlformats.org/officeDocument/2006/relationships/tags" Target="../tags/tag124.xml"/><Relationship Id="rId15" Type="http://schemas.openxmlformats.org/officeDocument/2006/relationships/tags" Target="../tags/tag123.xml"/><Relationship Id="rId14" Type="http://schemas.openxmlformats.org/officeDocument/2006/relationships/tags" Target="../tags/tag122.xml"/><Relationship Id="rId13" Type="http://schemas.openxmlformats.org/officeDocument/2006/relationships/tags" Target="../tags/tag121.xml"/><Relationship Id="rId12" Type="http://schemas.openxmlformats.org/officeDocument/2006/relationships/tags" Target="../tags/tag120.xml"/><Relationship Id="rId11" Type="http://schemas.openxmlformats.org/officeDocument/2006/relationships/tags" Target="../tags/tag119.xml"/><Relationship Id="rId10" Type="http://schemas.openxmlformats.org/officeDocument/2006/relationships/tags" Target="../tags/tag118.xml"/><Relationship Id="rId1" Type="http://schemas.openxmlformats.org/officeDocument/2006/relationships/tags" Target="../tags/tag109.xml"/></Relationships>
</file>

<file path=ppt/slides/_rels/slide11.xml.rels><?xml version="1.0" encoding="UTF-8" standalone="yes"?>
<Relationships xmlns="http://schemas.openxmlformats.org/package/2006/relationships"><Relationship Id="rId9" Type="http://schemas.openxmlformats.org/officeDocument/2006/relationships/tags" Target="../tags/tag144.xml"/><Relationship Id="rId8" Type="http://schemas.openxmlformats.org/officeDocument/2006/relationships/tags" Target="../tags/tag143.xml"/><Relationship Id="rId7" Type="http://schemas.openxmlformats.org/officeDocument/2006/relationships/tags" Target="../tags/tag142.xml"/><Relationship Id="rId67" Type="http://schemas.openxmlformats.org/officeDocument/2006/relationships/slideLayout" Target="../slideLayouts/slideLayout3.xml"/><Relationship Id="rId66" Type="http://schemas.openxmlformats.org/officeDocument/2006/relationships/tags" Target="../tags/tag197.xml"/><Relationship Id="rId65" Type="http://schemas.openxmlformats.org/officeDocument/2006/relationships/tags" Target="../tags/tag196.xml"/><Relationship Id="rId64" Type="http://schemas.openxmlformats.org/officeDocument/2006/relationships/tags" Target="../tags/tag195.xml"/><Relationship Id="rId63" Type="http://schemas.openxmlformats.org/officeDocument/2006/relationships/tags" Target="../tags/tag194.xml"/><Relationship Id="rId62" Type="http://schemas.openxmlformats.org/officeDocument/2006/relationships/tags" Target="../tags/tag193.xml"/><Relationship Id="rId61" Type="http://schemas.openxmlformats.org/officeDocument/2006/relationships/tags" Target="../tags/tag192.xml"/><Relationship Id="rId60" Type="http://schemas.openxmlformats.org/officeDocument/2006/relationships/tags" Target="../tags/tag191.xml"/><Relationship Id="rId6" Type="http://schemas.openxmlformats.org/officeDocument/2006/relationships/tags" Target="../tags/tag141.xml"/><Relationship Id="rId59" Type="http://schemas.openxmlformats.org/officeDocument/2006/relationships/image" Target="../media/image12.png"/><Relationship Id="rId58" Type="http://schemas.openxmlformats.org/officeDocument/2006/relationships/tags" Target="../tags/tag190.xml"/><Relationship Id="rId57" Type="http://schemas.openxmlformats.org/officeDocument/2006/relationships/tags" Target="../tags/tag189.xml"/><Relationship Id="rId56" Type="http://schemas.openxmlformats.org/officeDocument/2006/relationships/tags" Target="../tags/tag188.xml"/><Relationship Id="rId55" Type="http://schemas.openxmlformats.org/officeDocument/2006/relationships/tags" Target="../tags/tag187.xml"/><Relationship Id="rId54" Type="http://schemas.openxmlformats.org/officeDocument/2006/relationships/tags" Target="../tags/tag186.xml"/><Relationship Id="rId53" Type="http://schemas.openxmlformats.org/officeDocument/2006/relationships/tags" Target="../tags/tag185.xml"/><Relationship Id="rId52" Type="http://schemas.openxmlformats.org/officeDocument/2006/relationships/tags" Target="../tags/tag184.xml"/><Relationship Id="rId51" Type="http://schemas.openxmlformats.org/officeDocument/2006/relationships/tags" Target="../tags/tag183.xml"/><Relationship Id="rId50" Type="http://schemas.openxmlformats.org/officeDocument/2006/relationships/tags" Target="../tags/tag182.xml"/><Relationship Id="rId5" Type="http://schemas.openxmlformats.org/officeDocument/2006/relationships/tags" Target="../tags/tag140.xml"/><Relationship Id="rId49" Type="http://schemas.openxmlformats.org/officeDocument/2006/relationships/tags" Target="../tags/tag181.xml"/><Relationship Id="rId48" Type="http://schemas.openxmlformats.org/officeDocument/2006/relationships/tags" Target="../tags/tag180.xml"/><Relationship Id="rId47" Type="http://schemas.openxmlformats.org/officeDocument/2006/relationships/tags" Target="../tags/tag179.xml"/><Relationship Id="rId46" Type="http://schemas.openxmlformats.org/officeDocument/2006/relationships/tags" Target="../tags/tag178.xml"/><Relationship Id="rId45" Type="http://schemas.openxmlformats.org/officeDocument/2006/relationships/tags" Target="../tags/tag177.xml"/><Relationship Id="rId44" Type="http://schemas.openxmlformats.org/officeDocument/2006/relationships/tags" Target="../tags/tag176.xml"/><Relationship Id="rId43" Type="http://schemas.openxmlformats.org/officeDocument/2006/relationships/image" Target="../media/image24.png"/><Relationship Id="rId42" Type="http://schemas.openxmlformats.org/officeDocument/2006/relationships/tags" Target="../tags/tag175.xml"/><Relationship Id="rId41" Type="http://schemas.openxmlformats.org/officeDocument/2006/relationships/image" Target="../media/image23.png"/><Relationship Id="rId40" Type="http://schemas.openxmlformats.org/officeDocument/2006/relationships/tags" Target="../tags/tag174.xml"/><Relationship Id="rId4" Type="http://schemas.openxmlformats.org/officeDocument/2006/relationships/tags" Target="../tags/tag139.xml"/><Relationship Id="rId39" Type="http://schemas.openxmlformats.org/officeDocument/2006/relationships/tags" Target="../tags/tag173.xml"/><Relationship Id="rId38" Type="http://schemas.openxmlformats.org/officeDocument/2006/relationships/tags" Target="../tags/tag172.xml"/><Relationship Id="rId37" Type="http://schemas.openxmlformats.org/officeDocument/2006/relationships/tags" Target="../tags/tag171.xml"/><Relationship Id="rId36" Type="http://schemas.openxmlformats.org/officeDocument/2006/relationships/tags" Target="../tags/tag170.xml"/><Relationship Id="rId35" Type="http://schemas.openxmlformats.org/officeDocument/2006/relationships/tags" Target="../tags/tag169.xml"/><Relationship Id="rId34" Type="http://schemas.openxmlformats.org/officeDocument/2006/relationships/tags" Target="../tags/tag168.xml"/><Relationship Id="rId33" Type="http://schemas.openxmlformats.org/officeDocument/2006/relationships/tags" Target="../tags/tag167.xml"/><Relationship Id="rId32" Type="http://schemas.openxmlformats.org/officeDocument/2006/relationships/tags" Target="../tags/tag166.xml"/><Relationship Id="rId31" Type="http://schemas.openxmlformats.org/officeDocument/2006/relationships/tags" Target="../tags/tag165.xml"/><Relationship Id="rId30" Type="http://schemas.openxmlformats.org/officeDocument/2006/relationships/tags" Target="../tags/tag164.xml"/><Relationship Id="rId3" Type="http://schemas.openxmlformats.org/officeDocument/2006/relationships/tags" Target="../tags/tag138.xml"/><Relationship Id="rId29" Type="http://schemas.openxmlformats.org/officeDocument/2006/relationships/tags" Target="../tags/tag163.xml"/><Relationship Id="rId28" Type="http://schemas.openxmlformats.org/officeDocument/2006/relationships/tags" Target="../tags/tag162.xml"/><Relationship Id="rId27" Type="http://schemas.openxmlformats.org/officeDocument/2006/relationships/tags" Target="../tags/tag161.xml"/><Relationship Id="rId26" Type="http://schemas.openxmlformats.org/officeDocument/2006/relationships/tags" Target="../tags/tag160.xml"/><Relationship Id="rId25" Type="http://schemas.openxmlformats.org/officeDocument/2006/relationships/tags" Target="../tags/tag159.xml"/><Relationship Id="rId24" Type="http://schemas.openxmlformats.org/officeDocument/2006/relationships/tags" Target="../tags/tag158.xml"/><Relationship Id="rId23" Type="http://schemas.openxmlformats.org/officeDocument/2006/relationships/tags" Target="../tags/tag157.xml"/><Relationship Id="rId22" Type="http://schemas.openxmlformats.org/officeDocument/2006/relationships/tags" Target="../tags/tag156.xml"/><Relationship Id="rId21" Type="http://schemas.openxmlformats.org/officeDocument/2006/relationships/tags" Target="../tags/tag155.xml"/><Relationship Id="rId20" Type="http://schemas.openxmlformats.org/officeDocument/2006/relationships/tags" Target="../tags/tag154.xml"/><Relationship Id="rId2" Type="http://schemas.openxmlformats.org/officeDocument/2006/relationships/tags" Target="../tags/tag137.xml"/><Relationship Id="rId19" Type="http://schemas.openxmlformats.org/officeDocument/2006/relationships/tags" Target="../tags/tag153.xml"/><Relationship Id="rId18" Type="http://schemas.openxmlformats.org/officeDocument/2006/relationships/tags" Target="../tags/tag152.xml"/><Relationship Id="rId17" Type="http://schemas.openxmlformats.org/officeDocument/2006/relationships/tags" Target="../tags/tag151.xml"/><Relationship Id="rId16" Type="http://schemas.openxmlformats.org/officeDocument/2006/relationships/tags" Target="../tags/tag150.xml"/><Relationship Id="rId15" Type="http://schemas.openxmlformats.org/officeDocument/2006/relationships/tags" Target="../tags/tag149.xml"/><Relationship Id="rId14" Type="http://schemas.openxmlformats.org/officeDocument/2006/relationships/tags" Target="../tags/tag148.xml"/><Relationship Id="rId13" Type="http://schemas.openxmlformats.org/officeDocument/2006/relationships/tags" Target="../tags/tag147.xml"/><Relationship Id="rId12" Type="http://schemas.openxmlformats.org/officeDocument/2006/relationships/tags" Target="../tags/tag146.xml"/><Relationship Id="rId11" Type="http://schemas.openxmlformats.org/officeDocument/2006/relationships/tags" Target="../tags/tag145.xml"/><Relationship Id="rId10" Type="http://schemas.openxmlformats.org/officeDocument/2006/relationships/image" Target="../media/image22.png"/><Relationship Id="rId1" Type="http://schemas.openxmlformats.org/officeDocument/2006/relationships/tags" Target="../tags/tag136.xml"/></Relationships>
</file>

<file path=ppt/slides/_rels/slide12.xml.rels><?xml version="1.0" encoding="UTF-8" standalone="yes"?>
<Relationships xmlns="http://schemas.openxmlformats.org/package/2006/relationships"><Relationship Id="rId99" Type="http://schemas.openxmlformats.org/officeDocument/2006/relationships/tags" Target="../tags/tag296.xml"/><Relationship Id="rId98" Type="http://schemas.openxmlformats.org/officeDocument/2006/relationships/tags" Target="../tags/tag295.xml"/><Relationship Id="rId97" Type="http://schemas.openxmlformats.org/officeDocument/2006/relationships/tags" Target="../tags/tag294.xml"/><Relationship Id="rId96" Type="http://schemas.openxmlformats.org/officeDocument/2006/relationships/tags" Target="../tags/tag293.xml"/><Relationship Id="rId95" Type="http://schemas.openxmlformats.org/officeDocument/2006/relationships/tags" Target="../tags/tag292.xml"/><Relationship Id="rId94" Type="http://schemas.openxmlformats.org/officeDocument/2006/relationships/tags" Target="../tags/tag291.xml"/><Relationship Id="rId93" Type="http://schemas.openxmlformats.org/officeDocument/2006/relationships/tags" Target="../tags/tag290.xml"/><Relationship Id="rId92" Type="http://schemas.openxmlformats.org/officeDocument/2006/relationships/tags" Target="../tags/tag289.xml"/><Relationship Id="rId91" Type="http://schemas.openxmlformats.org/officeDocument/2006/relationships/tags" Target="../tags/tag288.xml"/><Relationship Id="rId90" Type="http://schemas.openxmlformats.org/officeDocument/2006/relationships/tags" Target="../tags/tag287.xml"/><Relationship Id="rId9" Type="http://schemas.openxmlformats.org/officeDocument/2006/relationships/tags" Target="../tags/tag206.xml"/><Relationship Id="rId89" Type="http://schemas.openxmlformats.org/officeDocument/2006/relationships/tags" Target="../tags/tag286.xml"/><Relationship Id="rId88" Type="http://schemas.openxmlformats.org/officeDocument/2006/relationships/tags" Target="../tags/tag285.xml"/><Relationship Id="rId87" Type="http://schemas.openxmlformats.org/officeDocument/2006/relationships/tags" Target="../tags/tag284.xml"/><Relationship Id="rId86" Type="http://schemas.openxmlformats.org/officeDocument/2006/relationships/tags" Target="../tags/tag283.xml"/><Relationship Id="rId85" Type="http://schemas.openxmlformats.org/officeDocument/2006/relationships/tags" Target="../tags/tag282.xml"/><Relationship Id="rId84" Type="http://schemas.openxmlformats.org/officeDocument/2006/relationships/tags" Target="../tags/tag281.xml"/><Relationship Id="rId83" Type="http://schemas.openxmlformats.org/officeDocument/2006/relationships/tags" Target="../tags/tag280.xml"/><Relationship Id="rId82" Type="http://schemas.openxmlformats.org/officeDocument/2006/relationships/tags" Target="../tags/tag279.xml"/><Relationship Id="rId81" Type="http://schemas.openxmlformats.org/officeDocument/2006/relationships/tags" Target="../tags/tag278.xml"/><Relationship Id="rId80" Type="http://schemas.openxmlformats.org/officeDocument/2006/relationships/tags" Target="../tags/tag277.xml"/><Relationship Id="rId8" Type="http://schemas.openxmlformats.org/officeDocument/2006/relationships/tags" Target="../tags/tag205.xml"/><Relationship Id="rId79" Type="http://schemas.openxmlformats.org/officeDocument/2006/relationships/tags" Target="../tags/tag276.xml"/><Relationship Id="rId78" Type="http://schemas.openxmlformats.org/officeDocument/2006/relationships/tags" Target="../tags/tag275.xml"/><Relationship Id="rId77" Type="http://schemas.openxmlformats.org/officeDocument/2006/relationships/tags" Target="../tags/tag274.xml"/><Relationship Id="rId76" Type="http://schemas.openxmlformats.org/officeDocument/2006/relationships/tags" Target="../tags/tag273.xml"/><Relationship Id="rId75" Type="http://schemas.openxmlformats.org/officeDocument/2006/relationships/tags" Target="../tags/tag272.xml"/><Relationship Id="rId74" Type="http://schemas.openxmlformats.org/officeDocument/2006/relationships/tags" Target="../tags/tag271.xml"/><Relationship Id="rId73" Type="http://schemas.openxmlformats.org/officeDocument/2006/relationships/tags" Target="../tags/tag270.xml"/><Relationship Id="rId72" Type="http://schemas.openxmlformats.org/officeDocument/2006/relationships/tags" Target="../tags/tag269.xml"/><Relationship Id="rId71" Type="http://schemas.openxmlformats.org/officeDocument/2006/relationships/tags" Target="../tags/tag268.xml"/><Relationship Id="rId70" Type="http://schemas.openxmlformats.org/officeDocument/2006/relationships/tags" Target="../tags/tag267.xml"/><Relationship Id="rId7" Type="http://schemas.openxmlformats.org/officeDocument/2006/relationships/tags" Target="../tags/tag204.xml"/><Relationship Id="rId69" Type="http://schemas.openxmlformats.org/officeDocument/2006/relationships/tags" Target="../tags/tag266.xml"/><Relationship Id="rId68" Type="http://schemas.openxmlformats.org/officeDocument/2006/relationships/tags" Target="../tags/tag265.xml"/><Relationship Id="rId67" Type="http://schemas.openxmlformats.org/officeDocument/2006/relationships/tags" Target="../tags/tag264.xml"/><Relationship Id="rId66" Type="http://schemas.openxmlformats.org/officeDocument/2006/relationships/tags" Target="../tags/tag263.xml"/><Relationship Id="rId65" Type="http://schemas.openxmlformats.org/officeDocument/2006/relationships/tags" Target="../tags/tag262.xml"/><Relationship Id="rId64" Type="http://schemas.openxmlformats.org/officeDocument/2006/relationships/tags" Target="../tags/tag261.xml"/><Relationship Id="rId63" Type="http://schemas.openxmlformats.org/officeDocument/2006/relationships/tags" Target="../tags/tag260.xml"/><Relationship Id="rId62" Type="http://schemas.openxmlformats.org/officeDocument/2006/relationships/tags" Target="../tags/tag259.xml"/><Relationship Id="rId61" Type="http://schemas.openxmlformats.org/officeDocument/2006/relationships/tags" Target="../tags/tag258.xml"/><Relationship Id="rId60" Type="http://schemas.openxmlformats.org/officeDocument/2006/relationships/tags" Target="../tags/tag257.xml"/><Relationship Id="rId6" Type="http://schemas.openxmlformats.org/officeDocument/2006/relationships/tags" Target="../tags/tag203.xml"/><Relationship Id="rId59" Type="http://schemas.openxmlformats.org/officeDocument/2006/relationships/tags" Target="../tags/tag256.xml"/><Relationship Id="rId58" Type="http://schemas.openxmlformats.org/officeDocument/2006/relationships/tags" Target="../tags/tag255.xml"/><Relationship Id="rId57" Type="http://schemas.openxmlformats.org/officeDocument/2006/relationships/tags" Target="../tags/tag254.xml"/><Relationship Id="rId56" Type="http://schemas.openxmlformats.org/officeDocument/2006/relationships/tags" Target="../tags/tag253.xml"/><Relationship Id="rId55" Type="http://schemas.openxmlformats.org/officeDocument/2006/relationships/tags" Target="../tags/tag252.xml"/><Relationship Id="rId54" Type="http://schemas.openxmlformats.org/officeDocument/2006/relationships/tags" Target="../tags/tag251.xml"/><Relationship Id="rId53" Type="http://schemas.openxmlformats.org/officeDocument/2006/relationships/tags" Target="../tags/tag250.xml"/><Relationship Id="rId52" Type="http://schemas.openxmlformats.org/officeDocument/2006/relationships/tags" Target="../tags/tag249.xml"/><Relationship Id="rId51" Type="http://schemas.openxmlformats.org/officeDocument/2006/relationships/tags" Target="../tags/tag248.xml"/><Relationship Id="rId50" Type="http://schemas.openxmlformats.org/officeDocument/2006/relationships/tags" Target="../tags/tag247.xml"/><Relationship Id="rId5" Type="http://schemas.openxmlformats.org/officeDocument/2006/relationships/tags" Target="../tags/tag202.xml"/><Relationship Id="rId49" Type="http://schemas.openxmlformats.org/officeDocument/2006/relationships/tags" Target="../tags/tag246.xml"/><Relationship Id="rId48" Type="http://schemas.openxmlformats.org/officeDocument/2006/relationships/tags" Target="../tags/tag245.xml"/><Relationship Id="rId47" Type="http://schemas.openxmlformats.org/officeDocument/2006/relationships/tags" Target="../tags/tag244.xml"/><Relationship Id="rId46" Type="http://schemas.openxmlformats.org/officeDocument/2006/relationships/tags" Target="../tags/tag243.xml"/><Relationship Id="rId45" Type="http://schemas.openxmlformats.org/officeDocument/2006/relationships/tags" Target="../tags/tag242.xml"/><Relationship Id="rId44" Type="http://schemas.openxmlformats.org/officeDocument/2006/relationships/tags" Target="../tags/tag241.xml"/><Relationship Id="rId43" Type="http://schemas.openxmlformats.org/officeDocument/2006/relationships/tags" Target="../tags/tag240.xml"/><Relationship Id="rId42" Type="http://schemas.openxmlformats.org/officeDocument/2006/relationships/tags" Target="../tags/tag239.xml"/><Relationship Id="rId41" Type="http://schemas.openxmlformats.org/officeDocument/2006/relationships/tags" Target="../tags/tag238.xml"/><Relationship Id="rId40" Type="http://schemas.openxmlformats.org/officeDocument/2006/relationships/tags" Target="../tags/tag237.xml"/><Relationship Id="rId4" Type="http://schemas.openxmlformats.org/officeDocument/2006/relationships/tags" Target="../tags/tag201.xml"/><Relationship Id="rId39" Type="http://schemas.openxmlformats.org/officeDocument/2006/relationships/tags" Target="../tags/tag236.xml"/><Relationship Id="rId38" Type="http://schemas.openxmlformats.org/officeDocument/2006/relationships/tags" Target="../tags/tag235.xml"/><Relationship Id="rId37" Type="http://schemas.openxmlformats.org/officeDocument/2006/relationships/tags" Target="../tags/tag234.xml"/><Relationship Id="rId36" Type="http://schemas.openxmlformats.org/officeDocument/2006/relationships/tags" Target="../tags/tag233.xml"/><Relationship Id="rId35" Type="http://schemas.openxmlformats.org/officeDocument/2006/relationships/tags" Target="../tags/tag232.xml"/><Relationship Id="rId34" Type="http://schemas.openxmlformats.org/officeDocument/2006/relationships/tags" Target="../tags/tag231.xml"/><Relationship Id="rId33" Type="http://schemas.openxmlformats.org/officeDocument/2006/relationships/tags" Target="../tags/tag230.xml"/><Relationship Id="rId32" Type="http://schemas.openxmlformats.org/officeDocument/2006/relationships/tags" Target="../tags/tag229.xml"/><Relationship Id="rId31" Type="http://schemas.openxmlformats.org/officeDocument/2006/relationships/tags" Target="../tags/tag228.xml"/><Relationship Id="rId30" Type="http://schemas.openxmlformats.org/officeDocument/2006/relationships/tags" Target="../tags/tag227.xml"/><Relationship Id="rId3" Type="http://schemas.openxmlformats.org/officeDocument/2006/relationships/tags" Target="../tags/tag200.xml"/><Relationship Id="rId29" Type="http://schemas.openxmlformats.org/officeDocument/2006/relationships/tags" Target="../tags/tag226.xml"/><Relationship Id="rId28" Type="http://schemas.openxmlformats.org/officeDocument/2006/relationships/tags" Target="../tags/tag225.xml"/><Relationship Id="rId27" Type="http://schemas.openxmlformats.org/officeDocument/2006/relationships/tags" Target="../tags/tag224.xml"/><Relationship Id="rId26" Type="http://schemas.openxmlformats.org/officeDocument/2006/relationships/tags" Target="../tags/tag223.xml"/><Relationship Id="rId25" Type="http://schemas.openxmlformats.org/officeDocument/2006/relationships/tags" Target="../tags/tag222.xml"/><Relationship Id="rId24" Type="http://schemas.openxmlformats.org/officeDocument/2006/relationships/tags" Target="../tags/tag221.xml"/><Relationship Id="rId23" Type="http://schemas.openxmlformats.org/officeDocument/2006/relationships/tags" Target="../tags/tag220.xml"/><Relationship Id="rId22" Type="http://schemas.openxmlformats.org/officeDocument/2006/relationships/tags" Target="../tags/tag219.xml"/><Relationship Id="rId21" Type="http://schemas.openxmlformats.org/officeDocument/2006/relationships/tags" Target="../tags/tag218.xml"/><Relationship Id="rId20" Type="http://schemas.openxmlformats.org/officeDocument/2006/relationships/tags" Target="../tags/tag217.xml"/><Relationship Id="rId2" Type="http://schemas.openxmlformats.org/officeDocument/2006/relationships/tags" Target="../tags/tag199.xml"/><Relationship Id="rId19" Type="http://schemas.openxmlformats.org/officeDocument/2006/relationships/tags" Target="../tags/tag216.xml"/><Relationship Id="rId18" Type="http://schemas.openxmlformats.org/officeDocument/2006/relationships/tags" Target="../tags/tag215.xml"/><Relationship Id="rId17" Type="http://schemas.openxmlformats.org/officeDocument/2006/relationships/tags" Target="../tags/tag214.xml"/><Relationship Id="rId16" Type="http://schemas.openxmlformats.org/officeDocument/2006/relationships/tags" Target="../tags/tag213.xml"/><Relationship Id="rId15" Type="http://schemas.openxmlformats.org/officeDocument/2006/relationships/tags" Target="../tags/tag212.xml"/><Relationship Id="rId14" Type="http://schemas.openxmlformats.org/officeDocument/2006/relationships/tags" Target="../tags/tag211.xml"/><Relationship Id="rId13" Type="http://schemas.openxmlformats.org/officeDocument/2006/relationships/tags" Target="../tags/tag210.xml"/><Relationship Id="rId128" Type="http://schemas.openxmlformats.org/officeDocument/2006/relationships/slideLayout" Target="../slideLayouts/slideLayout3.xml"/><Relationship Id="rId127" Type="http://schemas.openxmlformats.org/officeDocument/2006/relationships/tags" Target="../tags/tag324.xml"/><Relationship Id="rId126" Type="http://schemas.openxmlformats.org/officeDocument/2006/relationships/tags" Target="../tags/tag323.xml"/><Relationship Id="rId125" Type="http://schemas.openxmlformats.org/officeDocument/2006/relationships/tags" Target="../tags/tag322.xml"/><Relationship Id="rId124" Type="http://schemas.openxmlformats.org/officeDocument/2006/relationships/tags" Target="../tags/tag321.xml"/><Relationship Id="rId123" Type="http://schemas.openxmlformats.org/officeDocument/2006/relationships/tags" Target="../tags/tag320.xml"/><Relationship Id="rId122" Type="http://schemas.openxmlformats.org/officeDocument/2006/relationships/tags" Target="../tags/tag319.xml"/><Relationship Id="rId121" Type="http://schemas.openxmlformats.org/officeDocument/2006/relationships/tags" Target="../tags/tag318.xml"/><Relationship Id="rId120" Type="http://schemas.openxmlformats.org/officeDocument/2006/relationships/tags" Target="../tags/tag317.xml"/><Relationship Id="rId12" Type="http://schemas.openxmlformats.org/officeDocument/2006/relationships/tags" Target="../tags/tag209.xml"/><Relationship Id="rId119" Type="http://schemas.openxmlformats.org/officeDocument/2006/relationships/tags" Target="../tags/tag316.xml"/><Relationship Id="rId118" Type="http://schemas.openxmlformats.org/officeDocument/2006/relationships/tags" Target="../tags/tag315.xml"/><Relationship Id="rId117" Type="http://schemas.openxmlformats.org/officeDocument/2006/relationships/tags" Target="../tags/tag314.xml"/><Relationship Id="rId116" Type="http://schemas.openxmlformats.org/officeDocument/2006/relationships/tags" Target="../tags/tag313.xml"/><Relationship Id="rId115" Type="http://schemas.openxmlformats.org/officeDocument/2006/relationships/tags" Target="../tags/tag312.xml"/><Relationship Id="rId114" Type="http://schemas.openxmlformats.org/officeDocument/2006/relationships/tags" Target="../tags/tag311.xml"/><Relationship Id="rId113" Type="http://schemas.openxmlformats.org/officeDocument/2006/relationships/tags" Target="../tags/tag310.xml"/><Relationship Id="rId112" Type="http://schemas.openxmlformats.org/officeDocument/2006/relationships/tags" Target="../tags/tag309.xml"/><Relationship Id="rId111" Type="http://schemas.openxmlformats.org/officeDocument/2006/relationships/tags" Target="../tags/tag308.xml"/><Relationship Id="rId110" Type="http://schemas.openxmlformats.org/officeDocument/2006/relationships/tags" Target="../tags/tag307.xml"/><Relationship Id="rId11" Type="http://schemas.openxmlformats.org/officeDocument/2006/relationships/tags" Target="../tags/tag208.xml"/><Relationship Id="rId109" Type="http://schemas.openxmlformats.org/officeDocument/2006/relationships/tags" Target="../tags/tag306.xml"/><Relationship Id="rId108" Type="http://schemas.openxmlformats.org/officeDocument/2006/relationships/tags" Target="../tags/tag305.xml"/><Relationship Id="rId107" Type="http://schemas.openxmlformats.org/officeDocument/2006/relationships/tags" Target="../tags/tag304.xml"/><Relationship Id="rId106" Type="http://schemas.openxmlformats.org/officeDocument/2006/relationships/tags" Target="../tags/tag303.xml"/><Relationship Id="rId105" Type="http://schemas.openxmlformats.org/officeDocument/2006/relationships/tags" Target="../tags/tag302.xml"/><Relationship Id="rId104" Type="http://schemas.openxmlformats.org/officeDocument/2006/relationships/tags" Target="../tags/tag301.xml"/><Relationship Id="rId103" Type="http://schemas.openxmlformats.org/officeDocument/2006/relationships/tags" Target="../tags/tag300.xml"/><Relationship Id="rId102" Type="http://schemas.openxmlformats.org/officeDocument/2006/relationships/tags" Target="../tags/tag299.xml"/><Relationship Id="rId101" Type="http://schemas.openxmlformats.org/officeDocument/2006/relationships/tags" Target="../tags/tag298.xml"/><Relationship Id="rId100" Type="http://schemas.openxmlformats.org/officeDocument/2006/relationships/tags" Target="../tags/tag297.xml"/><Relationship Id="rId10" Type="http://schemas.openxmlformats.org/officeDocument/2006/relationships/tags" Target="../tags/tag207.xml"/><Relationship Id="rId1" Type="http://schemas.openxmlformats.org/officeDocument/2006/relationships/tags" Target="../tags/tag198.xml"/></Relationships>
</file>

<file path=ppt/slides/_rels/slide13.xml.rels><?xml version="1.0" encoding="UTF-8" standalone="yes"?>
<Relationships xmlns="http://schemas.openxmlformats.org/package/2006/relationships"><Relationship Id="rId9" Type="http://schemas.openxmlformats.org/officeDocument/2006/relationships/tags" Target="../tags/tag330.xml"/><Relationship Id="rId8" Type="http://schemas.openxmlformats.org/officeDocument/2006/relationships/tags" Target="../tags/tag329.xml"/><Relationship Id="rId7" Type="http://schemas.openxmlformats.org/officeDocument/2006/relationships/image" Target="../media/image27.jpeg"/><Relationship Id="rId65" Type="http://schemas.openxmlformats.org/officeDocument/2006/relationships/slideLayout" Target="../slideLayouts/slideLayout3.xml"/><Relationship Id="rId64" Type="http://schemas.openxmlformats.org/officeDocument/2006/relationships/tags" Target="../tags/tag384.xml"/><Relationship Id="rId63" Type="http://schemas.openxmlformats.org/officeDocument/2006/relationships/tags" Target="../tags/tag383.xml"/><Relationship Id="rId62" Type="http://schemas.openxmlformats.org/officeDocument/2006/relationships/tags" Target="../tags/tag382.xml"/><Relationship Id="rId61" Type="http://schemas.openxmlformats.org/officeDocument/2006/relationships/tags" Target="../tags/tag381.xml"/><Relationship Id="rId60" Type="http://schemas.openxmlformats.org/officeDocument/2006/relationships/tags" Target="../tags/tag380.xml"/><Relationship Id="rId6" Type="http://schemas.openxmlformats.org/officeDocument/2006/relationships/tags" Target="../tags/tag328.xml"/><Relationship Id="rId59" Type="http://schemas.openxmlformats.org/officeDocument/2006/relationships/tags" Target="../tags/tag379.xml"/><Relationship Id="rId58" Type="http://schemas.openxmlformats.org/officeDocument/2006/relationships/tags" Target="../tags/tag378.xml"/><Relationship Id="rId57" Type="http://schemas.openxmlformats.org/officeDocument/2006/relationships/tags" Target="../tags/tag377.xml"/><Relationship Id="rId56" Type="http://schemas.openxmlformats.org/officeDocument/2006/relationships/tags" Target="../tags/tag376.xml"/><Relationship Id="rId55" Type="http://schemas.openxmlformats.org/officeDocument/2006/relationships/tags" Target="../tags/tag375.xml"/><Relationship Id="rId54" Type="http://schemas.openxmlformats.org/officeDocument/2006/relationships/tags" Target="../tags/tag374.xml"/><Relationship Id="rId53" Type="http://schemas.openxmlformats.org/officeDocument/2006/relationships/tags" Target="../tags/tag373.xml"/><Relationship Id="rId52" Type="http://schemas.openxmlformats.org/officeDocument/2006/relationships/tags" Target="../tags/tag372.xml"/><Relationship Id="rId51" Type="http://schemas.openxmlformats.org/officeDocument/2006/relationships/tags" Target="../tags/tag371.xml"/><Relationship Id="rId50" Type="http://schemas.openxmlformats.org/officeDocument/2006/relationships/tags" Target="../tags/tag370.xml"/><Relationship Id="rId5" Type="http://schemas.openxmlformats.org/officeDocument/2006/relationships/image" Target="../media/image26.png"/><Relationship Id="rId49" Type="http://schemas.openxmlformats.org/officeDocument/2006/relationships/tags" Target="../tags/tag369.xml"/><Relationship Id="rId48" Type="http://schemas.openxmlformats.org/officeDocument/2006/relationships/tags" Target="../tags/tag368.xml"/><Relationship Id="rId47" Type="http://schemas.openxmlformats.org/officeDocument/2006/relationships/tags" Target="../tags/tag367.xml"/><Relationship Id="rId46" Type="http://schemas.openxmlformats.org/officeDocument/2006/relationships/tags" Target="../tags/tag366.xml"/><Relationship Id="rId45" Type="http://schemas.openxmlformats.org/officeDocument/2006/relationships/tags" Target="../tags/tag365.xml"/><Relationship Id="rId44" Type="http://schemas.openxmlformats.org/officeDocument/2006/relationships/tags" Target="../tags/tag364.xml"/><Relationship Id="rId43" Type="http://schemas.openxmlformats.org/officeDocument/2006/relationships/tags" Target="../tags/tag363.xml"/><Relationship Id="rId42" Type="http://schemas.openxmlformats.org/officeDocument/2006/relationships/tags" Target="../tags/tag362.xml"/><Relationship Id="rId41" Type="http://schemas.openxmlformats.org/officeDocument/2006/relationships/tags" Target="../tags/tag361.xml"/><Relationship Id="rId40" Type="http://schemas.openxmlformats.org/officeDocument/2006/relationships/tags" Target="../tags/tag360.xml"/><Relationship Id="rId4" Type="http://schemas.openxmlformats.org/officeDocument/2006/relationships/tags" Target="../tags/tag327.xml"/><Relationship Id="rId39" Type="http://schemas.openxmlformats.org/officeDocument/2006/relationships/tags" Target="../tags/tag359.xml"/><Relationship Id="rId38" Type="http://schemas.openxmlformats.org/officeDocument/2006/relationships/tags" Target="../tags/tag358.xml"/><Relationship Id="rId37" Type="http://schemas.openxmlformats.org/officeDocument/2006/relationships/tags" Target="../tags/tag357.xml"/><Relationship Id="rId36" Type="http://schemas.openxmlformats.org/officeDocument/2006/relationships/tags" Target="../tags/tag356.xml"/><Relationship Id="rId35" Type="http://schemas.openxmlformats.org/officeDocument/2006/relationships/tags" Target="../tags/tag355.xml"/><Relationship Id="rId34" Type="http://schemas.openxmlformats.org/officeDocument/2006/relationships/tags" Target="../tags/tag354.xml"/><Relationship Id="rId33" Type="http://schemas.openxmlformats.org/officeDocument/2006/relationships/tags" Target="../tags/tag353.xml"/><Relationship Id="rId32" Type="http://schemas.openxmlformats.org/officeDocument/2006/relationships/tags" Target="../tags/tag352.xml"/><Relationship Id="rId31" Type="http://schemas.openxmlformats.org/officeDocument/2006/relationships/tags" Target="../tags/tag351.xml"/><Relationship Id="rId30" Type="http://schemas.openxmlformats.org/officeDocument/2006/relationships/tags" Target="../tags/tag350.xml"/><Relationship Id="rId3" Type="http://schemas.openxmlformats.org/officeDocument/2006/relationships/tags" Target="../tags/tag326.xml"/><Relationship Id="rId29" Type="http://schemas.openxmlformats.org/officeDocument/2006/relationships/tags" Target="../tags/tag349.xml"/><Relationship Id="rId28" Type="http://schemas.openxmlformats.org/officeDocument/2006/relationships/tags" Target="../tags/tag348.xml"/><Relationship Id="rId27" Type="http://schemas.openxmlformats.org/officeDocument/2006/relationships/tags" Target="../tags/tag347.xml"/><Relationship Id="rId26" Type="http://schemas.openxmlformats.org/officeDocument/2006/relationships/tags" Target="../tags/tag346.xml"/><Relationship Id="rId25" Type="http://schemas.openxmlformats.org/officeDocument/2006/relationships/tags" Target="../tags/tag345.xml"/><Relationship Id="rId24" Type="http://schemas.openxmlformats.org/officeDocument/2006/relationships/tags" Target="../tags/tag344.xml"/><Relationship Id="rId23" Type="http://schemas.openxmlformats.org/officeDocument/2006/relationships/tags" Target="../tags/tag343.xml"/><Relationship Id="rId22" Type="http://schemas.openxmlformats.org/officeDocument/2006/relationships/tags" Target="../tags/tag342.xml"/><Relationship Id="rId21" Type="http://schemas.openxmlformats.org/officeDocument/2006/relationships/tags" Target="../tags/tag341.xml"/><Relationship Id="rId20" Type="http://schemas.openxmlformats.org/officeDocument/2006/relationships/tags" Target="../tags/tag340.xml"/><Relationship Id="rId2" Type="http://schemas.openxmlformats.org/officeDocument/2006/relationships/image" Target="../media/image25.png"/><Relationship Id="rId19" Type="http://schemas.openxmlformats.org/officeDocument/2006/relationships/tags" Target="../tags/tag339.xml"/><Relationship Id="rId18" Type="http://schemas.openxmlformats.org/officeDocument/2006/relationships/tags" Target="../tags/tag338.xml"/><Relationship Id="rId17" Type="http://schemas.openxmlformats.org/officeDocument/2006/relationships/tags" Target="../tags/tag337.xml"/><Relationship Id="rId16" Type="http://schemas.openxmlformats.org/officeDocument/2006/relationships/tags" Target="../tags/tag336.xml"/><Relationship Id="rId15" Type="http://schemas.openxmlformats.org/officeDocument/2006/relationships/tags" Target="../tags/tag335.xml"/><Relationship Id="rId14" Type="http://schemas.openxmlformats.org/officeDocument/2006/relationships/tags" Target="../tags/tag334.xml"/><Relationship Id="rId13" Type="http://schemas.openxmlformats.org/officeDocument/2006/relationships/tags" Target="../tags/tag333.xml"/><Relationship Id="rId12" Type="http://schemas.openxmlformats.org/officeDocument/2006/relationships/tags" Target="../tags/tag332.xml"/><Relationship Id="rId11" Type="http://schemas.openxmlformats.org/officeDocument/2006/relationships/tags" Target="../tags/tag331.xml"/><Relationship Id="rId10" Type="http://schemas.openxmlformats.org/officeDocument/2006/relationships/image" Target="../media/image28.png"/><Relationship Id="rId1" Type="http://schemas.openxmlformats.org/officeDocument/2006/relationships/tags" Target="../tags/tag325.xml"/></Relationships>
</file>

<file path=ppt/slides/_rels/slide14.xml.rels><?xml version="1.0" encoding="UTF-8" standalone="yes"?>
<Relationships xmlns="http://schemas.openxmlformats.org/package/2006/relationships"><Relationship Id="rId9" Type="http://schemas.openxmlformats.org/officeDocument/2006/relationships/tags" Target="../tags/tag393.xml"/><Relationship Id="rId84" Type="http://schemas.openxmlformats.org/officeDocument/2006/relationships/slideLayout" Target="../slideLayouts/slideLayout3.xml"/><Relationship Id="rId83" Type="http://schemas.openxmlformats.org/officeDocument/2006/relationships/tags" Target="../tags/tag465.xml"/><Relationship Id="rId82" Type="http://schemas.openxmlformats.org/officeDocument/2006/relationships/tags" Target="../tags/tag464.xml"/><Relationship Id="rId81" Type="http://schemas.openxmlformats.org/officeDocument/2006/relationships/tags" Target="../tags/tag463.xml"/><Relationship Id="rId80" Type="http://schemas.openxmlformats.org/officeDocument/2006/relationships/tags" Target="../tags/tag462.xml"/><Relationship Id="rId8" Type="http://schemas.openxmlformats.org/officeDocument/2006/relationships/tags" Target="../tags/tag392.xml"/><Relationship Id="rId79" Type="http://schemas.openxmlformats.org/officeDocument/2006/relationships/tags" Target="../tags/tag461.xml"/><Relationship Id="rId78" Type="http://schemas.openxmlformats.org/officeDocument/2006/relationships/image" Target="../media/image12.png"/><Relationship Id="rId77" Type="http://schemas.openxmlformats.org/officeDocument/2006/relationships/tags" Target="../tags/tag460.xml"/><Relationship Id="rId76" Type="http://schemas.openxmlformats.org/officeDocument/2006/relationships/tags" Target="../tags/tag459.xml"/><Relationship Id="rId75" Type="http://schemas.openxmlformats.org/officeDocument/2006/relationships/tags" Target="../tags/tag458.xml"/><Relationship Id="rId74" Type="http://schemas.openxmlformats.org/officeDocument/2006/relationships/tags" Target="../tags/tag457.xml"/><Relationship Id="rId73" Type="http://schemas.openxmlformats.org/officeDocument/2006/relationships/tags" Target="../tags/tag456.xml"/><Relationship Id="rId72" Type="http://schemas.openxmlformats.org/officeDocument/2006/relationships/image" Target="../media/image29.png"/><Relationship Id="rId71" Type="http://schemas.openxmlformats.org/officeDocument/2006/relationships/tags" Target="../tags/tag455.xml"/><Relationship Id="rId70" Type="http://schemas.openxmlformats.org/officeDocument/2006/relationships/tags" Target="../tags/tag454.xml"/><Relationship Id="rId7" Type="http://schemas.openxmlformats.org/officeDocument/2006/relationships/tags" Target="../tags/tag391.xml"/><Relationship Id="rId69" Type="http://schemas.openxmlformats.org/officeDocument/2006/relationships/tags" Target="../tags/tag453.xml"/><Relationship Id="rId68" Type="http://schemas.openxmlformats.org/officeDocument/2006/relationships/tags" Target="../tags/tag452.xml"/><Relationship Id="rId67" Type="http://schemas.openxmlformats.org/officeDocument/2006/relationships/tags" Target="../tags/tag451.xml"/><Relationship Id="rId66" Type="http://schemas.openxmlformats.org/officeDocument/2006/relationships/tags" Target="../tags/tag450.xml"/><Relationship Id="rId65" Type="http://schemas.openxmlformats.org/officeDocument/2006/relationships/tags" Target="../tags/tag449.xml"/><Relationship Id="rId64" Type="http://schemas.openxmlformats.org/officeDocument/2006/relationships/tags" Target="../tags/tag448.xml"/><Relationship Id="rId63" Type="http://schemas.openxmlformats.org/officeDocument/2006/relationships/tags" Target="../tags/tag447.xml"/><Relationship Id="rId62" Type="http://schemas.openxmlformats.org/officeDocument/2006/relationships/tags" Target="../tags/tag446.xml"/><Relationship Id="rId61" Type="http://schemas.openxmlformats.org/officeDocument/2006/relationships/tags" Target="../tags/tag445.xml"/><Relationship Id="rId60" Type="http://schemas.openxmlformats.org/officeDocument/2006/relationships/tags" Target="../tags/tag444.xml"/><Relationship Id="rId6" Type="http://schemas.openxmlformats.org/officeDocument/2006/relationships/tags" Target="../tags/tag390.xml"/><Relationship Id="rId59" Type="http://schemas.openxmlformats.org/officeDocument/2006/relationships/tags" Target="../tags/tag443.xml"/><Relationship Id="rId58" Type="http://schemas.openxmlformats.org/officeDocument/2006/relationships/tags" Target="../tags/tag442.xml"/><Relationship Id="rId57" Type="http://schemas.openxmlformats.org/officeDocument/2006/relationships/tags" Target="../tags/tag441.xml"/><Relationship Id="rId56" Type="http://schemas.openxmlformats.org/officeDocument/2006/relationships/tags" Target="../tags/tag440.xml"/><Relationship Id="rId55" Type="http://schemas.openxmlformats.org/officeDocument/2006/relationships/tags" Target="../tags/tag439.xml"/><Relationship Id="rId54" Type="http://schemas.openxmlformats.org/officeDocument/2006/relationships/tags" Target="../tags/tag438.xml"/><Relationship Id="rId53" Type="http://schemas.openxmlformats.org/officeDocument/2006/relationships/tags" Target="../tags/tag437.xml"/><Relationship Id="rId52" Type="http://schemas.openxmlformats.org/officeDocument/2006/relationships/tags" Target="../tags/tag436.xml"/><Relationship Id="rId51" Type="http://schemas.openxmlformats.org/officeDocument/2006/relationships/tags" Target="../tags/tag435.xml"/><Relationship Id="rId50" Type="http://schemas.openxmlformats.org/officeDocument/2006/relationships/tags" Target="../tags/tag434.xml"/><Relationship Id="rId5" Type="http://schemas.openxmlformats.org/officeDocument/2006/relationships/tags" Target="../tags/tag389.xml"/><Relationship Id="rId49" Type="http://schemas.openxmlformats.org/officeDocument/2006/relationships/tags" Target="../tags/tag433.xml"/><Relationship Id="rId48" Type="http://schemas.openxmlformats.org/officeDocument/2006/relationships/tags" Target="../tags/tag432.xml"/><Relationship Id="rId47" Type="http://schemas.openxmlformats.org/officeDocument/2006/relationships/tags" Target="../tags/tag431.xml"/><Relationship Id="rId46" Type="http://schemas.openxmlformats.org/officeDocument/2006/relationships/tags" Target="../tags/tag430.xml"/><Relationship Id="rId45" Type="http://schemas.openxmlformats.org/officeDocument/2006/relationships/tags" Target="../tags/tag429.xml"/><Relationship Id="rId44" Type="http://schemas.openxmlformats.org/officeDocument/2006/relationships/tags" Target="../tags/tag428.xml"/><Relationship Id="rId43" Type="http://schemas.openxmlformats.org/officeDocument/2006/relationships/tags" Target="../tags/tag427.xml"/><Relationship Id="rId42" Type="http://schemas.openxmlformats.org/officeDocument/2006/relationships/tags" Target="../tags/tag426.xml"/><Relationship Id="rId41" Type="http://schemas.openxmlformats.org/officeDocument/2006/relationships/tags" Target="../tags/tag425.xml"/><Relationship Id="rId40" Type="http://schemas.openxmlformats.org/officeDocument/2006/relationships/tags" Target="../tags/tag424.xml"/><Relationship Id="rId4" Type="http://schemas.openxmlformats.org/officeDocument/2006/relationships/tags" Target="../tags/tag388.xml"/><Relationship Id="rId39" Type="http://schemas.openxmlformats.org/officeDocument/2006/relationships/tags" Target="../tags/tag423.xml"/><Relationship Id="rId38" Type="http://schemas.openxmlformats.org/officeDocument/2006/relationships/tags" Target="../tags/tag422.xml"/><Relationship Id="rId37" Type="http://schemas.openxmlformats.org/officeDocument/2006/relationships/tags" Target="../tags/tag421.xml"/><Relationship Id="rId36" Type="http://schemas.openxmlformats.org/officeDocument/2006/relationships/tags" Target="../tags/tag420.xml"/><Relationship Id="rId35" Type="http://schemas.openxmlformats.org/officeDocument/2006/relationships/tags" Target="../tags/tag419.xml"/><Relationship Id="rId34" Type="http://schemas.openxmlformats.org/officeDocument/2006/relationships/tags" Target="../tags/tag418.xml"/><Relationship Id="rId33" Type="http://schemas.openxmlformats.org/officeDocument/2006/relationships/tags" Target="../tags/tag417.xml"/><Relationship Id="rId32" Type="http://schemas.openxmlformats.org/officeDocument/2006/relationships/tags" Target="../tags/tag416.xml"/><Relationship Id="rId31" Type="http://schemas.openxmlformats.org/officeDocument/2006/relationships/tags" Target="../tags/tag415.xml"/><Relationship Id="rId30" Type="http://schemas.openxmlformats.org/officeDocument/2006/relationships/tags" Target="../tags/tag414.xml"/><Relationship Id="rId3" Type="http://schemas.openxmlformats.org/officeDocument/2006/relationships/tags" Target="../tags/tag387.xml"/><Relationship Id="rId29" Type="http://schemas.openxmlformats.org/officeDocument/2006/relationships/tags" Target="../tags/tag413.xml"/><Relationship Id="rId28" Type="http://schemas.openxmlformats.org/officeDocument/2006/relationships/tags" Target="../tags/tag412.xml"/><Relationship Id="rId27" Type="http://schemas.openxmlformats.org/officeDocument/2006/relationships/tags" Target="../tags/tag411.xml"/><Relationship Id="rId26" Type="http://schemas.openxmlformats.org/officeDocument/2006/relationships/tags" Target="../tags/tag410.xml"/><Relationship Id="rId25" Type="http://schemas.openxmlformats.org/officeDocument/2006/relationships/tags" Target="../tags/tag409.xml"/><Relationship Id="rId24" Type="http://schemas.openxmlformats.org/officeDocument/2006/relationships/tags" Target="../tags/tag408.xml"/><Relationship Id="rId23" Type="http://schemas.openxmlformats.org/officeDocument/2006/relationships/tags" Target="../tags/tag407.xml"/><Relationship Id="rId22" Type="http://schemas.openxmlformats.org/officeDocument/2006/relationships/tags" Target="../tags/tag406.xml"/><Relationship Id="rId21" Type="http://schemas.openxmlformats.org/officeDocument/2006/relationships/tags" Target="../tags/tag405.xml"/><Relationship Id="rId20" Type="http://schemas.openxmlformats.org/officeDocument/2006/relationships/tags" Target="../tags/tag404.xml"/><Relationship Id="rId2" Type="http://schemas.openxmlformats.org/officeDocument/2006/relationships/tags" Target="../tags/tag386.xml"/><Relationship Id="rId19" Type="http://schemas.openxmlformats.org/officeDocument/2006/relationships/tags" Target="../tags/tag403.xml"/><Relationship Id="rId18" Type="http://schemas.openxmlformats.org/officeDocument/2006/relationships/tags" Target="../tags/tag402.xml"/><Relationship Id="rId17" Type="http://schemas.openxmlformats.org/officeDocument/2006/relationships/tags" Target="../tags/tag401.xml"/><Relationship Id="rId16" Type="http://schemas.openxmlformats.org/officeDocument/2006/relationships/tags" Target="../tags/tag400.xml"/><Relationship Id="rId15" Type="http://schemas.openxmlformats.org/officeDocument/2006/relationships/tags" Target="../tags/tag399.xml"/><Relationship Id="rId14" Type="http://schemas.openxmlformats.org/officeDocument/2006/relationships/tags" Target="../tags/tag398.xml"/><Relationship Id="rId13" Type="http://schemas.openxmlformats.org/officeDocument/2006/relationships/tags" Target="../tags/tag397.xml"/><Relationship Id="rId12" Type="http://schemas.openxmlformats.org/officeDocument/2006/relationships/tags" Target="../tags/tag396.xml"/><Relationship Id="rId11" Type="http://schemas.openxmlformats.org/officeDocument/2006/relationships/tags" Target="../tags/tag395.xml"/><Relationship Id="rId10" Type="http://schemas.openxmlformats.org/officeDocument/2006/relationships/tags" Target="../tags/tag394.xml"/><Relationship Id="rId1" Type="http://schemas.openxmlformats.org/officeDocument/2006/relationships/tags" Target="../tags/tag385.xml"/></Relationships>
</file>

<file path=ppt/slides/_rels/slide15.xml.rels><?xml version="1.0" encoding="UTF-8" standalone="yes"?>
<Relationships xmlns="http://schemas.openxmlformats.org/package/2006/relationships"><Relationship Id="rId97" Type="http://schemas.openxmlformats.org/officeDocument/2006/relationships/slideLayout" Target="../slideLayouts/slideLayout3.xml"/><Relationship Id="rId96" Type="http://schemas.openxmlformats.org/officeDocument/2006/relationships/tags" Target="../tags/tag561.xml"/><Relationship Id="rId95" Type="http://schemas.openxmlformats.org/officeDocument/2006/relationships/tags" Target="../tags/tag560.xml"/><Relationship Id="rId94" Type="http://schemas.openxmlformats.org/officeDocument/2006/relationships/tags" Target="../tags/tag559.xml"/><Relationship Id="rId93" Type="http://schemas.openxmlformats.org/officeDocument/2006/relationships/tags" Target="../tags/tag558.xml"/><Relationship Id="rId92" Type="http://schemas.openxmlformats.org/officeDocument/2006/relationships/tags" Target="../tags/tag557.xml"/><Relationship Id="rId91" Type="http://schemas.openxmlformats.org/officeDocument/2006/relationships/tags" Target="../tags/tag556.xml"/><Relationship Id="rId90" Type="http://schemas.openxmlformats.org/officeDocument/2006/relationships/tags" Target="../tags/tag555.xml"/><Relationship Id="rId9" Type="http://schemas.openxmlformats.org/officeDocument/2006/relationships/tags" Target="../tags/tag474.xml"/><Relationship Id="rId89" Type="http://schemas.openxmlformats.org/officeDocument/2006/relationships/tags" Target="../tags/tag554.xml"/><Relationship Id="rId88" Type="http://schemas.openxmlformats.org/officeDocument/2006/relationships/tags" Target="../tags/tag553.xml"/><Relationship Id="rId87" Type="http://schemas.openxmlformats.org/officeDocument/2006/relationships/tags" Target="../tags/tag552.xml"/><Relationship Id="rId86" Type="http://schemas.openxmlformats.org/officeDocument/2006/relationships/tags" Target="../tags/tag551.xml"/><Relationship Id="rId85" Type="http://schemas.openxmlformats.org/officeDocument/2006/relationships/tags" Target="../tags/tag550.xml"/><Relationship Id="rId84" Type="http://schemas.openxmlformats.org/officeDocument/2006/relationships/tags" Target="../tags/tag549.xml"/><Relationship Id="rId83" Type="http://schemas.openxmlformats.org/officeDocument/2006/relationships/tags" Target="../tags/tag548.xml"/><Relationship Id="rId82" Type="http://schemas.openxmlformats.org/officeDocument/2006/relationships/tags" Target="../tags/tag547.xml"/><Relationship Id="rId81" Type="http://schemas.openxmlformats.org/officeDocument/2006/relationships/tags" Target="../tags/tag546.xml"/><Relationship Id="rId80" Type="http://schemas.openxmlformats.org/officeDocument/2006/relationships/tags" Target="../tags/tag545.xml"/><Relationship Id="rId8" Type="http://schemas.openxmlformats.org/officeDocument/2006/relationships/tags" Target="../tags/tag473.xml"/><Relationship Id="rId79" Type="http://schemas.openxmlformats.org/officeDocument/2006/relationships/tags" Target="../tags/tag544.xml"/><Relationship Id="rId78" Type="http://schemas.openxmlformats.org/officeDocument/2006/relationships/tags" Target="../tags/tag543.xml"/><Relationship Id="rId77" Type="http://schemas.openxmlformats.org/officeDocument/2006/relationships/tags" Target="../tags/tag542.xml"/><Relationship Id="rId76" Type="http://schemas.openxmlformats.org/officeDocument/2006/relationships/tags" Target="../tags/tag541.xml"/><Relationship Id="rId75" Type="http://schemas.openxmlformats.org/officeDocument/2006/relationships/tags" Target="../tags/tag540.xml"/><Relationship Id="rId74" Type="http://schemas.openxmlformats.org/officeDocument/2006/relationships/tags" Target="../tags/tag539.xml"/><Relationship Id="rId73" Type="http://schemas.openxmlformats.org/officeDocument/2006/relationships/tags" Target="../tags/tag538.xml"/><Relationship Id="rId72" Type="http://schemas.openxmlformats.org/officeDocument/2006/relationships/tags" Target="../tags/tag537.xml"/><Relationship Id="rId71" Type="http://schemas.openxmlformats.org/officeDocument/2006/relationships/tags" Target="../tags/tag536.xml"/><Relationship Id="rId70" Type="http://schemas.openxmlformats.org/officeDocument/2006/relationships/tags" Target="../tags/tag535.xml"/><Relationship Id="rId7" Type="http://schemas.openxmlformats.org/officeDocument/2006/relationships/tags" Target="../tags/tag472.xml"/><Relationship Id="rId69" Type="http://schemas.openxmlformats.org/officeDocument/2006/relationships/tags" Target="../tags/tag534.xml"/><Relationship Id="rId68" Type="http://schemas.openxmlformats.org/officeDocument/2006/relationships/tags" Target="../tags/tag533.xml"/><Relationship Id="rId67" Type="http://schemas.openxmlformats.org/officeDocument/2006/relationships/tags" Target="../tags/tag532.xml"/><Relationship Id="rId66" Type="http://schemas.openxmlformats.org/officeDocument/2006/relationships/tags" Target="../tags/tag531.xml"/><Relationship Id="rId65" Type="http://schemas.openxmlformats.org/officeDocument/2006/relationships/tags" Target="../tags/tag530.xml"/><Relationship Id="rId64" Type="http://schemas.openxmlformats.org/officeDocument/2006/relationships/tags" Target="../tags/tag529.xml"/><Relationship Id="rId63" Type="http://schemas.openxmlformats.org/officeDocument/2006/relationships/tags" Target="../tags/tag528.xml"/><Relationship Id="rId62" Type="http://schemas.openxmlformats.org/officeDocument/2006/relationships/tags" Target="../tags/tag527.xml"/><Relationship Id="rId61" Type="http://schemas.openxmlformats.org/officeDocument/2006/relationships/tags" Target="../tags/tag526.xml"/><Relationship Id="rId60" Type="http://schemas.openxmlformats.org/officeDocument/2006/relationships/tags" Target="../tags/tag525.xml"/><Relationship Id="rId6" Type="http://schemas.openxmlformats.org/officeDocument/2006/relationships/tags" Target="../tags/tag471.xml"/><Relationship Id="rId59" Type="http://schemas.openxmlformats.org/officeDocument/2006/relationships/tags" Target="../tags/tag524.xml"/><Relationship Id="rId58" Type="http://schemas.openxmlformats.org/officeDocument/2006/relationships/tags" Target="../tags/tag523.xml"/><Relationship Id="rId57" Type="http://schemas.openxmlformats.org/officeDocument/2006/relationships/tags" Target="../tags/tag522.xml"/><Relationship Id="rId56" Type="http://schemas.openxmlformats.org/officeDocument/2006/relationships/tags" Target="../tags/tag521.xml"/><Relationship Id="rId55" Type="http://schemas.openxmlformats.org/officeDocument/2006/relationships/tags" Target="../tags/tag520.xml"/><Relationship Id="rId54" Type="http://schemas.openxmlformats.org/officeDocument/2006/relationships/tags" Target="../tags/tag519.xml"/><Relationship Id="rId53" Type="http://schemas.openxmlformats.org/officeDocument/2006/relationships/tags" Target="../tags/tag518.xml"/><Relationship Id="rId52" Type="http://schemas.openxmlformats.org/officeDocument/2006/relationships/tags" Target="../tags/tag517.xml"/><Relationship Id="rId51" Type="http://schemas.openxmlformats.org/officeDocument/2006/relationships/tags" Target="../tags/tag516.xml"/><Relationship Id="rId50" Type="http://schemas.openxmlformats.org/officeDocument/2006/relationships/tags" Target="../tags/tag515.xml"/><Relationship Id="rId5" Type="http://schemas.openxmlformats.org/officeDocument/2006/relationships/tags" Target="../tags/tag470.xml"/><Relationship Id="rId49" Type="http://schemas.openxmlformats.org/officeDocument/2006/relationships/tags" Target="../tags/tag514.xml"/><Relationship Id="rId48" Type="http://schemas.openxmlformats.org/officeDocument/2006/relationships/tags" Target="../tags/tag513.xml"/><Relationship Id="rId47" Type="http://schemas.openxmlformats.org/officeDocument/2006/relationships/tags" Target="../tags/tag512.xml"/><Relationship Id="rId46" Type="http://schemas.openxmlformats.org/officeDocument/2006/relationships/tags" Target="../tags/tag511.xml"/><Relationship Id="rId45" Type="http://schemas.openxmlformats.org/officeDocument/2006/relationships/tags" Target="../tags/tag510.xml"/><Relationship Id="rId44" Type="http://schemas.openxmlformats.org/officeDocument/2006/relationships/tags" Target="../tags/tag509.xml"/><Relationship Id="rId43" Type="http://schemas.openxmlformats.org/officeDocument/2006/relationships/tags" Target="../tags/tag508.xml"/><Relationship Id="rId42" Type="http://schemas.openxmlformats.org/officeDocument/2006/relationships/tags" Target="../tags/tag507.xml"/><Relationship Id="rId41" Type="http://schemas.openxmlformats.org/officeDocument/2006/relationships/tags" Target="../tags/tag506.xml"/><Relationship Id="rId40" Type="http://schemas.openxmlformats.org/officeDocument/2006/relationships/tags" Target="../tags/tag505.xml"/><Relationship Id="rId4" Type="http://schemas.openxmlformats.org/officeDocument/2006/relationships/tags" Target="../tags/tag469.xml"/><Relationship Id="rId39" Type="http://schemas.openxmlformats.org/officeDocument/2006/relationships/tags" Target="../tags/tag504.xml"/><Relationship Id="rId38" Type="http://schemas.openxmlformats.org/officeDocument/2006/relationships/tags" Target="../tags/tag503.xml"/><Relationship Id="rId37" Type="http://schemas.openxmlformats.org/officeDocument/2006/relationships/tags" Target="../tags/tag502.xml"/><Relationship Id="rId36" Type="http://schemas.openxmlformats.org/officeDocument/2006/relationships/tags" Target="../tags/tag501.xml"/><Relationship Id="rId35" Type="http://schemas.openxmlformats.org/officeDocument/2006/relationships/tags" Target="../tags/tag500.xml"/><Relationship Id="rId34" Type="http://schemas.openxmlformats.org/officeDocument/2006/relationships/tags" Target="../tags/tag499.xml"/><Relationship Id="rId33" Type="http://schemas.openxmlformats.org/officeDocument/2006/relationships/tags" Target="../tags/tag498.xml"/><Relationship Id="rId32" Type="http://schemas.openxmlformats.org/officeDocument/2006/relationships/tags" Target="../tags/tag497.xml"/><Relationship Id="rId31" Type="http://schemas.openxmlformats.org/officeDocument/2006/relationships/tags" Target="../tags/tag496.xml"/><Relationship Id="rId30" Type="http://schemas.openxmlformats.org/officeDocument/2006/relationships/tags" Target="../tags/tag495.xml"/><Relationship Id="rId3" Type="http://schemas.openxmlformats.org/officeDocument/2006/relationships/tags" Target="../tags/tag468.xml"/><Relationship Id="rId29" Type="http://schemas.openxmlformats.org/officeDocument/2006/relationships/tags" Target="../tags/tag494.xml"/><Relationship Id="rId28" Type="http://schemas.openxmlformats.org/officeDocument/2006/relationships/tags" Target="../tags/tag493.xml"/><Relationship Id="rId27" Type="http://schemas.openxmlformats.org/officeDocument/2006/relationships/tags" Target="../tags/tag492.xml"/><Relationship Id="rId26" Type="http://schemas.openxmlformats.org/officeDocument/2006/relationships/tags" Target="../tags/tag491.xml"/><Relationship Id="rId25" Type="http://schemas.openxmlformats.org/officeDocument/2006/relationships/tags" Target="../tags/tag490.xml"/><Relationship Id="rId24" Type="http://schemas.openxmlformats.org/officeDocument/2006/relationships/tags" Target="../tags/tag489.xml"/><Relationship Id="rId23" Type="http://schemas.openxmlformats.org/officeDocument/2006/relationships/tags" Target="../tags/tag488.xml"/><Relationship Id="rId22" Type="http://schemas.openxmlformats.org/officeDocument/2006/relationships/tags" Target="../tags/tag487.xml"/><Relationship Id="rId21" Type="http://schemas.openxmlformats.org/officeDocument/2006/relationships/tags" Target="../tags/tag486.xml"/><Relationship Id="rId20" Type="http://schemas.openxmlformats.org/officeDocument/2006/relationships/tags" Target="../tags/tag485.xml"/><Relationship Id="rId2" Type="http://schemas.openxmlformats.org/officeDocument/2006/relationships/tags" Target="../tags/tag467.xml"/><Relationship Id="rId19" Type="http://schemas.openxmlformats.org/officeDocument/2006/relationships/tags" Target="../tags/tag484.xml"/><Relationship Id="rId18" Type="http://schemas.openxmlformats.org/officeDocument/2006/relationships/tags" Target="../tags/tag483.xml"/><Relationship Id="rId17" Type="http://schemas.openxmlformats.org/officeDocument/2006/relationships/tags" Target="../tags/tag482.xml"/><Relationship Id="rId16" Type="http://schemas.openxmlformats.org/officeDocument/2006/relationships/tags" Target="../tags/tag481.xml"/><Relationship Id="rId15" Type="http://schemas.openxmlformats.org/officeDocument/2006/relationships/tags" Target="../tags/tag480.xml"/><Relationship Id="rId14" Type="http://schemas.openxmlformats.org/officeDocument/2006/relationships/tags" Target="../tags/tag479.xml"/><Relationship Id="rId13" Type="http://schemas.openxmlformats.org/officeDocument/2006/relationships/tags" Target="../tags/tag478.xml"/><Relationship Id="rId12" Type="http://schemas.openxmlformats.org/officeDocument/2006/relationships/tags" Target="../tags/tag477.xml"/><Relationship Id="rId11" Type="http://schemas.openxmlformats.org/officeDocument/2006/relationships/tags" Target="../tags/tag476.xml"/><Relationship Id="rId10" Type="http://schemas.openxmlformats.org/officeDocument/2006/relationships/tags" Target="../tags/tag475.xml"/><Relationship Id="rId1" Type="http://schemas.openxmlformats.org/officeDocument/2006/relationships/tags" Target="../tags/tag466.xml"/></Relationships>
</file>

<file path=ppt/slides/_rels/slide16.xml.rels><?xml version="1.0" encoding="UTF-8" standalone="yes"?>
<Relationships xmlns="http://schemas.openxmlformats.org/package/2006/relationships"><Relationship Id="rId9" Type="http://schemas.openxmlformats.org/officeDocument/2006/relationships/tags" Target="../tags/tag570.xml"/><Relationship Id="rId8" Type="http://schemas.openxmlformats.org/officeDocument/2006/relationships/tags" Target="../tags/tag569.xml"/><Relationship Id="rId7" Type="http://schemas.openxmlformats.org/officeDocument/2006/relationships/tags" Target="../tags/tag568.xml"/><Relationship Id="rId6" Type="http://schemas.openxmlformats.org/officeDocument/2006/relationships/tags" Target="../tags/tag567.xml"/><Relationship Id="rId50" Type="http://schemas.openxmlformats.org/officeDocument/2006/relationships/slideLayout" Target="../slideLayouts/slideLayout3.xml"/><Relationship Id="rId5" Type="http://schemas.openxmlformats.org/officeDocument/2006/relationships/tags" Target="../tags/tag566.xml"/><Relationship Id="rId49" Type="http://schemas.openxmlformats.org/officeDocument/2006/relationships/tags" Target="../tags/tag610.xml"/><Relationship Id="rId48" Type="http://schemas.openxmlformats.org/officeDocument/2006/relationships/tags" Target="../tags/tag609.xml"/><Relationship Id="rId47" Type="http://schemas.openxmlformats.org/officeDocument/2006/relationships/tags" Target="../tags/tag608.xml"/><Relationship Id="rId46" Type="http://schemas.openxmlformats.org/officeDocument/2006/relationships/tags" Target="../tags/tag607.xml"/><Relationship Id="rId45" Type="http://schemas.openxmlformats.org/officeDocument/2006/relationships/tags" Target="../tags/tag606.xml"/><Relationship Id="rId44" Type="http://schemas.openxmlformats.org/officeDocument/2006/relationships/tags" Target="../tags/tag605.xml"/><Relationship Id="rId43" Type="http://schemas.openxmlformats.org/officeDocument/2006/relationships/tags" Target="../tags/tag604.xml"/><Relationship Id="rId42" Type="http://schemas.openxmlformats.org/officeDocument/2006/relationships/tags" Target="../tags/tag603.xml"/><Relationship Id="rId41" Type="http://schemas.openxmlformats.org/officeDocument/2006/relationships/tags" Target="../tags/tag602.xml"/><Relationship Id="rId40" Type="http://schemas.openxmlformats.org/officeDocument/2006/relationships/tags" Target="../tags/tag601.xml"/><Relationship Id="rId4" Type="http://schemas.openxmlformats.org/officeDocument/2006/relationships/tags" Target="../tags/tag565.xml"/><Relationship Id="rId39" Type="http://schemas.openxmlformats.org/officeDocument/2006/relationships/tags" Target="../tags/tag600.xml"/><Relationship Id="rId38" Type="http://schemas.openxmlformats.org/officeDocument/2006/relationships/tags" Target="../tags/tag599.xml"/><Relationship Id="rId37" Type="http://schemas.openxmlformats.org/officeDocument/2006/relationships/tags" Target="../tags/tag598.xml"/><Relationship Id="rId36" Type="http://schemas.openxmlformats.org/officeDocument/2006/relationships/tags" Target="../tags/tag597.xml"/><Relationship Id="rId35" Type="http://schemas.openxmlformats.org/officeDocument/2006/relationships/tags" Target="../tags/tag596.xml"/><Relationship Id="rId34" Type="http://schemas.openxmlformats.org/officeDocument/2006/relationships/tags" Target="../tags/tag595.xml"/><Relationship Id="rId33" Type="http://schemas.openxmlformats.org/officeDocument/2006/relationships/tags" Target="../tags/tag594.xml"/><Relationship Id="rId32" Type="http://schemas.openxmlformats.org/officeDocument/2006/relationships/tags" Target="../tags/tag593.xml"/><Relationship Id="rId31" Type="http://schemas.openxmlformats.org/officeDocument/2006/relationships/tags" Target="../tags/tag592.xml"/><Relationship Id="rId30" Type="http://schemas.openxmlformats.org/officeDocument/2006/relationships/tags" Target="../tags/tag591.xml"/><Relationship Id="rId3" Type="http://schemas.openxmlformats.org/officeDocument/2006/relationships/tags" Target="../tags/tag564.xml"/><Relationship Id="rId29" Type="http://schemas.openxmlformats.org/officeDocument/2006/relationships/tags" Target="../tags/tag590.xml"/><Relationship Id="rId28" Type="http://schemas.openxmlformats.org/officeDocument/2006/relationships/tags" Target="../tags/tag589.xml"/><Relationship Id="rId27" Type="http://schemas.openxmlformats.org/officeDocument/2006/relationships/tags" Target="../tags/tag588.xml"/><Relationship Id="rId26" Type="http://schemas.openxmlformats.org/officeDocument/2006/relationships/tags" Target="../tags/tag587.xml"/><Relationship Id="rId25" Type="http://schemas.openxmlformats.org/officeDocument/2006/relationships/tags" Target="../tags/tag586.xml"/><Relationship Id="rId24" Type="http://schemas.openxmlformats.org/officeDocument/2006/relationships/tags" Target="../tags/tag585.xml"/><Relationship Id="rId23" Type="http://schemas.openxmlformats.org/officeDocument/2006/relationships/tags" Target="../tags/tag584.xml"/><Relationship Id="rId22" Type="http://schemas.openxmlformats.org/officeDocument/2006/relationships/tags" Target="../tags/tag583.xml"/><Relationship Id="rId21" Type="http://schemas.openxmlformats.org/officeDocument/2006/relationships/tags" Target="../tags/tag582.xml"/><Relationship Id="rId20" Type="http://schemas.openxmlformats.org/officeDocument/2006/relationships/tags" Target="../tags/tag581.xml"/><Relationship Id="rId2" Type="http://schemas.openxmlformats.org/officeDocument/2006/relationships/tags" Target="../tags/tag563.xml"/><Relationship Id="rId19" Type="http://schemas.openxmlformats.org/officeDocument/2006/relationships/tags" Target="../tags/tag580.xml"/><Relationship Id="rId18" Type="http://schemas.openxmlformats.org/officeDocument/2006/relationships/tags" Target="../tags/tag579.xml"/><Relationship Id="rId17" Type="http://schemas.openxmlformats.org/officeDocument/2006/relationships/tags" Target="../tags/tag578.xml"/><Relationship Id="rId16" Type="http://schemas.openxmlformats.org/officeDocument/2006/relationships/tags" Target="../tags/tag577.xml"/><Relationship Id="rId15" Type="http://schemas.openxmlformats.org/officeDocument/2006/relationships/tags" Target="../tags/tag576.xml"/><Relationship Id="rId14" Type="http://schemas.openxmlformats.org/officeDocument/2006/relationships/tags" Target="../tags/tag575.xml"/><Relationship Id="rId13" Type="http://schemas.openxmlformats.org/officeDocument/2006/relationships/tags" Target="../tags/tag574.xml"/><Relationship Id="rId12" Type="http://schemas.openxmlformats.org/officeDocument/2006/relationships/tags" Target="../tags/tag573.xml"/><Relationship Id="rId11" Type="http://schemas.openxmlformats.org/officeDocument/2006/relationships/tags" Target="../tags/tag572.xml"/><Relationship Id="rId10" Type="http://schemas.openxmlformats.org/officeDocument/2006/relationships/tags" Target="../tags/tag571.xml"/><Relationship Id="rId1" Type="http://schemas.openxmlformats.org/officeDocument/2006/relationships/tags" Target="../tags/tag56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12.xml"/><Relationship Id="rId1" Type="http://schemas.openxmlformats.org/officeDocument/2006/relationships/tags" Target="../tags/tag611.xml"/></Relationships>
</file>

<file path=ppt/slides/_rels/slide18.xml.rels><?xml version="1.0" encoding="UTF-8" standalone="yes"?>
<Relationships xmlns="http://schemas.openxmlformats.org/package/2006/relationships"><Relationship Id="rId5" Type="http://schemas.openxmlformats.org/officeDocument/2006/relationships/slideLayout" Target="../slideLayouts/slideLayout3.xml"/><Relationship Id="rId4" Type="http://schemas.openxmlformats.org/officeDocument/2006/relationships/image" Target="../media/image30.png"/><Relationship Id="rId3" Type="http://schemas.openxmlformats.org/officeDocument/2006/relationships/tags" Target="../tags/tag615.xml"/><Relationship Id="rId2" Type="http://schemas.openxmlformats.org/officeDocument/2006/relationships/tags" Target="../tags/tag614.xml"/><Relationship Id="rId1" Type="http://schemas.openxmlformats.org/officeDocument/2006/relationships/tags" Target="../tags/tag613.xml"/></Relationships>
</file>

<file path=ppt/slides/_rels/slide19.xml.rels><?xml version="1.0" encoding="UTF-8" standalone="yes"?>
<Relationships xmlns="http://schemas.openxmlformats.org/package/2006/relationships"><Relationship Id="rId5" Type="http://schemas.openxmlformats.org/officeDocument/2006/relationships/slideLayout" Target="../slideLayouts/slideLayout3.xml"/><Relationship Id="rId4" Type="http://schemas.openxmlformats.org/officeDocument/2006/relationships/image" Target="../media/image30.png"/><Relationship Id="rId3" Type="http://schemas.openxmlformats.org/officeDocument/2006/relationships/tags" Target="../tags/tag618.xml"/><Relationship Id="rId2" Type="http://schemas.openxmlformats.org/officeDocument/2006/relationships/tags" Target="../tags/tag617.xml"/><Relationship Id="rId1" Type="http://schemas.openxmlformats.org/officeDocument/2006/relationships/tags" Target="../tags/tag6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5" Type="http://schemas.openxmlformats.org/officeDocument/2006/relationships/slideLayout" Target="../slideLayouts/slideLayout3.xml"/><Relationship Id="rId4" Type="http://schemas.openxmlformats.org/officeDocument/2006/relationships/image" Target="../media/image31.png"/><Relationship Id="rId3" Type="http://schemas.openxmlformats.org/officeDocument/2006/relationships/tags" Target="../tags/tag621.xml"/><Relationship Id="rId2" Type="http://schemas.openxmlformats.org/officeDocument/2006/relationships/tags" Target="../tags/tag620.xml"/><Relationship Id="rId1" Type="http://schemas.openxmlformats.org/officeDocument/2006/relationships/tags" Target="../tags/tag619.xml"/></Relationships>
</file>

<file path=ppt/slides/_rels/slide21.xml.rels><?xml version="1.0" encoding="UTF-8" standalone="yes"?>
<Relationships xmlns="http://schemas.openxmlformats.org/package/2006/relationships"><Relationship Id="rId5" Type="http://schemas.openxmlformats.org/officeDocument/2006/relationships/slideLayout" Target="../slideLayouts/slideLayout3.xml"/><Relationship Id="rId4" Type="http://schemas.openxmlformats.org/officeDocument/2006/relationships/image" Target="../media/image32.png"/><Relationship Id="rId3" Type="http://schemas.openxmlformats.org/officeDocument/2006/relationships/tags" Target="../tags/tag624.xml"/><Relationship Id="rId2" Type="http://schemas.openxmlformats.org/officeDocument/2006/relationships/tags" Target="../tags/tag623.xml"/><Relationship Id="rId1" Type="http://schemas.openxmlformats.org/officeDocument/2006/relationships/tags" Target="../tags/tag622.xml"/></Relationships>
</file>

<file path=ppt/slides/_rels/slide22.xml.rels><?xml version="1.0" encoding="UTF-8" standalone="yes"?>
<Relationships xmlns="http://schemas.openxmlformats.org/package/2006/relationships"><Relationship Id="rId5" Type="http://schemas.openxmlformats.org/officeDocument/2006/relationships/slideLayout" Target="../slideLayouts/slideLayout3.xml"/><Relationship Id="rId4" Type="http://schemas.openxmlformats.org/officeDocument/2006/relationships/tags" Target="../tags/tag627.xml"/><Relationship Id="rId3" Type="http://schemas.openxmlformats.org/officeDocument/2006/relationships/image" Target="../media/image33.png"/><Relationship Id="rId2" Type="http://schemas.openxmlformats.org/officeDocument/2006/relationships/tags" Target="../tags/tag626.xml"/><Relationship Id="rId1" Type="http://schemas.openxmlformats.org/officeDocument/2006/relationships/tags" Target="../tags/tag625.xml"/></Relationships>
</file>

<file path=ppt/slides/_rels/slide23.xml.rels><?xml version="1.0" encoding="UTF-8" standalone="yes"?>
<Relationships xmlns="http://schemas.openxmlformats.org/package/2006/relationships"><Relationship Id="rId5" Type="http://schemas.openxmlformats.org/officeDocument/2006/relationships/slideLayout" Target="../slideLayouts/slideLayout3.xml"/><Relationship Id="rId4" Type="http://schemas.openxmlformats.org/officeDocument/2006/relationships/image" Target="../media/image34.png"/><Relationship Id="rId3" Type="http://schemas.openxmlformats.org/officeDocument/2006/relationships/tags" Target="../tags/tag630.xml"/><Relationship Id="rId2" Type="http://schemas.openxmlformats.org/officeDocument/2006/relationships/tags" Target="../tags/tag629.xml"/><Relationship Id="rId1" Type="http://schemas.openxmlformats.org/officeDocument/2006/relationships/tags" Target="../tags/tag628.xml"/></Relationships>
</file>

<file path=ppt/slides/_rels/slide24.xml.rels><?xml version="1.0" encoding="UTF-8" standalone="yes"?>
<Relationships xmlns="http://schemas.openxmlformats.org/package/2006/relationships"><Relationship Id="rId9" Type="http://schemas.openxmlformats.org/officeDocument/2006/relationships/image" Target="../media/image39.svg"/><Relationship Id="rId8" Type="http://schemas.openxmlformats.org/officeDocument/2006/relationships/image" Target="../media/image38.png"/><Relationship Id="rId7" Type="http://schemas.openxmlformats.org/officeDocument/2006/relationships/image" Target="../media/image37.svg"/><Relationship Id="rId6" Type="http://schemas.openxmlformats.org/officeDocument/2006/relationships/image" Target="../media/image36.png"/><Relationship Id="rId5" Type="http://schemas.openxmlformats.org/officeDocument/2006/relationships/tags" Target="../tags/tag634.xml"/><Relationship Id="rId4" Type="http://schemas.openxmlformats.org/officeDocument/2006/relationships/tags" Target="../tags/tag633.xml"/><Relationship Id="rId3" Type="http://schemas.openxmlformats.org/officeDocument/2006/relationships/tags" Target="../tags/tag632.xml"/><Relationship Id="rId2" Type="http://schemas.openxmlformats.org/officeDocument/2006/relationships/tags" Target="../tags/tag631.xml"/><Relationship Id="rId11" Type="http://schemas.openxmlformats.org/officeDocument/2006/relationships/slideLayout" Target="../slideLayouts/slideLayout3.xml"/><Relationship Id="rId10" Type="http://schemas.openxmlformats.org/officeDocument/2006/relationships/image" Target="../media/image40.png"/><Relationship Id="rId1" Type="http://schemas.openxmlformats.org/officeDocument/2006/relationships/image" Target="../media/image35.jpeg"/></Relationships>
</file>

<file path=ppt/slides/_rels/slide25.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ags" Target="../tags/tag636.xml"/><Relationship Id="rId2" Type="http://schemas.openxmlformats.org/officeDocument/2006/relationships/tags" Target="../tags/tag635.xml"/><Relationship Id="rId1" Type="http://schemas.openxmlformats.org/officeDocument/2006/relationships/image" Target="../media/image41.png"/></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3.xml"/><Relationship Id="rId7" Type="http://schemas.openxmlformats.org/officeDocument/2006/relationships/image" Target="../media/image45.svg"/><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tags" Target="../tags/tag639.xml"/><Relationship Id="rId3" Type="http://schemas.openxmlformats.org/officeDocument/2006/relationships/tags" Target="../tags/tag638.xml"/><Relationship Id="rId2" Type="http://schemas.openxmlformats.org/officeDocument/2006/relationships/tags" Target="../tags/tag637.xml"/><Relationship Id="rId1" Type="http://schemas.openxmlformats.org/officeDocument/2006/relationships/image" Target="../media/image42.png"/></Relationships>
</file>

<file path=ppt/slides/_rels/slide27.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slideLayout" Target="../slideLayouts/slideLayout5.xml"/><Relationship Id="rId5" Type="http://schemas.openxmlformats.org/officeDocument/2006/relationships/themeOverride" Target="../theme/themeOverride1.xml"/><Relationship Id="rId4" Type="http://schemas.openxmlformats.org/officeDocument/2006/relationships/tags" Target="../tags/tag641.xml"/><Relationship Id="rId3" Type="http://schemas.openxmlformats.org/officeDocument/2006/relationships/image" Target="../media/image46.emf"/><Relationship Id="rId2" Type="http://schemas.openxmlformats.org/officeDocument/2006/relationships/oleObject" Target="../embeddings/oleObject1.bin"/><Relationship Id="rId1" Type="http://schemas.openxmlformats.org/officeDocument/2006/relationships/tags" Target="../tags/tag640.xml"/></Relationships>
</file>

<file path=ppt/slides/_rels/slide3.xml.rels><?xml version="1.0" encoding="UTF-8" standalone="yes"?>
<Relationships xmlns="http://schemas.openxmlformats.org/package/2006/relationships"><Relationship Id="rId6" Type="http://schemas.openxmlformats.org/officeDocument/2006/relationships/slideLayout" Target="../slideLayouts/slideLayout3.xml"/><Relationship Id="rId5" Type="http://schemas.openxmlformats.org/officeDocument/2006/relationships/image" Target="../media/image4.svg"/><Relationship Id="rId4" Type="http://schemas.openxmlformats.org/officeDocument/2006/relationships/image" Target="../media/image3.png"/><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9" Type="http://schemas.openxmlformats.org/officeDocument/2006/relationships/tags" Target="../tags/tag12.xml"/><Relationship Id="rId8" Type="http://schemas.openxmlformats.org/officeDocument/2006/relationships/tags" Target="../tags/tag11.xml"/><Relationship Id="rId7" Type="http://schemas.openxmlformats.org/officeDocument/2006/relationships/tags" Target="../tags/tag10.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 Id="rId37" Type="http://schemas.openxmlformats.org/officeDocument/2006/relationships/slideLayout" Target="../slideLayouts/slideLayout3.xml"/><Relationship Id="rId36" Type="http://schemas.openxmlformats.org/officeDocument/2006/relationships/tags" Target="../tags/tag38.xml"/><Relationship Id="rId35" Type="http://schemas.openxmlformats.org/officeDocument/2006/relationships/tags" Target="../tags/tag37.xml"/><Relationship Id="rId34" Type="http://schemas.openxmlformats.org/officeDocument/2006/relationships/tags" Target="../tags/tag36.xml"/><Relationship Id="rId33" Type="http://schemas.openxmlformats.org/officeDocument/2006/relationships/tags" Target="../tags/tag35.xml"/><Relationship Id="rId32" Type="http://schemas.openxmlformats.org/officeDocument/2006/relationships/tags" Target="../tags/tag34.xml"/><Relationship Id="rId31" Type="http://schemas.openxmlformats.org/officeDocument/2006/relationships/tags" Target="../tags/tag33.xml"/><Relationship Id="rId30" Type="http://schemas.openxmlformats.org/officeDocument/2006/relationships/tags" Target="../tags/tag32.xml"/><Relationship Id="rId3" Type="http://schemas.openxmlformats.org/officeDocument/2006/relationships/tags" Target="../tags/tag6.xml"/><Relationship Id="rId29" Type="http://schemas.openxmlformats.org/officeDocument/2006/relationships/tags" Target="../tags/tag31.xml"/><Relationship Id="rId28" Type="http://schemas.openxmlformats.org/officeDocument/2006/relationships/tags" Target="../tags/tag30.xml"/><Relationship Id="rId27" Type="http://schemas.openxmlformats.org/officeDocument/2006/relationships/tags" Target="../tags/tag29.xml"/><Relationship Id="rId26" Type="http://schemas.openxmlformats.org/officeDocument/2006/relationships/tags" Target="../tags/tag28.xml"/><Relationship Id="rId25" Type="http://schemas.openxmlformats.org/officeDocument/2006/relationships/tags" Target="../tags/tag27.xml"/><Relationship Id="rId24" Type="http://schemas.openxmlformats.org/officeDocument/2006/relationships/tags" Target="../tags/tag26.xml"/><Relationship Id="rId23" Type="http://schemas.openxmlformats.org/officeDocument/2006/relationships/tags" Target="../tags/tag25.xml"/><Relationship Id="rId22" Type="http://schemas.openxmlformats.org/officeDocument/2006/relationships/tags" Target="../tags/tag24.xml"/><Relationship Id="rId21" Type="http://schemas.openxmlformats.org/officeDocument/2006/relationships/tags" Target="../tags/tag23.xml"/><Relationship Id="rId20" Type="http://schemas.openxmlformats.org/officeDocument/2006/relationships/tags" Target="../tags/tag22.xml"/><Relationship Id="rId2" Type="http://schemas.openxmlformats.org/officeDocument/2006/relationships/tags" Target="../tags/tag5.xml"/><Relationship Id="rId19" Type="http://schemas.openxmlformats.org/officeDocument/2006/relationships/image" Target="../media/image5.png"/><Relationship Id="rId18" Type="http://schemas.openxmlformats.org/officeDocument/2006/relationships/tags" Target="../tags/tag21.xml"/><Relationship Id="rId17" Type="http://schemas.openxmlformats.org/officeDocument/2006/relationships/tags" Target="../tags/tag20.xml"/><Relationship Id="rId16" Type="http://schemas.openxmlformats.org/officeDocument/2006/relationships/tags" Target="../tags/tag19.xml"/><Relationship Id="rId15" Type="http://schemas.openxmlformats.org/officeDocument/2006/relationships/tags" Target="../tags/tag18.xml"/><Relationship Id="rId14" Type="http://schemas.openxmlformats.org/officeDocument/2006/relationships/tags" Target="../tags/tag17.xml"/><Relationship Id="rId13" Type="http://schemas.openxmlformats.org/officeDocument/2006/relationships/tags" Target="../tags/tag16.xml"/><Relationship Id="rId12" Type="http://schemas.openxmlformats.org/officeDocument/2006/relationships/tags" Target="../tags/tag15.xml"/><Relationship Id="rId11" Type="http://schemas.openxmlformats.org/officeDocument/2006/relationships/tags" Target="../tags/tag14.xml"/><Relationship Id="rId10" Type="http://schemas.openxmlformats.org/officeDocument/2006/relationships/tags" Target="../tags/tag13.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9" Type="http://schemas.openxmlformats.org/officeDocument/2006/relationships/tags" Target="../tags/tag47.xml"/><Relationship Id="rId8" Type="http://schemas.openxmlformats.org/officeDocument/2006/relationships/tags" Target="../tags/tag46.xml"/><Relationship Id="rId7" Type="http://schemas.openxmlformats.org/officeDocument/2006/relationships/tags" Target="../tags/tag45.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3" Type="http://schemas.openxmlformats.org/officeDocument/2006/relationships/tags" Target="../tags/tag41.xml"/><Relationship Id="rId22" Type="http://schemas.openxmlformats.org/officeDocument/2006/relationships/slideLayout" Target="../slideLayouts/slideLayout3.xml"/><Relationship Id="rId21" Type="http://schemas.openxmlformats.org/officeDocument/2006/relationships/tags" Target="../tags/tag59.xml"/><Relationship Id="rId20" Type="http://schemas.openxmlformats.org/officeDocument/2006/relationships/tags" Target="../tags/tag58.xml"/><Relationship Id="rId2" Type="http://schemas.openxmlformats.org/officeDocument/2006/relationships/tags" Target="../tags/tag40.xml"/><Relationship Id="rId19" Type="http://schemas.openxmlformats.org/officeDocument/2006/relationships/tags" Target="../tags/tag57.xml"/><Relationship Id="rId18" Type="http://schemas.openxmlformats.org/officeDocument/2006/relationships/tags" Target="../tags/tag56.xml"/><Relationship Id="rId17" Type="http://schemas.openxmlformats.org/officeDocument/2006/relationships/tags" Target="../tags/tag55.xml"/><Relationship Id="rId16" Type="http://schemas.openxmlformats.org/officeDocument/2006/relationships/tags" Target="../tags/tag54.xml"/><Relationship Id="rId15" Type="http://schemas.openxmlformats.org/officeDocument/2006/relationships/tags" Target="../tags/tag53.xml"/><Relationship Id="rId14" Type="http://schemas.openxmlformats.org/officeDocument/2006/relationships/tags" Target="../tags/tag52.xml"/><Relationship Id="rId13" Type="http://schemas.openxmlformats.org/officeDocument/2006/relationships/tags" Target="../tags/tag51.xml"/><Relationship Id="rId12" Type="http://schemas.openxmlformats.org/officeDocument/2006/relationships/tags" Target="../tags/tag50.xml"/><Relationship Id="rId11" Type="http://schemas.openxmlformats.org/officeDocument/2006/relationships/tags" Target="../tags/tag49.xml"/><Relationship Id="rId10" Type="http://schemas.openxmlformats.org/officeDocument/2006/relationships/tags" Target="../tags/tag48.xml"/><Relationship Id="rId1" Type="http://schemas.openxmlformats.org/officeDocument/2006/relationships/tags" Target="../tags/tag39.xml"/></Relationships>
</file>

<file path=ppt/slides/_rels/slide6.xml.rels><?xml version="1.0" encoding="UTF-8" standalone="yes"?>
<Relationships xmlns="http://schemas.openxmlformats.org/package/2006/relationships"><Relationship Id="rId6"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tags" Target="../tags/tag63.xml"/><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s>
</file>

<file path=ppt/slides/_rels/slide7.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image" Target="../media/image7.png"/><Relationship Id="rId2" Type="http://schemas.openxmlformats.org/officeDocument/2006/relationships/tags" Target="../tags/tag65.xml"/><Relationship Id="rId1" Type="http://schemas.openxmlformats.org/officeDocument/2006/relationships/tags" Target="../tags/tag64.xml"/></Relationships>
</file>

<file path=ppt/slides/_rels/slide8.xml.rels><?xml version="1.0" encoding="UTF-8" standalone="yes"?>
<Relationships xmlns="http://schemas.openxmlformats.org/package/2006/relationships"><Relationship Id="rId9" Type="http://schemas.openxmlformats.org/officeDocument/2006/relationships/tags" Target="../tags/tag73.xml"/><Relationship Id="rId8" Type="http://schemas.openxmlformats.org/officeDocument/2006/relationships/image" Target="../media/image8.png"/><Relationship Id="rId7" Type="http://schemas.openxmlformats.org/officeDocument/2006/relationships/tags" Target="../tags/tag72.xml"/><Relationship Id="rId6" Type="http://schemas.openxmlformats.org/officeDocument/2006/relationships/tags" Target="../tags/tag71.xml"/><Relationship Id="rId5" Type="http://schemas.openxmlformats.org/officeDocument/2006/relationships/tags" Target="../tags/tag70.xml"/><Relationship Id="rId4" Type="http://schemas.openxmlformats.org/officeDocument/2006/relationships/tags" Target="../tags/tag69.xml"/><Relationship Id="rId3" Type="http://schemas.openxmlformats.org/officeDocument/2006/relationships/tags" Target="../tags/tag68.xml"/><Relationship Id="rId28" Type="http://schemas.openxmlformats.org/officeDocument/2006/relationships/slideLayout" Target="../slideLayouts/slideLayout3.xml"/><Relationship Id="rId27" Type="http://schemas.openxmlformats.org/officeDocument/2006/relationships/tags" Target="../tags/tag87.xml"/><Relationship Id="rId26" Type="http://schemas.openxmlformats.org/officeDocument/2006/relationships/image" Target="../media/image12.png"/><Relationship Id="rId25" Type="http://schemas.openxmlformats.org/officeDocument/2006/relationships/tags" Target="../tags/tag86.xml"/><Relationship Id="rId24" Type="http://schemas.openxmlformats.org/officeDocument/2006/relationships/tags" Target="../tags/tag85.xml"/><Relationship Id="rId23" Type="http://schemas.openxmlformats.org/officeDocument/2006/relationships/tags" Target="../tags/tag84.xml"/><Relationship Id="rId22" Type="http://schemas.openxmlformats.org/officeDocument/2006/relationships/tags" Target="../tags/tag83.xml"/><Relationship Id="rId21" Type="http://schemas.openxmlformats.org/officeDocument/2006/relationships/tags" Target="../tags/tag82.xml"/><Relationship Id="rId20" Type="http://schemas.openxmlformats.org/officeDocument/2006/relationships/tags" Target="../tags/tag81.xml"/><Relationship Id="rId2" Type="http://schemas.openxmlformats.org/officeDocument/2006/relationships/tags" Target="../tags/tag67.xml"/><Relationship Id="rId19" Type="http://schemas.openxmlformats.org/officeDocument/2006/relationships/image" Target="../media/image11.png"/><Relationship Id="rId18" Type="http://schemas.openxmlformats.org/officeDocument/2006/relationships/tags" Target="../tags/tag80.xml"/><Relationship Id="rId17" Type="http://schemas.openxmlformats.org/officeDocument/2006/relationships/image" Target="../media/image10.png"/><Relationship Id="rId16" Type="http://schemas.openxmlformats.org/officeDocument/2006/relationships/tags" Target="../tags/tag79.xml"/><Relationship Id="rId15" Type="http://schemas.openxmlformats.org/officeDocument/2006/relationships/image" Target="../media/image9.jpeg"/><Relationship Id="rId14" Type="http://schemas.openxmlformats.org/officeDocument/2006/relationships/tags" Target="../tags/tag78.xml"/><Relationship Id="rId13" Type="http://schemas.openxmlformats.org/officeDocument/2006/relationships/tags" Target="../tags/tag77.xml"/><Relationship Id="rId12" Type="http://schemas.openxmlformats.org/officeDocument/2006/relationships/tags" Target="../tags/tag76.xml"/><Relationship Id="rId11" Type="http://schemas.openxmlformats.org/officeDocument/2006/relationships/tags" Target="../tags/tag75.xml"/><Relationship Id="rId10" Type="http://schemas.openxmlformats.org/officeDocument/2006/relationships/tags" Target="../tags/tag74.xml"/><Relationship Id="rId1" Type="http://schemas.openxmlformats.org/officeDocument/2006/relationships/tags" Target="../tags/tag66.xml"/></Relationships>
</file>

<file path=ppt/slides/_rels/slide9.xml.rels><?xml version="1.0" encoding="UTF-8" standalone="yes"?>
<Relationships xmlns="http://schemas.openxmlformats.org/package/2006/relationships"><Relationship Id="rId9" Type="http://schemas.openxmlformats.org/officeDocument/2006/relationships/tags" Target="../tags/tag96.xml"/><Relationship Id="rId8" Type="http://schemas.openxmlformats.org/officeDocument/2006/relationships/tags" Target="../tags/tag95.xml"/><Relationship Id="rId7" Type="http://schemas.openxmlformats.org/officeDocument/2006/relationships/tags" Target="../tags/tag94.xml"/><Relationship Id="rId6" Type="http://schemas.openxmlformats.org/officeDocument/2006/relationships/tags" Target="../tags/tag93.xml"/><Relationship Id="rId5" Type="http://schemas.openxmlformats.org/officeDocument/2006/relationships/tags" Target="../tags/tag92.xml"/><Relationship Id="rId4" Type="http://schemas.openxmlformats.org/officeDocument/2006/relationships/tags" Target="../tags/tag91.xml"/><Relationship Id="rId3" Type="http://schemas.openxmlformats.org/officeDocument/2006/relationships/tags" Target="../tags/tag90.xml"/><Relationship Id="rId27" Type="http://schemas.openxmlformats.org/officeDocument/2006/relationships/slideLayout" Target="../slideLayouts/slideLayout3.xml"/><Relationship Id="rId26" Type="http://schemas.openxmlformats.org/officeDocument/2006/relationships/image" Target="../media/image16.png"/><Relationship Id="rId25" Type="http://schemas.openxmlformats.org/officeDocument/2006/relationships/tags" Target="../tags/tag108.xml"/><Relationship Id="rId24" Type="http://schemas.openxmlformats.org/officeDocument/2006/relationships/image" Target="../media/image15.png"/><Relationship Id="rId23" Type="http://schemas.openxmlformats.org/officeDocument/2006/relationships/tags" Target="../tags/tag107.xml"/><Relationship Id="rId22" Type="http://schemas.openxmlformats.org/officeDocument/2006/relationships/image" Target="../media/image14.png"/><Relationship Id="rId21" Type="http://schemas.openxmlformats.org/officeDocument/2006/relationships/tags" Target="../tags/tag106.xml"/><Relationship Id="rId20" Type="http://schemas.openxmlformats.org/officeDocument/2006/relationships/image" Target="../media/image9.jpeg"/><Relationship Id="rId2" Type="http://schemas.openxmlformats.org/officeDocument/2006/relationships/tags" Target="../tags/tag89.xml"/><Relationship Id="rId19" Type="http://schemas.openxmlformats.org/officeDocument/2006/relationships/tags" Target="../tags/tag105.xml"/><Relationship Id="rId18" Type="http://schemas.openxmlformats.org/officeDocument/2006/relationships/tags" Target="../tags/tag104.xml"/><Relationship Id="rId17" Type="http://schemas.openxmlformats.org/officeDocument/2006/relationships/tags" Target="../tags/tag103.xml"/><Relationship Id="rId16" Type="http://schemas.openxmlformats.org/officeDocument/2006/relationships/tags" Target="../tags/tag102.xml"/><Relationship Id="rId15" Type="http://schemas.openxmlformats.org/officeDocument/2006/relationships/image" Target="../media/image13.png"/><Relationship Id="rId14" Type="http://schemas.openxmlformats.org/officeDocument/2006/relationships/tags" Target="../tags/tag101.xml"/><Relationship Id="rId13" Type="http://schemas.openxmlformats.org/officeDocument/2006/relationships/tags" Target="../tags/tag100.xml"/><Relationship Id="rId12" Type="http://schemas.openxmlformats.org/officeDocument/2006/relationships/tags" Target="../tags/tag99.xml"/><Relationship Id="rId11" Type="http://schemas.openxmlformats.org/officeDocument/2006/relationships/tags" Target="../tags/tag98.xml"/><Relationship Id="rId10" Type="http://schemas.openxmlformats.org/officeDocument/2006/relationships/tags" Target="../tags/tag97.xml"/><Relationship Id="rId1" Type="http://schemas.openxmlformats.org/officeDocument/2006/relationships/tags" Target="../tags/tag8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12204857" cy="6858000"/>
          </a:xfrm>
          <a:prstGeom prst="rect">
            <a:avLst/>
          </a:prstGeom>
        </p:spPr>
      </p:pic>
      <p:sp>
        <p:nvSpPr>
          <p:cNvPr id="3" name="文本框 2"/>
          <p:cNvSpPr txBox="1"/>
          <p:nvPr/>
        </p:nvSpPr>
        <p:spPr>
          <a:xfrm>
            <a:off x="1713865" y="1564005"/>
            <a:ext cx="9276715" cy="2122805"/>
          </a:xfrm>
          <a:prstGeom prst="rect">
            <a:avLst/>
          </a:prstGeom>
          <a:noFill/>
        </p:spPr>
        <p:txBody>
          <a:bodyPr wrap="square" rtlCol="0">
            <a:spAutoFit/>
          </a:bodyPr>
          <a:lstStyle/>
          <a:p>
            <a:pPr algn="ctr"/>
            <a:r>
              <a:rPr lang="zh-CN" altLang="en-US" sz="6600" b="1" spc="300" dirty="0">
                <a:solidFill>
                  <a:prstClr val="white"/>
                </a:solidFill>
                <a:latin typeface="微软雅黑" panose="020B0503020204020204" pitchFamily="34" charset="-122"/>
                <a:ea typeface="微软雅黑" panose="020B0503020204020204" pitchFamily="34" charset="-122"/>
              </a:rPr>
              <a:t>高性能PolarDB一体机解决方案</a:t>
            </a:r>
            <a:endParaRPr lang="zh-CN" altLang="en-US" sz="6600" b="1" spc="300" dirty="0">
              <a:solidFill>
                <a:prstClr val="white"/>
              </a:solidFill>
              <a:latin typeface="微软雅黑" panose="020B0503020204020204" pitchFamily="34" charset="-122"/>
              <a:ea typeface="微软雅黑" panose="020B0503020204020204" pitchFamily="34" charset="-122"/>
            </a:endParaRPr>
          </a:p>
        </p:txBody>
      </p:sp>
      <p:sp>
        <p:nvSpPr>
          <p:cNvPr id="4" name="文本框 3"/>
          <p:cNvSpPr txBox="1"/>
          <p:nvPr/>
        </p:nvSpPr>
        <p:spPr>
          <a:xfrm>
            <a:off x="5323351" y="4296912"/>
            <a:ext cx="1478280" cy="829945"/>
          </a:xfrm>
          <a:prstGeom prst="rect">
            <a:avLst/>
          </a:prstGeom>
          <a:noFill/>
        </p:spPr>
        <p:txBody>
          <a:bodyPr wrap="none" rtlCol="0">
            <a:spAutoFit/>
          </a:bodyPr>
          <a:lstStyle/>
          <a:p>
            <a:r>
              <a:rPr lang="zh-CN" altLang="en-US" sz="4800" spc="300" dirty="0">
                <a:solidFill>
                  <a:prstClr val="white"/>
                </a:solidFill>
                <a:latin typeface="微软雅黑" panose="020B0503020204020204" pitchFamily="34" charset="-122"/>
                <a:ea typeface="微软雅黑" panose="020B0503020204020204" pitchFamily="34" charset="-122"/>
              </a:rPr>
              <a:t>唐成</a:t>
            </a:r>
            <a:endParaRPr lang="en-US" altLang="zh-CN" sz="4800" spc="300" dirty="0">
              <a:solidFill>
                <a:prstClr val="white"/>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kern="0" dirty="0">
                <a:solidFill>
                  <a:srgbClr val="0070C0"/>
                </a:solidFill>
                <a:latin typeface="微软雅黑" panose="020B0503020204020204" pitchFamily="34" charset="-122"/>
                <a:ea typeface="微软雅黑" panose="020B0503020204020204" pitchFamily="34" charset="-122"/>
                <a:sym typeface="+mn-ea"/>
              </a:rPr>
              <a:t>高新能</a:t>
            </a:r>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一体机：</a:t>
            </a:r>
            <a:r>
              <a:rPr lang="en-US" altLang="zh-CN" kern="0" dirty="0">
                <a:solidFill>
                  <a:srgbClr val="0070C0"/>
                </a:solidFill>
                <a:latin typeface="微软雅黑" panose="020B0503020204020204" pitchFamily="34" charset="-122"/>
                <a:ea typeface="微软雅黑" panose="020B0503020204020204" pitchFamily="34" charset="-122"/>
                <a:sym typeface="+mn-ea"/>
              </a:rPr>
              <a:t>CData</a:t>
            </a:r>
            <a:r>
              <a:rPr lang="zh-CN" altLang="en-US" kern="0" dirty="0">
                <a:solidFill>
                  <a:srgbClr val="0070C0"/>
                </a:solidFill>
                <a:latin typeface="微软雅黑" panose="020B0503020204020204" pitchFamily="34" charset="-122"/>
                <a:ea typeface="微软雅黑" panose="020B0503020204020204" pitchFamily="34" charset="-122"/>
                <a:sym typeface="+mn-ea"/>
              </a:rPr>
              <a:t>核心技术</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grpSp>
        <p:nvGrpSpPr>
          <p:cNvPr id="3" name="组合 2"/>
          <p:cNvGrpSpPr/>
          <p:nvPr/>
        </p:nvGrpSpPr>
        <p:grpSpPr>
          <a:xfrm>
            <a:off x="0" y="936542"/>
            <a:ext cx="12192000" cy="5977953"/>
            <a:chOff x="0" y="673652"/>
            <a:chExt cx="12192000" cy="5977953"/>
          </a:xfrm>
        </p:grpSpPr>
        <p:sp>
          <p:nvSpPr>
            <p:cNvPr id="13" name="矩形"/>
            <p:cNvSpPr>
              <a:spLocks noChangeAspect="1"/>
            </p:cNvSpPr>
            <p:nvPr>
              <p:custDataLst>
                <p:tags r:id="rId1"/>
              </p:custDataLst>
            </p:nvPr>
          </p:nvSpPr>
          <p:spPr>
            <a:xfrm rot="10800000">
              <a:off x="0" y="3662629"/>
              <a:ext cx="6057014" cy="2988976"/>
            </a:xfrm>
            <a:prstGeom prst="rect">
              <a:avLst/>
            </a:prstGeom>
            <a:solidFill>
              <a:schemeClr val="bg2">
                <a:alpha val="65000"/>
              </a:schemeClr>
            </a:solidFill>
            <a:ln w="12700" cap="flat">
              <a:noFill/>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dirty="0"/>
            </a:p>
          </p:txBody>
        </p:sp>
        <p:sp>
          <p:nvSpPr>
            <p:cNvPr id="10" name="矩形"/>
            <p:cNvSpPr>
              <a:spLocks noChangeAspect="1"/>
            </p:cNvSpPr>
            <p:nvPr>
              <p:custDataLst>
                <p:tags r:id="rId2"/>
              </p:custDataLst>
            </p:nvPr>
          </p:nvSpPr>
          <p:spPr>
            <a:xfrm rot="10800000">
              <a:off x="6057011" y="673652"/>
              <a:ext cx="6134989" cy="2988976"/>
            </a:xfrm>
            <a:prstGeom prst="rect">
              <a:avLst/>
            </a:prstGeom>
            <a:solidFill>
              <a:schemeClr val="bg2">
                <a:alpha val="65000"/>
              </a:schemeClr>
            </a:solidFill>
            <a:ln w="12700" cap="flat">
              <a:noFill/>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dirty="0"/>
            </a:p>
          </p:txBody>
        </p:sp>
        <p:sp>
          <p:nvSpPr>
            <p:cNvPr id="15" name="TextBox 14"/>
            <p:cNvSpPr txBox="1"/>
            <p:nvPr>
              <p:custDataLst>
                <p:tags r:id="rId3"/>
              </p:custDataLst>
            </p:nvPr>
          </p:nvSpPr>
          <p:spPr>
            <a:xfrm>
              <a:off x="2230414" y="6060510"/>
              <a:ext cx="3649391" cy="452867"/>
            </a:xfrm>
            <a:prstGeom prst="rect">
              <a:avLst/>
            </a:prstGeom>
            <a:noFill/>
          </p:spPr>
          <p:txBody>
            <a:bodyPr wrap="square" lIns="0" rIns="0" rtlCol="0" anchor="ctr">
              <a:noAutofit/>
            </a:bodyPr>
            <a:lstStyle/>
            <a:p>
              <a:pPr marL="0" lvl="1">
                <a:lnSpc>
                  <a:spcPct val="120000"/>
                </a:lnSpc>
                <a:buClr>
                  <a:srgbClr val="84BD00"/>
                </a:buClr>
              </a:pPr>
              <a:r>
                <a:rPr lang="en-US" altLang="zh-CN"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 — 56G/100G/200G Infiniband</a:t>
              </a:r>
              <a:r>
                <a:rPr lang="zh-CN" altLang="en-US"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高吞吐，低延迟。做到</a:t>
              </a:r>
              <a:r>
                <a:rPr lang="en-US" altLang="zh-CN"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ns</a:t>
              </a:r>
              <a:r>
                <a:rPr lang="zh-CN" altLang="en-US"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级通信时延，计算存储信息超高速互联</a:t>
              </a:r>
              <a:endParaRPr lang="en-US" altLang="zh-CN"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14" name="组合 13"/>
            <p:cNvGrpSpPr/>
            <p:nvPr/>
          </p:nvGrpSpPr>
          <p:grpSpPr>
            <a:xfrm>
              <a:off x="219842" y="1292746"/>
              <a:ext cx="1640843" cy="2025706"/>
              <a:chOff x="219842" y="1292746"/>
              <a:chExt cx="1640843" cy="2025706"/>
            </a:xfrm>
          </p:grpSpPr>
          <p:sp>
            <p:nvSpPr>
              <p:cNvPr id="17" name="TextBox 16"/>
              <p:cNvSpPr txBox="1"/>
              <p:nvPr>
                <p:custDataLst>
                  <p:tags r:id="rId4"/>
                </p:custDataLst>
              </p:nvPr>
            </p:nvSpPr>
            <p:spPr>
              <a:xfrm>
                <a:off x="219842" y="2718273"/>
                <a:ext cx="1640843" cy="600179"/>
              </a:xfrm>
              <a:prstGeom prst="rect">
                <a:avLst/>
              </a:prstGeom>
              <a:noFill/>
            </p:spPr>
            <p:txBody>
              <a:bodyPr wrap="square" lIns="0" rIns="0" rtlCol="0" anchor="ctr">
                <a:noAutofit/>
              </a:bodyPr>
              <a:lstStyle/>
              <a:p>
                <a:pPr algn="ctr">
                  <a:lnSpc>
                    <a:spcPct val="95000"/>
                  </a:lnSpc>
                  <a:buClr>
                    <a:srgbClr val="84BD00"/>
                  </a:buClr>
                </a:pPr>
                <a:r>
                  <a:rPr lang="zh-CN" altLang="en-US" sz="1400" b="1" dirty="0">
                    <a:solidFill>
                      <a:srgbClr val="0099CC"/>
                    </a:solidFill>
                    <a:latin typeface="微软雅黑" panose="020B0503020204020204" pitchFamily="34" charset="-122"/>
                    <a:ea typeface="微软雅黑" panose="020B0503020204020204" pitchFamily="34" charset="-122"/>
                  </a:rPr>
                  <a:t>高性能</a:t>
                </a:r>
                <a:endParaRPr lang="en-US" altLang="zh-CN" sz="1400" b="1" dirty="0">
                  <a:solidFill>
                    <a:srgbClr val="0099CC"/>
                  </a:solidFill>
                  <a:latin typeface="微软雅黑" panose="020B0503020204020204" pitchFamily="34" charset="-122"/>
                  <a:ea typeface="微软雅黑" panose="020B0503020204020204" pitchFamily="34" charset="-122"/>
                </a:endParaRPr>
              </a:p>
              <a:p>
                <a:pPr algn="ctr">
                  <a:lnSpc>
                    <a:spcPct val="95000"/>
                  </a:lnSpc>
                  <a:buClr>
                    <a:srgbClr val="84BD00"/>
                  </a:buClr>
                </a:pPr>
                <a:r>
                  <a:rPr lang="zh-CN" altLang="en-US" sz="1400" b="1" dirty="0">
                    <a:solidFill>
                      <a:srgbClr val="0099CC"/>
                    </a:solidFill>
                    <a:latin typeface="微软雅黑" panose="020B0503020204020204" pitchFamily="34" charset="-122"/>
                    <a:ea typeface="微软雅黑" panose="020B0503020204020204" pitchFamily="34" charset="-122"/>
                  </a:rPr>
                  <a:t>分布式存储软件</a:t>
                </a:r>
                <a:endParaRPr lang="en-US" altLang="zh-CN" sz="1400" b="1" dirty="0">
                  <a:solidFill>
                    <a:srgbClr val="0099CC"/>
                  </a:solidFill>
                  <a:latin typeface="微软雅黑" panose="020B0503020204020204" pitchFamily="34" charset="-122"/>
                  <a:ea typeface="微软雅黑" panose="020B0503020204020204" pitchFamily="34" charset="-122"/>
                </a:endParaRPr>
              </a:p>
            </p:txBody>
          </p:sp>
          <p:grpSp>
            <p:nvGrpSpPr>
              <p:cNvPr id="12" name="组合 11"/>
              <p:cNvGrpSpPr/>
              <p:nvPr/>
            </p:nvGrpSpPr>
            <p:grpSpPr>
              <a:xfrm>
                <a:off x="219842" y="1292746"/>
                <a:ext cx="1640843" cy="1368000"/>
                <a:chOff x="1110432" y="982689"/>
                <a:chExt cx="1640843" cy="1368000"/>
              </a:xfrm>
            </p:grpSpPr>
            <p:grpSp>
              <p:nvGrpSpPr>
                <p:cNvPr id="8" name="组合 7"/>
                <p:cNvGrpSpPr/>
                <p:nvPr/>
              </p:nvGrpSpPr>
              <p:grpSpPr>
                <a:xfrm>
                  <a:off x="1245392" y="982689"/>
                  <a:ext cx="1367736" cy="1368000"/>
                  <a:chOff x="315553" y="1365249"/>
                  <a:chExt cx="1367736" cy="1368000"/>
                </a:xfrm>
              </p:grpSpPr>
              <p:sp>
                <p:nvSpPr>
                  <p:cNvPr id="24" name="椭圆 23"/>
                  <p:cNvSpPr>
                    <a:spLocks noChangeAspect="1"/>
                  </p:cNvSpPr>
                  <p:nvPr>
                    <p:custDataLst>
                      <p:tags r:id="rId5"/>
                    </p:custDataLst>
                  </p:nvPr>
                </p:nvSpPr>
                <p:spPr>
                  <a:xfrm>
                    <a:off x="315553" y="1365249"/>
                    <a:ext cx="1367736" cy="1368000"/>
                  </a:xfrm>
                  <a:prstGeom prst="ellipse">
                    <a:avLst/>
                  </a:prstGeom>
                  <a:solidFill>
                    <a:srgbClr val="0099CC"/>
                  </a:solidFill>
                  <a:ln>
                    <a:noFill/>
                  </a:ln>
                  <a:effectLst>
                    <a:outerShdw blurRad="50800" dist="38100" dir="2700000" algn="tl"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p:cNvSpPr>
                    <a:spLocks noChangeAspect="1"/>
                  </p:cNvSpPr>
                  <p:nvPr>
                    <p:custDataLst>
                      <p:tags r:id="rId6"/>
                    </p:custDataLst>
                  </p:nvPr>
                </p:nvSpPr>
                <p:spPr>
                  <a:xfrm>
                    <a:off x="349870" y="1401249"/>
                    <a:ext cx="1295750" cy="1296000"/>
                  </a:xfrm>
                  <a:prstGeom prst="ellipse">
                    <a:avLst/>
                  </a:prstGeom>
                  <a:no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5" name="文本框 4"/>
                <p:cNvSpPr txBox="1"/>
                <p:nvPr>
                  <p:custDataLst>
                    <p:tags r:id="rId7"/>
                  </p:custDataLst>
                </p:nvPr>
              </p:nvSpPr>
              <p:spPr>
                <a:xfrm>
                  <a:off x="1110432" y="1389223"/>
                  <a:ext cx="1640843" cy="523220"/>
                </a:xfrm>
                <a:prstGeom prst="rect">
                  <a:avLst/>
                </a:prstGeom>
                <a:noFill/>
              </p:spPr>
              <p:txBody>
                <a:bodyPr wrap="square" rtlCol="0">
                  <a:spAutoFit/>
                </a:bodyPr>
                <a:lstStyle/>
                <a:p>
                  <a:pPr algn="ctr"/>
                  <a:r>
                    <a:rPr lang="en-US" altLang="zh-CN" sz="2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Verdana" panose="020B0604030504040204" pitchFamily="34" charset="0"/>
                    </a:rPr>
                    <a:t>CFabric</a:t>
                  </a:r>
                  <a:endParaRPr lang="en-US" altLang="zh-CN" sz="2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Verdana" panose="020B0604030504040204" pitchFamily="34" charset="0"/>
                    <a:sym typeface="+mn-ea"/>
                  </a:endParaRPr>
                </a:p>
              </p:txBody>
            </p:sp>
          </p:grpSp>
        </p:grpSp>
        <p:sp>
          <p:nvSpPr>
            <p:cNvPr id="34" name="TextBox 33"/>
            <p:cNvSpPr txBox="1"/>
            <p:nvPr>
              <p:custDataLst>
                <p:tags r:id="rId8"/>
              </p:custDataLst>
            </p:nvPr>
          </p:nvSpPr>
          <p:spPr>
            <a:xfrm>
              <a:off x="2083980" y="2956390"/>
              <a:ext cx="3973031" cy="535531"/>
            </a:xfrm>
            <a:prstGeom prst="rect">
              <a:avLst/>
            </a:prstGeom>
            <a:noFill/>
          </p:spPr>
          <p:txBody>
            <a:bodyPr wrap="square" rtlCol="0">
              <a:spAutoFit/>
            </a:bodyPr>
            <a:lstStyle/>
            <a:p>
              <a:pPr marL="0" lvl="1">
                <a:lnSpc>
                  <a:spcPct val="120000"/>
                </a:lnSpc>
              </a:pPr>
              <a:r>
                <a:rPr lang="en-US" altLang="zh-CN"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 —</a:t>
              </a:r>
              <a:r>
                <a:rPr lang="zh-CN" altLang="en-US"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通过</a:t>
              </a:r>
              <a:r>
                <a:rPr lang="en-US" altLang="zh-CN"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CFabric</a:t>
              </a:r>
              <a:r>
                <a:rPr lang="zh-CN" altLang="en-US"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高效连接，让数据库能结合</a:t>
              </a:r>
              <a:r>
                <a:rPr lang="en-US" altLang="zh-CN"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RDMA</a:t>
              </a:r>
              <a:r>
                <a:rPr lang="zh-CN" altLang="en-US"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a:t>
              </a:r>
              <a:r>
                <a:rPr lang="en-US" altLang="zh-CN"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SSD</a:t>
              </a:r>
              <a:r>
                <a:rPr lang="zh-CN" altLang="en-US"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a:t>
              </a:r>
              <a:r>
                <a:rPr lang="en-US" altLang="zh-CN"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NVM</a:t>
              </a:r>
              <a:r>
                <a:rPr lang="zh-CN" altLang="en-US"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等特性达到快速传输和高效访问</a:t>
              </a:r>
              <a:endParaRPr lang="en-US" altLang="zh-CN"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41" name="组合 40"/>
            <p:cNvGrpSpPr/>
            <p:nvPr/>
          </p:nvGrpSpPr>
          <p:grpSpPr>
            <a:xfrm>
              <a:off x="6313648" y="4069833"/>
              <a:ext cx="1640843" cy="2025706"/>
              <a:chOff x="219842" y="1292746"/>
              <a:chExt cx="1640843" cy="2025706"/>
            </a:xfrm>
          </p:grpSpPr>
          <p:sp>
            <p:nvSpPr>
              <p:cNvPr id="42" name="TextBox 41"/>
              <p:cNvSpPr txBox="1"/>
              <p:nvPr>
                <p:custDataLst>
                  <p:tags r:id="rId9"/>
                </p:custDataLst>
              </p:nvPr>
            </p:nvSpPr>
            <p:spPr>
              <a:xfrm>
                <a:off x="219842" y="2718273"/>
                <a:ext cx="1640843" cy="600179"/>
              </a:xfrm>
              <a:prstGeom prst="rect">
                <a:avLst/>
              </a:prstGeom>
              <a:noFill/>
            </p:spPr>
            <p:txBody>
              <a:bodyPr wrap="square" lIns="0" rIns="0" rtlCol="0" anchor="ctr">
                <a:noAutofit/>
              </a:bodyPr>
              <a:lstStyle/>
              <a:p>
                <a:pPr algn="ctr">
                  <a:lnSpc>
                    <a:spcPct val="95000"/>
                  </a:lnSpc>
                  <a:buClr>
                    <a:srgbClr val="84BD00"/>
                  </a:buClr>
                </a:pPr>
                <a:r>
                  <a:rPr lang="zh-CN" altLang="en-US" sz="1400" b="1" dirty="0">
                    <a:solidFill>
                      <a:srgbClr val="0099CC"/>
                    </a:solidFill>
                    <a:latin typeface="微软雅黑" panose="020B0503020204020204" pitchFamily="34" charset="-122"/>
                    <a:ea typeface="微软雅黑" panose="020B0503020204020204" pitchFamily="34" charset="-122"/>
                  </a:rPr>
                  <a:t>高性能</a:t>
                </a:r>
                <a:endParaRPr lang="en-US" altLang="zh-CN" sz="1400" b="1" dirty="0">
                  <a:solidFill>
                    <a:srgbClr val="0099CC"/>
                  </a:solidFill>
                  <a:latin typeface="微软雅黑" panose="020B0503020204020204" pitchFamily="34" charset="-122"/>
                  <a:ea typeface="微软雅黑" panose="020B0503020204020204" pitchFamily="34" charset="-122"/>
                </a:endParaRPr>
              </a:p>
              <a:p>
                <a:pPr algn="ctr">
                  <a:lnSpc>
                    <a:spcPct val="95000"/>
                  </a:lnSpc>
                  <a:buClr>
                    <a:srgbClr val="84BD00"/>
                  </a:buClr>
                </a:pPr>
                <a:r>
                  <a:rPr lang="zh-CN" altLang="en-US" sz="1400" b="1" dirty="0">
                    <a:solidFill>
                      <a:srgbClr val="0099CC"/>
                    </a:solidFill>
                    <a:latin typeface="微软雅黑" panose="020B0503020204020204" pitchFamily="34" charset="-122"/>
                    <a:ea typeface="微软雅黑" panose="020B0503020204020204" pitchFamily="34" charset="-122"/>
                  </a:rPr>
                  <a:t>闪存</a:t>
                </a:r>
                <a:r>
                  <a:rPr lang="en-US" altLang="zh-CN" sz="1400" b="1" dirty="0">
                    <a:solidFill>
                      <a:srgbClr val="0099CC"/>
                    </a:solidFill>
                    <a:latin typeface="微软雅黑" panose="020B0503020204020204" pitchFamily="34" charset="-122"/>
                    <a:ea typeface="微软雅黑" panose="020B0503020204020204" pitchFamily="34" charset="-122"/>
                  </a:rPr>
                  <a:t>SSD</a:t>
                </a:r>
                <a:r>
                  <a:rPr lang="zh-CN" altLang="en-US" sz="1400" b="1" dirty="0">
                    <a:solidFill>
                      <a:srgbClr val="0099CC"/>
                    </a:solidFill>
                    <a:latin typeface="微软雅黑" panose="020B0503020204020204" pitchFamily="34" charset="-122"/>
                    <a:ea typeface="微软雅黑" panose="020B0503020204020204" pitchFamily="34" charset="-122"/>
                  </a:rPr>
                  <a:t>、</a:t>
                </a:r>
                <a:r>
                  <a:rPr lang="en-US" altLang="zh-CN" sz="1400" b="1" dirty="0">
                    <a:solidFill>
                      <a:srgbClr val="0099CC"/>
                    </a:solidFill>
                    <a:latin typeface="微软雅黑" panose="020B0503020204020204" pitchFamily="34" charset="-122"/>
                    <a:ea typeface="微软雅黑" panose="020B0503020204020204" pitchFamily="34" charset="-122"/>
                  </a:rPr>
                  <a:t>NVMe</a:t>
                </a:r>
                <a:endParaRPr lang="en-US" altLang="zh-CN" sz="1400" b="1" dirty="0">
                  <a:solidFill>
                    <a:srgbClr val="0099CC"/>
                  </a:solidFill>
                  <a:latin typeface="微软雅黑" panose="020B0503020204020204" pitchFamily="34" charset="-122"/>
                  <a:ea typeface="微软雅黑" panose="020B0503020204020204" pitchFamily="34" charset="-122"/>
                </a:endParaRPr>
              </a:p>
            </p:txBody>
          </p:sp>
          <p:grpSp>
            <p:nvGrpSpPr>
              <p:cNvPr id="44" name="组合 43"/>
              <p:cNvGrpSpPr/>
              <p:nvPr/>
            </p:nvGrpSpPr>
            <p:grpSpPr>
              <a:xfrm>
                <a:off x="354802" y="1292746"/>
                <a:ext cx="1367736" cy="1368000"/>
                <a:chOff x="315553" y="1365249"/>
                <a:chExt cx="1367736" cy="1368000"/>
              </a:xfrm>
            </p:grpSpPr>
            <p:sp>
              <p:nvSpPr>
                <p:cNvPr id="46" name="椭圆 45"/>
                <p:cNvSpPr>
                  <a:spLocks noChangeAspect="1"/>
                </p:cNvSpPr>
                <p:nvPr>
                  <p:custDataLst>
                    <p:tags r:id="rId10"/>
                  </p:custDataLst>
                </p:nvPr>
              </p:nvSpPr>
              <p:spPr>
                <a:xfrm>
                  <a:off x="315553" y="1365249"/>
                  <a:ext cx="1367736" cy="1368000"/>
                </a:xfrm>
                <a:prstGeom prst="ellipse">
                  <a:avLst/>
                </a:prstGeom>
                <a:solidFill>
                  <a:schemeClr val="accent3">
                    <a:lumMod val="60000"/>
                    <a:lumOff val="40000"/>
                  </a:schemeClr>
                </a:solidFill>
                <a:ln>
                  <a:noFill/>
                </a:ln>
                <a:effectLst>
                  <a:outerShdw blurRad="50800" dist="38100" dir="2700000" algn="tl"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椭圆 46"/>
                <p:cNvSpPr>
                  <a:spLocks noChangeAspect="1"/>
                </p:cNvSpPr>
                <p:nvPr>
                  <p:custDataLst>
                    <p:tags r:id="rId11"/>
                  </p:custDataLst>
                </p:nvPr>
              </p:nvSpPr>
              <p:spPr>
                <a:xfrm>
                  <a:off x="349870" y="1401249"/>
                  <a:ext cx="1295750" cy="1296000"/>
                </a:xfrm>
                <a:prstGeom prst="ellipse">
                  <a:avLst/>
                </a:prstGeom>
                <a:no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50" name="TextBox 49"/>
            <p:cNvSpPr txBox="1"/>
            <p:nvPr>
              <p:custDataLst>
                <p:tags r:id="rId12"/>
              </p:custDataLst>
            </p:nvPr>
          </p:nvSpPr>
          <p:spPr>
            <a:xfrm>
              <a:off x="291003" y="5527259"/>
              <a:ext cx="1640843" cy="600179"/>
            </a:xfrm>
            <a:prstGeom prst="rect">
              <a:avLst/>
            </a:prstGeom>
            <a:noFill/>
          </p:spPr>
          <p:txBody>
            <a:bodyPr wrap="square" lIns="0" rIns="0" rtlCol="0" anchor="ctr">
              <a:noAutofit/>
            </a:bodyPr>
            <a:lstStyle/>
            <a:p>
              <a:pPr algn="ctr">
                <a:lnSpc>
                  <a:spcPct val="95000"/>
                </a:lnSpc>
                <a:buClr>
                  <a:srgbClr val="84BD00"/>
                </a:buClr>
              </a:pPr>
              <a:r>
                <a:rPr lang="zh-CN" altLang="en-US" sz="1400" b="1" dirty="0">
                  <a:solidFill>
                    <a:srgbClr val="0099CC"/>
                  </a:solidFill>
                  <a:latin typeface="微软雅黑" panose="020B0503020204020204" pitchFamily="34" charset="-122"/>
                  <a:ea typeface="微软雅黑" panose="020B0503020204020204" pitchFamily="34" charset="-122"/>
                </a:rPr>
                <a:t>高性能</a:t>
              </a:r>
              <a:endParaRPr lang="en-US" altLang="zh-CN" sz="1400" b="1" dirty="0">
                <a:solidFill>
                  <a:srgbClr val="0099CC"/>
                </a:solidFill>
                <a:latin typeface="微软雅黑" panose="020B0503020204020204" pitchFamily="34" charset="-122"/>
                <a:ea typeface="微软雅黑" panose="020B0503020204020204" pitchFamily="34" charset="-122"/>
              </a:endParaRPr>
            </a:p>
            <a:p>
              <a:pPr algn="ctr">
                <a:lnSpc>
                  <a:spcPct val="95000"/>
                </a:lnSpc>
                <a:buClr>
                  <a:srgbClr val="84BD00"/>
                </a:buClr>
              </a:pPr>
              <a:r>
                <a:rPr lang="zh-CN" altLang="en-US" sz="1400" b="1" dirty="0">
                  <a:solidFill>
                    <a:srgbClr val="0099CC"/>
                  </a:solidFill>
                  <a:latin typeface="微软雅黑" panose="020B0503020204020204" pitchFamily="34" charset="-122"/>
                  <a:ea typeface="微软雅黑" panose="020B0503020204020204" pitchFamily="34" charset="-122"/>
                </a:rPr>
                <a:t>高带宽低延迟</a:t>
              </a:r>
              <a:endParaRPr lang="en-US" altLang="zh-CN" sz="1400" b="1" dirty="0">
                <a:solidFill>
                  <a:srgbClr val="0099CC"/>
                </a:solidFill>
                <a:latin typeface="微软雅黑" panose="020B0503020204020204" pitchFamily="34" charset="-122"/>
                <a:ea typeface="微软雅黑" panose="020B0503020204020204" pitchFamily="34" charset="-122"/>
              </a:endParaRPr>
            </a:p>
          </p:txBody>
        </p:sp>
        <p:grpSp>
          <p:nvGrpSpPr>
            <p:cNvPr id="52" name="组合 51"/>
            <p:cNvGrpSpPr/>
            <p:nvPr/>
          </p:nvGrpSpPr>
          <p:grpSpPr>
            <a:xfrm>
              <a:off x="425963" y="4101732"/>
              <a:ext cx="1367736" cy="1368000"/>
              <a:chOff x="315553" y="1365249"/>
              <a:chExt cx="1367736" cy="1368000"/>
            </a:xfrm>
          </p:grpSpPr>
          <p:sp>
            <p:nvSpPr>
              <p:cNvPr id="54" name="椭圆 53"/>
              <p:cNvSpPr>
                <a:spLocks noChangeAspect="1"/>
              </p:cNvSpPr>
              <p:nvPr>
                <p:custDataLst>
                  <p:tags r:id="rId13"/>
                </p:custDataLst>
              </p:nvPr>
            </p:nvSpPr>
            <p:spPr>
              <a:xfrm>
                <a:off x="315553" y="1365249"/>
                <a:ext cx="1367736" cy="1368000"/>
              </a:xfrm>
              <a:prstGeom prst="ellipse">
                <a:avLst/>
              </a:prstGeom>
              <a:solidFill>
                <a:schemeClr val="accent2"/>
              </a:solidFill>
              <a:ln>
                <a:noFill/>
              </a:ln>
              <a:effectLst>
                <a:outerShdw blurRad="50800" dist="38100" dir="2700000" algn="tl"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椭圆 54"/>
              <p:cNvSpPr>
                <a:spLocks noChangeAspect="1"/>
              </p:cNvSpPr>
              <p:nvPr>
                <p:custDataLst>
                  <p:tags r:id="rId14"/>
                </p:custDataLst>
              </p:nvPr>
            </p:nvSpPr>
            <p:spPr>
              <a:xfrm>
                <a:off x="349870" y="1401249"/>
                <a:ext cx="1295750" cy="1296000"/>
              </a:xfrm>
              <a:prstGeom prst="ellipse">
                <a:avLst/>
              </a:prstGeom>
              <a:no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3" name="文本框 4"/>
            <p:cNvSpPr txBox="1"/>
            <p:nvPr>
              <p:custDataLst>
                <p:tags r:id="rId15"/>
              </p:custDataLst>
            </p:nvPr>
          </p:nvSpPr>
          <p:spPr>
            <a:xfrm>
              <a:off x="291003" y="4582697"/>
              <a:ext cx="1640843" cy="400110"/>
            </a:xfrm>
            <a:prstGeom prst="rect">
              <a:avLst/>
            </a:prstGeom>
            <a:noFill/>
          </p:spPr>
          <p:txBody>
            <a:bodyPr wrap="square" rtlCol="0">
              <a:spAutoFit/>
            </a:bodyPr>
            <a:lstStyle/>
            <a:p>
              <a:pPr algn="ctr"/>
              <a:r>
                <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Verdana" panose="020B0604030504040204" pitchFamily="34" charset="0"/>
                </a:rPr>
                <a:t>Infiniband</a:t>
              </a:r>
              <a:endPar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Verdana" panose="020B0604030504040204" pitchFamily="34" charset="0"/>
                <a:sym typeface="+mn-ea"/>
              </a:endParaRPr>
            </a:p>
          </p:txBody>
        </p:sp>
        <p:grpSp>
          <p:nvGrpSpPr>
            <p:cNvPr id="48" name="组合 47"/>
            <p:cNvGrpSpPr/>
            <p:nvPr/>
          </p:nvGrpSpPr>
          <p:grpSpPr>
            <a:xfrm>
              <a:off x="6313648" y="1250984"/>
              <a:ext cx="1640843" cy="2025706"/>
              <a:chOff x="6313648" y="1250984"/>
              <a:chExt cx="1640843" cy="2025706"/>
            </a:xfrm>
          </p:grpSpPr>
          <p:grpSp>
            <p:nvGrpSpPr>
              <p:cNvPr id="56" name="组合 55"/>
              <p:cNvGrpSpPr/>
              <p:nvPr/>
            </p:nvGrpSpPr>
            <p:grpSpPr>
              <a:xfrm>
                <a:off x="6313648" y="1250984"/>
                <a:ext cx="1640843" cy="2025706"/>
                <a:chOff x="219842" y="1292746"/>
                <a:chExt cx="1640843" cy="2025706"/>
              </a:xfrm>
            </p:grpSpPr>
            <p:sp>
              <p:nvSpPr>
                <p:cNvPr id="57" name="TextBox 56"/>
                <p:cNvSpPr txBox="1"/>
                <p:nvPr>
                  <p:custDataLst>
                    <p:tags r:id="rId16"/>
                  </p:custDataLst>
                </p:nvPr>
              </p:nvSpPr>
              <p:spPr>
                <a:xfrm>
                  <a:off x="219842" y="2718273"/>
                  <a:ext cx="1640843" cy="600179"/>
                </a:xfrm>
                <a:prstGeom prst="rect">
                  <a:avLst/>
                </a:prstGeom>
                <a:noFill/>
              </p:spPr>
              <p:txBody>
                <a:bodyPr wrap="square" lIns="0" rIns="0" rtlCol="0" anchor="ctr">
                  <a:noAutofit/>
                </a:bodyPr>
                <a:lstStyle/>
                <a:p>
                  <a:pPr algn="ctr">
                    <a:lnSpc>
                      <a:spcPct val="95000"/>
                    </a:lnSpc>
                    <a:buClr>
                      <a:srgbClr val="84BD00"/>
                    </a:buClr>
                  </a:pPr>
                  <a:r>
                    <a:rPr lang="zh-CN" altLang="en-US" sz="1400" b="1" dirty="0">
                      <a:solidFill>
                        <a:srgbClr val="0099CC"/>
                      </a:solidFill>
                      <a:latin typeface="微软雅黑" panose="020B0503020204020204" pitchFamily="34" charset="-122"/>
                      <a:ea typeface="微软雅黑" panose="020B0503020204020204" pitchFamily="34" charset="-122"/>
                    </a:rPr>
                    <a:t>高性能</a:t>
                  </a:r>
                  <a:endParaRPr lang="en-US" altLang="zh-CN" sz="1400" b="1" dirty="0">
                    <a:solidFill>
                      <a:srgbClr val="0099CC"/>
                    </a:solidFill>
                    <a:latin typeface="微软雅黑" panose="020B0503020204020204" pitchFamily="34" charset="-122"/>
                    <a:ea typeface="微软雅黑" panose="020B0503020204020204" pitchFamily="34" charset="-122"/>
                  </a:endParaRPr>
                </a:p>
                <a:p>
                  <a:pPr algn="ctr">
                    <a:lnSpc>
                      <a:spcPct val="95000"/>
                    </a:lnSpc>
                    <a:buClr>
                      <a:srgbClr val="84BD00"/>
                    </a:buClr>
                  </a:pPr>
                  <a:r>
                    <a:rPr lang="en-US" altLang="zh-CN" sz="1400" b="1" dirty="0">
                      <a:solidFill>
                        <a:srgbClr val="0099CC"/>
                      </a:solidFill>
                      <a:latin typeface="微软雅黑" panose="020B0503020204020204" pitchFamily="34" charset="-122"/>
                      <a:ea typeface="微软雅黑" panose="020B0503020204020204" pitchFamily="34" charset="-122"/>
                    </a:rPr>
                    <a:t>RDMA</a:t>
                  </a:r>
                  <a:r>
                    <a:rPr lang="zh-CN" altLang="en-US" sz="1400" b="1" dirty="0">
                      <a:solidFill>
                        <a:srgbClr val="0099CC"/>
                      </a:solidFill>
                      <a:latin typeface="微软雅黑" panose="020B0503020204020204" pitchFamily="34" charset="-122"/>
                      <a:ea typeface="微软雅黑" panose="020B0503020204020204" pitchFamily="34" charset="-122"/>
                    </a:rPr>
                    <a:t>访问协议</a:t>
                  </a:r>
                  <a:endParaRPr lang="en-US" altLang="zh-CN" sz="1400" b="1" dirty="0">
                    <a:solidFill>
                      <a:srgbClr val="0099CC"/>
                    </a:solidFill>
                    <a:latin typeface="微软雅黑" panose="020B0503020204020204" pitchFamily="34" charset="-122"/>
                    <a:ea typeface="微软雅黑" panose="020B0503020204020204" pitchFamily="34" charset="-122"/>
                  </a:endParaRPr>
                </a:p>
              </p:txBody>
            </p:sp>
            <p:grpSp>
              <p:nvGrpSpPr>
                <p:cNvPr id="58" name="组合 57"/>
                <p:cNvGrpSpPr/>
                <p:nvPr/>
              </p:nvGrpSpPr>
              <p:grpSpPr>
                <a:xfrm>
                  <a:off x="354802" y="1292746"/>
                  <a:ext cx="1367736" cy="1368000"/>
                  <a:chOff x="315553" y="1365249"/>
                  <a:chExt cx="1367736" cy="1368000"/>
                </a:xfrm>
              </p:grpSpPr>
              <p:sp>
                <p:nvSpPr>
                  <p:cNvPr id="59" name="椭圆 58"/>
                  <p:cNvSpPr>
                    <a:spLocks noChangeAspect="1"/>
                  </p:cNvSpPr>
                  <p:nvPr>
                    <p:custDataLst>
                      <p:tags r:id="rId17"/>
                    </p:custDataLst>
                  </p:nvPr>
                </p:nvSpPr>
                <p:spPr>
                  <a:xfrm>
                    <a:off x="315553" y="1365249"/>
                    <a:ext cx="1367736" cy="1368000"/>
                  </a:xfrm>
                  <a:prstGeom prst="ellipse">
                    <a:avLst/>
                  </a:prstGeom>
                  <a:solidFill>
                    <a:schemeClr val="accent6"/>
                  </a:solidFill>
                  <a:ln>
                    <a:noFill/>
                  </a:ln>
                  <a:effectLst>
                    <a:outerShdw blurRad="50800" dist="38100" dir="2700000" algn="tl"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椭圆 59"/>
                  <p:cNvSpPr>
                    <a:spLocks noChangeAspect="1"/>
                  </p:cNvSpPr>
                  <p:nvPr>
                    <p:custDataLst>
                      <p:tags r:id="rId18"/>
                    </p:custDataLst>
                  </p:nvPr>
                </p:nvSpPr>
                <p:spPr>
                  <a:xfrm>
                    <a:off x="349870" y="1401249"/>
                    <a:ext cx="1295750" cy="1296000"/>
                  </a:xfrm>
                  <a:prstGeom prst="ellipse">
                    <a:avLst/>
                  </a:prstGeom>
                  <a:no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21" name="文本框 4"/>
              <p:cNvSpPr txBox="1"/>
              <p:nvPr>
                <p:custDataLst>
                  <p:tags r:id="rId19"/>
                </p:custDataLst>
              </p:nvPr>
            </p:nvSpPr>
            <p:spPr>
              <a:xfrm>
                <a:off x="6448609" y="1678013"/>
                <a:ext cx="1367736" cy="523220"/>
              </a:xfrm>
              <a:prstGeom prst="rect">
                <a:avLst/>
              </a:prstGeom>
              <a:noFill/>
            </p:spPr>
            <p:txBody>
              <a:bodyPr wrap="square" rtlCol="0" anchor="ctr">
                <a:spAutoFit/>
              </a:bodyPr>
              <a:lstStyle/>
              <a:p>
                <a:pPr algn="ctr"/>
                <a:r>
                  <a:rPr lang="en-US" altLang="zh-CN" sz="2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Verdana" panose="020B0604030504040204" pitchFamily="34" charset="0"/>
                  </a:rPr>
                  <a:t>RDMA</a:t>
                </a:r>
                <a:endParaRPr lang="en-US" altLang="zh-CN" sz="28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Verdana" panose="020B0604030504040204" pitchFamily="34" charset="0"/>
                  <a:sym typeface="+mn-ea"/>
                </a:endParaRPr>
              </a:p>
            </p:txBody>
          </p:sp>
        </p:grpSp>
        <p:pic>
          <p:nvPicPr>
            <p:cNvPr id="5" name="Picture 2" descr="\\Mac\Home\Desktop\QQ图片20190819172245.png"/>
            <p:cNvPicPr>
              <a:picLocks noChangeAspect="1" noChangeArrowheads="1"/>
            </p:cNvPicPr>
            <p:nvPr>
              <p:custDataLst>
                <p:tags r:id="rId20"/>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6482925" y="4573324"/>
              <a:ext cx="1295750" cy="418855"/>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Mac\Home\Desktop\QQ图片20190819172250.png"/>
            <p:cNvPicPr>
              <a:picLocks noChangeAspect="1" noChangeArrowheads="1"/>
            </p:cNvPicPr>
            <p:nvPr>
              <p:custDataLst>
                <p:tags r:id="rId22"/>
              </p:custDataLst>
            </p:nvPr>
          </p:nvPicPr>
          <p:blipFill>
            <a:blip r:embed="rId23">
              <a:extLst>
                <a:ext uri="{28A0092B-C50C-407E-A947-70E740481C1C}">
                  <a14:useLocalDpi xmlns:a14="http://schemas.microsoft.com/office/drawing/2010/main" val="0"/>
                </a:ext>
              </a:extLst>
            </a:blip>
            <a:srcRect/>
            <a:stretch>
              <a:fillRect/>
            </a:stretch>
          </p:blipFill>
          <p:spPr bwMode="auto">
            <a:xfrm>
              <a:off x="8888111" y="3883243"/>
              <a:ext cx="2690745" cy="191220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ac\Home\Desktop\QQ图片20190819103723.png"/>
            <p:cNvPicPr>
              <a:picLocks noChangeAspect="1" noChangeArrowheads="1"/>
            </p:cNvPicPr>
            <p:nvPr>
              <p:custDataLst>
                <p:tags r:id="rId24"/>
              </p:custDataLst>
            </p:nvPr>
          </p:nvPicPr>
          <p:blipFill>
            <a:blip r:embed="rId25">
              <a:extLst>
                <a:ext uri="{28A0092B-C50C-407E-A947-70E740481C1C}">
                  <a14:useLocalDpi xmlns:a14="http://schemas.microsoft.com/office/drawing/2010/main" val="0"/>
                </a:ext>
              </a:extLst>
            </a:blip>
            <a:srcRect/>
            <a:stretch>
              <a:fillRect/>
            </a:stretch>
          </p:blipFill>
          <p:spPr bwMode="auto">
            <a:xfrm>
              <a:off x="2325271" y="3855533"/>
              <a:ext cx="3296728" cy="2088067"/>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Mac\Home\Desktop\QQ图片20190819103730.png"/>
            <p:cNvPicPr>
              <a:picLocks noChangeAspect="1" noChangeArrowheads="1"/>
            </p:cNvPicPr>
            <p:nvPr>
              <p:custDataLst>
                <p:tags r:id="rId26"/>
              </p:custDataLst>
            </p:nvPr>
          </p:nvPicPr>
          <p:blipFill>
            <a:blip r:embed="rId27">
              <a:extLst>
                <a:ext uri="{28A0092B-C50C-407E-A947-70E740481C1C}">
                  <a14:useLocalDpi xmlns:a14="http://schemas.microsoft.com/office/drawing/2010/main" val="0"/>
                </a:ext>
              </a:extLst>
            </a:blip>
            <a:srcRect/>
            <a:stretch>
              <a:fillRect/>
            </a:stretch>
          </p:blipFill>
          <p:spPr bwMode="auto">
            <a:xfrm>
              <a:off x="8314659" y="1432070"/>
              <a:ext cx="3674550" cy="907094"/>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p:cNvSpPr txBox="1"/>
            <p:nvPr>
              <p:custDataLst>
                <p:tags r:id="rId28"/>
              </p:custDataLst>
            </p:nvPr>
          </p:nvSpPr>
          <p:spPr>
            <a:xfrm>
              <a:off x="8314659" y="2956389"/>
              <a:ext cx="3744559" cy="535531"/>
            </a:xfrm>
            <a:prstGeom prst="rect">
              <a:avLst/>
            </a:prstGeom>
            <a:noFill/>
          </p:spPr>
          <p:txBody>
            <a:bodyPr wrap="square" rtlCol="0">
              <a:spAutoFit/>
            </a:bodyPr>
            <a:lstStyle/>
            <a:p>
              <a:pPr marL="0" lvl="1">
                <a:lnSpc>
                  <a:spcPct val="120000"/>
                </a:lnSpc>
              </a:pPr>
              <a:r>
                <a:rPr lang="en-US" altLang="zh-CN"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 —</a:t>
              </a:r>
              <a:r>
                <a:rPr lang="zh-CN" altLang="en-US"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通过</a:t>
              </a:r>
              <a:r>
                <a:rPr lang="en-US" altLang="zh-CN"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RDMA</a:t>
              </a:r>
              <a:r>
                <a:rPr lang="zh-CN" altLang="en-US"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协议（远程内存直接访问），在高</a:t>
              </a:r>
              <a:r>
                <a:rPr lang="en-US" altLang="zh-CN"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IO</a:t>
              </a:r>
              <a:r>
                <a:rPr lang="zh-CN" altLang="en-US"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处理的场景下，达到极低的</a:t>
              </a:r>
              <a:r>
                <a:rPr lang="en-US" altLang="zh-CN"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CPU</a:t>
              </a:r>
              <a:r>
                <a:rPr lang="zh-CN" altLang="en-US"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开销</a:t>
              </a:r>
              <a:endParaRPr lang="en-US" altLang="zh-CN"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8" name="TextBox 37"/>
            <p:cNvSpPr txBox="1"/>
            <p:nvPr>
              <p:custDataLst>
                <p:tags r:id="rId29"/>
              </p:custDataLst>
            </p:nvPr>
          </p:nvSpPr>
          <p:spPr>
            <a:xfrm>
              <a:off x="8314659" y="6056110"/>
              <a:ext cx="3744559" cy="535531"/>
            </a:xfrm>
            <a:prstGeom prst="rect">
              <a:avLst/>
            </a:prstGeom>
            <a:noFill/>
          </p:spPr>
          <p:txBody>
            <a:bodyPr wrap="square" rtlCol="0">
              <a:spAutoFit/>
            </a:bodyPr>
            <a:lstStyle/>
            <a:p>
              <a:pPr marL="0" lvl="1">
                <a:lnSpc>
                  <a:spcPct val="120000"/>
                </a:lnSpc>
              </a:pPr>
              <a:r>
                <a:rPr lang="en-US" altLang="zh-CN"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 —</a:t>
              </a:r>
              <a:r>
                <a:rPr lang="zh-CN" altLang="en-US"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应用闪存</a:t>
              </a:r>
              <a:r>
                <a:rPr lang="en-US" altLang="zh-CN"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SSD</a:t>
              </a:r>
              <a:r>
                <a:rPr lang="zh-CN" altLang="en-US"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a:t>
              </a:r>
              <a:r>
                <a:rPr lang="en-US" altLang="zh-CN"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NVMe</a:t>
              </a:r>
              <a:r>
                <a:rPr lang="zh-CN" altLang="en-US"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为数据库提供极高的</a:t>
              </a:r>
              <a:r>
                <a:rPr lang="en-US" altLang="zh-CN"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IO</a:t>
              </a:r>
              <a:r>
                <a:rPr lang="zh-CN" altLang="en-US"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能力和存储效率</a:t>
              </a:r>
              <a:endParaRPr lang="en-US" altLang="zh-CN" sz="1200" dirty="0">
                <a:solidFill>
                  <a:schemeClr val="tx2"/>
                </a:solidFill>
                <a:latin typeface="微软雅黑" panose="020B0503020204020204" pitchFamily="34" charset="-122"/>
                <a:ea typeface="微软雅黑" panose="020B0503020204020204" pitchFamily="34" charset="-122"/>
                <a:cs typeface="Arial" panose="020B0604020202020204" pitchFamily="34" charset="0"/>
              </a:endParaRPr>
            </a:p>
          </p:txBody>
        </p:sp>
      </p:grpSp>
      <p:pic>
        <p:nvPicPr>
          <p:cNvPr id="6" name="Picture 3"/>
          <p:cNvPicPr>
            <a:picLocks noChangeAspect="1" noChangeArrowheads="1"/>
          </p:cNvPicPr>
          <p:nvPr>
            <p:custDataLst>
              <p:tags r:id="rId30"/>
            </p:custDataLst>
          </p:nvPr>
        </p:nvPicPr>
        <p:blipFill>
          <a:blip r:embed="rId31">
            <a:extLst>
              <a:ext uri="{28A0092B-C50C-407E-A947-70E740481C1C}">
                <a14:useLocalDpi xmlns:a14="http://schemas.microsoft.com/office/drawing/2010/main" val="0"/>
              </a:ext>
            </a:extLst>
          </a:blip>
          <a:srcRect/>
          <a:stretch>
            <a:fillRect/>
          </a:stretch>
        </p:blipFill>
        <p:spPr bwMode="auto">
          <a:xfrm>
            <a:off x="2230414" y="1060331"/>
            <a:ext cx="3572541" cy="2081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灯片编号占位符 6"/>
          <p:cNvSpPr>
            <a:spLocks noGrp="1"/>
          </p:cNvSpPr>
          <p:nvPr>
            <p:ph type="sldNum" sz="quarter" idx="12"/>
            <p:custDataLst>
              <p:tags r:id="rId32"/>
            </p:custDataLst>
          </p:nvPr>
        </p:nvSpPr>
        <p:spPr>
          <a:xfrm>
            <a:off x="8610599" y="6651943"/>
            <a:ext cx="2909888" cy="206381"/>
          </a:xfrm>
        </p:spPr>
        <p:txBody>
          <a:bodyPr/>
          <a:lstStyle/>
          <a:p>
            <a:fld id="{5DD3DB80-B894-403A-B48E-6FDC1A72010E}" type="slidenum">
              <a:rPr lang="zh-CN" altLang="en-US" smtClean="0"/>
            </a:fld>
            <a:endParaRPr lang="zh-CN" alt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kern="0" dirty="0">
                <a:solidFill>
                  <a:srgbClr val="0070C0"/>
                </a:solidFill>
                <a:latin typeface="微软雅黑" panose="020B0503020204020204" pitchFamily="34" charset="-122"/>
                <a:ea typeface="微软雅黑" panose="020B0503020204020204" pitchFamily="34" charset="-122"/>
                <a:sym typeface="+mn-ea"/>
              </a:rPr>
              <a:t>高新能</a:t>
            </a:r>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一体机：</a:t>
            </a:r>
            <a:r>
              <a:rPr lang="en-US" altLang="zh-CN" kern="0" dirty="0">
                <a:solidFill>
                  <a:srgbClr val="0070C0"/>
                </a:solidFill>
                <a:latin typeface="微软雅黑" panose="020B0503020204020204" pitchFamily="34" charset="-122"/>
                <a:ea typeface="微软雅黑" panose="020B0503020204020204" pitchFamily="34" charset="-122"/>
                <a:sym typeface="+mn-ea"/>
              </a:rPr>
              <a:t>CData</a:t>
            </a:r>
            <a:r>
              <a:rPr lang="zh-CN" altLang="en-US" kern="0" dirty="0">
                <a:solidFill>
                  <a:srgbClr val="0070C0"/>
                </a:solidFill>
                <a:latin typeface="微软雅黑" panose="020B0503020204020204" pitchFamily="34" charset="-122"/>
                <a:ea typeface="微软雅黑" panose="020B0503020204020204" pitchFamily="34" charset="-122"/>
                <a:sym typeface="+mn-ea"/>
              </a:rPr>
              <a:t>架构</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grpSp>
        <p:nvGrpSpPr>
          <p:cNvPr id="36" name="组合 35"/>
          <p:cNvGrpSpPr/>
          <p:nvPr/>
        </p:nvGrpSpPr>
        <p:grpSpPr>
          <a:xfrm>
            <a:off x="9848165" y="1308998"/>
            <a:ext cx="2343835" cy="4761095"/>
            <a:chOff x="8847893" y="1222638"/>
            <a:chExt cx="2343835" cy="4761095"/>
          </a:xfrm>
        </p:grpSpPr>
        <p:grpSp>
          <p:nvGrpSpPr>
            <p:cNvPr id="37" name="组合 36"/>
            <p:cNvGrpSpPr/>
            <p:nvPr/>
          </p:nvGrpSpPr>
          <p:grpSpPr>
            <a:xfrm>
              <a:off x="8847893" y="1222638"/>
              <a:ext cx="2343835" cy="1015663"/>
              <a:chOff x="256776" y="1597479"/>
              <a:chExt cx="2343835" cy="1015663"/>
            </a:xfrm>
          </p:grpSpPr>
          <p:sp>
            <p:nvSpPr>
              <p:cNvPr id="38" name="矩形 37"/>
              <p:cNvSpPr/>
              <p:nvPr>
                <p:custDataLst>
                  <p:tags r:id="rId1"/>
                </p:custDataLst>
              </p:nvPr>
            </p:nvSpPr>
            <p:spPr>
              <a:xfrm>
                <a:off x="308143" y="1597479"/>
                <a:ext cx="2292468" cy="1015663"/>
              </a:xfrm>
              <a:prstGeom prst="rect">
                <a:avLst/>
              </a:prstGeom>
            </p:spPr>
            <p:txBody>
              <a:bodyPr wrap="square">
                <a:spAutoFit/>
              </a:bodyPr>
              <a:lstStyle/>
              <a:p>
                <a:pPr>
                  <a:lnSpc>
                    <a:spcPct val="120000"/>
                  </a:lnSpc>
                </a:pPr>
                <a:r>
                  <a:rPr lang="zh-CN" altLang="en-US" sz="1400" b="1" dirty="0">
                    <a:solidFill>
                      <a:schemeClr val="accent2"/>
                    </a:solidFill>
                    <a:latin typeface="微软雅黑" panose="020B0503020204020204" pitchFamily="34" charset="-122"/>
                    <a:ea typeface="微软雅黑" panose="020B0503020204020204" pitchFamily="34" charset="-122"/>
                  </a:rPr>
                  <a:t>产品定位</a:t>
                </a:r>
                <a:endParaRPr lang="en-US" altLang="zh-CN" sz="1400" b="1" dirty="0">
                  <a:solidFill>
                    <a:schemeClr val="accent2"/>
                  </a:solidFill>
                  <a:latin typeface="微软雅黑" panose="020B0503020204020204" pitchFamily="34" charset="-122"/>
                  <a:ea typeface="微软雅黑" panose="020B0503020204020204" pitchFamily="34" charset="-122"/>
                </a:endParaRPr>
              </a:p>
              <a:p>
                <a:pPr marL="171450" indent="-171450">
                  <a:lnSpc>
                    <a:spcPct val="120000"/>
                  </a:lnSpc>
                  <a:buClr>
                    <a:schemeClr val="accent2"/>
                  </a:buClr>
                  <a:buSzPct val="80000"/>
                  <a:buFont typeface="Wingdings" panose="05000000000000000000" pitchFamily="2" charset="2"/>
                  <a:buChar char="ü"/>
                </a:pPr>
                <a:r>
                  <a:rPr lang="zh-CN" altLang="en-US" sz="1200" dirty="0">
                    <a:solidFill>
                      <a:schemeClr val="tx2"/>
                    </a:solidFill>
                    <a:latin typeface="微软雅黑" panose="020B0503020204020204" pitchFamily="34" charset="-122"/>
                    <a:ea typeface="微软雅黑" panose="020B0503020204020204" pitchFamily="34" charset="-122"/>
                  </a:rPr>
                  <a:t>运行关系型数据库、</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indent="-171450">
                  <a:lnSpc>
                    <a:spcPct val="120000"/>
                  </a:lnSpc>
                  <a:buClr>
                    <a:schemeClr val="accent2"/>
                  </a:buClr>
                  <a:buSzPct val="80000"/>
                  <a:buFont typeface="Wingdings" panose="05000000000000000000" pitchFamily="2" charset="2"/>
                  <a:buChar char="ü"/>
                </a:pPr>
                <a:r>
                  <a:rPr lang="zh-CN" altLang="en-US" sz="1200" dirty="0">
                    <a:solidFill>
                      <a:schemeClr val="tx2"/>
                    </a:solidFill>
                    <a:latin typeface="微软雅黑" panose="020B0503020204020204" pitchFamily="34" charset="-122"/>
                    <a:ea typeface="微软雅黑" panose="020B0503020204020204" pitchFamily="34" charset="-122"/>
                  </a:rPr>
                  <a:t>数据库私有云、</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indent="-171450">
                  <a:lnSpc>
                    <a:spcPct val="120000"/>
                  </a:lnSpc>
                  <a:buClr>
                    <a:schemeClr val="accent2"/>
                  </a:buClr>
                  <a:buSzPct val="80000"/>
                  <a:buFont typeface="Wingdings" panose="05000000000000000000" pitchFamily="2" charset="2"/>
                  <a:buChar char="ü"/>
                </a:pPr>
                <a:r>
                  <a:rPr lang="zh-CN" altLang="en-US" sz="1200" dirty="0">
                    <a:solidFill>
                      <a:schemeClr val="tx2"/>
                    </a:solidFill>
                    <a:latin typeface="微软雅黑" panose="020B0503020204020204" pitchFamily="34" charset="-122"/>
                    <a:ea typeface="微软雅黑" panose="020B0503020204020204" pitchFamily="34" charset="-122"/>
                  </a:rPr>
                  <a:t>最佳实践的软硬一体化平台</a:t>
                </a:r>
                <a:endParaRPr lang="zh-CN" altLang="en-US" sz="1200" dirty="0">
                  <a:solidFill>
                    <a:schemeClr val="tx2"/>
                  </a:solidFill>
                  <a:latin typeface="微软雅黑" panose="020B0503020204020204" pitchFamily="34" charset="-122"/>
                  <a:ea typeface="微软雅黑" panose="020B0503020204020204" pitchFamily="34" charset="-122"/>
                </a:endParaRPr>
              </a:p>
            </p:txBody>
          </p:sp>
          <p:sp>
            <p:nvSpPr>
              <p:cNvPr id="39" name="矩形 38"/>
              <p:cNvSpPr/>
              <p:nvPr>
                <p:custDataLst>
                  <p:tags r:id="rId2"/>
                </p:custDataLst>
              </p:nvPr>
            </p:nvSpPr>
            <p:spPr>
              <a:xfrm>
                <a:off x="256776" y="1673866"/>
                <a:ext cx="36000" cy="43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grpSp>
        <p:grpSp>
          <p:nvGrpSpPr>
            <p:cNvPr id="40" name="组合 39"/>
            <p:cNvGrpSpPr/>
            <p:nvPr/>
          </p:nvGrpSpPr>
          <p:grpSpPr>
            <a:xfrm>
              <a:off x="8847893" y="2521218"/>
              <a:ext cx="2116670" cy="1015663"/>
              <a:chOff x="256776" y="2619601"/>
              <a:chExt cx="2116670" cy="1015663"/>
            </a:xfrm>
          </p:grpSpPr>
          <p:sp>
            <p:nvSpPr>
              <p:cNvPr id="41" name="矩形 40"/>
              <p:cNvSpPr/>
              <p:nvPr>
                <p:custDataLst>
                  <p:tags r:id="rId3"/>
                </p:custDataLst>
              </p:nvPr>
            </p:nvSpPr>
            <p:spPr>
              <a:xfrm>
                <a:off x="308143" y="2619601"/>
                <a:ext cx="2065303" cy="1015663"/>
              </a:xfrm>
              <a:prstGeom prst="rect">
                <a:avLst/>
              </a:prstGeom>
            </p:spPr>
            <p:txBody>
              <a:bodyPr wrap="square">
                <a:spAutoFit/>
              </a:bodyPr>
              <a:lstStyle/>
              <a:p>
                <a:pPr>
                  <a:lnSpc>
                    <a:spcPct val="120000"/>
                  </a:lnSpc>
                </a:pPr>
                <a:r>
                  <a:rPr lang="zh-CN" altLang="en-US" sz="1400" b="1" dirty="0">
                    <a:solidFill>
                      <a:schemeClr val="accent2"/>
                    </a:solidFill>
                    <a:latin typeface="微软雅黑" panose="020B0503020204020204" pitchFamily="34" charset="-122"/>
                    <a:ea typeface="微软雅黑" panose="020B0503020204020204" pitchFamily="34" charset="-122"/>
                  </a:rPr>
                  <a:t>创新技术</a:t>
                </a:r>
                <a:endParaRPr lang="en-US" altLang="zh-CN" sz="1400" b="1" dirty="0">
                  <a:solidFill>
                    <a:schemeClr val="accent2"/>
                  </a:solidFill>
                  <a:latin typeface="微软雅黑" panose="020B0503020204020204" pitchFamily="34" charset="-122"/>
                  <a:ea typeface="微软雅黑" panose="020B0503020204020204" pitchFamily="34" charset="-122"/>
                </a:endParaRPr>
              </a:p>
              <a:p>
                <a:pPr marL="171450" indent="-171450">
                  <a:lnSpc>
                    <a:spcPct val="120000"/>
                  </a:lnSpc>
                  <a:buClr>
                    <a:schemeClr val="accent2"/>
                  </a:buClr>
                  <a:buSzPct val="80000"/>
                  <a:buFont typeface="Wingdings" panose="05000000000000000000" pitchFamily="2" charset="2"/>
                  <a:buChar char="ü"/>
                </a:pPr>
                <a:r>
                  <a:rPr lang="zh-CN" altLang="en-US" sz="1200" dirty="0">
                    <a:solidFill>
                      <a:schemeClr val="tx2"/>
                    </a:solidFill>
                    <a:latin typeface="微软雅黑" panose="020B0503020204020204" pitchFamily="34" charset="-122"/>
                    <a:ea typeface="微软雅黑" panose="020B0503020204020204" pitchFamily="34" charset="-122"/>
                  </a:rPr>
                  <a:t>分布式存储、</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indent="-171450">
                  <a:lnSpc>
                    <a:spcPct val="120000"/>
                  </a:lnSpc>
                  <a:buClr>
                    <a:schemeClr val="accent2"/>
                  </a:buClr>
                  <a:buSzPct val="80000"/>
                  <a:buFont typeface="Wingdings" panose="05000000000000000000" pitchFamily="2" charset="2"/>
                  <a:buChar char="ü"/>
                </a:pPr>
                <a:r>
                  <a:rPr lang="en-US" altLang="zh-CN" sz="1200" dirty="0">
                    <a:solidFill>
                      <a:schemeClr val="tx2"/>
                    </a:solidFill>
                    <a:latin typeface="微软雅黑" panose="020B0503020204020204" pitchFamily="34" charset="-122"/>
                    <a:ea typeface="微软雅黑" panose="020B0503020204020204" pitchFamily="34" charset="-122"/>
                  </a:rPr>
                  <a:t>RDMA</a:t>
                </a:r>
                <a:r>
                  <a:rPr lang="zh-CN" altLang="en-US" sz="1200" dirty="0">
                    <a:solidFill>
                      <a:schemeClr val="tx2"/>
                    </a:solidFill>
                    <a:latin typeface="微软雅黑" panose="020B0503020204020204" pitchFamily="34" charset="-122"/>
                    <a:ea typeface="微软雅黑" panose="020B0503020204020204" pitchFamily="34" charset="-122"/>
                  </a:rPr>
                  <a:t>、</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indent="-171450">
                  <a:lnSpc>
                    <a:spcPct val="120000"/>
                  </a:lnSpc>
                  <a:buClr>
                    <a:schemeClr val="accent2"/>
                  </a:buClr>
                  <a:buSzPct val="80000"/>
                  <a:buFont typeface="Wingdings" panose="05000000000000000000" pitchFamily="2" charset="2"/>
                  <a:buChar char="ü"/>
                </a:pPr>
                <a:r>
                  <a:rPr lang="en-US" altLang="zh-CN" sz="1200" dirty="0">
                    <a:solidFill>
                      <a:schemeClr val="tx2"/>
                    </a:solidFill>
                    <a:latin typeface="微软雅黑" panose="020B0503020204020204" pitchFamily="34" charset="-122"/>
                    <a:ea typeface="微软雅黑" panose="020B0503020204020204" pitchFamily="34" charset="-122"/>
                  </a:rPr>
                  <a:t>NVMe</a:t>
                </a:r>
                <a:r>
                  <a:rPr lang="zh-CN" altLang="en-US" sz="1200" dirty="0">
                    <a:solidFill>
                      <a:schemeClr val="tx2"/>
                    </a:solidFill>
                    <a:latin typeface="微软雅黑" panose="020B0503020204020204" pitchFamily="34" charset="-122"/>
                    <a:ea typeface="微软雅黑" panose="020B0503020204020204" pitchFamily="34" charset="-122"/>
                  </a:rPr>
                  <a:t>闪存技术</a:t>
                </a:r>
                <a:endParaRPr lang="zh-CN" altLang="en-US" sz="1200" dirty="0">
                  <a:solidFill>
                    <a:schemeClr val="tx2"/>
                  </a:solidFill>
                  <a:latin typeface="微软雅黑" panose="020B0503020204020204" pitchFamily="34" charset="-122"/>
                  <a:ea typeface="微软雅黑" panose="020B0503020204020204" pitchFamily="34" charset="-122"/>
                </a:endParaRPr>
              </a:p>
            </p:txBody>
          </p:sp>
          <p:sp>
            <p:nvSpPr>
              <p:cNvPr id="42" name="矩形 41"/>
              <p:cNvSpPr/>
              <p:nvPr>
                <p:custDataLst>
                  <p:tags r:id="rId4"/>
                </p:custDataLst>
              </p:nvPr>
            </p:nvSpPr>
            <p:spPr>
              <a:xfrm>
                <a:off x="256776" y="2685355"/>
                <a:ext cx="36000" cy="43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grpSp>
        <p:grpSp>
          <p:nvGrpSpPr>
            <p:cNvPr id="43" name="组合 42"/>
            <p:cNvGrpSpPr/>
            <p:nvPr/>
          </p:nvGrpSpPr>
          <p:grpSpPr>
            <a:xfrm>
              <a:off x="8847893" y="3796679"/>
              <a:ext cx="2116671" cy="794064"/>
              <a:chOff x="256776" y="3724934"/>
              <a:chExt cx="2116671" cy="794064"/>
            </a:xfrm>
          </p:grpSpPr>
          <p:sp>
            <p:nvSpPr>
              <p:cNvPr id="44" name="矩形 43"/>
              <p:cNvSpPr/>
              <p:nvPr>
                <p:custDataLst>
                  <p:tags r:id="rId5"/>
                </p:custDataLst>
              </p:nvPr>
            </p:nvSpPr>
            <p:spPr>
              <a:xfrm>
                <a:off x="308143" y="3724934"/>
                <a:ext cx="2065304" cy="794064"/>
              </a:xfrm>
              <a:prstGeom prst="rect">
                <a:avLst/>
              </a:prstGeom>
            </p:spPr>
            <p:txBody>
              <a:bodyPr wrap="square">
                <a:spAutoFit/>
              </a:bodyPr>
              <a:lstStyle/>
              <a:p>
                <a:pPr>
                  <a:lnSpc>
                    <a:spcPct val="120000"/>
                  </a:lnSpc>
                </a:pPr>
                <a:r>
                  <a:rPr lang="zh-CN" altLang="en-US" sz="1400" b="1" dirty="0">
                    <a:solidFill>
                      <a:schemeClr val="accent2"/>
                    </a:solidFill>
                    <a:latin typeface="微软雅黑" panose="020B0503020204020204" pitchFamily="34" charset="-122"/>
                    <a:ea typeface="微软雅黑" panose="020B0503020204020204" pitchFamily="34" charset="-122"/>
                  </a:rPr>
                  <a:t>主要特点</a:t>
                </a:r>
                <a:endParaRPr lang="en-US" altLang="zh-CN" sz="1400" b="1" dirty="0">
                  <a:solidFill>
                    <a:schemeClr val="accent2"/>
                  </a:solidFill>
                  <a:latin typeface="微软雅黑" panose="020B0503020204020204" pitchFamily="34" charset="-122"/>
                  <a:ea typeface="微软雅黑" panose="020B0503020204020204" pitchFamily="34" charset="-122"/>
                </a:endParaRPr>
              </a:p>
              <a:p>
                <a:pPr marL="171450" indent="-171450">
                  <a:lnSpc>
                    <a:spcPct val="120000"/>
                  </a:lnSpc>
                  <a:buClr>
                    <a:schemeClr val="accent2"/>
                  </a:buClr>
                  <a:buSzPct val="80000"/>
                  <a:buFont typeface="Wingdings" panose="05000000000000000000" pitchFamily="2" charset="2"/>
                  <a:buChar char="ü"/>
                </a:pPr>
                <a:r>
                  <a:rPr lang="zh-CN" altLang="en-US" sz="1200" dirty="0">
                    <a:solidFill>
                      <a:schemeClr val="tx2"/>
                    </a:solidFill>
                    <a:latin typeface="微软雅黑" panose="020B0503020204020204" pitchFamily="34" charset="-122"/>
                    <a:ea typeface="微软雅黑" panose="020B0503020204020204" pitchFamily="34" charset="-122"/>
                  </a:rPr>
                  <a:t>极高性能、高可靠性、</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indent="-171450">
                  <a:lnSpc>
                    <a:spcPct val="120000"/>
                  </a:lnSpc>
                  <a:buClr>
                    <a:schemeClr val="accent2"/>
                  </a:buClr>
                  <a:buSzPct val="80000"/>
                  <a:buFont typeface="Wingdings" panose="05000000000000000000" pitchFamily="2" charset="2"/>
                  <a:buChar char="ü"/>
                </a:pPr>
                <a:r>
                  <a:rPr lang="zh-CN" altLang="en-US" sz="1200" dirty="0">
                    <a:solidFill>
                      <a:schemeClr val="tx2"/>
                    </a:solidFill>
                    <a:latin typeface="微软雅黑" panose="020B0503020204020204" pitchFamily="34" charset="-122"/>
                    <a:ea typeface="微软雅黑" panose="020B0503020204020204" pitchFamily="34" charset="-122"/>
                  </a:rPr>
                  <a:t>横向扩展、敏捷交付</a:t>
                </a:r>
                <a:endParaRPr lang="en-US" altLang="zh-CN" sz="1200" dirty="0">
                  <a:solidFill>
                    <a:schemeClr val="tx2"/>
                  </a:solidFill>
                  <a:latin typeface="微软雅黑" panose="020B0503020204020204" pitchFamily="34" charset="-122"/>
                  <a:ea typeface="微软雅黑" panose="020B0503020204020204" pitchFamily="34" charset="-122"/>
                </a:endParaRPr>
              </a:p>
            </p:txBody>
          </p:sp>
          <p:sp>
            <p:nvSpPr>
              <p:cNvPr id="45" name="矩形 44"/>
              <p:cNvSpPr/>
              <p:nvPr>
                <p:custDataLst>
                  <p:tags r:id="rId6"/>
                </p:custDataLst>
              </p:nvPr>
            </p:nvSpPr>
            <p:spPr>
              <a:xfrm>
                <a:off x="256776" y="3780055"/>
                <a:ext cx="36000" cy="43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grpSp>
        <p:grpSp>
          <p:nvGrpSpPr>
            <p:cNvPr id="46" name="组合 45"/>
            <p:cNvGrpSpPr/>
            <p:nvPr/>
          </p:nvGrpSpPr>
          <p:grpSpPr>
            <a:xfrm>
              <a:off x="8847893" y="4968070"/>
              <a:ext cx="2116671" cy="1015663"/>
              <a:chOff x="256776" y="4662399"/>
              <a:chExt cx="2116671" cy="1015663"/>
            </a:xfrm>
          </p:grpSpPr>
          <p:sp>
            <p:nvSpPr>
              <p:cNvPr id="61" name="矩形 60"/>
              <p:cNvSpPr/>
              <p:nvPr>
                <p:custDataLst>
                  <p:tags r:id="rId7"/>
                </p:custDataLst>
              </p:nvPr>
            </p:nvSpPr>
            <p:spPr>
              <a:xfrm>
                <a:off x="308144" y="4662399"/>
                <a:ext cx="2065303" cy="1015663"/>
              </a:xfrm>
              <a:prstGeom prst="rect">
                <a:avLst/>
              </a:prstGeom>
            </p:spPr>
            <p:txBody>
              <a:bodyPr wrap="square">
                <a:spAutoFit/>
              </a:bodyPr>
              <a:lstStyle/>
              <a:p>
                <a:pPr>
                  <a:lnSpc>
                    <a:spcPct val="120000"/>
                  </a:lnSpc>
                </a:pPr>
                <a:r>
                  <a:rPr lang="zh-CN" altLang="en-US" sz="1400" b="1" dirty="0">
                    <a:solidFill>
                      <a:schemeClr val="accent2"/>
                    </a:solidFill>
                    <a:latin typeface="微软雅黑" panose="020B0503020204020204" pitchFamily="34" charset="-122"/>
                    <a:ea typeface="微软雅黑" panose="020B0503020204020204" pitchFamily="34" charset="-122"/>
                  </a:rPr>
                  <a:t>应用场景</a:t>
                </a:r>
                <a:endParaRPr lang="en-US" altLang="zh-CN" sz="1400" b="1" dirty="0">
                  <a:solidFill>
                    <a:schemeClr val="accent2"/>
                  </a:solidFill>
                  <a:latin typeface="微软雅黑" panose="020B0503020204020204" pitchFamily="34" charset="-122"/>
                  <a:ea typeface="微软雅黑" panose="020B0503020204020204" pitchFamily="34" charset="-122"/>
                </a:endParaRPr>
              </a:p>
              <a:p>
                <a:pPr marL="171450" indent="-171450">
                  <a:lnSpc>
                    <a:spcPct val="120000"/>
                  </a:lnSpc>
                  <a:buClr>
                    <a:schemeClr val="accent2"/>
                  </a:buClr>
                  <a:buSzPct val="80000"/>
                  <a:buFont typeface="Wingdings" panose="05000000000000000000" pitchFamily="2" charset="2"/>
                  <a:buChar char="ü"/>
                </a:pPr>
                <a:r>
                  <a:rPr lang="zh-CN" altLang="en-US" sz="1200" dirty="0">
                    <a:solidFill>
                      <a:schemeClr val="tx2"/>
                    </a:solidFill>
                    <a:latin typeface="微软雅黑" panose="020B0503020204020204" pitchFamily="34" charset="-122"/>
                    <a:ea typeface="微软雅黑" panose="020B0503020204020204" pitchFamily="34" charset="-122"/>
                  </a:rPr>
                  <a:t>数据集市和报表 </a:t>
                </a:r>
                <a:r>
                  <a:rPr lang="en-US" altLang="zh-CN" sz="1200" dirty="0">
                    <a:solidFill>
                      <a:schemeClr val="tx2"/>
                    </a:solidFill>
                    <a:latin typeface="微软雅黑" panose="020B0503020204020204" pitchFamily="34" charset="-122"/>
                    <a:ea typeface="微软雅黑" panose="020B0503020204020204" pitchFamily="34" charset="-122"/>
                  </a:rPr>
                  <a:t>(OLAP)</a:t>
                </a:r>
                <a:r>
                  <a:rPr lang="zh-CN" altLang="en-US" sz="1200" dirty="0">
                    <a:solidFill>
                      <a:schemeClr val="tx2"/>
                    </a:solidFill>
                    <a:latin typeface="微软雅黑" panose="020B0503020204020204" pitchFamily="34" charset="-122"/>
                    <a:ea typeface="微软雅黑" panose="020B0503020204020204" pitchFamily="34" charset="-122"/>
                  </a:rPr>
                  <a:t> 、</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indent="-171450">
                  <a:lnSpc>
                    <a:spcPct val="120000"/>
                  </a:lnSpc>
                  <a:buClr>
                    <a:schemeClr val="accent2"/>
                  </a:buClr>
                  <a:buSzPct val="80000"/>
                  <a:buFont typeface="Wingdings" panose="05000000000000000000" pitchFamily="2" charset="2"/>
                  <a:buChar char="ü"/>
                </a:pPr>
                <a:r>
                  <a:rPr lang="zh-CN" altLang="en-US" sz="1200" dirty="0">
                    <a:solidFill>
                      <a:schemeClr val="tx2"/>
                    </a:solidFill>
                    <a:latin typeface="微软雅黑" panose="020B0503020204020204" pitchFamily="34" charset="-122"/>
                    <a:ea typeface="微软雅黑" panose="020B0503020204020204" pitchFamily="34" charset="-122"/>
                  </a:rPr>
                  <a:t>联机事务处理</a:t>
                </a:r>
                <a:r>
                  <a:rPr lang="en-US" altLang="zh-CN" sz="1200" dirty="0">
                    <a:solidFill>
                      <a:schemeClr val="tx2"/>
                    </a:solidFill>
                    <a:latin typeface="微软雅黑" panose="020B0503020204020204" pitchFamily="34" charset="-122"/>
                    <a:ea typeface="微软雅黑" panose="020B0503020204020204" pitchFamily="34" charset="-122"/>
                  </a:rPr>
                  <a:t>(OLTP)</a:t>
                </a:r>
                <a:r>
                  <a:rPr lang="zh-CN" altLang="en-US" sz="1200" dirty="0">
                    <a:solidFill>
                      <a:schemeClr val="tx2"/>
                    </a:solidFill>
                    <a:latin typeface="微软雅黑" panose="020B0503020204020204" pitchFamily="34" charset="-122"/>
                    <a:ea typeface="微软雅黑" panose="020B0503020204020204" pitchFamily="34" charset="-122"/>
                  </a:rPr>
                  <a:t>、</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indent="-171450">
                  <a:lnSpc>
                    <a:spcPct val="120000"/>
                  </a:lnSpc>
                  <a:buClr>
                    <a:schemeClr val="accent2"/>
                  </a:buClr>
                  <a:buSzPct val="80000"/>
                  <a:buFont typeface="Wingdings" panose="05000000000000000000" pitchFamily="2" charset="2"/>
                  <a:buChar char="ü"/>
                </a:pPr>
                <a:r>
                  <a:rPr lang="zh-CN" altLang="en-US" sz="1200" dirty="0">
                    <a:solidFill>
                      <a:schemeClr val="tx2"/>
                    </a:solidFill>
                    <a:latin typeface="微软雅黑" panose="020B0503020204020204" pitchFamily="34" charset="-122"/>
                    <a:ea typeface="微软雅黑" panose="020B0503020204020204" pitchFamily="34" charset="-122"/>
                  </a:rPr>
                  <a:t>数据库云化和整合</a:t>
                </a:r>
                <a:endParaRPr lang="zh-CN" altLang="en-US" sz="1200" dirty="0">
                  <a:solidFill>
                    <a:schemeClr val="tx2"/>
                  </a:solidFill>
                  <a:latin typeface="微软雅黑" panose="020B0503020204020204" pitchFamily="34" charset="-122"/>
                  <a:ea typeface="微软雅黑" panose="020B0503020204020204" pitchFamily="34" charset="-122"/>
                </a:endParaRPr>
              </a:p>
            </p:txBody>
          </p:sp>
          <p:sp>
            <p:nvSpPr>
              <p:cNvPr id="62" name="矩形 61"/>
              <p:cNvSpPr/>
              <p:nvPr>
                <p:custDataLst>
                  <p:tags r:id="rId8"/>
                </p:custDataLst>
              </p:nvPr>
            </p:nvSpPr>
            <p:spPr>
              <a:xfrm>
                <a:off x="256776" y="4731012"/>
                <a:ext cx="36000" cy="43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grpSp>
      </p:grpSp>
      <p:pic>
        <p:nvPicPr>
          <p:cNvPr id="74" name="Picture 2" descr="\\Mac\Home\Desktop\机柜.png"/>
          <p:cNvPicPr>
            <a:picLocks noChangeAspect="1" noChangeArrowheads="1"/>
          </p:cNvPicPr>
          <p:nvPr>
            <p:custDataLst>
              <p:tags r:id="rId9"/>
            </p:custDataLst>
          </p:nvPr>
        </p:nvPicPr>
        <p:blipFill>
          <a:blip r:embed="rId10">
            <a:extLst>
              <a:ext uri="{28A0092B-C50C-407E-A947-70E740481C1C}">
                <a14:useLocalDpi xmlns:a14="http://schemas.microsoft.com/office/drawing/2010/main" val="0"/>
              </a:ext>
            </a:extLst>
          </a:blip>
          <a:srcRect/>
          <a:stretch>
            <a:fillRect/>
          </a:stretch>
        </p:blipFill>
        <p:spPr bwMode="auto">
          <a:xfrm>
            <a:off x="138229" y="1190358"/>
            <a:ext cx="2308303" cy="5185848"/>
          </a:xfrm>
          <a:prstGeom prst="rect">
            <a:avLst/>
          </a:prstGeom>
          <a:noFill/>
          <a:extLst>
            <a:ext uri="{909E8E84-426E-40DD-AFC4-6F175D3DCCD1}">
              <a14:hiddenFill xmlns:a14="http://schemas.microsoft.com/office/drawing/2010/main">
                <a:solidFill>
                  <a:srgbClr val="FFFFFF"/>
                </a:solidFill>
              </a14:hiddenFill>
            </a:ext>
          </a:extLst>
        </p:spPr>
      </p:pic>
      <p:sp>
        <p:nvSpPr>
          <p:cNvPr id="75" name="Freeform 20"/>
          <p:cNvSpPr>
            <a:spLocks noEditPoints="1"/>
          </p:cNvSpPr>
          <p:nvPr>
            <p:custDataLst>
              <p:tags r:id="rId11"/>
            </p:custDataLst>
          </p:nvPr>
        </p:nvSpPr>
        <p:spPr bwMode="auto">
          <a:xfrm>
            <a:off x="7695391" y="4793650"/>
            <a:ext cx="1576886" cy="492623"/>
          </a:xfrm>
          <a:custGeom>
            <a:avLst/>
            <a:gdLst/>
            <a:ahLst/>
            <a:cxnLst>
              <a:cxn ang="0">
                <a:pos x="722" y="224"/>
              </a:cxn>
              <a:cxn ang="0">
                <a:pos x="734" y="212"/>
              </a:cxn>
              <a:cxn ang="0">
                <a:pos x="646" y="22"/>
              </a:cxn>
              <a:cxn ang="0">
                <a:pos x="634" y="6"/>
              </a:cxn>
              <a:cxn ang="0">
                <a:pos x="132" y="0"/>
              </a:cxn>
              <a:cxn ang="0">
                <a:pos x="114" y="6"/>
              </a:cxn>
              <a:cxn ang="0">
                <a:pos x="102" y="22"/>
              </a:cxn>
              <a:cxn ang="0">
                <a:pos x="14" y="212"/>
              </a:cxn>
              <a:cxn ang="0">
                <a:pos x="26" y="224"/>
              </a:cxn>
              <a:cxn ang="0">
                <a:pos x="20" y="250"/>
              </a:cxn>
              <a:cxn ang="0">
                <a:pos x="6" y="256"/>
              </a:cxn>
              <a:cxn ang="0">
                <a:pos x="0" y="500"/>
              </a:cxn>
              <a:cxn ang="0">
                <a:pos x="6" y="514"/>
              </a:cxn>
              <a:cxn ang="0">
                <a:pos x="728" y="520"/>
              </a:cxn>
              <a:cxn ang="0">
                <a:pos x="742" y="514"/>
              </a:cxn>
              <a:cxn ang="0">
                <a:pos x="748" y="272"/>
              </a:cxn>
              <a:cxn ang="0">
                <a:pos x="742" y="256"/>
              </a:cxn>
              <a:cxn ang="0">
                <a:pos x="728" y="250"/>
              </a:cxn>
              <a:cxn ang="0">
                <a:pos x="124" y="436"/>
              </a:cxn>
              <a:cxn ang="0">
                <a:pos x="108" y="446"/>
              </a:cxn>
              <a:cxn ang="0">
                <a:pos x="96" y="442"/>
              </a:cxn>
              <a:cxn ang="0">
                <a:pos x="90" y="336"/>
              </a:cxn>
              <a:cxn ang="0">
                <a:pos x="96" y="324"/>
              </a:cxn>
              <a:cxn ang="0">
                <a:pos x="108" y="318"/>
              </a:cxn>
              <a:cxn ang="0">
                <a:pos x="124" y="328"/>
              </a:cxn>
              <a:cxn ang="0">
                <a:pos x="198" y="428"/>
              </a:cxn>
              <a:cxn ang="0">
                <a:pos x="194" y="442"/>
              </a:cxn>
              <a:cxn ang="0">
                <a:pos x="182" y="446"/>
              </a:cxn>
              <a:cxn ang="0">
                <a:pos x="166" y="436"/>
              </a:cxn>
              <a:cxn ang="0">
                <a:pos x="164" y="336"/>
              </a:cxn>
              <a:cxn ang="0">
                <a:pos x="176" y="320"/>
              </a:cxn>
              <a:cxn ang="0">
                <a:pos x="188" y="320"/>
              </a:cxn>
              <a:cxn ang="0">
                <a:pos x="198" y="336"/>
              </a:cxn>
              <a:cxn ang="0">
                <a:pos x="274" y="428"/>
              </a:cxn>
              <a:cxn ang="0">
                <a:pos x="262" y="444"/>
              </a:cxn>
              <a:cxn ang="0">
                <a:pos x="250" y="444"/>
              </a:cxn>
              <a:cxn ang="0">
                <a:pos x="240" y="428"/>
              </a:cxn>
              <a:cxn ang="0">
                <a:pos x="240" y="328"/>
              </a:cxn>
              <a:cxn ang="0">
                <a:pos x="256" y="318"/>
              </a:cxn>
              <a:cxn ang="0">
                <a:pos x="268" y="324"/>
              </a:cxn>
              <a:cxn ang="0">
                <a:pos x="274" y="428"/>
              </a:cxn>
              <a:cxn ang="0">
                <a:pos x="346" y="436"/>
              </a:cxn>
              <a:cxn ang="0">
                <a:pos x="330" y="446"/>
              </a:cxn>
              <a:cxn ang="0">
                <a:pos x="318" y="442"/>
              </a:cxn>
              <a:cxn ang="0">
                <a:pos x="314" y="336"/>
              </a:cxn>
              <a:cxn ang="0">
                <a:pos x="318" y="324"/>
              </a:cxn>
              <a:cxn ang="0">
                <a:pos x="330" y="318"/>
              </a:cxn>
              <a:cxn ang="0">
                <a:pos x="346" y="328"/>
              </a:cxn>
              <a:cxn ang="0">
                <a:pos x="626" y="390"/>
              </a:cxn>
              <a:cxn ang="0">
                <a:pos x="610" y="386"/>
              </a:cxn>
              <a:cxn ang="0">
                <a:pos x="592" y="372"/>
              </a:cxn>
              <a:cxn ang="0">
                <a:pos x="586" y="350"/>
              </a:cxn>
              <a:cxn ang="0">
                <a:pos x="588" y="334"/>
              </a:cxn>
              <a:cxn ang="0">
                <a:pos x="604" y="316"/>
              </a:cxn>
              <a:cxn ang="0">
                <a:pos x="626" y="308"/>
              </a:cxn>
              <a:cxn ang="0">
                <a:pos x="642" y="312"/>
              </a:cxn>
              <a:cxn ang="0">
                <a:pos x="660" y="326"/>
              </a:cxn>
              <a:cxn ang="0">
                <a:pos x="666" y="350"/>
              </a:cxn>
              <a:cxn ang="0">
                <a:pos x="664" y="366"/>
              </a:cxn>
              <a:cxn ang="0">
                <a:pos x="648" y="384"/>
              </a:cxn>
              <a:cxn ang="0">
                <a:pos x="626" y="390"/>
              </a:cxn>
            </a:cxnLst>
            <a:rect l="0" t="0" r="r" b="b"/>
            <a:pathLst>
              <a:path w="748" h="520">
                <a:moveTo>
                  <a:pt x="26" y="224"/>
                </a:moveTo>
                <a:lnTo>
                  <a:pt x="722" y="224"/>
                </a:lnTo>
                <a:lnTo>
                  <a:pt x="722" y="224"/>
                </a:lnTo>
                <a:lnTo>
                  <a:pt x="728" y="222"/>
                </a:lnTo>
                <a:lnTo>
                  <a:pt x="732" y="218"/>
                </a:lnTo>
                <a:lnTo>
                  <a:pt x="734" y="212"/>
                </a:lnTo>
                <a:lnTo>
                  <a:pt x="732" y="204"/>
                </a:lnTo>
                <a:lnTo>
                  <a:pt x="732" y="204"/>
                </a:lnTo>
                <a:lnTo>
                  <a:pt x="646" y="22"/>
                </a:lnTo>
                <a:lnTo>
                  <a:pt x="646" y="22"/>
                </a:lnTo>
                <a:lnTo>
                  <a:pt x="640" y="14"/>
                </a:lnTo>
                <a:lnTo>
                  <a:pt x="634" y="6"/>
                </a:lnTo>
                <a:lnTo>
                  <a:pt x="626" y="2"/>
                </a:lnTo>
                <a:lnTo>
                  <a:pt x="616" y="0"/>
                </a:lnTo>
                <a:lnTo>
                  <a:pt x="132" y="0"/>
                </a:lnTo>
                <a:lnTo>
                  <a:pt x="132" y="0"/>
                </a:lnTo>
                <a:lnTo>
                  <a:pt x="122" y="2"/>
                </a:lnTo>
                <a:lnTo>
                  <a:pt x="114" y="6"/>
                </a:lnTo>
                <a:lnTo>
                  <a:pt x="108" y="14"/>
                </a:lnTo>
                <a:lnTo>
                  <a:pt x="102" y="22"/>
                </a:lnTo>
                <a:lnTo>
                  <a:pt x="102" y="22"/>
                </a:lnTo>
                <a:lnTo>
                  <a:pt x="14" y="204"/>
                </a:lnTo>
                <a:lnTo>
                  <a:pt x="14" y="204"/>
                </a:lnTo>
                <a:lnTo>
                  <a:pt x="14" y="212"/>
                </a:lnTo>
                <a:lnTo>
                  <a:pt x="16" y="218"/>
                </a:lnTo>
                <a:lnTo>
                  <a:pt x="20" y="222"/>
                </a:lnTo>
                <a:lnTo>
                  <a:pt x="26" y="224"/>
                </a:lnTo>
                <a:lnTo>
                  <a:pt x="26" y="224"/>
                </a:lnTo>
                <a:close/>
                <a:moveTo>
                  <a:pt x="728" y="250"/>
                </a:moveTo>
                <a:lnTo>
                  <a:pt x="20" y="250"/>
                </a:lnTo>
                <a:lnTo>
                  <a:pt x="20" y="250"/>
                </a:lnTo>
                <a:lnTo>
                  <a:pt x="12" y="252"/>
                </a:lnTo>
                <a:lnTo>
                  <a:pt x="6" y="256"/>
                </a:lnTo>
                <a:lnTo>
                  <a:pt x="2" y="264"/>
                </a:lnTo>
                <a:lnTo>
                  <a:pt x="0" y="272"/>
                </a:lnTo>
                <a:lnTo>
                  <a:pt x="0" y="500"/>
                </a:lnTo>
                <a:lnTo>
                  <a:pt x="0" y="500"/>
                </a:lnTo>
                <a:lnTo>
                  <a:pt x="2" y="508"/>
                </a:lnTo>
                <a:lnTo>
                  <a:pt x="6" y="514"/>
                </a:lnTo>
                <a:lnTo>
                  <a:pt x="12" y="518"/>
                </a:lnTo>
                <a:lnTo>
                  <a:pt x="20" y="520"/>
                </a:lnTo>
                <a:lnTo>
                  <a:pt x="728" y="520"/>
                </a:lnTo>
                <a:lnTo>
                  <a:pt x="728" y="520"/>
                </a:lnTo>
                <a:lnTo>
                  <a:pt x="736" y="518"/>
                </a:lnTo>
                <a:lnTo>
                  <a:pt x="742" y="514"/>
                </a:lnTo>
                <a:lnTo>
                  <a:pt x="746" y="508"/>
                </a:lnTo>
                <a:lnTo>
                  <a:pt x="748" y="500"/>
                </a:lnTo>
                <a:lnTo>
                  <a:pt x="748" y="272"/>
                </a:lnTo>
                <a:lnTo>
                  <a:pt x="748" y="272"/>
                </a:lnTo>
                <a:lnTo>
                  <a:pt x="746" y="264"/>
                </a:lnTo>
                <a:lnTo>
                  <a:pt x="742" y="256"/>
                </a:lnTo>
                <a:lnTo>
                  <a:pt x="736" y="252"/>
                </a:lnTo>
                <a:lnTo>
                  <a:pt x="728" y="250"/>
                </a:lnTo>
                <a:lnTo>
                  <a:pt x="728" y="250"/>
                </a:lnTo>
                <a:close/>
                <a:moveTo>
                  <a:pt x="124" y="428"/>
                </a:moveTo>
                <a:lnTo>
                  <a:pt x="124" y="428"/>
                </a:lnTo>
                <a:lnTo>
                  <a:pt x="124" y="436"/>
                </a:lnTo>
                <a:lnTo>
                  <a:pt x="120" y="442"/>
                </a:lnTo>
                <a:lnTo>
                  <a:pt x="114" y="444"/>
                </a:lnTo>
                <a:lnTo>
                  <a:pt x="108" y="446"/>
                </a:lnTo>
                <a:lnTo>
                  <a:pt x="108" y="446"/>
                </a:lnTo>
                <a:lnTo>
                  <a:pt x="102" y="444"/>
                </a:lnTo>
                <a:lnTo>
                  <a:pt x="96" y="442"/>
                </a:lnTo>
                <a:lnTo>
                  <a:pt x="92" y="436"/>
                </a:lnTo>
                <a:lnTo>
                  <a:pt x="90" y="428"/>
                </a:lnTo>
                <a:lnTo>
                  <a:pt x="90" y="336"/>
                </a:lnTo>
                <a:lnTo>
                  <a:pt x="90" y="336"/>
                </a:lnTo>
                <a:lnTo>
                  <a:pt x="92" y="328"/>
                </a:lnTo>
                <a:lnTo>
                  <a:pt x="96" y="324"/>
                </a:lnTo>
                <a:lnTo>
                  <a:pt x="102" y="320"/>
                </a:lnTo>
                <a:lnTo>
                  <a:pt x="108" y="318"/>
                </a:lnTo>
                <a:lnTo>
                  <a:pt x="108" y="318"/>
                </a:lnTo>
                <a:lnTo>
                  <a:pt x="114" y="320"/>
                </a:lnTo>
                <a:lnTo>
                  <a:pt x="120" y="324"/>
                </a:lnTo>
                <a:lnTo>
                  <a:pt x="124" y="328"/>
                </a:lnTo>
                <a:lnTo>
                  <a:pt x="124" y="336"/>
                </a:lnTo>
                <a:lnTo>
                  <a:pt x="124" y="428"/>
                </a:lnTo>
                <a:close/>
                <a:moveTo>
                  <a:pt x="198" y="428"/>
                </a:moveTo>
                <a:lnTo>
                  <a:pt x="198" y="428"/>
                </a:lnTo>
                <a:lnTo>
                  <a:pt x="198" y="436"/>
                </a:lnTo>
                <a:lnTo>
                  <a:pt x="194" y="442"/>
                </a:lnTo>
                <a:lnTo>
                  <a:pt x="188" y="444"/>
                </a:lnTo>
                <a:lnTo>
                  <a:pt x="182" y="446"/>
                </a:lnTo>
                <a:lnTo>
                  <a:pt x="182" y="446"/>
                </a:lnTo>
                <a:lnTo>
                  <a:pt x="176" y="444"/>
                </a:lnTo>
                <a:lnTo>
                  <a:pt x="170" y="442"/>
                </a:lnTo>
                <a:lnTo>
                  <a:pt x="166" y="436"/>
                </a:lnTo>
                <a:lnTo>
                  <a:pt x="164" y="428"/>
                </a:lnTo>
                <a:lnTo>
                  <a:pt x="164" y="336"/>
                </a:lnTo>
                <a:lnTo>
                  <a:pt x="164" y="336"/>
                </a:lnTo>
                <a:lnTo>
                  <a:pt x="166" y="328"/>
                </a:lnTo>
                <a:lnTo>
                  <a:pt x="170" y="324"/>
                </a:lnTo>
                <a:lnTo>
                  <a:pt x="176" y="320"/>
                </a:lnTo>
                <a:lnTo>
                  <a:pt x="182" y="318"/>
                </a:lnTo>
                <a:lnTo>
                  <a:pt x="182" y="318"/>
                </a:lnTo>
                <a:lnTo>
                  <a:pt x="188" y="320"/>
                </a:lnTo>
                <a:lnTo>
                  <a:pt x="194" y="324"/>
                </a:lnTo>
                <a:lnTo>
                  <a:pt x="198" y="328"/>
                </a:lnTo>
                <a:lnTo>
                  <a:pt x="198" y="336"/>
                </a:lnTo>
                <a:lnTo>
                  <a:pt x="198" y="428"/>
                </a:lnTo>
                <a:close/>
                <a:moveTo>
                  <a:pt x="274" y="428"/>
                </a:moveTo>
                <a:lnTo>
                  <a:pt x="274" y="428"/>
                </a:lnTo>
                <a:lnTo>
                  <a:pt x="272" y="436"/>
                </a:lnTo>
                <a:lnTo>
                  <a:pt x="268" y="442"/>
                </a:lnTo>
                <a:lnTo>
                  <a:pt x="262" y="444"/>
                </a:lnTo>
                <a:lnTo>
                  <a:pt x="256" y="446"/>
                </a:lnTo>
                <a:lnTo>
                  <a:pt x="256" y="446"/>
                </a:lnTo>
                <a:lnTo>
                  <a:pt x="250" y="444"/>
                </a:lnTo>
                <a:lnTo>
                  <a:pt x="244" y="442"/>
                </a:lnTo>
                <a:lnTo>
                  <a:pt x="240" y="436"/>
                </a:lnTo>
                <a:lnTo>
                  <a:pt x="240" y="428"/>
                </a:lnTo>
                <a:lnTo>
                  <a:pt x="240" y="336"/>
                </a:lnTo>
                <a:lnTo>
                  <a:pt x="240" y="336"/>
                </a:lnTo>
                <a:lnTo>
                  <a:pt x="240" y="328"/>
                </a:lnTo>
                <a:lnTo>
                  <a:pt x="244" y="324"/>
                </a:lnTo>
                <a:lnTo>
                  <a:pt x="250" y="320"/>
                </a:lnTo>
                <a:lnTo>
                  <a:pt x="256" y="318"/>
                </a:lnTo>
                <a:lnTo>
                  <a:pt x="256" y="318"/>
                </a:lnTo>
                <a:lnTo>
                  <a:pt x="262" y="320"/>
                </a:lnTo>
                <a:lnTo>
                  <a:pt x="268" y="324"/>
                </a:lnTo>
                <a:lnTo>
                  <a:pt x="272" y="328"/>
                </a:lnTo>
                <a:lnTo>
                  <a:pt x="274" y="336"/>
                </a:lnTo>
                <a:lnTo>
                  <a:pt x="274" y="428"/>
                </a:lnTo>
                <a:close/>
                <a:moveTo>
                  <a:pt x="348" y="428"/>
                </a:moveTo>
                <a:lnTo>
                  <a:pt x="348" y="428"/>
                </a:lnTo>
                <a:lnTo>
                  <a:pt x="346" y="436"/>
                </a:lnTo>
                <a:lnTo>
                  <a:pt x="342" y="442"/>
                </a:lnTo>
                <a:lnTo>
                  <a:pt x="338" y="444"/>
                </a:lnTo>
                <a:lnTo>
                  <a:pt x="330" y="446"/>
                </a:lnTo>
                <a:lnTo>
                  <a:pt x="330" y="446"/>
                </a:lnTo>
                <a:lnTo>
                  <a:pt x="324" y="444"/>
                </a:lnTo>
                <a:lnTo>
                  <a:pt x="318" y="442"/>
                </a:lnTo>
                <a:lnTo>
                  <a:pt x="314" y="436"/>
                </a:lnTo>
                <a:lnTo>
                  <a:pt x="314" y="428"/>
                </a:lnTo>
                <a:lnTo>
                  <a:pt x="314" y="336"/>
                </a:lnTo>
                <a:lnTo>
                  <a:pt x="314" y="336"/>
                </a:lnTo>
                <a:lnTo>
                  <a:pt x="314" y="328"/>
                </a:lnTo>
                <a:lnTo>
                  <a:pt x="318" y="324"/>
                </a:lnTo>
                <a:lnTo>
                  <a:pt x="324" y="320"/>
                </a:lnTo>
                <a:lnTo>
                  <a:pt x="330" y="318"/>
                </a:lnTo>
                <a:lnTo>
                  <a:pt x="330" y="318"/>
                </a:lnTo>
                <a:lnTo>
                  <a:pt x="338" y="320"/>
                </a:lnTo>
                <a:lnTo>
                  <a:pt x="342" y="324"/>
                </a:lnTo>
                <a:lnTo>
                  <a:pt x="346" y="328"/>
                </a:lnTo>
                <a:lnTo>
                  <a:pt x="348" y="336"/>
                </a:lnTo>
                <a:lnTo>
                  <a:pt x="348" y="428"/>
                </a:lnTo>
                <a:close/>
                <a:moveTo>
                  <a:pt x="626" y="390"/>
                </a:moveTo>
                <a:lnTo>
                  <a:pt x="626" y="390"/>
                </a:lnTo>
                <a:lnTo>
                  <a:pt x="618" y="390"/>
                </a:lnTo>
                <a:lnTo>
                  <a:pt x="610" y="386"/>
                </a:lnTo>
                <a:lnTo>
                  <a:pt x="604" y="384"/>
                </a:lnTo>
                <a:lnTo>
                  <a:pt x="598" y="378"/>
                </a:lnTo>
                <a:lnTo>
                  <a:pt x="592" y="372"/>
                </a:lnTo>
                <a:lnTo>
                  <a:pt x="588" y="366"/>
                </a:lnTo>
                <a:lnTo>
                  <a:pt x="586" y="358"/>
                </a:lnTo>
                <a:lnTo>
                  <a:pt x="586" y="350"/>
                </a:lnTo>
                <a:lnTo>
                  <a:pt x="586" y="350"/>
                </a:lnTo>
                <a:lnTo>
                  <a:pt x="586" y="342"/>
                </a:lnTo>
                <a:lnTo>
                  <a:pt x="588" y="334"/>
                </a:lnTo>
                <a:lnTo>
                  <a:pt x="592" y="326"/>
                </a:lnTo>
                <a:lnTo>
                  <a:pt x="598" y="320"/>
                </a:lnTo>
                <a:lnTo>
                  <a:pt x="604" y="316"/>
                </a:lnTo>
                <a:lnTo>
                  <a:pt x="610" y="312"/>
                </a:lnTo>
                <a:lnTo>
                  <a:pt x="618" y="310"/>
                </a:lnTo>
                <a:lnTo>
                  <a:pt x="626" y="308"/>
                </a:lnTo>
                <a:lnTo>
                  <a:pt x="626" y="308"/>
                </a:lnTo>
                <a:lnTo>
                  <a:pt x="634" y="310"/>
                </a:lnTo>
                <a:lnTo>
                  <a:pt x="642" y="312"/>
                </a:lnTo>
                <a:lnTo>
                  <a:pt x="648" y="316"/>
                </a:lnTo>
                <a:lnTo>
                  <a:pt x="654" y="320"/>
                </a:lnTo>
                <a:lnTo>
                  <a:pt x="660" y="326"/>
                </a:lnTo>
                <a:lnTo>
                  <a:pt x="664" y="334"/>
                </a:lnTo>
                <a:lnTo>
                  <a:pt x="666" y="342"/>
                </a:lnTo>
                <a:lnTo>
                  <a:pt x="666" y="350"/>
                </a:lnTo>
                <a:lnTo>
                  <a:pt x="666" y="350"/>
                </a:lnTo>
                <a:lnTo>
                  <a:pt x="666" y="358"/>
                </a:lnTo>
                <a:lnTo>
                  <a:pt x="664" y="366"/>
                </a:lnTo>
                <a:lnTo>
                  <a:pt x="660" y="372"/>
                </a:lnTo>
                <a:lnTo>
                  <a:pt x="654" y="378"/>
                </a:lnTo>
                <a:lnTo>
                  <a:pt x="648" y="384"/>
                </a:lnTo>
                <a:lnTo>
                  <a:pt x="642" y="386"/>
                </a:lnTo>
                <a:lnTo>
                  <a:pt x="634" y="390"/>
                </a:lnTo>
                <a:lnTo>
                  <a:pt x="626" y="390"/>
                </a:lnTo>
                <a:lnTo>
                  <a:pt x="626" y="390"/>
                </a:lnTo>
                <a:close/>
              </a:path>
            </a:pathLst>
          </a:custGeom>
          <a:solidFill>
            <a:srgbClr val="0099CC"/>
          </a:solidFill>
          <a:ln w="9525">
            <a:noFill/>
            <a:round/>
          </a:ln>
        </p:spPr>
        <p:txBody>
          <a:bodyPr vert="horz" wrap="square" lIns="68598" tIns="34299" rIns="68598" bIns="34299" numCol="1" anchor="t" anchorCtr="0" compatLnSpc="1"/>
          <a:lstStyle/>
          <a:p>
            <a:endParaRPr lang="zh-CN" altLang="en-US" sz="135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8" name="Freeform 14"/>
          <p:cNvSpPr>
            <a:spLocks noEditPoints="1"/>
          </p:cNvSpPr>
          <p:nvPr>
            <p:custDataLst>
              <p:tags r:id="rId12"/>
            </p:custDataLst>
          </p:nvPr>
        </p:nvSpPr>
        <p:spPr bwMode="auto">
          <a:xfrm>
            <a:off x="5860109" y="3300981"/>
            <a:ext cx="1576886" cy="198000"/>
          </a:xfrm>
          <a:custGeom>
            <a:avLst/>
            <a:gdLst/>
            <a:ahLst/>
            <a:cxnLst>
              <a:cxn ang="0">
                <a:pos x="15920" y="15"/>
              </a:cxn>
              <a:cxn ang="0">
                <a:pos x="16066" y="82"/>
              </a:cxn>
              <a:cxn ang="0">
                <a:pos x="16180" y="191"/>
              </a:cxn>
              <a:cxn ang="0">
                <a:pos x="16254" y="333"/>
              </a:cxn>
              <a:cxn ang="0">
                <a:pos x="16275" y="1979"/>
              </a:cxn>
              <a:cxn ang="0">
                <a:pos x="16247" y="2142"/>
              </a:cxn>
              <a:cxn ang="0">
                <a:pos x="16166" y="2279"/>
              </a:cxn>
              <a:cxn ang="0">
                <a:pos x="16047" y="2384"/>
              </a:cxn>
              <a:cxn ang="0">
                <a:pos x="15897" y="2443"/>
              </a:cxn>
              <a:cxn ang="0">
                <a:pos x="425" y="2450"/>
              </a:cxn>
              <a:cxn ang="0">
                <a:pos x="269" y="2406"/>
              </a:cxn>
              <a:cxn ang="0">
                <a:pos x="139" y="2313"/>
              </a:cxn>
              <a:cxn ang="0">
                <a:pos x="47" y="2184"/>
              </a:cxn>
              <a:cxn ang="0">
                <a:pos x="2" y="2027"/>
              </a:cxn>
              <a:cxn ang="0">
                <a:pos x="9" y="379"/>
              </a:cxn>
              <a:cxn ang="0">
                <a:pos x="68" y="228"/>
              </a:cxn>
              <a:cxn ang="0">
                <a:pos x="173" y="109"/>
              </a:cxn>
              <a:cxn ang="0">
                <a:pos x="310" y="29"/>
              </a:cxn>
              <a:cxn ang="0">
                <a:pos x="473" y="0"/>
              </a:cxn>
              <a:cxn ang="0">
                <a:pos x="3118" y="686"/>
              </a:cxn>
              <a:cxn ang="0">
                <a:pos x="3301" y="780"/>
              </a:cxn>
              <a:cxn ang="0">
                <a:pos x="3442" y="928"/>
              </a:cxn>
              <a:cxn ang="0">
                <a:pos x="3528" y="1118"/>
              </a:cxn>
              <a:cxn ang="0">
                <a:pos x="3544" y="1333"/>
              </a:cxn>
              <a:cxn ang="0">
                <a:pos x="3487" y="1535"/>
              </a:cxn>
              <a:cxn ang="0">
                <a:pos x="3368" y="1703"/>
              </a:cxn>
              <a:cxn ang="0">
                <a:pos x="3200" y="1822"/>
              </a:cxn>
              <a:cxn ang="0">
                <a:pos x="2999" y="1879"/>
              </a:cxn>
              <a:cxn ang="0">
                <a:pos x="2784" y="1863"/>
              </a:cxn>
              <a:cxn ang="0">
                <a:pos x="2595" y="1778"/>
              </a:cxn>
              <a:cxn ang="0">
                <a:pos x="2446" y="1636"/>
              </a:cxn>
              <a:cxn ang="0">
                <a:pos x="2353" y="1452"/>
              </a:cxn>
              <a:cxn ang="0">
                <a:pos x="2326" y="1239"/>
              </a:cxn>
              <a:cxn ang="0">
                <a:pos x="2373" y="1032"/>
              </a:cxn>
              <a:cxn ang="0">
                <a:pos x="2484" y="859"/>
              </a:cxn>
              <a:cxn ang="0">
                <a:pos x="2646" y="733"/>
              </a:cxn>
              <a:cxn ang="0">
                <a:pos x="2843" y="665"/>
              </a:cxn>
              <a:cxn ang="0">
                <a:pos x="14482" y="476"/>
              </a:cxn>
              <a:cxn ang="0">
                <a:pos x="14578" y="503"/>
              </a:cxn>
              <a:cxn ang="0">
                <a:pos x="14659" y="560"/>
              </a:cxn>
              <a:cxn ang="0">
                <a:pos x="14716" y="640"/>
              </a:cxn>
              <a:cxn ang="0">
                <a:pos x="14743" y="737"/>
              </a:cxn>
              <a:cxn ang="0">
                <a:pos x="14739" y="1758"/>
              </a:cxn>
              <a:cxn ang="0">
                <a:pos x="14702" y="1850"/>
              </a:cxn>
              <a:cxn ang="0">
                <a:pos x="14638" y="1925"/>
              </a:cxn>
              <a:cxn ang="0">
                <a:pos x="14553" y="1974"/>
              </a:cxn>
              <a:cxn ang="0">
                <a:pos x="14452" y="1991"/>
              </a:cxn>
              <a:cxn ang="0">
                <a:pos x="7495" y="1979"/>
              </a:cxn>
              <a:cxn ang="0">
                <a:pos x="7407" y="1933"/>
              </a:cxn>
              <a:cxn ang="0">
                <a:pos x="7339" y="1862"/>
              </a:cxn>
              <a:cxn ang="0">
                <a:pos x="7298" y="1772"/>
              </a:cxn>
              <a:cxn ang="0">
                <a:pos x="7289" y="752"/>
              </a:cxn>
              <a:cxn ang="0">
                <a:pos x="7312" y="653"/>
              </a:cxn>
              <a:cxn ang="0">
                <a:pos x="7365" y="571"/>
              </a:cxn>
              <a:cxn ang="0">
                <a:pos x="7443" y="509"/>
              </a:cxn>
              <a:cxn ang="0">
                <a:pos x="7537" y="477"/>
              </a:cxn>
            </a:cxnLst>
            <a:rect l="0" t="0" r="r" b="b"/>
            <a:pathLst>
              <a:path w="16275" h="2453">
                <a:moveTo>
                  <a:pt x="473" y="0"/>
                </a:moveTo>
                <a:lnTo>
                  <a:pt x="15802" y="0"/>
                </a:lnTo>
                <a:lnTo>
                  <a:pt x="15826" y="1"/>
                </a:lnTo>
                <a:lnTo>
                  <a:pt x="15850" y="2"/>
                </a:lnTo>
                <a:lnTo>
                  <a:pt x="15874" y="5"/>
                </a:lnTo>
                <a:lnTo>
                  <a:pt x="15897" y="10"/>
                </a:lnTo>
                <a:lnTo>
                  <a:pt x="15920" y="15"/>
                </a:lnTo>
                <a:lnTo>
                  <a:pt x="15942" y="21"/>
                </a:lnTo>
                <a:lnTo>
                  <a:pt x="15964" y="29"/>
                </a:lnTo>
                <a:lnTo>
                  <a:pt x="15986" y="38"/>
                </a:lnTo>
                <a:lnTo>
                  <a:pt x="16006" y="47"/>
                </a:lnTo>
                <a:lnTo>
                  <a:pt x="16027" y="57"/>
                </a:lnTo>
                <a:lnTo>
                  <a:pt x="16047" y="69"/>
                </a:lnTo>
                <a:lnTo>
                  <a:pt x="16066" y="82"/>
                </a:lnTo>
                <a:lnTo>
                  <a:pt x="16085" y="95"/>
                </a:lnTo>
                <a:lnTo>
                  <a:pt x="16102" y="109"/>
                </a:lnTo>
                <a:lnTo>
                  <a:pt x="16119" y="123"/>
                </a:lnTo>
                <a:lnTo>
                  <a:pt x="16136" y="140"/>
                </a:lnTo>
                <a:lnTo>
                  <a:pt x="16152" y="156"/>
                </a:lnTo>
                <a:lnTo>
                  <a:pt x="16166" y="173"/>
                </a:lnTo>
                <a:lnTo>
                  <a:pt x="16180" y="191"/>
                </a:lnTo>
                <a:lnTo>
                  <a:pt x="16194" y="210"/>
                </a:lnTo>
                <a:lnTo>
                  <a:pt x="16206" y="228"/>
                </a:lnTo>
                <a:lnTo>
                  <a:pt x="16218" y="249"/>
                </a:lnTo>
                <a:lnTo>
                  <a:pt x="16228" y="269"/>
                </a:lnTo>
                <a:lnTo>
                  <a:pt x="16237" y="289"/>
                </a:lnTo>
                <a:lnTo>
                  <a:pt x="16247" y="312"/>
                </a:lnTo>
                <a:lnTo>
                  <a:pt x="16254" y="333"/>
                </a:lnTo>
                <a:lnTo>
                  <a:pt x="16260" y="356"/>
                </a:lnTo>
                <a:lnTo>
                  <a:pt x="16265" y="379"/>
                </a:lnTo>
                <a:lnTo>
                  <a:pt x="16270" y="401"/>
                </a:lnTo>
                <a:lnTo>
                  <a:pt x="16273" y="426"/>
                </a:lnTo>
                <a:lnTo>
                  <a:pt x="16274" y="449"/>
                </a:lnTo>
                <a:lnTo>
                  <a:pt x="16275" y="474"/>
                </a:lnTo>
                <a:lnTo>
                  <a:pt x="16275" y="1979"/>
                </a:lnTo>
                <a:lnTo>
                  <a:pt x="16274" y="2003"/>
                </a:lnTo>
                <a:lnTo>
                  <a:pt x="16273" y="2027"/>
                </a:lnTo>
                <a:lnTo>
                  <a:pt x="16270" y="2051"/>
                </a:lnTo>
                <a:lnTo>
                  <a:pt x="16265" y="2073"/>
                </a:lnTo>
                <a:lnTo>
                  <a:pt x="16260" y="2097"/>
                </a:lnTo>
                <a:lnTo>
                  <a:pt x="16254" y="2119"/>
                </a:lnTo>
                <a:lnTo>
                  <a:pt x="16247" y="2142"/>
                </a:lnTo>
                <a:lnTo>
                  <a:pt x="16237" y="2163"/>
                </a:lnTo>
                <a:lnTo>
                  <a:pt x="16228" y="2184"/>
                </a:lnTo>
                <a:lnTo>
                  <a:pt x="16218" y="2204"/>
                </a:lnTo>
                <a:lnTo>
                  <a:pt x="16206" y="2224"/>
                </a:lnTo>
                <a:lnTo>
                  <a:pt x="16194" y="2244"/>
                </a:lnTo>
                <a:lnTo>
                  <a:pt x="16180" y="2262"/>
                </a:lnTo>
                <a:lnTo>
                  <a:pt x="16166" y="2279"/>
                </a:lnTo>
                <a:lnTo>
                  <a:pt x="16152" y="2297"/>
                </a:lnTo>
                <a:lnTo>
                  <a:pt x="16136" y="2313"/>
                </a:lnTo>
                <a:lnTo>
                  <a:pt x="16119" y="2329"/>
                </a:lnTo>
                <a:lnTo>
                  <a:pt x="16102" y="2344"/>
                </a:lnTo>
                <a:lnTo>
                  <a:pt x="16085" y="2358"/>
                </a:lnTo>
                <a:lnTo>
                  <a:pt x="16066" y="2371"/>
                </a:lnTo>
                <a:lnTo>
                  <a:pt x="16047" y="2384"/>
                </a:lnTo>
                <a:lnTo>
                  <a:pt x="16027" y="2395"/>
                </a:lnTo>
                <a:lnTo>
                  <a:pt x="16006" y="2406"/>
                </a:lnTo>
                <a:lnTo>
                  <a:pt x="15986" y="2415"/>
                </a:lnTo>
                <a:lnTo>
                  <a:pt x="15964" y="2424"/>
                </a:lnTo>
                <a:lnTo>
                  <a:pt x="15942" y="2431"/>
                </a:lnTo>
                <a:lnTo>
                  <a:pt x="15920" y="2437"/>
                </a:lnTo>
                <a:lnTo>
                  <a:pt x="15897" y="2443"/>
                </a:lnTo>
                <a:lnTo>
                  <a:pt x="15874" y="2447"/>
                </a:lnTo>
                <a:lnTo>
                  <a:pt x="15850" y="2450"/>
                </a:lnTo>
                <a:lnTo>
                  <a:pt x="15826" y="2451"/>
                </a:lnTo>
                <a:lnTo>
                  <a:pt x="15802" y="2453"/>
                </a:lnTo>
                <a:lnTo>
                  <a:pt x="473" y="2453"/>
                </a:lnTo>
                <a:lnTo>
                  <a:pt x="449" y="2451"/>
                </a:lnTo>
                <a:lnTo>
                  <a:pt x="425" y="2450"/>
                </a:lnTo>
                <a:lnTo>
                  <a:pt x="401" y="2447"/>
                </a:lnTo>
                <a:lnTo>
                  <a:pt x="378" y="2443"/>
                </a:lnTo>
                <a:lnTo>
                  <a:pt x="355" y="2437"/>
                </a:lnTo>
                <a:lnTo>
                  <a:pt x="333" y="2431"/>
                </a:lnTo>
                <a:lnTo>
                  <a:pt x="310" y="2424"/>
                </a:lnTo>
                <a:lnTo>
                  <a:pt x="289" y="2415"/>
                </a:lnTo>
                <a:lnTo>
                  <a:pt x="269" y="2406"/>
                </a:lnTo>
                <a:lnTo>
                  <a:pt x="248" y="2395"/>
                </a:lnTo>
                <a:lnTo>
                  <a:pt x="228" y="2384"/>
                </a:lnTo>
                <a:lnTo>
                  <a:pt x="209" y="2371"/>
                </a:lnTo>
                <a:lnTo>
                  <a:pt x="190" y="2358"/>
                </a:lnTo>
                <a:lnTo>
                  <a:pt x="173" y="2344"/>
                </a:lnTo>
                <a:lnTo>
                  <a:pt x="156" y="2329"/>
                </a:lnTo>
                <a:lnTo>
                  <a:pt x="139" y="2313"/>
                </a:lnTo>
                <a:lnTo>
                  <a:pt x="123" y="2297"/>
                </a:lnTo>
                <a:lnTo>
                  <a:pt x="108" y="2279"/>
                </a:lnTo>
                <a:lnTo>
                  <a:pt x="95" y="2262"/>
                </a:lnTo>
                <a:lnTo>
                  <a:pt x="81" y="2244"/>
                </a:lnTo>
                <a:lnTo>
                  <a:pt x="68" y="2224"/>
                </a:lnTo>
                <a:lnTo>
                  <a:pt x="57" y="2204"/>
                </a:lnTo>
                <a:lnTo>
                  <a:pt x="47" y="2184"/>
                </a:lnTo>
                <a:lnTo>
                  <a:pt x="38" y="2163"/>
                </a:lnTo>
                <a:lnTo>
                  <a:pt x="28" y="2142"/>
                </a:lnTo>
                <a:lnTo>
                  <a:pt x="21" y="2119"/>
                </a:lnTo>
                <a:lnTo>
                  <a:pt x="15" y="2097"/>
                </a:lnTo>
                <a:lnTo>
                  <a:pt x="9" y="2073"/>
                </a:lnTo>
                <a:lnTo>
                  <a:pt x="5" y="2051"/>
                </a:lnTo>
                <a:lnTo>
                  <a:pt x="2" y="2027"/>
                </a:lnTo>
                <a:lnTo>
                  <a:pt x="1" y="2003"/>
                </a:lnTo>
                <a:lnTo>
                  <a:pt x="0" y="1979"/>
                </a:lnTo>
                <a:lnTo>
                  <a:pt x="0" y="474"/>
                </a:lnTo>
                <a:lnTo>
                  <a:pt x="1" y="449"/>
                </a:lnTo>
                <a:lnTo>
                  <a:pt x="2" y="426"/>
                </a:lnTo>
                <a:lnTo>
                  <a:pt x="5" y="401"/>
                </a:lnTo>
                <a:lnTo>
                  <a:pt x="9" y="379"/>
                </a:lnTo>
                <a:lnTo>
                  <a:pt x="15" y="356"/>
                </a:lnTo>
                <a:lnTo>
                  <a:pt x="21" y="333"/>
                </a:lnTo>
                <a:lnTo>
                  <a:pt x="28" y="312"/>
                </a:lnTo>
                <a:lnTo>
                  <a:pt x="38" y="289"/>
                </a:lnTo>
                <a:lnTo>
                  <a:pt x="47" y="269"/>
                </a:lnTo>
                <a:lnTo>
                  <a:pt x="57" y="249"/>
                </a:lnTo>
                <a:lnTo>
                  <a:pt x="68" y="228"/>
                </a:lnTo>
                <a:lnTo>
                  <a:pt x="81" y="210"/>
                </a:lnTo>
                <a:lnTo>
                  <a:pt x="95" y="191"/>
                </a:lnTo>
                <a:lnTo>
                  <a:pt x="108" y="173"/>
                </a:lnTo>
                <a:lnTo>
                  <a:pt x="123" y="156"/>
                </a:lnTo>
                <a:lnTo>
                  <a:pt x="139" y="140"/>
                </a:lnTo>
                <a:lnTo>
                  <a:pt x="156" y="123"/>
                </a:lnTo>
                <a:lnTo>
                  <a:pt x="173" y="109"/>
                </a:lnTo>
                <a:lnTo>
                  <a:pt x="190" y="95"/>
                </a:lnTo>
                <a:lnTo>
                  <a:pt x="209" y="82"/>
                </a:lnTo>
                <a:lnTo>
                  <a:pt x="228" y="69"/>
                </a:lnTo>
                <a:lnTo>
                  <a:pt x="248" y="57"/>
                </a:lnTo>
                <a:lnTo>
                  <a:pt x="269" y="47"/>
                </a:lnTo>
                <a:lnTo>
                  <a:pt x="289" y="38"/>
                </a:lnTo>
                <a:lnTo>
                  <a:pt x="310" y="29"/>
                </a:lnTo>
                <a:lnTo>
                  <a:pt x="333" y="21"/>
                </a:lnTo>
                <a:lnTo>
                  <a:pt x="355" y="15"/>
                </a:lnTo>
                <a:lnTo>
                  <a:pt x="378" y="10"/>
                </a:lnTo>
                <a:lnTo>
                  <a:pt x="401" y="5"/>
                </a:lnTo>
                <a:lnTo>
                  <a:pt x="425" y="2"/>
                </a:lnTo>
                <a:lnTo>
                  <a:pt x="449" y="1"/>
                </a:lnTo>
                <a:lnTo>
                  <a:pt x="473" y="0"/>
                </a:lnTo>
                <a:close/>
                <a:moveTo>
                  <a:pt x="2937" y="658"/>
                </a:moveTo>
                <a:lnTo>
                  <a:pt x="2967" y="659"/>
                </a:lnTo>
                <a:lnTo>
                  <a:pt x="2999" y="661"/>
                </a:lnTo>
                <a:lnTo>
                  <a:pt x="3029" y="665"/>
                </a:lnTo>
                <a:lnTo>
                  <a:pt x="3059" y="670"/>
                </a:lnTo>
                <a:lnTo>
                  <a:pt x="3088" y="678"/>
                </a:lnTo>
                <a:lnTo>
                  <a:pt x="3118" y="686"/>
                </a:lnTo>
                <a:lnTo>
                  <a:pt x="3146" y="696"/>
                </a:lnTo>
                <a:lnTo>
                  <a:pt x="3174" y="706"/>
                </a:lnTo>
                <a:lnTo>
                  <a:pt x="3200" y="719"/>
                </a:lnTo>
                <a:lnTo>
                  <a:pt x="3227" y="733"/>
                </a:lnTo>
                <a:lnTo>
                  <a:pt x="3252" y="747"/>
                </a:lnTo>
                <a:lnTo>
                  <a:pt x="3277" y="763"/>
                </a:lnTo>
                <a:lnTo>
                  <a:pt x="3301" y="780"/>
                </a:lnTo>
                <a:lnTo>
                  <a:pt x="3324" y="799"/>
                </a:lnTo>
                <a:lnTo>
                  <a:pt x="3347" y="817"/>
                </a:lnTo>
                <a:lnTo>
                  <a:pt x="3368" y="838"/>
                </a:lnTo>
                <a:lnTo>
                  <a:pt x="3388" y="859"/>
                </a:lnTo>
                <a:lnTo>
                  <a:pt x="3408" y="881"/>
                </a:lnTo>
                <a:lnTo>
                  <a:pt x="3425" y="905"/>
                </a:lnTo>
                <a:lnTo>
                  <a:pt x="3442" y="928"/>
                </a:lnTo>
                <a:lnTo>
                  <a:pt x="3458" y="954"/>
                </a:lnTo>
                <a:lnTo>
                  <a:pt x="3473" y="979"/>
                </a:lnTo>
                <a:lnTo>
                  <a:pt x="3487" y="1006"/>
                </a:lnTo>
                <a:lnTo>
                  <a:pt x="3499" y="1032"/>
                </a:lnTo>
                <a:lnTo>
                  <a:pt x="3509" y="1061"/>
                </a:lnTo>
                <a:lnTo>
                  <a:pt x="3519" y="1089"/>
                </a:lnTo>
                <a:lnTo>
                  <a:pt x="3528" y="1118"/>
                </a:lnTo>
                <a:lnTo>
                  <a:pt x="3535" y="1147"/>
                </a:lnTo>
                <a:lnTo>
                  <a:pt x="3540" y="1178"/>
                </a:lnTo>
                <a:lnTo>
                  <a:pt x="3544" y="1208"/>
                </a:lnTo>
                <a:lnTo>
                  <a:pt x="3546" y="1239"/>
                </a:lnTo>
                <a:lnTo>
                  <a:pt x="3547" y="1271"/>
                </a:lnTo>
                <a:lnTo>
                  <a:pt x="3546" y="1302"/>
                </a:lnTo>
                <a:lnTo>
                  <a:pt x="3544" y="1333"/>
                </a:lnTo>
                <a:lnTo>
                  <a:pt x="3540" y="1363"/>
                </a:lnTo>
                <a:lnTo>
                  <a:pt x="3535" y="1394"/>
                </a:lnTo>
                <a:lnTo>
                  <a:pt x="3528" y="1423"/>
                </a:lnTo>
                <a:lnTo>
                  <a:pt x="3519" y="1452"/>
                </a:lnTo>
                <a:lnTo>
                  <a:pt x="3509" y="1480"/>
                </a:lnTo>
                <a:lnTo>
                  <a:pt x="3499" y="1508"/>
                </a:lnTo>
                <a:lnTo>
                  <a:pt x="3487" y="1535"/>
                </a:lnTo>
                <a:lnTo>
                  <a:pt x="3473" y="1562"/>
                </a:lnTo>
                <a:lnTo>
                  <a:pt x="3458" y="1587"/>
                </a:lnTo>
                <a:lnTo>
                  <a:pt x="3442" y="1612"/>
                </a:lnTo>
                <a:lnTo>
                  <a:pt x="3425" y="1636"/>
                </a:lnTo>
                <a:lnTo>
                  <a:pt x="3408" y="1659"/>
                </a:lnTo>
                <a:lnTo>
                  <a:pt x="3388" y="1681"/>
                </a:lnTo>
                <a:lnTo>
                  <a:pt x="3368" y="1703"/>
                </a:lnTo>
                <a:lnTo>
                  <a:pt x="3347" y="1723"/>
                </a:lnTo>
                <a:lnTo>
                  <a:pt x="3324" y="1742"/>
                </a:lnTo>
                <a:lnTo>
                  <a:pt x="3301" y="1761"/>
                </a:lnTo>
                <a:lnTo>
                  <a:pt x="3277" y="1778"/>
                </a:lnTo>
                <a:lnTo>
                  <a:pt x="3252" y="1793"/>
                </a:lnTo>
                <a:lnTo>
                  <a:pt x="3227" y="1809"/>
                </a:lnTo>
                <a:lnTo>
                  <a:pt x="3200" y="1822"/>
                </a:lnTo>
                <a:lnTo>
                  <a:pt x="3174" y="1834"/>
                </a:lnTo>
                <a:lnTo>
                  <a:pt x="3146" y="1845"/>
                </a:lnTo>
                <a:lnTo>
                  <a:pt x="3118" y="1854"/>
                </a:lnTo>
                <a:lnTo>
                  <a:pt x="3088" y="1863"/>
                </a:lnTo>
                <a:lnTo>
                  <a:pt x="3059" y="1870"/>
                </a:lnTo>
                <a:lnTo>
                  <a:pt x="3029" y="1875"/>
                </a:lnTo>
                <a:lnTo>
                  <a:pt x="2999" y="1879"/>
                </a:lnTo>
                <a:lnTo>
                  <a:pt x="2967" y="1882"/>
                </a:lnTo>
                <a:lnTo>
                  <a:pt x="2937" y="1882"/>
                </a:lnTo>
                <a:lnTo>
                  <a:pt x="2905" y="1882"/>
                </a:lnTo>
                <a:lnTo>
                  <a:pt x="2874" y="1879"/>
                </a:lnTo>
                <a:lnTo>
                  <a:pt x="2843" y="1875"/>
                </a:lnTo>
                <a:lnTo>
                  <a:pt x="2814" y="1870"/>
                </a:lnTo>
                <a:lnTo>
                  <a:pt x="2784" y="1863"/>
                </a:lnTo>
                <a:lnTo>
                  <a:pt x="2755" y="1854"/>
                </a:lnTo>
                <a:lnTo>
                  <a:pt x="2726" y="1845"/>
                </a:lnTo>
                <a:lnTo>
                  <a:pt x="2699" y="1834"/>
                </a:lnTo>
                <a:lnTo>
                  <a:pt x="2671" y="1822"/>
                </a:lnTo>
                <a:lnTo>
                  <a:pt x="2646" y="1809"/>
                </a:lnTo>
                <a:lnTo>
                  <a:pt x="2619" y="1793"/>
                </a:lnTo>
                <a:lnTo>
                  <a:pt x="2595" y="1778"/>
                </a:lnTo>
                <a:lnTo>
                  <a:pt x="2570" y="1761"/>
                </a:lnTo>
                <a:lnTo>
                  <a:pt x="2548" y="1742"/>
                </a:lnTo>
                <a:lnTo>
                  <a:pt x="2526" y="1723"/>
                </a:lnTo>
                <a:lnTo>
                  <a:pt x="2504" y="1703"/>
                </a:lnTo>
                <a:lnTo>
                  <a:pt x="2484" y="1681"/>
                </a:lnTo>
                <a:lnTo>
                  <a:pt x="2465" y="1659"/>
                </a:lnTo>
                <a:lnTo>
                  <a:pt x="2446" y="1636"/>
                </a:lnTo>
                <a:lnTo>
                  <a:pt x="2430" y="1612"/>
                </a:lnTo>
                <a:lnTo>
                  <a:pt x="2414" y="1587"/>
                </a:lnTo>
                <a:lnTo>
                  <a:pt x="2399" y="1562"/>
                </a:lnTo>
                <a:lnTo>
                  <a:pt x="2385" y="1535"/>
                </a:lnTo>
                <a:lnTo>
                  <a:pt x="2373" y="1508"/>
                </a:lnTo>
                <a:lnTo>
                  <a:pt x="2362" y="1480"/>
                </a:lnTo>
                <a:lnTo>
                  <a:pt x="2353" y="1452"/>
                </a:lnTo>
                <a:lnTo>
                  <a:pt x="2345" y="1423"/>
                </a:lnTo>
                <a:lnTo>
                  <a:pt x="2337" y="1394"/>
                </a:lnTo>
                <a:lnTo>
                  <a:pt x="2332" y="1363"/>
                </a:lnTo>
                <a:lnTo>
                  <a:pt x="2328" y="1333"/>
                </a:lnTo>
                <a:lnTo>
                  <a:pt x="2326" y="1302"/>
                </a:lnTo>
                <a:lnTo>
                  <a:pt x="2325" y="1271"/>
                </a:lnTo>
                <a:lnTo>
                  <a:pt x="2326" y="1239"/>
                </a:lnTo>
                <a:lnTo>
                  <a:pt x="2328" y="1208"/>
                </a:lnTo>
                <a:lnTo>
                  <a:pt x="2332" y="1178"/>
                </a:lnTo>
                <a:lnTo>
                  <a:pt x="2337" y="1147"/>
                </a:lnTo>
                <a:lnTo>
                  <a:pt x="2345" y="1118"/>
                </a:lnTo>
                <a:lnTo>
                  <a:pt x="2353" y="1089"/>
                </a:lnTo>
                <a:lnTo>
                  <a:pt x="2362" y="1061"/>
                </a:lnTo>
                <a:lnTo>
                  <a:pt x="2373" y="1032"/>
                </a:lnTo>
                <a:lnTo>
                  <a:pt x="2385" y="1006"/>
                </a:lnTo>
                <a:lnTo>
                  <a:pt x="2399" y="979"/>
                </a:lnTo>
                <a:lnTo>
                  <a:pt x="2414" y="954"/>
                </a:lnTo>
                <a:lnTo>
                  <a:pt x="2430" y="928"/>
                </a:lnTo>
                <a:lnTo>
                  <a:pt x="2446" y="905"/>
                </a:lnTo>
                <a:lnTo>
                  <a:pt x="2465" y="881"/>
                </a:lnTo>
                <a:lnTo>
                  <a:pt x="2484" y="859"/>
                </a:lnTo>
                <a:lnTo>
                  <a:pt x="2504" y="838"/>
                </a:lnTo>
                <a:lnTo>
                  <a:pt x="2526" y="817"/>
                </a:lnTo>
                <a:lnTo>
                  <a:pt x="2548" y="799"/>
                </a:lnTo>
                <a:lnTo>
                  <a:pt x="2570" y="780"/>
                </a:lnTo>
                <a:lnTo>
                  <a:pt x="2595" y="763"/>
                </a:lnTo>
                <a:lnTo>
                  <a:pt x="2619" y="747"/>
                </a:lnTo>
                <a:lnTo>
                  <a:pt x="2646" y="733"/>
                </a:lnTo>
                <a:lnTo>
                  <a:pt x="2671" y="719"/>
                </a:lnTo>
                <a:lnTo>
                  <a:pt x="2699" y="706"/>
                </a:lnTo>
                <a:lnTo>
                  <a:pt x="2726" y="696"/>
                </a:lnTo>
                <a:lnTo>
                  <a:pt x="2755" y="686"/>
                </a:lnTo>
                <a:lnTo>
                  <a:pt x="2784" y="678"/>
                </a:lnTo>
                <a:lnTo>
                  <a:pt x="2814" y="670"/>
                </a:lnTo>
                <a:lnTo>
                  <a:pt x="2843" y="665"/>
                </a:lnTo>
                <a:lnTo>
                  <a:pt x="2874" y="661"/>
                </a:lnTo>
                <a:lnTo>
                  <a:pt x="2905" y="659"/>
                </a:lnTo>
                <a:lnTo>
                  <a:pt x="2937" y="658"/>
                </a:lnTo>
                <a:close/>
                <a:moveTo>
                  <a:pt x="7582" y="474"/>
                </a:moveTo>
                <a:lnTo>
                  <a:pt x="14452" y="474"/>
                </a:lnTo>
                <a:lnTo>
                  <a:pt x="14467" y="474"/>
                </a:lnTo>
                <a:lnTo>
                  <a:pt x="14482" y="476"/>
                </a:lnTo>
                <a:lnTo>
                  <a:pt x="14497" y="477"/>
                </a:lnTo>
                <a:lnTo>
                  <a:pt x="14511" y="480"/>
                </a:lnTo>
                <a:lnTo>
                  <a:pt x="14525" y="483"/>
                </a:lnTo>
                <a:lnTo>
                  <a:pt x="14539" y="487"/>
                </a:lnTo>
                <a:lnTo>
                  <a:pt x="14553" y="492"/>
                </a:lnTo>
                <a:lnTo>
                  <a:pt x="14566" y="497"/>
                </a:lnTo>
                <a:lnTo>
                  <a:pt x="14578" y="503"/>
                </a:lnTo>
                <a:lnTo>
                  <a:pt x="14592" y="509"/>
                </a:lnTo>
                <a:lnTo>
                  <a:pt x="14604" y="517"/>
                </a:lnTo>
                <a:lnTo>
                  <a:pt x="14616" y="524"/>
                </a:lnTo>
                <a:lnTo>
                  <a:pt x="14627" y="532"/>
                </a:lnTo>
                <a:lnTo>
                  <a:pt x="14638" y="541"/>
                </a:lnTo>
                <a:lnTo>
                  <a:pt x="14649" y="550"/>
                </a:lnTo>
                <a:lnTo>
                  <a:pt x="14659" y="560"/>
                </a:lnTo>
                <a:lnTo>
                  <a:pt x="14669" y="571"/>
                </a:lnTo>
                <a:lnTo>
                  <a:pt x="14678" y="581"/>
                </a:lnTo>
                <a:lnTo>
                  <a:pt x="14686" y="592"/>
                </a:lnTo>
                <a:lnTo>
                  <a:pt x="14694" y="603"/>
                </a:lnTo>
                <a:lnTo>
                  <a:pt x="14702" y="615"/>
                </a:lnTo>
                <a:lnTo>
                  <a:pt x="14710" y="628"/>
                </a:lnTo>
                <a:lnTo>
                  <a:pt x="14716" y="640"/>
                </a:lnTo>
                <a:lnTo>
                  <a:pt x="14722" y="653"/>
                </a:lnTo>
                <a:lnTo>
                  <a:pt x="14727" y="666"/>
                </a:lnTo>
                <a:lnTo>
                  <a:pt x="14732" y="680"/>
                </a:lnTo>
                <a:lnTo>
                  <a:pt x="14736" y="694"/>
                </a:lnTo>
                <a:lnTo>
                  <a:pt x="14739" y="708"/>
                </a:lnTo>
                <a:lnTo>
                  <a:pt x="14741" y="722"/>
                </a:lnTo>
                <a:lnTo>
                  <a:pt x="14743" y="737"/>
                </a:lnTo>
                <a:lnTo>
                  <a:pt x="14744" y="752"/>
                </a:lnTo>
                <a:lnTo>
                  <a:pt x="14745" y="767"/>
                </a:lnTo>
                <a:lnTo>
                  <a:pt x="14745" y="1699"/>
                </a:lnTo>
                <a:lnTo>
                  <a:pt x="14744" y="1714"/>
                </a:lnTo>
                <a:lnTo>
                  <a:pt x="14743" y="1728"/>
                </a:lnTo>
                <a:lnTo>
                  <a:pt x="14741" y="1742"/>
                </a:lnTo>
                <a:lnTo>
                  <a:pt x="14739" y="1758"/>
                </a:lnTo>
                <a:lnTo>
                  <a:pt x="14736" y="1771"/>
                </a:lnTo>
                <a:lnTo>
                  <a:pt x="14732" y="1785"/>
                </a:lnTo>
                <a:lnTo>
                  <a:pt x="14727" y="1798"/>
                </a:lnTo>
                <a:lnTo>
                  <a:pt x="14722" y="1812"/>
                </a:lnTo>
                <a:lnTo>
                  <a:pt x="14716" y="1825"/>
                </a:lnTo>
                <a:lnTo>
                  <a:pt x="14710" y="1838"/>
                </a:lnTo>
                <a:lnTo>
                  <a:pt x="14702" y="1850"/>
                </a:lnTo>
                <a:lnTo>
                  <a:pt x="14694" y="1862"/>
                </a:lnTo>
                <a:lnTo>
                  <a:pt x="14686" y="1874"/>
                </a:lnTo>
                <a:lnTo>
                  <a:pt x="14678" y="1885"/>
                </a:lnTo>
                <a:lnTo>
                  <a:pt x="14669" y="1895"/>
                </a:lnTo>
                <a:lnTo>
                  <a:pt x="14659" y="1905"/>
                </a:lnTo>
                <a:lnTo>
                  <a:pt x="14649" y="1916"/>
                </a:lnTo>
                <a:lnTo>
                  <a:pt x="14638" y="1925"/>
                </a:lnTo>
                <a:lnTo>
                  <a:pt x="14627" y="1933"/>
                </a:lnTo>
                <a:lnTo>
                  <a:pt x="14616" y="1941"/>
                </a:lnTo>
                <a:lnTo>
                  <a:pt x="14604" y="1949"/>
                </a:lnTo>
                <a:lnTo>
                  <a:pt x="14592" y="1956"/>
                </a:lnTo>
                <a:lnTo>
                  <a:pt x="14578" y="1962"/>
                </a:lnTo>
                <a:lnTo>
                  <a:pt x="14566" y="1969"/>
                </a:lnTo>
                <a:lnTo>
                  <a:pt x="14553" y="1974"/>
                </a:lnTo>
                <a:lnTo>
                  <a:pt x="14539" y="1979"/>
                </a:lnTo>
                <a:lnTo>
                  <a:pt x="14525" y="1982"/>
                </a:lnTo>
                <a:lnTo>
                  <a:pt x="14511" y="1986"/>
                </a:lnTo>
                <a:lnTo>
                  <a:pt x="14497" y="1988"/>
                </a:lnTo>
                <a:lnTo>
                  <a:pt x="14482" y="1990"/>
                </a:lnTo>
                <a:lnTo>
                  <a:pt x="14467" y="1991"/>
                </a:lnTo>
                <a:lnTo>
                  <a:pt x="14452" y="1991"/>
                </a:lnTo>
                <a:lnTo>
                  <a:pt x="7582" y="1991"/>
                </a:lnTo>
                <a:lnTo>
                  <a:pt x="7567" y="1991"/>
                </a:lnTo>
                <a:lnTo>
                  <a:pt x="7552" y="1990"/>
                </a:lnTo>
                <a:lnTo>
                  <a:pt x="7537" y="1988"/>
                </a:lnTo>
                <a:lnTo>
                  <a:pt x="7523" y="1986"/>
                </a:lnTo>
                <a:lnTo>
                  <a:pt x="7509" y="1982"/>
                </a:lnTo>
                <a:lnTo>
                  <a:pt x="7495" y="1979"/>
                </a:lnTo>
                <a:lnTo>
                  <a:pt x="7481" y="1974"/>
                </a:lnTo>
                <a:lnTo>
                  <a:pt x="7468" y="1969"/>
                </a:lnTo>
                <a:lnTo>
                  <a:pt x="7455" y="1962"/>
                </a:lnTo>
                <a:lnTo>
                  <a:pt x="7443" y="1956"/>
                </a:lnTo>
                <a:lnTo>
                  <a:pt x="7431" y="1949"/>
                </a:lnTo>
                <a:lnTo>
                  <a:pt x="7418" y="1941"/>
                </a:lnTo>
                <a:lnTo>
                  <a:pt x="7407" y="1933"/>
                </a:lnTo>
                <a:lnTo>
                  <a:pt x="7396" y="1925"/>
                </a:lnTo>
                <a:lnTo>
                  <a:pt x="7385" y="1916"/>
                </a:lnTo>
                <a:lnTo>
                  <a:pt x="7375" y="1905"/>
                </a:lnTo>
                <a:lnTo>
                  <a:pt x="7365" y="1895"/>
                </a:lnTo>
                <a:lnTo>
                  <a:pt x="7356" y="1885"/>
                </a:lnTo>
                <a:lnTo>
                  <a:pt x="7347" y="1874"/>
                </a:lnTo>
                <a:lnTo>
                  <a:pt x="7339" y="1862"/>
                </a:lnTo>
                <a:lnTo>
                  <a:pt x="7332" y="1850"/>
                </a:lnTo>
                <a:lnTo>
                  <a:pt x="7325" y="1838"/>
                </a:lnTo>
                <a:lnTo>
                  <a:pt x="7318" y="1825"/>
                </a:lnTo>
                <a:lnTo>
                  <a:pt x="7312" y="1812"/>
                </a:lnTo>
                <a:lnTo>
                  <a:pt x="7306" y="1798"/>
                </a:lnTo>
                <a:lnTo>
                  <a:pt x="7302" y="1785"/>
                </a:lnTo>
                <a:lnTo>
                  <a:pt x="7298" y="1772"/>
                </a:lnTo>
                <a:lnTo>
                  <a:pt x="7295" y="1758"/>
                </a:lnTo>
                <a:lnTo>
                  <a:pt x="7292" y="1742"/>
                </a:lnTo>
                <a:lnTo>
                  <a:pt x="7290" y="1728"/>
                </a:lnTo>
                <a:lnTo>
                  <a:pt x="7289" y="1714"/>
                </a:lnTo>
                <a:lnTo>
                  <a:pt x="7289" y="1699"/>
                </a:lnTo>
                <a:lnTo>
                  <a:pt x="7289" y="767"/>
                </a:lnTo>
                <a:lnTo>
                  <a:pt x="7289" y="752"/>
                </a:lnTo>
                <a:lnTo>
                  <a:pt x="7290" y="737"/>
                </a:lnTo>
                <a:lnTo>
                  <a:pt x="7292" y="722"/>
                </a:lnTo>
                <a:lnTo>
                  <a:pt x="7295" y="708"/>
                </a:lnTo>
                <a:lnTo>
                  <a:pt x="7298" y="694"/>
                </a:lnTo>
                <a:lnTo>
                  <a:pt x="7302" y="680"/>
                </a:lnTo>
                <a:lnTo>
                  <a:pt x="7306" y="666"/>
                </a:lnTo>
                <a:lnTo>
                  <a:pt x="7312" y="653"/>
                </a:lnTo>
                <a:lnTo>
                  <a:pt x="7318" y="640"/>
                </a:lnTo>
                <a:lnTo>
                  <a:pt x="7325" y="628"/>
                </a:lnTo>
                <a:lnTo>
                  <a:pt x="7332" y="615"/>
                </a:lnTo>
                <a:lnTo>
                  <a:pt x="7339" y="603"/>
                </a:lnTo>
                <a:lnTo>
                  <a:pt x="7347" y="592"/>
                </a:lnTo>
                <a:lnTo>
                  <a:pt x="7356" y="581"/>
                </a:lnTo>
                <a:lnTo>
                  <a:pt x="7365" y="571"/>
                </a:lnTo>
                <a:lnTo>
                  <a:pt x="7375" y="560"/>
                </a:lnTo>
                <a:lnTo>
                  <a:pt x="7385" y="550"/>
                </a:lnTo>
                <a:lnTo>
                  <a:pt x="7396" y="541"/>
                </a:lnTo>
                <a:lnTo>
                  <a:pt x="7407" y="532"/>
                </a:lnTo>
                <a:lnTo>
                  <a:pt x="7418" y="524"/>
                </a:lnTo>
                <a:lnTo>
                  <a:pt x="7431" y="517"/>
                </a:lnTo>
                <a:lnTo>
                  <a:pt x="7443" y="509"/>
                </a:lnTo>
                <a:lnTo>
                  <a:pt x="7455" y="503"/>
                </a:lnTo>
                <a:lnTo>
                  <a:pt x="7468" y="497"/>
                </a:lnTo>
                <a:lnTo>
                  <a:pt x="7481" y="492"/>
                </a:lnTo>
                <a:lnTo>
                  <a:pt x="7495" y="487"/>
                </a:lnTo>
                <a:lnTo>
                  <a:pt x="7509" y="483"/>
                </a:lnTo>
                <a:lnTo>
                  <a:pt x="7523" y="480"/>
                </a:lnTo>
                <a:lnTo>
                  <a:pt x="7537" y="477"/>
                </a:lnTo>
                <a:lnTo>
                  <a:pt x="7552" y="476"/>
                </a:lnTo>
                <a:lnTo>
                  <a:pt x="7567" y="474"/>
                </a:lnTo>
                <a:lnTo>
                  <a:pt x="7582" y="474"/>
                </a:lnTo>
                <a:close/>
              </a:path>
            </a:pathLst>
          </a:custGeom>
          <a:solidFill>
            <a:schemeClr val="accent2">
              <a:lumMod val="75000"/>
            </a:schemeClr>
          </a:solidFill>
          <a:ln w="9525">
            <a:noFill/>
            <a:round/>
          </a:ln>
        </p:spPr>
        <p:txBody>
          <a:bodyPr vert="horz" wrap="square" lIns="68598" tIns="34299" rIns="68598" bIns="34299" numCol="1" anchor="t" anchorCtr="0" compatLnSpc="1"/>
          <a:lstStyle/>
          <a:p>
            <a:endParaRPr lang="zh-CN" altLang="en-US" sz="1350">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79" name="直接连接符 364"/>
          <p:cNvCxnSpPr/>
          <p:nvPr>
            <p:custDataLst>
              <p:tags r:id="rId13"/>
            </p:custDataLst>
          </p:nvPr>
        </p:nvCxnSpPr>
        <p:spPr bwMode="auto">
          <a:xfrm flipV="1">
            <a:off x="4801124" y="2284586"/>
            <a:ext cx="1" cy="1042484"/>
          </a:xfrm>
          <a:prstGeom prst="line">
            <a:avLst/>
          </a:prstGeom>
          <a:noFill/>
          <a:ln w="19050" cap="flat" cmpd="sng" algn="ctr">
            <a:solidFill>
              <a:schemeClr val="tx2"/>
            </a:solidFill>
            <a:prstDash val="solid"/>
            <a:round/>
            <a:headEnd type="none" w="med" len="med"/>
            <a:tailEnd type="none" w="med" len="med"/>
          </a:ln>
          <a:effectLst/>
        </p:spPr>
      </p:cxnSp>
      <p:sp>
        <p:nvSpPr>
          <p:cNvPr id="80" name="Freeform 20"/>
          <p:cNvSpPr>
            <a:spLocks noEditPoints="1"/>
          </p:cNvSpPr>
          <p:nvPr>
            <p:custDataLst>
              <p:tags r:id="rId14"/>
            </p:custDataLst>
          </p:nvPr>
        </p:nvSpPr>
        <p:spPr bwMode="auto">
          <a:xfrm>
            <a:off x="4012681" y="1802596"/>
            <a:ext cx="1576886" cy="492623"/>
          </a:xfrm>
          <a:custGeom>
            <a:avLst/>
            <a:gdLst/>
            <a:ahLst/>
            <a:cxnLst>
              <a:cxn ang="0">
                <a:pos x="722" y="224"/>
              </a:cxn>
              <a:cxn ang="0">
                <a:pos x="734" y="212"/>
              </a:cxn>
              <a:cxn ang="0">
                <a:pos x="646" y="22"/>
              </a:cxn>
              <a:cxn ang="0">
                <a:pos x="634" y="6"/>
              </a:cxn>
              <a:cxn ang="0">
                <a:pos x="132" y="0"/>
              </a:cxn>
              <a:cxn ang="0">
                <a:pos x="114" y="6"/>
              </a:cxn>
              <a:cxn ang="0">
                <a:pos x="102" y="22"/>
              </a:cxn>
              <a:cxn ang="0">
                <a:pos x="14" y="212"/>
              </a:cxn>
              <a:cxn ang="0">
                <a:pos x="26" y="224"/>
              </a:cxn>
              <a:cxn ang="0">
                <a:pos x="20" y="250"/>
              </a:cxn>
              <a:cxn ang="0">
                <a:pos x="6" y="256"/>
              </a:cxn>
              <a:cxn ang="0">
                <a:pos x="0" y="500"/>
              </a:cxn>
              <a:cxn ang="0">
                <a:pos x="6" y="514"/>
              </a:cxn>
              <a:cxn ang="0">
                <a:pos x="728" y="520"/>
              </a:cxn>
              <a:cxn ang="0">
                <a:pos x="742" y="514"/>
              </a:cxn>
              <a:cxn ang="0">
                <a:pos x="748" y="272"/>
              </a:cxn>
              <a:cxn ang="0">
                <a:pos x="742" y="256"/>
              </a:cxn>
              <a:cxn ang="0">
                <a:pos x="728" y="250"/>
              </a:cxn>
              <a:cxn ang="0">
                <a:pos x="124" y="436"/>
              </a:cxn>
              <a:cxn ang="0">
                <a:pos x="108" y="446"/>
              </a:cxn>
              <a:cxn ang="0">
                <a:pos x="96" y="442"/>
              </a:cxn>
              <a:cxn ang="0">
                <a:pos x="90" y="336"/>
              </a:cxn>
              <a:cxn ang="0">
                <a:pos x="96" y="324"/>
              </a:cxn>
              <a:cxn ang="0">
                <a:pos x="108" y="318"/>
              </a:cxn>
              <a:cxn ang="0">
                <a:pos x="124" y="328"/>
              </a:cxn>
              <a:cxn ang="0">
                <a:pos x="198" y="428"/>
              </a:cxn>
              <a:cxn ang="0">
                <a:pos x="194" y="442"/>
              </a:cxn>
              <a:cxn ang="0">
                <a:pos x="182" y="446"/>
              </a:cxn>
              <a:cxn ang="0">
                <a:pos x="166" y="436"/>
              </a:cxn>
              <a:cxn ang="0">
                <a:pos x="164" y="336"/>
              </a:cxn>
              <a:cxn ang="0">
                <a:pos x="176" y="320"/>
              </a:cxn>
              <a:cxn ang="0">
                <a:pos x="188" y="320"/>
              </a:cxn>
              <a:cxn ang="0">
                <a:pos x="198" y="336"/>
              </a:cxn>
              <a:cxn ang="0">
                <a:pos x="274" y="428"/>
              </a:cxn>
              <a:cxn ang="0">
                <a:pos x="262" y="444"/>
              </a:cxn>
              <a:cxn ang="0">
                <a:pos x="250" y="444"/>
              </a:cxn>
              <a:cxn ang="0">
                <a:pos x="240" y="428"/>
              </a:cxn>
              <a:cxn ang="0">
                <a:pos x="240" y="328"/>
              </a:cxn>
              <a:cxn ang="0">
                <a:pos x="256" y="318"/>
              </a:cxn>
              <a:cxn ang="0">
                <a:pos x="268" y="324"/>
              </a:cxn>
              <a:cxn ang="0">
                <a:pos x="274" y="428"/>
              </a:cxn>
              <a:cxn ang="0">
                <a:pos x="346" y="436"/>
              </a:cxn>
              <a:cxn ang="0">
                <a:pos x="330" y="446"/>
              </a:cxn>
              <a:cxn ang="0">
                <a:pos x="318" y="442"/>
              </a:cxn>
              <a:cxn ang="0">
                <a:pos x="314" y="336"/>
              </a:cxn>
              <a:cxn ang="0">
                <a:pos x="318" y="324"/>
              </a:cxn>
              <a:cxn ang="0">
                <a:pos x="330" y="318"/>
              </a:cxn>
              <a:cxn ang="0">
                <a:pos x="346" y="328"/>
              </a:cxn>
              <a:cxn ang="0">
                <a:pos x="626" y="390"/>
              </a:cxn>
              <a:cxn ang="0">
                <a:pos x="610" y="386"/>
              </a:cxn>
              <a:cxn ang="0">
                <a:pos x="592" y="372"/>
              </a:cxn>
              <a:cxn ang="0">
                <a:pos x="586" y="350"/>
              </a:cxn>
              <a:cxn ang="0">
                <a:pos x="588" y="334"/>
              </a:cxn>
              <a:cxn ang="0">
                <a:pos x="604" y="316"/>
              </a:cxn>
              <a:cxn ang="0">
                <a:pos x="626" y="308"/>
              </a:cxn>
              <a:cxn ang="0">
                <a:pos x="642" y="312"/>
              </a:cxn>
              <a:cxn ang="0">
                <a:pos x="660" y="326"/>
              </a:cxn>
              <a:cxn ang="0">
                <a:pos x="666" y="350"/>
              </a:cxn>
              <a:cxn ang="0">
                <a:pos x="664" y="366"/>
              </a:cxn>
              <a:cxn ang="0">
                <a:pos x="648" y="384"/>
              </a:cxn>
              <a:cxn ang="0">
                <a:pos x="626" y="390"/>
              </a:cxn>
            </a:cxnLst>
            <a:rect l="0" t="0" r="r" b="b"/>
            <a:pathLst>
              <a:path w="748" h="520">
                <a:moveTo>
                  <a:pt x="26" y="224"/>
                </a:moveTo>
                <a:lnTo>
                  <a:pt x="722" y="224"/>
                </a:lnTo>
                <a:lnTo>
                  <a:pt x="722" y="224"/>
                </a:lnTo>
                <a:lnTo>
                  <a:pt x="728" y="222"/>
                </a:lnTo>
                <a:lnTo>
                  <a:pt x="732" y="218"/>
                </a:lnTo>
                <a:lnTo>
                  <a:pt x="734" y="212"/>
                </a:lnTo>
                <a:lnTo>
                  <a:pt x="732" y="204"/>
                </a:lnTo>
                <a:lnTo>
                  <a:pt x="732" y="204"/>
                </a:lnTo>
                <a:lnTo>
                  <a:pt x="646" y="22"/>
                </a:lnTo>
                <a:lnTo>
                  <a:pt x="646" y="22"/>
                </a:lnTo>
                <a:lnTo>
                  <a:pt x="640" y="14"/>
                </a:lnTo>
                <a:lnTo>
                  <a:pt x="634" y="6"/>
                </a:lnTo>
                <a:lnTo>
                  <a:pt x="626" y="2"/>
                </a:lnTo>
                <a:lnTo>
                  <a:pt x="616" y="0"/>
                </a:lnTo>
                <a:lnTo>
                  <a:pt x="132" y="0"/>
                </a:lnTo>
                <a:lnTo>
                  <a:pt x="132" y="0"/>
                </a:lnTo>
                <a:lnTo>
                  <a:pt x="122" y="2"/>
                </a:lnTo>
                <a:lnTo>
                  <a:pt x="114" y="6"/>
                </a:lnTo>
                <a:lnTo>
                  <a:pt x="108" y="14"/>
                </a:lnTo>
                <a:lnTo>
                  <a:pt x="102" y="22"/>
                </a:lnTo>
                <a:lnTo>
                  <a:pt x="102" y="22"/>
                </a:lnTo>
                <a:lnTo>
                  <a:pt x="14" y="204"/>
                </a:lnTo>
                <a:lnTo>
                  <a:pt x="14" y="204"/>
                </a:lnTo>
                <a:lnTo>
                  <a:pt x="14" y="212"/>
                </a:lnTo>
                <a:lnTo>
                  <a:pt x="16" y="218"/>
                </a:lnTo>
                <a:lnTo>
                  <a:pt x="20" y="222"/>
                </a:lnTo>
                <a:lnTo>
                  <a:pt x="26" y="224"/>
                </a:lnTo>
                <a:lnTo>
                  <a:pt x="26" y="224"/>
                </a:lnTo>
                <a:close/>
                <a:moveTo>
                  <a:pt x="728" y="250"/>
                </a:moveTo>
                <a:lnTo>
                  <a:pt x="20" y="250"/>
                </a:lnTo>
                <a:lnTo>
                  <a:pt x="20" y="250"/>
                </a:lnTo>
                <a:lnTo>
                  <a:pt x="12" y="252"/>
                </a:lnTo>
                <a:lnTo>
                  <a:pt x="6" y="256"/>
                </a:lnTo>
                <a:lnTo>
                  <a:pt x="2" y="264"/>
                </a:lnTo>
                <a:lnTo>
                  <a:pt x="0" y="272"/>
                </a:lnTo>
                <a:lnTo>
                  <a:pt x="0" y="500"/>
                </a:lnTo>
                <a:lnTo>
                  <a:pt x="0" y="500"/>
                </a:lnTo>
                <a:lnTo>
                  <a:pt x="2" y="508"/>
                </a:lnTo>
                <a:lnTo>
                  <a:pt x="6" y="514"/>
                </a:lnTo>
                <a:lnTo>
                  <a:pt x="12" y="518"/>
                </a:lnTo>
                <a:lnTo>
                  <a:pt x="20" y="520"/>
                </a:lnTo>
                <a:lnTo>
                  <a:pt x="728" y="520"/>
                </a:lnTo>
                <a:lnTo>
                  <a:pt x="728" y="520"/>
                </a:lnTo>
                <a:lnTo>
                  <a:pt x="736" y="518"/>
                </a:lnTo>
                <a:lnTo>
                  <a:pt x="742" y="514"/>
                </a:lnTo>
                <a:lnTo>
                  <a:pt x="746" y="508"/>
                </a:lnTo>
                <a:lnTo>
                  <a:pt x="748" y="500"/>
                </a:lnTo>
                <a:lnTo>
                  <a:pt x="748" y="272"/>
                </a:lnTo>
                <a:lnTo>
                  <a:pt x="748" y="272"/>
                </a:lnTo>
                <a:lnTo>
                  <a:pt x="746" y="264"/>
                </a:lnTo>
                <a:lnTo>
                  <a:pt x="742" y="256"/>
                </a:lnTo>
                <a:lnTo>
                  <a:pt x="736" y="252"/>
                </a:lnTo>
                <a:lnTo>
                  <a:pt x="728" y="250"/>
                </a:lnTo>
                <a:lnTo>
                  <a:pt x="728" y="250"/>
                </a:lnTo>
                <a:close/>
                <a:moveTo>
                  <a:pt x="124" y="428"/>
                </a:moveTo>
                <a:lnTo>
                  <a:pt x="124" y="428"/>
                </a:lnTo>
                <a:lnTo>
                  <a:pt x="124" y="436"/>
                </a:lnTo>
                <a:lnTo>
                  <a:pt x="120" y="442"/>
                </a:lnTo>
                <a:lnTo>
                  <a:pt x="114" y="444"/>
                </a:lnTo>
                <a:lnTo>
                  <a:pt x="108" y="446"/>
                </a:lnTo>
                <a:lnTo>
                  <a:pt x="108" y="446"/>
                </a:lnTo>
                <a:lnTo>
                  <a:pt x="102" y="444"/>
                </a:lnTo>
                <a:lnTo>
                  <a:pt x="96" y="442"/>
                </a:lnTo>
                <a:lnTo>
                  <a:pt x="92" y="436"/>
                </a:lnTo>
                <a:lnTo>
                  <a:pt x="90" y="428"/>
                </a:lnTo>
                <a:lnTo>
                  <a:pt x="90" y="336"/>
                </a:lnTo>
                <a:lnTo>
                  <a:pt x="90" y="336"/>
                </a:lnTo>
                <a:lnTo>
                  <a:pt x="92" y="328"/>
                </a:lnTo>
                <a:lnTo>
                  <a:pt x="96" y="324"/>
                </a:lnTo>
                <a:lnTo>
                  <a:pt x="102" y="320"/>
                </a:lnTo>
                <a:lnTo>
                  <a:pt x="108" y="318"/>
                </a:lnTo>
                <a:lnTo>
                  <a:pt x="108" y="318"/>
                </a:lnTo>
                <a:lnTo>
                  <a:pt x="114" y="320"/>
                </a:lnTo>
                <a:lnTo>
                  <a:pt x="120" y="324"/>
                </a:lnTo>
                <a:lnTo>
                  <a:pt x="124" y="328"/>
                </a:lnTo>
                <a:lnTo>
                  <a:pt x="124" y="336"/>
                </a:lnTo>
                <a:lnTo>
                  <a:pt x="124" y="428"/>
                </a:lnTo>
                <a:close/>
                <a:moveTo>
                  <a:pt x="198" y="428"/>
                </a:moveTo>
                <a:lnTo>
                  <a:pt x="198" y="428"/>
                </a:lnTo>
                <a:lnTo>
                  <a:pt x="198" y="436"/>
                </a:lnTo>
                <a:lnTo>
                  <a:pt x="194" y="442"/>
                </a:lnTo>
                <a:lnTo>
                  <a:pt x="188" y="444"/>
                </a:lnTo>
                <a:lnTo>
                  <a:pt x="182" y="446"/>
                </a:lnTo>
                <a:lnTo>
                  <a:pt x="182" y="446"/>
                </a:lnTo>
                <a:lnTo>
                  <a:pt x="176" y="444"/>
                </a:lnTo>
                <a:lnTo>
                  <a:pt x="170" y="442"/>
                </a:lnTo>
                <a:lnTo>
                  <a:pt x="166" y="436"/>
                </a:lnTo>
                <a:lnTo>
                  <a:pt x="164" y="428"/>
                </a:lnTo>
                <a:lnTo>
                  <a:pt x="164" y="336"/>
                </a:lnTo>
                <a:lnTo>
                  <a:pt x="164" y="336"/>
                </a:lnTo>
                <a:lnTo>
                  <a:pt x="166" y="328"/>
                </a:lnTo>
                <a:lnTo>
                  <a:pt x="170" y="324"/>
                </a:lnTo>
                <a:lnTo>
                  <a:pt x="176" y="320"/>
                </a:lnTo>
                <a:lnTo>
                  <a:pt x="182" y="318"/>
                </a:lnTo>
                <a:lnTo>
                  <a:pt x="182" y="318"/>
                </a:lnTo>
                <a:lnTo>
                  <a:pt x="188" y="320"/>
                </a:lnTo>
                <a:lnTo>
                  <a:pt x="194" y="324"/>
                </a:lnTo>
                <a:lnTo>
                  <a:pt x="198" y="328"/>
                </a:lnTo>
                <a:lnTo>
                  <a:pt x="198" y="336"/>
                </a:lnTo>
                <a:lnTo>
                  <a:pt x="198" y="428"/>
                </a:lnTo>
                <a:close/>
                <a:moveTo>
                  <a:pt x="274" y="428"/>
                </a:moveTo>
                <a:lnTo>
                  <a:pt x="274" y="428"/>
                </a:lnTo>
                <a:lnTo>
                  <a:pt x="272" y="436"/>
                </a:lnTo>
                <a:lnTo>
                  <a:pt x="268" y="442"/>
                </a:lnTo>
                <a:lnTo>
                  <a:pt x="262" y="444"/>
                </a:lnTo>
                <a:lnTo>
                  <a:pt x="256" y="446"/>
                </a:lnTo>
                <a:lnTo>
                  <a:pt x="256" y="446"/>
                </a:lnTo>
                <a:lnTo>
                  <a:pt x="250" y="444"/>
                </a:lnTo>
                <a:lnTo>
                  <a:pt x="244" y="442"/>
                </a:lnTo>
                <a:lnTo>
                  <a:pt x="240" y="436"/>
                </a:lnTo>
                <a:lnTo>
                  <a:pt x="240" y="428"/>
                </a:lnTo>
                <a:lnTo>
                  <a:pt x="240" y="336"/>
                </a:lnTo>
                <a:lnTo>
                  <a:pt x="240" y="336"/>
                </a:lnTo>
                <a:lnTo>
                  <a:pt x="240" y="328"/>
                </a:lnTo>
                <a:lnTo>
                  <a:pt x="244" y="324"/>
                </a:lnTo>
                <a:lnTo>
                  <a:pt x="250" y="320"/>
                </a:lnTo>
                <a:lnTo>
                  <a:pt x="256" y="318"/>
                </a:lnTo>
                <a:lnTo>
                  <a:pt x="256" y="318"/>
                </a:lnTo>
                <a:lnTo>
                  <a:pt x="262" y="320"/>
                </a:lnTo>
                <a:lnTo>
                  <a:pt x="268" y="324"/>
                </a:lnTo>
                <a:lnTo>
                  <a:pt x="272" y="328"/>
                </a:lnTo>
                <a:lnTo>
                  <a:pt x="274" y="336"/>
                </a:lnTo>
                <a:lnTo>
                  <a:pt x="274" y="428"/>
                </a:lnTo>
                <a:close/>
                <a:moveTo>
                  <a:pt x="348" y="428"/>
                </a:moveTo>
                <a:lnTo>
                  <a:pt x="348" y="428"/>
                </a:lnTo>
                <a:lnTo>
                  <a:pt x="346" y="436"/>
                </a:lnTo>
                <a:lnTo>
                  <a:pt x="342" y="442"/>
                </a:lnTo>
                <a:lnTo>
                  <a:pt x="338" y="444"/>
                </a:lnTo>
                <a:lnTo>
                  <a:pt x="330" y="446"/>
                </a:lnTo>
                <a:lnTo>
                  <a:pt x="330" y="446"/>
                </a:lnTo>
                <a:lnTo>
                  <a:pt x="324" y="444"/>
                </a:lnTo>
                <a:lnTo>
                  <a:pt x="318" y="442"/>
                </a:lnTo>
                <a:lnTo>
                  <a:pt x="314" y="436"/>
                </a:lnTo>
                <a:lnTo>
                  <a:pt x="314" y="428"/>
                </a:lnTo>
                <a:lnTo>
                  <a:pt x="314" y="336"/>
                </a:lnTo>
                <a:lnTo>
                  <a:pt x="314" y="336"/>
                </a:lnTo>
                <a:lnTo>
                  <a:pt x="314" y="328"/>
                </a:lnTo>
                <a:lnTo>
                  <a:pt x="318" y="324"/>
                </a:lnTo>
                <a:lnTo>
                  <a:pt x="324" y="320"/>
                </a:lnTo>
                <a:lnTo>
                  <a:pt x="330" y="318"/>
                </a:lnTo>
                <a:lnTo>
                  <a:pt x="330" y="318"/>
                </a:lnTo>
                <a:lnTo>
                  <a:pt x="338" y="320"/>
                </a:lnTo>
                <a:lnTo>
                  <a:pt x="342" y="324"/>
                </a:lnTo>
                <a:lnTo>
                  <a:pt x="346" y="328"/>
                </a:lnTo>
                <a:lnTo>
                  <a:pt x="348" y="336"/>
                </a:lnTo>
                <a:lnTo>
                  <a:pt x="348" y="428"/>
                </a:lnTo>
                <a:close/>
                <a:moveTo>
                  <a:pt x="626" y="390"/>
                </a:moveTo>
                <a:lnTo>
                  <a:pt x="626" y="390"/>
                </a:lnTo>
                <a:lnTo>
                  <a:pt x="618" y="390"/>
                </a:lnTo>
                <a:lnTo>
                  <a:pt x="610" y="386"/>
                </a:lnTo>
                <a:lnTo>
                  <a:pt x="604" y="384"/>
                </a:lnTo>
                <a:lnTo>
                  <a:pt x="598" y="378"/>
                </a:lnTo>
                <a:lnTo>
                  <a:pt x="592" y="372"/>
                </a:lnTo>
                <a:lnTo>
                  <a:pt x="588" y="366"/>
                </a:lnTo>
                <a:lnTo>
                  <a:pt x="586" y="358"/>
                </a:lnTo>
                <a:lnTo>
                  <a:pt x="586" y="350"/>
                </a:lnTo>
                <a:lnTo>
                  <a:pt x="586" y="350"/>
                </a:lnTo>
                <a:lnTo>
                  <a:pt x="586" y="342"/>
                </a:lnTo>
                <a:lnTo>
                  <a:pt x="588" y="334"/>
                </a:lnTo>
                <a:lnTo>
                  <a:pt x="592" y="326"/>
                </a:lnTo>
                <a:lnTo>
                  <a:pt x="598" y="320"/>
                </a:lnTo>
                <a:lnTo>
                  <a:pt x="604" y="316"/>
                </a:lnTo>
                <a:lnTo>
                  <a:pt x="610" y="312"/>
                </a:lnTo>
                <a:lnTo>
                  <a:pt x="618" y="310"/>
                </a:lnTo>
                <a:lnTo>
                  <a:pt x="626" y="308"/>
                </a:lnTo>
                <a:lnTo>
                  <a:pt x="626" y="308"/>
                </a:lnTo>
                <a:lnTo>
                  <a:pt x="634" y="310"/>
                </a:lnTo>
                <a:lnTo>
                  <a:pt x="642" y="312"/>
                </a:lnTo>
                <a:lnTo>
                  <a:pt x="648" y="316"/>
                </a:lnTo>
                <a:lnTo>
                  <a:pt x="654" y="320"/>
                </a:lnTo>
                <a:lnTo>
                  <a:pt x="660" y="326"/>
                </a:lnTo>
                <a:lnTo>
                  <a:pt x="664" y="334"/>
                </a:lnTo>
                <a:lnTo>
                  <a:pt x="666" y="342"/>
                </a:lnTo>
                <a:lnTo>
                  <a:pt x="666" y="350"/>
                </a:lnTo>
                <a:lnTo>
                  <a:pt x="666" y="350"/>
                </a:lnTo>
                <a:lnTo>
                  <a:pt x="666" y="358"/>
                </a:lnTo>
                <a:lnTo>
                  <a:pt x="664" y="366"/>
                </a:lnTo>
                <a:lnTo>
                  <a:pt x="660" y="372"/>
                </a:lnTo>
                <a:lnTo>
                  <a:pt x="654" y="378"/>
                </a:lnTo>
                <a:lnTo>
                  <a:pt x="648" y="384"/>
                </a:lnTo>
                <a:lnTo>
                  <a:pt x="642" y="386"/>
                </a:lnTo>
                <a:lnTo>
                  <a:pt x="634" y="390"/>
                </a:lnTo>
                <a:lnTo>
                  <a:pt x="626" y="390"/>
                </a:lnTo>
                <a:lnTo>
                  <a:pt x="626" y="390"/>
                </a:lnTo>
                <a:close/>
              </a:path>
            </a:pathLst>
          </a:custGeom>
          <a:solidFill>
            <a:srgbClr val="0099CC"/>
          </a:solidFill>
          <a:ln w="9525">
            <a:noFill/>
            <a:round/>
          </a:ln>
        </p:spPr>
        <p:txBody>
          <a:bodyPr vert="horz" wrap="square" lIns="68598" tIns="34299" rIns="68598" bIns="34299" numCol="1" anchor="t" anchorCtr="0" compatLnSpc="1"/>
          <a:lstStyle/>
          <a:p>
            <a:endParaRPr lang="zh-CN" altLang="en-US" sz="135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3" name="Freeform 20"/>
          <p:cNvSpPr>
            <a:spLocks noEditPoints="1"/>
          </p:cNvSpPr>
          <p:nvPr>
            <p:custDataLst>
              <p:tags r:id="rId15"/>
            </p:custDataLst>
          </p:nvPr>
        </p:nvSpPr>
        <p:spPr bwMode="auto">
          <a:xfrm>
            <a:off x="5860109" y="1802595"/>
            <a:ext cx="1576886" cy="492623"/>
          </a:xfrm>
          <a:custGeom>
            <a:avLst/>
            <a:gdLst/>
            <a:ahLst/>
            <a:cxnLst>
              <a:cxn ang="0">
                <a:pos x="722" y="224"/>
              </a:cxn>
              <a:cxn ang="0">
                <a:pos x="734" y="212"/>
              </a:cxn>
              <a:cxn ang="0">
                <a:pos x="646" y="22"/>
              </a:cxn>
              <a:cxn ang="0">
                <a:pos x="634" y="6"/>
              </a:cxn>
              <a:cxn ang="0">
                <a:pos x="132" y="0"/>
              </a:cxn>
              <a:cxn ang="0">
                <a:pos x="114" y="6"/>
              </a:cxn>
              <a:cxn ang="0">
                <a:pos x="102" y="22"/>
              </a:cxn>
              <a:cxn ang="0">
                <a:pos x="14" y="212"/>
              </a:cxn>
              <a:cxn ang="0">
                <a:pos x="26" y="224"/>
              </a:cxn>
              <a:cxn ang="0">
                <a:pos x="20" y="250"/>
              </a:cxn>
              <a:cxn ang="0">
                <a:pos x="6" y="256"/>
              </a:cxn>
              <a:cxn ang="0">
                <a:pos x="0" y="500"/>
              </a:cxn>
              <a:cxn ang="0">
                <a:pos x="6" y="514"/>
              </a:cxn>
              <a:cxn ang="0">
                <a:pos x="728" y="520"/>
              </a:cxn>
              <a:cxn ang="0">
                <a:pos x="742" y="514"/>
              </a:cxn>
              <a:cxn ang="0">
                <a:pos x="748" y="272"/>
              </a:cxn>
              <a:cxn ang="0">
                <a:pos x="742" y="256"/>
              </a:cxn>
              <a:cxn ang="0">
                <a:pos x="728" y="250"/>
              </a:cxn>
              <a:cxn ang="0">
                <a:pos x="124" y="436"/>
              </a:cxn>
              <a:cxn ang="0">
                <a:pos x="108" y="446"/>
              </a:cxn>
              <a:cxn ang="0">
                <a:pos x="96" y="442"/>
              </a:cxn>
              <a:cxn ang="0">
                <a:pos x="90" y="336"/>
              </a:cxn>
              <a:cxn ang="0">
                <a:pos x="96" y="324"/>
              </a:cxn>
              <a:cxn ang="0">
                <a:pos x="108" y="318"/>
              </a:cxn>
              <a:cxn ang="0">
                <a:pos x="124" y="328"/>
              </a:cxn>
              <a:cxn ang="0">
                <a:pos x="198" y="428"/>
              </a:cxn>
              <a:cxn ang="0">
                <a:pos x="194" y="442"/>
              </a:cxn>
              <a:cxn ang="0">
                <a:pos x="182" y="446"/>
              </a:cxn>
              <a:cxn ang="0">
                <a:pos x="166" y="436"/>
              </a:cxn>
              <a:cxn ang="0">
                <a:pos x="164" y="336"/>
              </a:cxn>
              <a:cxn ang="0">
                <a:pos x="176" y="320"/>
              </a:cxn>
              <a:cxn ang="0">
                <a:pos x="188" y="320"/>
              </a:cxn>
              <a:cxn ang="0">
                <a:pos x="198" y="336"/>
              </a:cxn>
              <a:cxn ang="0">
                <a:pos x="274" y="428"/>
              </a:cxn>
              <a:cxn ang="0">
                <a:pos x="262" y="444"/>
              </a:cxn>
              <a:cxn ang="0">
                <a:pos x="250" y="444"/>
              </a:cxn>
              <a:cxn ang="0">
                <a:pos x="240" y="428"/>
              </a:cxn>
              <a:cxn ang="0">
                <a:pos x="240" y="328"/>
              </a:cxn>
              <a:cxn ang="0">
                <a:pos x="256" y="318"/>
              </a:cxn>
              <a:cxn ang="0">
                <a:pos x="268" y="324"/>
              </a:cxn>
              <a:cxn ang="0">
                <a:pos x="274" y="428"/>
              </a:cxn>
              <a:cxn ang="0">
                <a:pos x="346" y="436"/>
              </a:cxn>
              <a:cxn ang="0">
                <a:pos x="330" y="446"/>
              </a:cxn>
              <a:cxn ang="0">
                <a:pos x="318" y="442"/>
              </a:cxn>
              <a:cxn ang="0">
                <a:pos x="314" y="336"/>
              </a:cxn>
              <a:cxn ang="0">
                <a:pos x="318" y="324"/>
              </a:cxn>
              <a:cxn ang="0">
                <a:pos x="330" y="318"/>
              </a:cxn>
              <a:cxn ang="0">
                <a:pos x="346" y="328"/>
              </a:cxn>
              <a:cxn ang="0">
                <a:pos x="626" y="390"/>
              </a:cxn>
              <a:cxn ang="0">
                <a:pos x="610" y="386"/>
              </a:cxn>
              <a:cxn ang="0">
                <a:pos x="592" y="372"/>
              </a:cxn>
              <a:cxn ang="0">
                <a:pos x="586" y="350"/>
              </a:cxn>
              <a:cxn ang="0">
                <a:pos x="588" y="334"/>
              </a:cxn>
              <a:cxn ang="0">
                <a:pos x="604" y="316"/>
              </a:cxn>
              <a:cxn ang="0">
                <a:pos x="626" y="308"/>
              </a:cxn>
              <a:cxn ang="0">
                <a:pos x="642" y="312"/>
              </a:cxn>
              <a:cxn ang="0">
                <a:pos x="660" y="326"/>
              </a:cxn>
              <a:cxn ang="0">
                <a:pos x="666" y="350"/>
              </a:cxn>
              <a:cxn ang="0">
                <a:pos x="664" y="366"/>
              </a:cxn>
              <a:cxn ang="0">
                <a:pos x="648" y="384"/>
              </a:cxn>
              <a:cxn ang="0">
                <a:pos x="626" y="390"/>
              </a:cxn>
            </a:cxnLst>
            <a:rect l="0" t="0" r="r" b="b"/>
            <a:pathLst>
              <a:path w="748" h="520">
                <a:moveTo>
                  <a:pt x="26" y="224"/>
                </a:moveTo>
                <a:lnTo>
                  <a:pt x="722" y="224"/>
                </a:lnTo>
                <a:lnTo>
                  <a:pt x="722" y="224"/>
                </a:lnTo>
                <a:lnTo>
                  <a:pt x="728" y="222"/>
                </a:lnTo>
                <a:lnTo>
                  <a:pt x="732" y="218"/>
                </a:lnTo>
                <a:lnTo>
                  <a:pt x="734" y="212"/>
                </a:lnTo>
                <a:lnTo>
                  <a:pt x="732" y="204"/>
                </a:lnTo>
                <a:lnTo>
                  <a:pt x="732" y="204"/>
                </a:lnTo>
                <a:lnTo>
                  <a:pt x="646" y="22"/>
                </a:lnTo>
                <a:lnTo>
                  <a:pt x="646" y="22"/>
                </a:lnTo>
                <a:lnTo>
                  <a:pt x="640" y="14"/>
                </a:lnTo>
                <a:lnTo>
                  <a:pt x="634" y="6"/>
                </a:lnTo>
                <a:lnTo>
                  <a:pt x="626" y="2"/>
                </a:lnTo>
                <a:lnTo>
                  <a:pt x="616" y="0"/>
                </a:lnTo>
                <a:lnTo>
                  <a:pt x="132" y="0"/>
                </a:lnTo>
                <a:lnTo>
                  <a:pt x="132" y="0"/>
                </a:lnTo>
                <a:lnTo>
                  <a:pt x="122" y="2"/>
                </a:lnTo>
                <a:lnTo>
                  <a:pt x="114" y="6"/>
                </a:lnTo>
                <a:lnTo>
                  <a:pt x="108" y="14"/>
                </a:lnTo>
                <a:lnTo>
                  <a:pt x="102" y="22"/>
                </a:lnTo>
                <a:lnTo>
                  <a:pt x="102" y="22"/>
                </a:lnTo>
                <a:lnTo>
                  <a:pt x="14" y="204"/>
                </a:lnTo>
                <a:lnTo>
                  <a:pt x="14" y="204"/>
                </a:lnTo>
                <a:lnTo>
                  <a:pt x="14" y="212"/>
                </a:lnTo>
                <a:lnTo>
                  <a:pt x="16" y="218"/>
                </a:lnTo>
                <a:lnTo>
                  <a:pt x="20" y="222"/>
                </a:lnTo>
                <a:lnTo>
                  <a:pt x="26" y="224"/>
                </a:lnTo>
                <a:lnTo>
                  <a:pt x="26" y="224"/>
                </a:lnTo>
                <a:close/>
                <a:moveTo>
                  <a:pt x="728" y="250"/>
                </a:moveTo>
                <a:lnTo>
                  <a:pt x="20" y="250"/>
                </a:lnTo>
                <a:lnTo>
                  <a:pt x="20" y="250"/>
                </a:lnTo>
                <a:lnTo>
                  <a:pt x="12" y="252"/>
                </a:lnTo>
                <a:lnTo>
                  <a:pt x="6" y="256"/>
                </a:lnTo>
                <a:lnTo>
                  <a:pt x="2" y="264"/>
                </a:lnTo>
                <a:lnTo>
                  <a:pt x="0" y="272"/>
                </a:lnTo>
                <a:lnTo>
                  <a:pt x="0" y="500"/>
                </a:lnTo>
                <a:lnTo>
                  <a:pt x="0" y="500"/>
                </a:lnTo>
                <a:lnTo>
                  <a:pt x="2" y="508"/>
                </a:lnTo>
                <a:lnTo>
                  <a:pt x="6" y="514"/>
                </a:lnTo>
                <a:lnTo>
                  <a:pt x="12" y="518"/>
                </a:lnTo>
                <a:lnTo>
                  <a:pt x="20" y="520"/>
                </a:lnTo>
                <a:lnTo>
                  <a:pt x="728" y="520"/>
                </a:lnTo>
                <a:lnTo>
                  <a:pt x="728" y="520"/>
                </a:lnTo>
                <a:lnTo>
                  <a:pt x="736" y="518"/>
                </a:lnTo>
                <a:lnTo>
                  <a:pt x="742" y="514"/>
                </a:lnTo>
                <a:lnTo>
                  <a:pt x="746" y="508"/>
                </a:lnTo>
                <a:lnTo>
                  <a:pt x="748" y="500"/>
                </a:lnTo>
                <a:lnTo>
                  <a:pt x="748" y="272"/>
                </a:lnTo>
                <a:lnTo>
                  <a:pt x="748" y="272"/>
                </a:lnTo>
                <a:lnTo>
                  <a:pt x="746" y="264"/>
                </a:lnTo>
                <a:lnTo>
                  <a:pt x="742" y="256"/>
                </a:lnTo>
                <a:lnTo>
                  <a:pt x="736" y="252"/>
                </a:lnTo>
                <a:lnTo>
                  <a:pt x="728" y="250"/>
                </a:lnTo>
                <a:lnTo>
                  <a:pt x="728" y="250"/>
                </a:lnTo>
                <a:close/>
                <a:moveTo>
                  <a:pt x="124" y="428"/>
                </a:moveTo>
                <a:lnTo>
                  <a:pt x="124" y="428"/>
                </a:lnTo>
                <a:lnTo>
                  <a:pt x="124" y="436"/>
                </a:lnTo>
                <a:lnTo>
                  <a:pt x="120" y="442"/>
                </a:lnTo>
                <a:lnTo>
                  <a:pt x="114" y="444"/>
                </a:lnTo>
                <a:lnTo>
                  <a:pt x="108" y="446"/>
                </a:lnTo>
                <a:lnTo>
                  <a:pt x="108" y="446"/>
                </a:lnTo>
                <a:lnTo>
                  <a:pt x="102" y="444"/>
                </a:lnTo>
                <a:lnTo>
                  <a:pt x="96" y="442"/>
                </a:lnTo>
                <a:lnTo>
                  <a:pt x="92" y="436"/>
                </a:lnTo>
                <a:lnTo>
                  <a:pt x="90" y="428"/>
                </a:lnTo>
                <a:lnTo>
                  <a:pt x="90" y="336"/>
                </a:lnTo>
                <a:lnTo>
                  <a:pt x="90" y="336"/>
                </a:lnTo>
                <a:lnTo>
                  <a:pt x="92" y="328"/>
                </a:lnTo>
                <a:lnTo>
                  <a:pt x="96" y="324"/>
                </a:lnTo>
                <a:lnTo>
                  <a:pt x="102" y="320"/>
                </a:lnTo>
                <a:lnTo>
                  <a:pt x="108" y="318"/>
                </a:lnTo>
                <a:lnTo>
                  <a:pt x="108" y="318"/>
                </a:lnTo>
                <a:lnTo>
                  <a:pt x="114" y="320"/>
                </a:lnTo>
                <a:lnTo>
                  <a:pt x="120" y="324"/>
                </a:lnTo>
                <a:lnTo>
                  <a:pt x="124" y="328"/>
                </a:lnTo>
                <a:lnTo>
                  <a:pt x="124" y="336"/>
                </a:lnTo>
                <a:lnTo>
                  <a:pt x="124" y="428"/>
                </a:lnTo>
                <a:close/>
                <a:moveTo>
                  <a:pt x="198" y="428"/>
                </a:moveTo>
                <a:lnTo>
                  <a:pt x="198" y="428"/>
                </a:lnTo>
                <a:lnTo>
                  <a:pt x="198" y="436"/>
                </a:lnTo>
                <a:lnTo>
                  <a:pt x="194" y="442"/>
                </a:lnTo>
                <a:lnTo>
                  <a:pt x="188" y="444"/>
                </a:lnTo>
                <a:lnTo>
                  <a:pt x="182" y="446"/>
                </a:lnTo>
                <a:lnTo>
                  <a:pt x="182" y="446"/>
                </a:lnTo>
                <a:lnTo>
                  <a:pt x="176" y="444"/>
                </a:lnTo>
                <a:lnTo>
                  <a:pt x="170" y="442"/>
                </a:lnTo>
                <a:lnTo>
                  <a:pt x="166" y="436"/>
                </a:lnTo>
                <a:lnTo>
                  <a:pt x="164" y="428"/>
                </a:lnTo>
                <a:lnTo>
                  <a:pt x="164" y="336"/>
                </a:lnTo>
                <a:lnTo>
                  <a:pt x="164" y="336"/>
                </a:lnTo>
                <a:lnTo>
                  <a:pt x="166" y="328"/>
                </a:lnTo>
                <a:lnTo>
                  <a:pt x="170" y="324"/>
                </a:lnTo>
                <a:lnTo>
                  <a:pt x="176" y="320"/>
                </a:lnTo>
                <a:lnTo>
                  <a:pt x="182" y="318"/>
                </a:lnTo>
                <a:lnTo>
                  <a:pt x="182" y="318"/>
                </a:lnTo>
                <a:lnTo>
                  <a:pt x="188" y="320"/>
                </a:lnTo>
                <a:lnTo>
                  <a:pt x="194" y="324"/>
                </a:lnTo>
                <a:lnTo>
                  <a:pt x="198" y="328"/>
                </a:lnTo>
                <a:lnTo>
                  <a:pt x="198" y="336"/>
                </a:lnTo>
                <a:lnTo>
                  <a:pt x="198" y="428"/>
                </a:lnTo>
                <a:close/>
                <a:moveTo>
                  <a:pt x="274" y="428"/>
                </a:moveTo>
                <a:lnTo>
                  <a:pt x="274" y="428"/>
                </a:lnTo>
                <a:lnTo>
                  <a:pt x="272" y="436"/>
                </a:lnTo>
                <a:lnTo>
                  <a:pt x="268" y="442"/>
                </a:lnTo>
                <a:lnTo>
                  <a:pt x="262" y="444"/>
                </a:lnTo>
                <a:lnTo>
                  <a:pt x="256" y="446"/>
                </a:lnTo>
                <a:lnTo>
                  <a:pt x="256" y="446"/>
                </a:lnTo>
                <a:lnTo>
                  <a:pt x="250" y="444"/>
                </a:lnTo>
                <a:lnTo>
                  <a:pt x="244" y="442"/>
                </a:lnTo>
                <a:lnTo>
                  <a:pt x="240" y="436"/>
                </a:lnTo>
                <a:lnTo>
                  <a:pt x="240" y="428"/>
                </a:lnTo>
                <a:lnTo>
                  <a:pt x="240" y="336"/>
                </a:lnTo>
                <a:lnTo>
                  <a:pt x="240" y="336"/>
                </a:lnTo>
                <a:lnTo>
                  <a:pt x="240" y="328"/>
                </a:lnTo>
                <a:lnTo>
                  <a:pt x="244" y="324"/>
                </a:lnTo>
                <a:lnTo>
                  <a:pt x="250" y="320"/>
                </a:lnTo>
                <a:lnTo>
                  <a:pt x="256" y="318"/>
                </a:lnTo>
                <a:lnTo>
                  <a:pt x="256" y="318"/>
                </a:lnTo>
                <a:lnTo>
                  <a:pt x="262" y="320"/>
                </a:lnTo>
                <a:lnTo>
                  <a:pt x="268" y="324"/>
                </a:lnTo>
                <a:lnTo>
                  <a:pt x="272" y="328"/>
                </a:lnTo>
                <a:lnTo>
                  <a:pt x="274" y="336"/>
                </a:lnTo>
                <a:lnTo>
                  <a:pt x="274" y="428"/>
                </a:lnTo>
                <a:close/>
                <a:moveTo>
                  <a:pt x="348" y="428"/>
                </a:moveTo>
                <a:lnTo>
                  <a:pt x="348" y="428"/>
                </a:lnTo>
                <a:lnTo>
                  <a:pt x="346" y="436"/>
                </a:lnTo>
                <a:lnTo>
                  <a:pt x="342" y="442"/>
                </a:lnTo>
                <a:lnTo>
                  <a:pt x="338" y="444"/>
                </a:lnTo>
                <a:lnTo>
                  <a:pt x="330" y="446"/>
                </a:lnTo>
                <a:lnTo>
                  <a:pt x="330" y="446"/>
                </a:lnTo>
                <a:lnTo>
                  <a:pt x="324" y="444"/>
                </a:lnTo>
                <a:lnTo>
                  <a:pt x="318" y="442"/>
                </a:lnTo>
                <a:lnTo>
                  <a:pt x="314" y="436"/>
                </a:lnTo>
                <a:lnTo>
                  <a:pt x="314" y="428"/>
                </a:lnTo>
                <a:lnTo>
                  <a:pt x="314" y="336"/>
                </a:lnTo>
                <a:lnTo>
                  <a:pt x="314" y="336"/>
                </a:lnTo>
                <a:lnTo>
                  <a:pt x="314" y="328"/>
                </a:lnTo>
                <a:lnTo>
                  <a:pt x="318" y="324"/>
                </a:lnTo>
                <a:lnTo>
                  <a:pt x="324" y="320"/>
                </a:lnTo>
                <a:lnTo>
                  <a:pt x="330" y="318"/>
                </a:lnTo>
                <a:lnTo>
                  <a:pt x="330" y="318"/>
                </a:lnTo>
                <a:lnTo>
                  <a:pt x="338" y="320"/>
                </a:lnTo>
                <a:lnTo>
                  <a:pt x="342" y="324"/>
                </a:lnTo>
                <a:lnTo>
                  <a:pt x="346" y="328"/>
                </a:lnTo>
                <a:lnTo>
                  <a:pt x="348" y="336"/>
                </a:lnTo>
                <a:lnTo>
                  <a:pt x="348" y="428"/>
                </a:lnTo>
                <a:close/>
                <a:moveTo>
                  <a:pt x="626" y="390"/>
                </a:moveTo>
                <a:lnTo>
                  <a:pt x="626" y="390"/>
                </a:lnTo>
                <a:lnTo>
                  <a:pt x="618" y="390"/>
                </a:lnTo>
                <a:lnTo>
                  <a:pt x="610" y="386"/>
                </a:lnTo>
                <a:lnTo>
                  <a:pt x="604" y="384"/>
                </a:lnTo>
                <a:lnTo>
                  <a:pt x="598" y="378"/>
                </a:lnTo>
                <a:lnTo>
                  <a:pt x="592" y="372"/>
                </a:lnTo>
                <a:lnTo>
                  <a:pt x="588" y="366"/>
                </a:lnTo>
                <a:lnTo>
                  <a:pt x="586" y="358"/>
                </a:lnTo>
                <a:lnTo>
                  <a:pt x="586" y="350"/>
                </a:lnTo>
                <a:lnTo>
                  <a:pt x="586" y="350"/>
                </a:lnTo>
                <a:lnTo>
                  <a:pt x="586" y="342"/>
                </a:lnTo>
                <a:lnTo>
                  <a:pt x="588" y="334"/>
                </a:lnTo>
                <a:lnTo>
                  <a:pt x="592" y="326"/>
                </a:lnTo>
                <a:lnTo>
                  <a:pt x="598" y="320"/>
                </a:lnTo>
                <a:lnTo>
                  <a:pt x="604" y="316"/>
                </a:lnTo>
                <a:lnTo>
                  <a:pt x="610" y="312"/>
                </a:lnTo>
                <a:lnTo>
                  <a:pt x="618" y="310"/>
                </a:lnTo>
                <a:lnTo>
                  <a:pt x="626" y="308"/>
                </a:lnTo>
                <a:lnTo>
                  <a:pt x="626" y="308"/>
                </a:lnTo>
                <a:lnTo>
                  <a:pt x="634" y="310"/>
                </a:lnTo>
                <a:lnTo>
                  <a:pt x="642" y="312"/>
                </a:lnTo>
                <a:lnTo>
                  <a:pt x="648" y="316"/>
                </a:lnTo>
                <a:lnTo>
                  <a:pt x="654" y="320"/>
                </a:lnTo>
                <a:lnTo>
                  <a:pt x="660" y="326"/>
                </a:lnTo>
                <a:lnTo>
                  <a:pt x="664" y="334"/>
                </a:lnTo>
                <a:lnTo>
                  <a:pt x="666" y="342"/>
                </a:lnTo>
                <a:lnTo>
                  <a:pt x="666" y="350"/>
                </a:lnTo>
                <a:lnTo>
                  <a:pt x="666" y="350"/>
                </a:lnTo>
                <a:lnTo>
                  <a:pt x="666" y="358"/>
                </a:lnTo>
                <a:lnTo>
                  <a:pt x="664" y="366"/>
                </a:lnTo>
                <a:lnTo>
                  <a:pt x="660" y="372"/>
                </a:lnTo>
                <a:lnTo>
                  <a:pt x="654" y="378"/>
                </a:lnTo>
                <a:lnTo>
                  <a:pt x="648" y="384"/>
                </a:lnTo>
                <a:lnTo>
                  <a:pt x="642" y="386"/>
                </a:lnTo>
                <a:lnTo>
                  <a:pt x="634" y="390"/>
                </a:lnTo>
                <a:lnTo>
                  <a:pt x="626" y="390"/>
                </a:lnTo>
                <a:lnTo>
                  <a:pt x="626" y="390"/>
                </a:lnTo>
                <a:close/>
              </a:path>
            </a:pathLst>
          </a:custGeom>
          <a:solidFill>
            <a:srgbClr val="0099CC"/>
          </a:solidFill>
          <a:ln w="9525">
            <a:noFill/>
            <a:round/>
          </a:ln>
        </p:spPr>
        <p:txBody>
          <a:bodyPr vert="horz" wrap="square" lIns="68598" tIns="34299" rIns="68598" bIns="34299" numCol="1" anchor="t" anchorCtr="0" compatLnSpc="1"/>
          <a:lstStyle/>
          <a:p>
            <a:endParaRPr lang="zh-CN" altLang="en-US" sz="135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4" name="Freeform 20"/>
          <p:cNvSpPr>
            <a:spLocks noEditPoints="1"/>
          </p:cNvSpPr>
          <p:nvPr>
            <p:custDataLst>
              <p:tags r:id="rId16"/>
            </p:custDataLst>
          </p:nvPr>
        </p:nvSpPr>
        <p:spPr bwMode="auto">
          <a:xfrm>
            <a:off x="4012681" y="4791614"/>
            <a:ext cx="1576886" cy="492623"/>
          </a:xfrm>
          <a:custGeom>
            <a:avLst/>
            <a:gdLst/>
            <a:ahLst/>
            <a:cxnLst>
              <a:cxn ang="0">
                <a:pos x="722" y="224"/>
              </a:cxn>
              <a:cxn ang="0">
                <a:pos x="734" y="212"/>
              </a:cxn>
              <a:cxn ang="0">
                <a:pos x="646" y="22"/>
              </a:cxn>
              <a:cxn ang="0">
                <a:pos x="634" y="6"/>
              </a:cxn>
              <a:cxn ang="0">
                <a:pos x="132" y="0"/>
              </a:cxn>
              <a:cxn ang="0">
                <a:pos x="114" y="6"/>
              </a:cxn>
              <a:cxn ang="0">
                <a:pos x="102" y="22"/>
              </a:cxn>
              <a:cxn ang="0">
                <a:pos x="14" y="212"/>
              </a:cxn>
              <a:cxn ang="0">
                <a:pos x="26" y="224"/>
              </a:cxn>
              <a:cxn ang="0">
                <a:pos x="20" y="250"/>
              </a:cxn>
              <a:cxn ang="0">
                <a:pos x="6" y="256"/>
              </a:cxn>
              <a:cxn ang="0">
                <a:pos x="0" y="500"/>
              </a:cxn>
              <a:cxn ang="0">
                <a:pos x="6" y="514"/>
              </a:cxn>
              <a:cxn ang="0">
                <a:pos x="728" y="520"/>
              </a:cxn>
              <a:cxn ang="0">
                <a:pos x="742" y="514"/>
              </a:cxn>
              <a:cxn ang="0">
                <a:pos x="748" y="272"/>
              </a:cxn>
              <a:cxn ang="0">
                <a:pos x="742" y="256"/>
              </a:cxn>
              <a:cxn ang="0">
                <a:pos x="728" y="250"/>
              </a:cxn>
              <a:cxn ang="0">
                <a:pos x="124" y="436"/>
              </a:cxn>
              <a:cxn ang="0">
                <a:pos x="108" y="446"/>
              </a:cxn>
              <a:cxn ang="0">
                <a:pos x="96" y="442"/>
              </a:cxn>
              <a:cxn ang="0">
                <a:pos x="90" y="336"/>
              </a:cxn>
              <a:cxn ang="0">
                <a:pos x="96" y="324"/>
              </a:cxn>
              <a:cxn ang="0">
                <a:pos x="108" y="318"/>
              </a:cxn>
              <a:cxn ang="0">
                <a:pos x="124" y="328"/>
              </a:cxn>
              <a:cxn ang="0">
                <a:pos x="198" y="428"/>
              </a:cxn>
              <a:cxn ang="0">
                <a:pos x="194" y="442"/>
              </a:cxn>
              <a:cxn ang="0">
                <a:pos x="182" y="446"/>
              </a:cxn>
              <a:cxn ang="0">
                <a:pos x="166" y="436"/>
              </a:cxn>
              <a:cxn ang="0">
                <a:pos x="164" y="336"/>
              </a:cxn>
              <a:cxn ang="0">
                <a:pos x="176" y="320"/>
              </a:cxn>
              <a:cxn ang="0">
                <a:pos x="188" y="320"/>
              </a:cxn>
              <a:cxn ang="0">
                <a:pos x="198" y="336"/>
              </a:cxn>
              <a:cxn ang="0">
                <a:pos x="274" y="428"/>
              </a:cxn>
              <a:cxn ang="0">
                <a:pos x="262" y="444"/>
              </a:cxn>
              <a:cxn ang="0">
                <a:pos x="250" y="444"/>
              </a:cxn>
              <a:cxn ang="0">
                <a:pos x="240" y="428"/>
              </a:cxn>
              <a:cxn ang="0">
                <a:pos x="240" y="328"/>
              </a:cxn>
              <a:cxn ang="0">
                <a:pos x="256" y="318"/>
              </a:cxn>
              <a:cxn ang="0">
                <a:pos x="268" y="324"/>
              </a:cxn>
              <a:cxn ang="0">
                <a:pos x="274" y="428"/>
              </a:cxn>
              <a:cxn ang="0">
                <a:pos x="346" y="436"/>
              </a:cxn>
              <a:cxn ang="0">
                <a:pos x="330" y="446"/>
              </a:cxn>
              <a:cxn ang="0">
                <a:pos x="318" y="442"/>
              </a:cxn>
              <a:cxn ang="0">
                <a:pos x="314" y="336"/>
              </a:cxn>
              <a:cxn ang="0">
                <a:pos x="318" y="324"/>
              </a:cxn>
              <a:cxn ang="0">
                <a:pos x="330" y="318"/>
              </a:cxn>
              <a:cxn ang="0">
                <a:pos x="346" y="328"/>
              </a:cxn>
              <a:cxn ang="0">
                <a:pos x="626" y="390"/>
              </a:cxn>
              <a:cxn ang="0">
                <a:pos x="610" y="386"/>
              </a:cxn>
              <a:cxn ang="0">
                <a:pos x="592" y="372"/>
              </a:cxn>
              <a:cxn ang="0">
                <a:pos x="586" y="350"/>
              </a:cxn>
              <a:cxn ang="0">
                <a:pos x="588" y="334"/>
              </a:cxn>
              <a:cxn ang="0">
                <a:pos x="604" y="316"/>
              </a:cxn>
              <a:cxn ang="0">
                <a:pos x="626" y="308"/>
              </a:cxn>
              <a:cxn ang="0">
                <a:pos x="642" y="312"/>
              </a:cxn>
              <a:cxn ang="0">
                <a:pos x="660" y="326"/>
              </a:cxn>
              <a:cxn ang="0">
                <a:pos x="666" y="350"/>
              </a:cxn>
              <a:cxn ang="0">
                <a:pos x="664" y="366"/>
              </a:cxn>
              <a:cxn ang="0">
                <a:pos x="648" y="384"/>
              </a:cxn>
              <a:cxn ang="0">
                <a:pos x="626" y="390"/>
              </a:cxn>
            </a:cxnLst>
            <a:rect l="0" t="0" r="r" b="b"/>
            <a:pathLst>
              <a:path w="748" h="520">
                <a:moveTo>
                  <a:pt x="26" y="224"/>
                </a:moveTo>
                <a:lnTo>
                  <a:pt x="722" y="224"/>
                </a:lnTo>
                <a:lnTo>
                  <a:pt x="722" y="224"/>
                </a:lnTo>
                <a:lnTo>
                  <a:pt x="728" y="222"/>
                </a:lnTo>
                <a:lnTo>
                  <a:pt x="732" y="218"/>
                </a:lnTo>
                <a:lnTo>
                  <a:pt x="734" y="212"/>
                </a:lnTo>
                <a:lnTo>
                  <a:pt x="732" y="204"/>
                </a:lnTo>
                <a:lnTo>
                  <a:pt x="732" y="204"/>
                </a:lnTo>
                <a:lnTo>
                  <a:pt x="646" y="22"/>
                </a:lnTo>
                <a:lnTo>
                  <a:pt x="646" y="22"/>
                </a:lnTo>
                <a:lnTo>
                  <a:pt x="640" y="14"/>
                </a:lnTo>
                <a:lnTo>
                  <a:pt x="634" y="6"/>
                </a:lnTo>
                <a:lnTo>
                  <a:pt x="626" y="2"/>
                </a:lnTo>
                <a:lnTo>
                  <a:pt x="616" y="0"/>
                </a:lnTo>
                <a:lnTo>
                  <a:pt x="132" y="0"/>
                </a:lnTo>
                <a:lnTo>
                  <a:pt x="132" y="0"/>
                </a:lnTo>
                <a:lnTo>
                  <a:pt x="122" y="2"/>
                </a:lnTo>
                <a:lnTo>
                  <a:pt x="114" y="6"/>
                </a:lnTo>
                <a:lnTo>
                  <a:pt x="108" y="14"/>
                </a:lnTo>
                <a:lnTo>
                  <a:pt x="102" y="22"/>
                </a:lnTo>
                <a:lnTo>
                  <a:pt x="102" y="22"/>
                </a:lnTo>
                <a:lnTo>
                  <a:pt x="14" y="204"/>
                </a:lnTo>
                <a:lnTo>
                  <a:pt x="14" y="204"/>
                </a:lnTo>
                <a:lnTo>
                  <a:pt x="14" y="212"/>
                </a:lnTo>
                <a:lnTo>
                  <a:pt x="16" y="218"/>
                </a:lnTo>
                <a:lnTo>
                  <a:pt x="20" y="222"/>
                </a:lnTo>
                <a:lnTo>
                  <a:pt x="26" y="224"/>
                </a:lnTo>
                <a:lnTo>
                  <a:pt x="26" y="224"/>
                </a:lnTo>
                <a:close/>
                <a:moveTo>
                  <a:pt x="728" y="250"/>
                </a:moveTo>
                <a:lnTo>
                  <a:pt x="20" y="250"/>
                </a:lnTo>
                <a:lnTo>
                  <a:pt x="20" y="250"/>
                </a:lnTo>
                <a:lnTo>
                  <a:pt x="12" y="252"/>
                </a:lnTo>
                <a:lnTo>
                  <a:pt x="6" y="256"/>
                </a:lnTo>
                <a:lnTo>
                  <a:pt x="2" y="264"/>
                </a:lnTo>
                <a:lnTo>
                  <a:pt x="0" y="272"/>
                </a:lnTo>
                <a:lnTo>
                  <a:pt x="0" y="500"/>
                </a:lnTo>
                <a:lnTo>
                  <a:pt x="0" y="500"/>
                </a:lnTo>
                <a:lnTo>
                  <a:pt x="2" y="508"/>
                </a:lnTo>
                <a:lnTo>
                  <a:pt x="6" y="514"/>
                </a:lnTo>
                <a:lnTo>
                  <a:pt x="12" y="518"/>
                </a:lnTo>
                <a:lnTo>
                  <a:pt x="20" y="520"/>
                </a:lnTo>
                <a:lnTo>
                  <a:pt x="728" y="520"/>
                </a:lnTo>
                <a:lnTo>
                  <a:pt x="728" y="520"/>
                </a:lnTo>
                <a:lnTo>
                  <a:pt x="736" y="518"/>
                </a:lnTo>
                <a:lnTo>
                  <a:pt x="742" y="514"/>
                </a:lnTo>
                <a:lnTo>
                  <a:pt x="746" y="508"/>
                </a:lnTo>
                <a:lnTo>
                  <a:pt x="748" y="500"/>
                </a:lnTo>
                <a:lnTo>
                  <a:pt x="748" y="272"/>
                </a:lnTo>
                <a:lnTo>
                  <a:pt x="748" y="272"/>
                </a:lnTo>
                <a:lnTo>
                  <a:pt x="746" y="264"/>
                </a:lnTo>
                <a:lnTo>
                  <a:pt x="742" y="256"/>
                </a:lnTo>
                <a:lnTo>
                  <a:pt x="736" y="252"/>
                </a:lnTo>
                <a:lnTo>
                  <a:pt x="728" y="250"/>
                </a:lnTo>
                <a:lnTo>
                  <a:pt x="728" y="250"/>
                </a:lnTo>
                <a:close/>
                <a:moveTo>
                  <a:pt x="124" y="428"/>
                </a:moveTo>
                <a:lnTo>
                  <a:pt x="124" y="428"/>
                </a:lnTo>
                <a:lnTo>
                  <a:pt x="124" y="436"/>
                </a:lnTo>
                <a:lnTo>
                  <a:pt x="120" y="442"/>
                </a:lnTo>
                <a:lnTo>
                  <a:pt x="114" y="444"/>
                </a:lnTo>
                <a:lnTo>
                  <a:pt x="108" y="446"/>
                </a:lnTo>
                <a:lnTo>
                  <a:pt x="108" y="446"/>
                </a:lnTo>
                <a:lnTo>
                  <a:pt x="102" y="444"/>
                </a:lnTo>
                <a:lnTo>
                  <a:pt x="96" y="442"/>
                </a:lnTo>
                <a:lnTo>
                  <a:pt x="92" y="436"/>
                </a:lnTo>
                <a:lnTo>
                  <a:pt x="90" y="428"/>
                </a:lnTo>
                <a:lnTo>
                  <a:pt x="90" y="336"/>
                </a:lnTo>
                <a:lnTo>
                  <a:pt x="90" y="336"/>
                </a:lnTo>
                <a:lnTo>
                  <a:pt x="92" y="328"/>
                </a:lnTo>
                <a:lnTo>
                  <a:pt x="96" y="324"/>
                </a:lnTo>
                <a:lnTo>
                  <a:pt x="102" y="320"/>
                </a:lnTo>
                <a:lnTo>
                  <a:pt x="108" y="318"/>
                </a:lnTo>
                <a:lnTo>
                  <a:pt x="108" y="318"/>
                </a:lnTo>
                <a:lnTo>
                  <a:pt x="114" y="320"/>
                </a:lnTo>
                <a:lnTo>
                  <a:pt x="120" y="324"/>
                </a:lnTo>
                <a:lnTo>
                  <a:pt x="124" y="328"/>
                </a:lnTo>
                <a:lnTo>
                  <a:pt x="124" y="336"/>
                </a:lnTo>
                <a:lnTo>
                  <a:pt x="124" y="428"/>
                </a:lnTo>
                <a:close/>
                <a:moveTo>
                  <a:pt x="198" y="428"/>
                </a:moveTo>
                <a:lnTo>
                  <a:pt x="198" y="428"/>
                </a:lnTo>
                <a:lnTo>
                  <a:pt x="198" y="436"/>
                </a:lnTo>
                <a:lnTo>
                  <a:pt x="194" y="442"/>
                </a:lnTo>
                <a:lnTo>
                  <a:pt x="188" y="444"/>
                </a:lnTo>
                <a:lnTo>
                  <a:pt x="182" y="446"/>
                </a:lnTo>
                <a:lnTo>
                  <a:pt x="182" y="446"/>
                </a:lnTo>
                <a:lnTo>
                  <a:pt x="176" y="444"/>
                </a:lnTo>
                <a:lnTo>
                  <a:pt x="170" y="442"/>
                </a:lnTo>
                <a:lnTo>
                  <a:pt x="166" y="436"/>
                </a:lnTo>
                <a:lnTo>
                  <a:pt x="164" y="428"/>
                </a:lnTo>
                <a:lnTo>
                  <a:pt x="164" y="336"/>
                </a:lnTo>
                <a:lnTo>
                  <a:pt x="164" y="336"/>
                </a:lnTo>
                <a:lnTo>
                  <a:pt x="166" y="328"/>
                </a:lnTo>
                <a:lnTo>
                  <a:pt x="170" y="324"/>
                </a:lnTo>
                <a:lnTo>
                  <a:pt x="176" y="320"/>
                </a:lnTo>
                <a:lnTo>
                  <a:pt x="182" y="318"/>
                </a:lnTo>
                <a:lnTo>
                  <a:pt x="182" y="318"/>
                </a:lnTo>
                <a:lnTo>
                  <a:pt x="188" y="320"/>
                </a:lnTo>
                <a:lnTo>
                  <a:pt x="194" y="324"/>
                </a:lnTo>
                <a:lnTo>
                  <a:pt x="198" y="328"/>
                </a:lnTo>
                <a:lnTo>
                  <a:pt x="198" y="336"/>
                </a:lnTo>
                <a:lnTo>
                  <a:pt x="198" y="428"/>
                </a:lnTo>
                <a:close/>
                <a:moveTo>
                  <a:pt x="274" y="428"/>
                </a:moveTo>
                <a:lnTo>
                  <a:pt x="274" y="428"/>
                </a:lnTo>
                <a:lnTo>
                  <a:pt x="272" y="436"/>
                </a:lnTo>
                <a:lnTo>
                  <a:pt x="268" y="442"/>
                </a:lnTo>
                <a:lnTo>
                  <a:pt x="262" y="444"/>
                </a:lnTo>
                <a:lnTo>
                  <a:pt x="256" y="446"/>
                </a:lnTo>
                <a:lnTo>
                  <a:pt x="256" y="446"/>
                </a:lnTo>
                <a:lnTo>
                  <a:pt x="250" y="444"/>
                </a:lnTo>
                <a:lnTo>
                  <a:pt x="244" y="442"/>
                </a:lnTo>
                <a:lnTo>
                  <a:pt x="240" y="436"/>
                </a:lnTo>
                <a:lnTo>
                  <a:pt x="240" y="428"/>
                </a:lnTo>
                <a:lnTo>
                  <a:pt x="240" y="336"/>
                </a:lnTo>
                <a:lnTo>
                  <a:pt x="240" y="336"/>
                </a:lnTo>
                <a:lnTo>
                  <a:pt x="240" y="328"/>
                </a:lnTo>
                <a:lnTo>
                  <a:pt x="244" y="324"/>
                </a:lnTo>
                <a:lnTo>
                  <a:pt x="250" y="320"/>
                </a:lnTo>
                <a:lnTo>
                  <a:pt x="256" y="318"/>
                </a:lnTo>
                <a:lnTo>
                  <a:pt x="256" y="318"/>
                </a:lnTo>
                <a:lnTo>
                  <a:pt x="262" y="320"/>
                </a:lnTo>
                <a:lnTo>
                  <a:pt x="268" y="324"/>
                </a:lnTo>
                <a:lnTo>
                  <a:pt x="272" y="328"/>
                </a:lnTo>
                <a:lnTo>
                  <a:pt x="274" y="336"/>
                </a:lnTo>
                <a:lnTo>
                  <a:pt x="274" y="428"/>
                </a:lnTo>
                <a:close/>
                <a:moveTo>
                  <a:pt x="348" y="428"/>
                </a:moveTo>
                <a:lnTo>
                  <a:pt x="348" y="428"/>
                </a:lnTo>
                <a:lnTo>
                  <a:pt x="346" y="436"/>
                </a:lnTo>
                <a:lnTo>
                  <a:pt x="342" y="442"/>
                </a:lnTo>
                <a:lnTo>
                  <a:pt x="338" y="444"/>
                </a:lnTo>
                <a:lnTo>
                  <a:pt x="330" y="446"/>
                </a:lnTo>
                <a:lnTo>
                  <a:pt x="330" y="446"/>
                </a:lnTo>
                <a:lnTo>
                  <a:pt x="324" y="444"/>
                </a:lnTo>
                <a:lnTo>
                  <a:pt x="318" y="442"/>
                </a:lnTo>
                <a:lnTo>
                  <a:pt x="314" y="436"/>
                </a:lnTo>
                <a:lnTo>
                  <a:pt x="314" y="428"/>
                </a:lnTo>
                <a:lnTo>
                  <a:pt x="314" y="336"/>
                </a:lnTo>
                <a:lnTo>
                  <a:pt x="314" y="336"/>
                </a:lnTo>
                <a:lnTo>
                  <a:pt x="314" y="328"/>
                </a:lnTo>
                <a:lnTo>
                  <a:pt x="318" y="324"/>
                </a:lnTo>
                <a:lnTo>
                  <a:pt x="324" y="320"/>
                </a:lnTo>
                <a:lnTo>
                  <a:pt x="330" y="318"/>
                </a:lnTo>
                <a:lnTo>
                  <a:pt x="330" y="318"/>
                </a:lnTo>
                <a:lnTo>
                  <a:pt x="338" y="320"/>
                </a:lnTo>
                <a:lnTo>
                  <a:pt x="342" y="324"/>
                </a:lnTo>
                <a:lnTo>
                  <a:pt x="346" y="328"/>
                </a:lnTo>
                <a:lnTo>
                  <a:pt x="348" y="336"/>
                </a:lnTo>
                <a:lnTo>
                  <a:pt x="348" y="428"/>
                </a:lnTo>
                <a:close/>
                <a:moveTo>
                  <a:pt x="626" y="390"/>
                </a:moveTo>
                <a:lnTo>
                  <a:pt x="626" y="390"/>
                </a:lnTo>
                <a:lnTo>
                  <a:pt x="618" y="390"/>
                </a:lnTo>
                <a:lnTo>
                  <a:pt x="610" y="386"/>
                </a:lnTo>
                <a:lnTo>
                  <a:pt x="604" y="384"/>
                </a:lnTo>
                <a:lnTo>
                  <a:pt x="598" y="378"/>
                </a:lnTo>
                <a:lnTo>
                  <a:pt x="592" y="372"/>
                </a:lnTo>
                <a:lnTo>
                  <a:pt x="588" y="366"/>
                </a:lnTo>
                <a:lnTo>
                  <a:pt x="586" y="358"/>
                </a:lnTo>
                <a:lnTo>
                  <a:pt x="586" y="350"/>
                </a:lnTo>
                <a:lnTo>
                  <a:pt x="586" y="350"/>
                </a:lnTo>
                <a:lnTo>
                  <a:pt x="586" y="342"/>
                </a:lnTo>
                <a:lnTo>
                  <a:pt x="588" y="334"/>
                </a:lnTo>
                <a:lnTo>
                  <a:pt x="592" y="326"/>
                </a:lnTo>
                <a:lnTo>
                  <a:pt x="598" y="320"/>
                </a:lnTo>
                <a:lnTo>
                  <a:pt x="604" y="316"/>
                </a:lnTo>
                <a:lnTo>
                  <a:pt x="610" y="312"/>
                </a:lnTo>
                <a:lnTo>
                  <a:pt x="618" y="310"/>
                </a:lnTo>
                <a:lnTo>
                  <a:pt x="626" y="308"/>
                </a:lnTo>
                <a:lnTo>
                  <a:pt x="626" y="308"/>
                </a:lnTo>
                <a:lnTo>
                  <a:pt x="634" y="310"/>
                </a:lnTo>
                <a:lnTo>
                  <a:pt x="642" y="312"/>
                </a:lnTo>
                <a:lnTo>
                  <a:pt x="648" y="316"/>
                </a:lnTo>
                <a:lnTo>
                  <a:pt x="654" y="320"/>
                </a:lnTo>
                <a:lnTo>
                  <a:pt x="660" y="326"/>
                </a:lnTo>
                <a:lnTo>
                  <a:pt x="664" y="334"/>
                </a:lnTo>
                <a:lnTo>
                  <a:pt x="666" y="342"/>
                </a:lnTo>
                <a:lnTo>
                  <a:pt x="666" y="350"/>
                </a:lnTo>
                <a:lnTo>
                  <a:pt x="666" y="350"/>
                </a:lnTo>
                <a:lnTo>
                  <a:pt x="666" y="358"/>
                </a:lnTo>
                <a:lnTo>
                  <a:pt x="664" y="366"/>
                </a:lnTo>
                <a:lnTo>
                  <a:pt x="660" y="372"/>
                </a:lnTo>
                <a:lnTo>
                  <a:pt x="654" y="378"/>
                </a:lnTo>
                <a:lnTo>
                  <a:pt x="648" y="384"/>
                </a:lnTo>
                <a:lnTo>
                  <a:pt x="642" y="386"/>
                </a:lnTo>
                <a:lnTo>
                  <a:pt x="634" y="390"/>
                </a:lnTo>
                <a:lnTo>
                  <a:pt x="626" y="390"/>
                </a:lnTo>
                <a:lnTo>
                  <a:pt x="626" y="390"/>
                </a:lnTo>
                <a:close/>
              </a:path>
            </a:pathLst>
          </a:custGeom>
          <a:solidFill>
            <a:srgbClr val="0099CC"/>
          </a:solidFill>
          <a:ln w="9525">
            <a:noFill/>
            <a:round/>
          </a:ln>
        </p:spPr>
        <p:txBody>
          <a:bodyPr vert="horz" wrap="square" lIns="68598" tIns="34299" rIns="68598" bIns="34299" numCol="1" anchor="t" anchorCtr="0" compatLnSpc="1"/>
          <a:lstStyle/>
          <a:p>
            <a:endParaRPr lang="zh-CN" altLang="en-US" sz="135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5" name="Freeform 20"/>
          <p:cNvSpPr>
            <a:spLocks noEditPoints="1"/>
          </p:cNvSpPr>
          <p:nvPr>
            <p:custDataLst>
              <p:tags r:id="rId17"/>
            </p:custDataLst>
          </p:nvPr>
        </p:nvSpPr>
        <p:spPr bwMode="auto">
          <a:xfrm>
            <a:off x="5860109" y="4802276"/>
            <a:ext cx="1576886" cy="492623"/>
          </a:xfrm>
          <a:custGeom>
            <a:avLst/>
            <a:gdLst/>
            <a:ahLst/>
            <a:cxnLst>
              <a:cxn ang="0">
                <a:pos x="722" y="224"/>
              </a:cxn>
              <a:cxn ang="0">
                <a:pos x="734" y="212"/>
              </a:cxn>
              <a:cxn ang="0">
                <a:pos x="646" y="22"/>
              </a:cxn>
              <a:cxn ang="0">
                <a:pos x="634" y="6"/>
              </a:cxn>
              <a:cxn ang="0">
                <a:pos x="132" y="0"/>
              </a:cxn>
              <a:cxn ang="0">
                <a:pos x="114" y="6"/>
              </a:cxn>
              <a:cxn ang="0">
                <a:pos x="102" y="22"/>
              </a:cxn>
              <a:cxn ang="0">
                <a:pos x="14" y="212"/>
              </a:cxn>
              <a:cxn ang="0">
                <a:pos x="26" y="224"/>
              </a:cxn>
              <a:cxn ang="0">
                <a:pos x="20" y="250"/>
              </a:cxn>
              <a:cxn ang="0">
                <a:pos x="6" y="256"/>
              </a:cxn>
              <a:cxn ang="0">
                <a:pos x="0" y="500"/>
              </a:cxn>
              <a:cxn ang="0">
                <a:pos x="6" y="514"/>
              </a:cxn>
              <a:cxn ang="0">
                <a:pos x="728" y="520"/>
              </a:cxn>
              <a:cxn ang="0">
                <a:pos x="742" y="514"/>
              </a:cxn>
              <a:cxn ang="0">
                <a:pos x="748" y="272"/>
              </a:cxn>
              <a:cxn ang="0">
                <a:pos x="742" y="256"/>
              </a:cxn>
              <a:cxn ang="0">
                <a:pos x="728" y="250"/>
              </a:cxn>
              <a:cxn ang="0">
                <a:pos x="124" y="436"/>
              </a:cxn>
              <a:cxn ang="0">
                <a:pos x="108" y="446"/>
              </a:cxn>
              <a:cxn ang="0">
                <a:pos x="96" y="442"/>
              </a:cxn>
              <a:cxn ang="0">
                <a:pos x="90" y="336"/>
              </a:cxn>
              <a:cxn ang="0">
                <a:pos x="96" y="324"/>
              </a:cxn>
              <a:cxn ang="0">
                <a:pos x="108" y="318"/>
              </a:cxn>
              <a:cxn ang="0">
                <a:pos x="124" y="328"/>
              </a:cxn>
              <a:cxn ang="0">
                <a:pos x="198" y="428"/>
              </a:cxn>
              <a:cxn ang="0">
                <a:pos x="194" y="442"/>
              </a:cxn>
              <a:cxn ang="0">
                <a:pos x="182" y="446"/>
              </a:cxn>
              <a:cxn ang="0">
                <a:pos x="166" y="436"/>
              </a:cxn>
              <a:cxn ang="0">
                <a:pos x="164" y="336"/>
              </a:cxn>
              <a:cxn ang="0">
                <a:pos x="176" y="320"/>
              </a:cxn>
              <a:cxn ang="0">
                <a:pos x="188" y="320"/>
              </a:cxn>
              <a:cxn ang="0">
                <a:pos x="198" y="336"/>
              </a:cxn>
              <a:cxn ang="0">
                <a:pos x="274" y="428"/>
              </a:cxn>
              <a:cxn ang="0">
                <a:pos x="262" y="444"/>
              </a:cxn>
              <a:cxn ang="0">
                <a:pos x="250" y="444"/>
              </a:cxn>
              <a:cxn ang="0">
                <a:pos x="240" y="428"/>
              </a:cxn>
              <a:cxn ang="0">
                <a:pos x="240" y="328"/>
              </a:cxn>
              <a:cxn ang="0">
                <a:pos x="256" y="318"/>
              </a:cxn>
              <a:cxn ang="0">
                <a:pos x="268" y="324"/>
              </a:cxn>
              <a:cxn ang="0">
                <a:pos x="274" y="428"/>
              </a:cxn>
              <a:cxn ang="0">
                <a:pos x="346" y="436"/>
              </a:cxn>
              <a:cxn ang="0">
                <a:pos x="330" y="446"/>
              </a:cxn>
              <a:cxn ang="0">
                <a:pos x="318" y="442"/>
              </a:cxn>
              <a:cxn ang="0">
                <a:pos x="314" y="336"/>
              </a:cxn>
              <a:cxn ang="0">
                <a:pos x="318" y="324"/>
              </a:cxn>
              <a:cxn ang="0">
                <a:pos x="330" y="318"/>
              </a:cxn>
              <a:cxn ang="0">
                <a:pos x="346" y="328"/>
              </a:cxn>
              <a:cxn ang="0">
                <a:pos x="626" y="390"/>
              </a:cxn>
              <a:cxn ang="0">
                <a:pos x="610" y="386"/>
              </a:cxn>
              <a:cxn ang="0">
                <a:pos x="592" y="372"/>
              </a:cxn>
              <a:cxn ang="0">
                <a:pos x="586" y="350"/>
              </a:cxn>
              <a:cxn ang="0">
                <a:pos x="588" y="334"/>
              </a:cxn>
              <a:cxn ang="0">
                <a:pos x="604" y="316"/>
              </a:cxn>
              <a:cxn ang="0">
                <a:pos x="626" y="308"/>
              </a:cxn>
              <a:cxn ang="0">
                <a:pos x="642" y="312"/>
              </a:cxn>
              <a:cxn ang="0">
                <a:pos x="660" y="326"/>
              </a:cxn>
              <a:cxn ang="0">
                <a:pos x="666" y="350"/>
              </a:cxn>
              <a:cxn ang="0">
                <a:pos x="664" y="366"/>
              </a:cxn>
              <a:cxn ang="0">
                <a:pos x="648" y="384"/>
              </a:cxn>
              <a:cxn ang="0">
                <a:pos x="626" y="390"/>
              </a:cxn>
            </a:cxnLst>
            <a:rect l="0" t="0" r="r" b="b"/>
            <a:pathLst>
              <a:path w="748" h="520">
                <a:moveTo>
                  <a:pt x="26" y="224"/>
                </a:moveTo>
                <a:lnTo>
                  <a:pt x="722" y="224"/>
                </a:lnTo>
                <a:lnTo>
                  <a:pt x="722" y="224"/>
                </a:lnTo>
                <a:lnTo>
                  <a:pt x="728" y="222"/>
                </a:lnTo>
                <a:lnTo>
                  <a:pt x="732" y="218"/>
                </a:lnTo>
                <a:lnTo>
                  <a:pt x="734" y="212"/>
                </a:lnTo>
                <a:lnTo>
                  <a:pt x="732" y="204"/>
                </a:lnTo>
                <a:lnTo>
                  <a:pt x="732" y="204"/>
                </a:lnTo>
                <a:lnTo>
                  <a:pt x="646" y="22"/>
                </a:lnTo>
                <a:lnTo>
                  <a:pt x="646" y="22"/>
                </a:lnTo>
                <a:lnTo>
                  <a:pt x="640" y="14"/>
                </a:lnTo>
                <a:lnTo>
                  <a:pt x="634" y="6"/>
                </a:lnTo>
                <a:lnTo>
                  <a:pt x="626" y="2"/>
                </a:lnTo>
                <a:lnTo>
                  <a:pt x="616" y="0"/>
                </a:lnTo>
                <a:lnTo>
                  <a:pt x="132" y="0"/>
                </a:lnTo>
                <a:lnTo>
                  <a:pt x="132" y="0"/>
                </a:lnTo>
                <a:lnTo>
                  <a:pt x="122" y="2"/>
                </a:lnTo>
                <a:lnTo>
                  <a:pt x="114" y="6"/>
                </a:lnTo>
                <a:lnTo>
                  <a:pt x="108" y="14"/>
                </a:lnTo>
                <a:lnTo>
                  <a:pt x="102" y="22"/>
                </a:lnTo>
                <a:lnTo>
                  <a:pt x="102" y="22"/>
                </a:lnTo>
                <a:lnTo>
                  <a:pt x="14" y="204"/>
                </a:lnTo>
                <a:lnTo>
                  <a:pt x="14" y="204"/>
                </a:lnTo>
                <a:lnTo>
                  <a:pt x="14" y="212"/>
                </a:lnTo>
                <a:lnTo>
                  <a:pt x="16" y="218"/>
                </a:lnTo>
                <a:lnTo>
                  <a:pt x="20" y="222"/>
                </a:lnTo>
                <a:lnTo>
                  <a:pt x="26" y="224"/>
                </a:lnTo>
                <a:lnTo>
                  <a:pt x="26" y="224"/>
                </a:lnTo>
                <a:close/>
                <a:moveTo>
                  <a:pt x="728" y="250"/>
                </a:moveTo>
                <a:lnTo>
                  <a:pt x="20" y="250"/>
                </a:lnTo>
                <a:lnTo>
                  <a:pt x="20" y="250"/>
                </a:lnTo>
                <a:lnTo>
                  <a:pt x="12" y="252"/>
                </a:lnTo>
                <a:lnTo>
                  <a:pt x="6" y="256"/>
                </a:lnTo>
                <a:lnTo>
                  <a:pt x="2" y="264"/>
                </a:lnTo>
                <a:lnTo>
                  <a:pt x="0" y="272"/>
                </a:lnTo>
                <a:lnTo>
                  <a:pt x="0" y="500"/>
                </a:lnTo>
                <a:lnTo>
                  <a:pt x="0" y="500"/>
                </a:lnTo>
                <a:lnTo>
                  <a:pt x="2" y="508"/>
                </a:lnTo>
                <a:lnTo>
                  <a:pt x="6" y="514"/>
                </a:lnTo>
                <a:lnTo>
                  <a:pt x="12" y="518"/>
                </a:lnTo>
                <a:lnTo>
                  <a:pt x="20" y="520"/>
                </a:lnTo>
                <a:lnTo>
                  <a:pt x="728" y="520"/>
                </a:lnTo>
                <a:lnTo>
                  <a:pt x="728" y="520"/>
                </a:lnTo>
                <a:lnTo>
                  <a:pt x="736" y="518"/>
                </a:lnTo>
                <a:lnTo>
                  <a:pt x="742" y="514"/>
                </a:lnTo>
                <a:lnTo>
                  <a:pt x="746" y="508"/>
                </a:lnTo>
                <a:lnTo>
                  <a:pt x="748" y="500"/>
                </a:lnTo>
                <a:lnTo>
                  <a:pt x="748" y="272"/>
                </a:lnTo>
                <a:lnTo>
                  <a:pt x="748" y="272"/>
                </a:lnTo>
                <a:lnTo>
                  <a:pt x="746" y="264"/>
                </a:lnTo>
                <a:lnTo>
                  <a:pt x="742" y="256"/>
                </a:lnTo>
                <a:lnTo>
                  <a:pt x="736" y="252"/>
                </a:lnTo>
                <a:lnTo>
                  <a:pt x="728" y="250"/>
                </a:lnTo>
                <a:lnTo>
                  <a:pt x="728" y="250"/>
                </a:lnTo>
                <a:close/>
                <a:moveTo>
                  <a:pt x="124" y="428"/>
                </a:moveTo>
                <a:lnTo>
                  <a:pt x="124" y="428"/>
                </a:lnTo>
                <a:lnTo>
                  <a:pt x="124" y="436"/>
                </a:lnTo>
                <a:lnTo>
                  <a:pt x="120" y="442"/>
                </a:lnTo>
                <a:lnTo>
                  <a:pt x="114" y="444"/>
                </a:lnTo>
                <a:lnTo>
                  <a:pt x="108" y="446"/>
                </a:lnTo>
                <a:lnTo>
                  <a:pt x="108" y="446"/>
                </a:lnTo>
                <a:lnTo>
                  <a:pt x="102" y="444"/>
                </a:lnTo>
                <a:lnTo>
                  <a:pt x="96" y="442"/>
                </a:lnTo>
                <a:lnTo>
                  <a:pt x="92" y="436"/>
                </a:lnTo>
                <a:lnTo>
                  <a:pt x="90" y="428"/>
                </a:lnTo>
                <a:lnTo>
                  <a:pt x="90" y="336"/>
                </a:lnTo>
                <a:lnTo>
                  <a:pt x="90" y="336"/>
                </a:lnTo>
                <a:lnTo>
                  <a:pt x="92" y="328"/>
                </a:lnTo>
                <a:lnTo>
                  <a:pt x="96" y="324"/>
                </a:lnTo>
                <a:lnTo>
                  <a:pt x="102" y="320"/>
                </a:lnTo>
                <a:lnTo>
                  <a:pt x="108" y="318"/>
                </a:lnTo>
                <a:lnTo>
                  <a:pt x="108" y="318"/>
                </a:lnTo>
                <a:lnTo>
                  <a:pt x="114" y="320"/>
                </a:lnTo>
                <a:lnTo>
                  <a:pt x="120" y="324"/>
                </a:lnTo>
                <a:lnTo>
                  <a:pt x="124" y="328"/>
                </a:lnTo>
                <a:lnTo>
                  <a:pt x="124" y="336"/>
                </a:lnTo>
                <a:lnTo>
                  <a:pt x="124" y="428"/>
                </a:lnTo>
                <a:close/>
                <a:moveTo>
                  <a:pt x="198" y="428"/>
                </a:moveTo>
                <a:lnTo>
                  <a:pt x="198" y="428"/>
                </a:lnTo>
                <a:lnTo>
                  <a:pt x="198" y="436"/>
                </a:lnTo>
                <a:lnTo>
                  <a:pt x="194" y="442"/>
                </a:lnTo>
                <a:lnTo>
                  <a:pt x="188" y="444"/>
                </a:lnTo>
                <a:lnTo>
                  <a:pt x="182" y="446"/>
                </a:lnTo>
                <a:lnTo>
                  <a:pt x="182" y="446"/>
                </a:lnTo>
                <a:lnTo>
                  <a:pt x="176" y="444"/>
                </a:lnTo>
                <a:lnTo>
                  <a:pt x="170" y="442"/>
                </a:lnTo>
                <a:lnTo>
                  <a:pt x="166" y="436"/>
                </a:lnTo>
                <a:lnTo>
                  <a:pt x="164" y="428"/>
                </a:lnTo>
                <a:lnTo>
                  <a:pt x="164" y="336"/>
                </a:lnTo>
                <a:lnTo>
                  <a:pt x="164" y="336"/>
                </a:lnTo>
                <a:lnTo>
                  <a:pt x="166" y="328"/>
                </a:lnTo>
                <a:lnTo>
                  <a:pt x="170" y="324"/>
                </a:lnTo>
                <a:lnTo>
                  <a:pt x="176" y="320"/>
                </a:lnTo>
                <a:lnTo>
                  <a:pt x="182" y="318"/>
                </a:lnTo>
                <a:lnTo>
                  <a:pt x="182" y="318"/>
                </a:lnTo>
                <a:lnTo>
                  <a:pt x="188" y="320"/>
                </a:lnTo>
                <a:lnTo>
                  <a:pt x="194" y="324"/>
                </a:lnTo>
                <a:lnTo>
                  <a:pt x="198" y="328"/>
                </a:lnTo>
                <a:lnTo>
                  <a:pt x="198" y="336"/>
                </a:lnTo>
                <a:lnTo>
                  <a:pt x="198" y="428"/>
                </a:lnTo>
                <a:close/>
                <a:moveTo>
                  <a:pt x="274" y="428"/>
                </a:moveTo>
                <a:lnTo>
                  <a:pt x="274" y="428"/>
                </a:lnTo>
                <a:lnTo>
                  <a:pt x="272" y="436"/>
                </a:lnTo>
                <a:lnTo>
                  <a:pt x="268" y="442"/>
                </a:lnTo>
                <a:lnTo>
                  <a:pt x="262" y="444"/>
                </a:lnTo>
                <a:lnTo>
                  <a:pt x="256" y="446"/>
                </a:lnTo>
                <a:lnTo>
                  <a:pt x="256" y="446"/>
                </a:lnTo>
                <a:lnTo>
                  <a:pt x="250" y="444"/>
                </a:lnTo>
                <a:lnTo>
                  <a:pt x="244" y="442"/>
                </a:lnTo>
                <a:lnTo>
                  <a:pt x="240" y="436"/>
                </a:lnTo>
                <a:lnTo>
                  <a:pt x="240" y="428"/>
                </a:lnTo>
                <a:lnTo>
                  <a:pt x="240" y="336"/>
                </a:lnTo>
                <a:lnTo>
                  <a:pt x="240" y="336"/>
                </a:lnTo>
                <a:lnTo>
                  <a:pt x="240" y="328"/>
                </a:lnTo>
                <a:lnTo>
                  <a:pt x="244" y="324"/>
                </a:lnTo>
                <a:lnTo>
                  <a:pt x="250" y="320"/>
                </a:lnTo>
                <a:lnTo>
                  <a:pt x="256" y="318"/>
                </a:lnTo>
                <a:lnTo>
                  <a:pt x="256" y="318"/>
                </a:lnTo>
                <a:lnTo>
                  <a:pt x="262" y="320"/>
                </a:lnTo>
                <a:lnTo>
                  <a:pt x="268" y="324"/>
                </a:lnTo>
                <a:lnTo>
                  <a:pt x="272" y="328"/>
                </a:lnTo>
                <a:lnTo>
                  <a:pt x="274" y="336"/>
                </a:lnTo>
                <a:lnTo>
                  <a:pt x="274" y="428"/>
                </a:lnTo>
                <a:close/>
                <a:moveTo>
                  <a:pt x="348" y="428"/>
                </a:moveTo>
                <a:lnTo>
                  <a:pt x="348" y="428"/>
                </a:lnTo>
                <a:lnTo>
                  <a:pt x="346" y="436"/>
                </a:lnTo>
                <a:lnTo>
                  <a:pt x="342" y="442"/>
                </a:lnTo>
                <a:lnTo>
                  <a:pt x="338" y="444"/>
                </a:lnTo>
                <a:lnTo>
                  <a:pt x="330" y="446"/>
                </a:lnTo>
                <a:lnTo>
                  <a:pt x="330" y="446"/>
                </a:lnTo>
                <a:lnTo>
                  <a:pt x="324" y="444"/>
                </a:lnTo>
                <a:lnTo>
                  <a:pt x="318" y="442"/>
                </a:lnTo>
                <a:lnTo>
                  <a:pt x="314" y="436"/>
                </a:lnTo>
                <a:lnTo>
                  <a:pt x="314" y="428"/>
                </a:lnTo>
                <a:lnTo>
                  <a:pt x="314" y="336"/>
                </a:lnTo>
                <a:lnTo>
                  <a:pt x="314" y="336"/>
                </a:lnTo>
                <a:lnTo>
                  <a:pt x="314" y="328"/>
                </a:lnTo>
                <a:lnTo>
                  <a:pt x="318" y="324"/>
                </a:lnTo>
                <a:lnTo>
                  <a:pt x="324" y="320"/>
                </a:lnTo>
                <a:lnTo>
                  <a:pt x="330" y="318"/>
                </a:lnTo>
                <a:lnTo>
                  <a:pt x="330" y="318"/>
                </a:lnTo>
                <a:lnTo>
                  <a:pt x="338" y="320"/>
                </a:lnTo>
                <a:lnTo>
                  <a:pt x="342" y="324"/>
                </a:lnTo>
                <a:lnTo>
                  <a:pt x="346" y="328"/>
                </a:lnTo>
                <a:lnTo>
                  <a:pt x="348" y="336"/>
                </a:lnTo>
                <a:lnTo>
                  <a:pt x="348" y="428"/>
                </a:lnTo>
                <a:close/>
                <a:moveTo>
                  <a:pt x="626" y="390"/>
                </a:moveTo>
                <a:lnTo>
                  <a:pt x="626" y="390"/>
                </a:lnTo>
                <a:lnTo>
                  <a:pt x="618" y="390"/>
                </a:lnTo>
                <a:lnTo>
                  <a:pt x="610" y="386"/>
                </a:lnTo>
                <a:lnTo>
                  <a:pt x="604" y="384"/>
                </a:lnTo>
                <a:lnTo>
                  <a:pt x="598" y="378"/>
                </a:lnTo>
                <a:lnTo>
                  <a:pt x="592" y="372"/>
                </a:lnTo>
                <a:lnTo>
                  <a:pt x="588" y="366"/>
                </a:lnTo>
                <a:lnTo>
                  <a:pt x="586" y="358"/>
                </a:lnTo>
                <a:lnTo>
                  <a:pt x="586" y="350"/>
                </a:lnTo>
                <a:lnTo>
                  <a:pt x="586" y="350"/>
                </a:lnTo>
                <a:lnTo>
                  <a:pt x="586" y="342"/>
                </a:lnTo>
                <a:lnTo>
                  <a:pt x="588" y="334"/>
                </a:lnTo>
                <a:lnTo>
                  <a:pt x="592" y="326"/>
                </a:lnTo>
                <a:lnTo>
                  <a:pt x="598" y="320"/>
                </a:lnTo>
                <a:lnTo>
                  <a:pt x="604" y="316"/>
                </a:lnTo>
                <a:lnTo>
                  <a:pt x="610" y="312"/>
                </a:lnTo>
                <a:lnTo>
                  <a:pt x="618" y="310"/>
                </a:lnTo>
                <a:lnTo>
                  <a:pt x="626" y="308"/>
                </a:lnTo>
                <a:lnTo>
                  <a:pt x="626" y="308"/>
                </a:lnTo>
                <a:lnTo>
                  <a:pt x="634" y="310"/>
                </a:lnTo>
                <a:lnTo>
                  <a:pt x="642" y="312"/>
                </a:lnTo>
                <a:lnTo>
                  <a:pt x="648" y="316"/>
                </a:lnTo>
                <a:lnTo>
                  <a:pt x="654" y="320"/>
                </a:lnTo>
                <a:lnTo>
                  <a:pt x="660" y="326"/>
                </a:lnTo>
                <a:lnTo>
                  <a:pt x="664" y="334"/>
                </a:lnTo>
                <a:lnTo>
                  <a:pt x="666" y="342"/>
                </a:lnTo>
                <a:lnTo>
                  <a:pt x="666" y="350"/>
                </a:lnTo>
                <a:lnTo>
                  <a:pt x="666" y="350"/>
                </a:lnTo>
                <a:lnTo>
                  <a:pt x="666" y="358"/>
                </a:lnTo>
                <a:lnTo>
                  <a:pt x="664" y="366"/>
                </a:lnTo>
                <a:lnTo>
                  <a:pt x="660" y="372"/>
                </a:lnTo>
                <a:lnTo>
                  <a:pt x="654" y="378"/>
                </a:lnTo>
                <a:lnTo>
                  <a:pt x="648" y="384"/>
                </a:lnTo>
                <a:lnTo>
                  <a:pt x="642" y="386"/>
                </a:lnTo>
                <a:lnTo>
                  <a:pt x="634" y="390"/>
                </a:lnTo>
                <a:lnTo>
                  <a:pt x="626" y="390"/>
                </a:lnTo>
                <a:lnTo>
                  <a:pt x="626" y="390"/>
                </a:lnTo>
                <a:close/>
              </a:path>
            </a:pathLst>
          </a:custGeom>
          <a:solidFill>
            <a:srgbClr val="0099CC"/>
          </a:solidFill>
          <a:ln w="9525">
            <a:noFill/>
            <a:round/>
          </a:ln>
        </p:spPr>
        <p:txBody>
          <a:bodyPr vert="horz" wrap="square" lIns="68598" tIns="34299" rIns="68598" bIns="34299" numCol="1" anchor="t" anchorCtr="0" compatLnSpc="1"/>
          <a:lstStyle/>
          <a:p>
            <a:endParaRPr lang="zh-CN" altLang="en-US" sz="135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6" name="Freeform 14"/>
          <p:cNvSpPr>
            <a:spLocks noEditPoints="1"/>
          </p:cNvSpPr>
          <p:nvPr>
            <p:custDataLst>
              <p:tags r:id="rId18"/>
            </p:custDataLst>
          </p:nvPr>
        </p:nvSpPr>
        <p:spPr bwMode="auto">
          <a:xfrm>
            <a:off x="4012681" y="3305806"/>
            <a:ext cx="1576886" cy="196208"/>
          </a:xfrm>
          <a:custGeom>
            <a:avLst/>
            <a:gdLst/>
            <a:ahLst/>
            <a:cxnLst>
              <a:cxn ang="0">
                <a:pos x="15920" y="15"/>
              </a:cxn>
              <a:cxn ang="0">
                <a:pos x="16066" y="82"/>
              </a:cxn>
              <a:cxn ang="0">
                <a:pos x="16180" y="191"/>
              </a:cxn>
              <a:cxn ang="0">
                <a:pos x="16254" y="333"/>
              </a:cxn>
              <a:cxn ang="0">
                <a:pos x="16275" y="1979"/>
              </a:cxn>
              <a:cxn ang="0">
                <a:pos x="16247" y="2142"/>
              </a:cxn>
              <a:cxn ang="0">
                <a:pos x="16166" y="2279"/>
              </a:cxn>
              <a:cxn ang="0">
                <a:pos x="16047" y="2384"/>
              </a:cxn>
              <a:cxn ang="0">
                <a:pos x="15897" y="2443"/>
              </a:cxn>
              <a:cxn ang="0">
                <a:pos x="425" y="2450"/>
              </a:cxn>
              <a:cxn ang="0">
                <a:pos x="269" y="2406"/>
              </a:cxn>
              <a:cxn ang="0">
                <a:pos x="139" y="2313"/>
              </a:cxn>
              <a:cxn ang="0">
                <a:pos x="47" y="2184"/>
              </a:cxn>
              <a:cxn ang="0">
                <a:pos x="2" y="2027"/>
              </a:cxn>
              <a:cxn ang="0">
                <a:pos x="9" y="379"/>
              </a:cxn>
              <a:cxn ang="0">
                <a:pos x="68" y="228"/>
              </a:cxn>
              <a:cxn ang="0">
                <a:pos x="173" y="109"/>
              </a:cxn>
              <a:cxn ang="0">
                <a:pos x="310" y="29"/>
              </a:cxn>
              <a:cxn ang="0">
                <a:pos x="473" y="0"/>
              </a:cxn>
              <a:cxn ang="0">
                <a:pos x="3118" y="686"/>
              </a:cxn>
              <a:cxn ang="0">
                <a:pos x="3301" y="780"/>
              </a:cxn>
              <a:cxn ang="0">
                <a:pos x="3442" y="928"/>
              </a:cxn>
              <a:cxn ang="0">
                <a:pos x="3528" y="1118"/>
              </a:cxn>
              <a:cxn ang="0">
                <a:pos x="3544" y="1333"/>
              </a:cxn>
              <a:cxn ang="0">
                <a:pos x="3487" y="1535"/>
              </a:cxn>
              <a:cxn ang="0">
                <a:pos x="3368" y="1703"/>
              </a:cxn>
              <a:cxn ang="0">
                <a:pos x="3200" y="1822"/>
              </a:cxn>
              <a:cxn ang="0">
                <a:pos x="2999" y="1879"/>
              </a:cxn>
              <a:cxn ang="0">
                <a:pos x="2784" y="1863"/>
              </a:cxn>
              <a:cxn ang="0">
                <a:pos x="2595" y="1778"/>
              </a:cxn>
              <a:cxn ang="0">
                <a:pos x="2446" y="1636"/>
              </a:cxn>
              <a:cxn ang="0">
                <a:pos x="2353" y="1452"/>
              </a:cxn>
              <a:cxn ang="0">
                <a:pos x="2326" y="1239"/>
              </a:cxn>
              <a:cxn ang="0">
                <a:pos x="2373" y="1032"/>
              </a:cxn>
              <a:cxn ang="0">
                <a:pos x="2484" y="859"/>
              </a:cxn>
              <a:cxn ang="0">
                <a:pos x="2646" y="733"/>
              </a:cxn>
              <a:cxn ang="0">
                <a:pos x="2843" y="665"/>
              </a:cxn>
              <a:cxn ang="0">
                <a:pos x="14482" y="476"/>
              </a:cxn>
              <a:cxn ang="0">
                <a:pos x="14578" y="503"/>
              </a:cxn>
              <a:cxn ang="0">
                <a:pos x="14659" y="560"/>
              </a:cxn>
              <a:cxn ang="0">
                <a:pos x="14716" y="640"/>
              </a:cxn>
              <a:cxn ang="0">
                <a:pos x="14743" y="737"/>
              </a:cxn>
              <a:cxn ang="0">
                <a:pos x="14739" y="1758"/>
              </a:cxn>
              <a:cxn ang="0">
                <a:pos x="14702" y="1850"/>
              </a:cxn>
              <a:cxn ang="0">
                <a:pos x="14638" y="1925"/>
              </a:cxn>
              <a:cxn ang="0">
                <a:pos x="14553" y="1974"/>
              </a:cxn>
              <a:cxn ang="0">
                <a:pos x="14452" y="1991"/>
              </a:cxn>
              <a:cxn ang="0">
                <a:pos x="7495" y="1979"/>
              </a:cxn>
              <a:cxn ang="0">
                <a:pos x="7407" y="1933"/>
              </a:cxn>
              <a:cxn ang="0">
                <a:pos x="7339" y="1862"/>
              </a:cxn>
              <a:cxn ang="0">
                <a:pos x="7298" y="1772"/>
              </a:cxn>
              <a:cxn ang="0">
                <a:pos x="7289" y="752"/>
              </a:cxn>
              <a:cxn ang="0">
                <a:pos x="7312" y="653"/>
              </a:cxn>
              <a:cxn ang="0">
                <a:pos x="7365" y="571"/>
              </a:cxn>
              <a:cxn ang="0">
                <a:pos x="7443" y="509"/>
              </a:cxn>
              <a:cxn ang="0">
                <a:pos x="7537" y="477"/>
              </a:cxn>
            </a:cxnLst>
            <a:rect l="0" t="0" r="r" b="b"/>
            <a:pathLst>
              <a:path w="16275" h="2453">
                <a:moveTo>
                  <a:pt x="473" y="0"/>
                </a:moveTo>
                <a:lnTo>
                  <a:pt x="15802" y="0"/>
                </a:lnTo>
                <a:lnTo>
                  <a:pt x="15826" y="1"/>
                </a:lnTo>
                <a:lnTo>
                  <a:pt x="15850" y="2"/>
                </a:lnTo>
                <a:lnTo>
                  <a:pt x="15874" y="5"/>
                </a:lnTo>
                <a:lnTo>
                  <a:pt x="15897" y="10"/>
                </a:lnTo>
                <a:lnTo>
                  <a:pt x="15920" y="15"/>
                </a:lnTo>
                <a:lnTo>
                  <a:pt x="15942" y="21"/>
                </a:lnTo>
                <a:lnTo>
                  <a:pt x="15964" y="29"/>
                </a:lnTo>
                <a:lnTo>
                  <a:pt x="15986" y="38"/>
                </a:lnTo>
                <a:lnTo>
                  <a:pt x="16006" y="47"/>
                </a:lnTo>
                <a:lnTo>
                  <a:pt x="16027" y="57"/>
                </a:lnTo>
                <a:lnTo>
                  <a:pt x="16047" y="69"/>
                </a:lnTo>
                <a:lnTo>
                  <a:pt x="16066" y="82"/>
                </a:lnTo>
                <a:lnTo>
                  <a:pt x="16085" y="95"/>
                </a:lnTo>
                <a:lnTo>
                  <a:pt x="16102" y="109"/>
                </a:lnTo>
                <a:lnTo>
                  <a:pt x="16119" y="123"/>
                </a:lnTo>
                <a:lnTo>
                  <a:pt x="16136" y="140"/>
                </a:lnTo>
                <a:lnTo>
                  <a:pt x="16152" y="156"/>
                </a:lnTo>
                <a:lnTo>
                  <a:pt x="16166" y="173"/>
                </a:lnTo>
                <a:lnTo>
                  <a:pt x="16180" y="191"/>
                </a:lnTo>
                <a:lnTo>
                  <a:pt x="16194" y="210"/>
                </a:lnTo>
                <a:lnTo>
                  <a:pt x="16206" y="228"/>
                </a:lnTo>
                <a:lnTo>
                  <a:pt x="16218" y="249"/>
                </a:lnTo>
                <a:lnTo>
                  <a:pt x="16228" y="269"/>
                </a:lnTo>
                <a:lnTo>
                  <a:pt x="16237" y="289"/>
                </a:lnTo>
                <a:lnTo>
                  <a:pt x="16247" y="312"/>
                </a:lnTo>
                <a:lnTo>
                  <a:pt x="16254" y="333"/>
                </a:lnTo>
                <a:lnTo>
                  <a:pt x="16260" y="356"/>
                </a:lnTo>
                <a:lnTo>
                  <a:pt x="16265" y="379"/>
                </a:lnTo>
                <a:lnTo>
                  <a:pt x="16270" y="401"/>
                </a:lnTo>
                <a:lnTo>
                  <a:pt x="16273" y="426"/>
                </a:lnTo>
                <a:lnTo>
                  <a:pt x="16274" y="449"/>
                </a:lnTo>
                <a:lnTo>
                  <a:pt x="16275" y="474"/>
                </a:lnTo>
                <a:lnTo>
                  <a:pt x="16275" y="1979"/>
                </a:lnTo>
                <a:lnTo>
                  <a:pt x="16274" y="2003"/>
                </a:lnTo>
                <a:lnTo>
                  <a:pt x="16273" y="2027"/>
                </a:lnTo>
                <a:lnTo>
                  <a:pt x="16270" y="2051"/>
                </a:lnTo>
                <a:lnTo>
                  <a:pt x="16265" y="2073"/>
                </a:lnTo>
                <a:lnTo>
                  <a:pt x="16260" y="2097"/>
                </a:lnTo>
                <a:lnTo>
                  <a:pt x="16254" y="2119"/>
                </a:lnTo>
                <a:lnTo>
                  <a:pt x="16247" y="2142"/>
                </a:lnTo>
                <a:lnTo>
                  <a:pt x="16237" y="2163"/>
                </a:lnTo>
                <a:lnTo>
                  <a:pt x="16228" y="2184"/>
                </a:lnTo>
                <a:lnTo>
                  <a:pt x="16218" y="2204"/>
                </a:lnTo>
                <a:lnTo>
                  <a:pt x="16206" y="2224"/>
                </a:lnTo>
                <a:lnTo>
                  <a:pt x="16194" y="2244"/>
                </a:lnTo>
                <a:lnTo>
                  <a:pt x="16180" y="2262"/>
                </a:lnTo>
                <a:lnTo>
                  <a:pt x="16166" y="2279"/>
                </a:lnTo>
                <a:lnTo>
                  <a:pt x="16152" y="2297"/>
                </a:lnTo>
                <a:lnTo>
                  <a:pt x="16136" y="2313"/>
                </a:lnTo>
                <a:lnTo>
                  <a:pt x="16119" y="2329"/>
                </a:lnTo>
                <a:lnTo>
                  <a:pt x="16102" y="2344"/>
                </a:lnTo>
                <a:lnTo>
                  <a:pt x="16085" y="2358"/>
                </a:lnTo>
                <a:lnTo>
                  <a:pt x="16066" y="2371"/>
                </a:lnTo>
                <a:lnTo>
                  <a:pt x="16047" y="2384"/>
                </a:lnTo>
                <a:lnTo>
                  <a:pt x="16027" y="2395"/>
                </a:lnTo>
                <a:lnTo>
                  <a:pt x="16006" y="2406"/>
                </a:lnTo>
                <a:lnTo>
                  <a:pt x="15986" y="2415"/>
                </a:lnTo>
                <a:lnTo>
                  <a:pt x="15964" y="2424"/>
                </a:lnTo>
                <a:lnTo>
                  <a:pt x="15942" y="2431"/>
                </a:lnTo>
                <a:lnTo>
                  <a:pt x="15920" y="2437"/>
                </a:lnTo>
                <a:lnTo>
                  <a:pt x="15897" y="2443"/>
                </a:lnTo>
                <a:lnTo>
                  <a:pt x="15874" y="2447"/>
                </a:lnTo>
                <a:lnTo>
                  <a:pt x="15850" y="2450"/>
                </a:lnTo>
                <a:lnTo>
                  <a:pt x="15826" y="2451"/>
                </a:lnTo>
                <a:lnTo>
                  <a:pt x="15802" y="2453"/>
                </a:lnTo>
                <a:lnTo>
                  <a:pt x="473" y="2453"/>
                </a:lnTo>
                <a:lnTo>
                  <a:pt x="449" y="2451"/>
                </a:lnTo>
                <a:lnTo>
                  <a:pt x="425" y="2450"/>
                </a:lnTo>
                <a:lnTo>
                  <a:pt x="401" y="2447"/>
                </a:lnTo>
                <a:lnTo>
                  <a:pt x="378" y="2443"/>
                </a:lnTo>
                <a:lnTo>
                  <a:pt x="355" y="2437"/>
                </a:lnTo>
                <a:lnTo>
                  <a:pt x="333" y="2431"/>
                </a:lnTo>
                <a:lnTo>
                  <a:pt x="310" y="2424"/>
                </a:lnTo>
                <a:lnTo>
                  <a:pt x="289" y="2415"/>
                </a:lnTo>
                <a:lnTo>
                  <a:pt x="269" y="2406"/>
                </a:lnTo>
                <a:lnTo>
                  <a:pt x="248" y="2395"/>
                </a:lnTo>
                <a:lnTo>
                  <a:pt x="228" y="2384"/>
                </a:lnTo>
                <a:lnTo>
                  <a:pt x="209" y="2371"/>
                </a:lnTo>
                <a:lnTo>
                  <a:pt x="190" y="2358"/>
                </a:lnTo>
                <a:lnTo>
                  <a:pt x="173" y="2344"/>
                </a:lnTo>
                <a:lnTo>
                  <a:pt x="156" y="2329"/>
                </a:lnTo>
                <a:lnTo>
                  <a:pt x="139" y="2313"/>
                </a:lnTo>
                <a:lnTo>
                  <a:pt x="123" y="2297"/>
                </a:lnTo>
                <a:lnTo>
                  <a:pt x="108" y="2279"/>
                </a:lnTo>
                <a:lnTo>
                  <a:pt x="95" y="2262"/>
                </a:lnTo>
                <a:lnTo>
                  <a:pt x="81" y="2244"/>
                </a:lnTo>
                <a:lnTo>
                  <a:pt x="68" y="2224"/>
                </a:lnTo>
                <a:lnTo>
                  <a:pt x="57" y="2204"/>
                </a:lnTo>
                <a:lnTo>
                  <a:pt x="47" y="2184"/>
                </a:lnTo>
                <a:lnTo>
                  <a:pt x="38" y="2163"/>
                </a:lnTo>
                <a:lnTo>
                  <a:pt x="28" y="2142"/>
                </a:lnTo>
                <a:lnTo>
                  <a:pt x="21" y="2119"/>
                </a:lnTo>
                <a:lnTo>
                  <a:pt x="15" y="2097"/>
                </a:lnTo>
                <a:lnTo>
                  <a:pt x="9" y="2073"/>
                </a:lnTo>
                <a:lnTo>
                  <a:pt x="5" y="2051"/>
                </a:lnTo>
                <a:lnTo>
                  <a:pt x="2" y="2027"/>
                </a:lnTo>
                <a:lnTo>
                  <a:pt x="1" y="2003"/>
                </a:lnTo>
                <a:lnTo>
                  <a:pt x="0" y="1979"/>
                </a:lnTo>
                <a:lnTo>
                  <a:pt x="0" y="474"/>
                </a:lnTo>
                <a:lnTo>
                  <a:pt x="1" y="449"/>
                </a:lnTo>
                <a:lnTo>
                  <a:pt x="2" y="426"/>
                </a:lnTo>
                <a:lnTo>
                  <a:pt x="5" y="401"/>
                </a:lnTo>
                <a:lnTo>
                  <a:pt x="9" y="379"/>
                </a:lnTo>
                <a:lnTo>
                  <a:pt x="15" y="356"/>
                </a:lnTo>
                <a:lnTo>
                  <a:pt x="21" y="333"/>
                </a:lnTo>
                <a:lnTo>
                  <a:pt x="28" y="312"/>
                </a:lnTo>
                <a:lnTo>
                  <a:pt x="38" y="289"/>
                </a:lnTo>
                <a:lnTo>
                  <a:pt x="47" y="269"/>
                </a:lnTo>
                <a:lnTo>
                  <a:pt x="57" y="249"/>
                </a:lnTo>
                <a:lnTo>
                  <a:pt x="68" y="228"/>
                </a:lnTo>
                <a:lnTo>
                  <a:pt x="81" y="210"/>
                </a:lnTo>
                <a:lnTo>
                  <a:pt x="95" y="191"/>
                </a:lnTo>
                <a:lnTo>
                  <a:pt x="108" y="173"/>
                </a:lnTo>
                <a:lnTo>
                  <a:pt x="123" y="156"/>
                </a:lnTo>
                <a:lnTo>
                  <a:pt x="139" y="140"/>
                </a:lnTo>
                <a:lnTo>
                  <a:pt x="156" y="123"/>
                </a:lnTo>
                <a:lnTo>
                  <a:pt x="173" y="109"/>
                </a:lnTo>
                <a:lnTo>
                  <a:pt x="190" y="95"/>
                </a:lnTo>
                <a:lnTo>
                  <a:pt x="209" y="82"/>
                </a:lnTo>
                <a:lnTo>
                  <a:pt x="228" y="69"/>
                </a:lnTo>
                <a:lnTo>
                  <a:pt x="248" y="57"/>
                </a:lnTo>
                <a:lnTo>
                  <a:pt x="269" y="47"/>
                </a:lnTo>
                <a:lnTo>
                  <a:pt x="289" y="38"/>
                </a:lnTo>
                <a:lnTo>
                  <a:pt x="310" y="29"/>
                </a:lnTo>
                <a:lnTo>
                  <a:pt x="333" y="21"/>
                </a:lnTo>
                <a:lnTo>
                  <a:pt x="355" y="15"/>
                </a:lnTo>
                <a:lnTo>
                  <a:pt x="378" y="10"/>
                </a:lnTo>
                <a:lnTo>
                  <a:pt x="401" y="5"/>
                </a:lnTo>
                <a:lnTo>
                  <a:pt x="425" y="2"/>
                </a:lnTo>
                <a:lnTo>
                  <a:pt x="449" y="1"/>
                </a:lnTo>
                <a:lnTo>
                  <a:pt x="473" y="0"/>
                </a:lnTo>
                <a:close/>
                <a:moveTo>
                  <a:pt x="2937" y="658"/>
                </a:moveTo>
                <a:lnTo>
                  <a:pt x="2967" y="659"/>
                </a:lnTo>
                <a:lnTo>
                  <a:pt x="2999" y="661"/>
                </a:lnTo>
                <a:lnTo>
                  <a:pt x="3029" y="665"/>
                </a:lnTo>
                <a:lnTo>
                  <a:pt x="3059" y="670"/>
                </a:lnTo>
                <a:lnTo>
                  <a:pt x="3088" y="678"/>
                </a:lnTo>
                <a:lnTo>
                  <a:pt x="3118" y="686"/>
                </a:lnTo>
                <a:lnTo>
                  <a:pt x="3146" y="696"/>
                </a:lnTo>
                <a:lnTo>
                  <a:pt x="3174" y="706"/>
                </a:lnTo>
                <a:lnTo>
                  <a:pt x="3200" y="719"/>
                </a:lnTo>
                <a:lnTo>
                  <a:pt x="3227" y="733"/>
                </a:lnTo>
                <a:lnTo>
                  <a:pt x="3252" y="747"/>
                </a:lnTo>
                <a:lnTo>
                  <a:pt x="3277" y="763"/>
                </a:lnTo>
                <a:lnTo>
                  <a:pt x="3301" y="780"/>
                </a:lnTo>
                <a:lnTo>
                  <a:pt x="3324" y="799"/>
                </a:lnTo>
                <a:lnTo>
                  <a:pt x="3347" y="817"/>
                </a:lnTo>
                <a:lnTo>
                  <a:pt x="3368" y="838"/>
                </a:lnTo>
                <a:lnTo>
                  <a:pt x="3388" y="859"/>
                </a:lnTo>
                <a:lnTo>
                  <a:pt x="3408" y="881"/>
                </a:lnTo>
                <a:lnTo>
                  <a:pt x="3425" y="905"/>
                </a:lnTo>
                <a:lnTo>
                  <a:pt x="3442" y="928"/>
                </a:lnTo>
                <a:lnTo>
                  <a:pt x="3458" y="954"/>
                </a:lnTo>
                <a:lnTo>
                  <a:pt x="3473" y="979"/>
                </a:lnTo>
                <a:lnTo>
                  <a:pt x="3487" y="1006"/>
                </a:lnTo>
                <a:lnTo>
                  <a:pt x="3499" y="1032"/>
                </a:lnTo>
                <a:lnTo>
                  <a:pt x="3509" y="1061"/>
                </a:lnTo>
                <a:lnTo>
                  <a:pt x="3519" y="1089"/>
                </a:lnTo>
                <a:lnTo>
                  <a:pt x="3528" y="1118"/>
                </a:lnTo>
                <a:lnTo>
                  <a:pt x="3535" y="1147"/>
                </a:lnTo>
                <a:lnTo>
                  <a:pt x="3540" y="1178"/>
                </a:lnTo>
                <a:lnTo>
                  <a:pt x="3544" y="1208"/>
                </a:lnTo>
                <a:lnTo>
                  <a:pt x="3546" y="1239"/>
                </a:lnTo>
                <a:lnTo>
                  <a:pt x="3547" y="1271"/>
                </a:lnTo>
                <a:lnTo>
                  <a:pt x="3546" y="1302"/>
                </a:lnTo>
                <a:lnTo>
                  <a:pt x="3544" y="1333"/>
                </a:lnTo>
                <a:lnTo>
                  <a:pt x="3540" y="1363"/>
                </a:lnTo>
                <a:lnTo>
                  <a:pt x="3535" y="1394"/>
                </a:lnTo>
                <a:lnTo>
                  <a:pt x="3528" y="1423"/>
                </a:lnTo>
                <a:lnTo>
                  <a:pt x="3519" y="1452"/>
                </a:lnTo>
                <a:lnTo>
                  <a:pt x="3509" y="1480"/>
                </a:lnTo>
                <a:lnTo>
                  <a:pt x="3499" y="1508"/>
                </a:lnTo>
                <a:lnTo>
                  <a:pt x="3487" y="1535"/>
                </a:lnTo>
                <a:lnTo>
                  <a:pt x="3473" y="1562"/>
                </a:lnTo>
                <a:lnTo>
                  <a:pt x="3458" y="1587"/>
                </a:lnTo>
                <a:lnTo>
                  <a:pt x="3442" y="1612"/>
                </a:lnTo>
                <a:lnTo>
                  <a:pt x="3425" y="1636"/>
                </a:lnTo>
                <a:lnTo>
                  <a:pt x="3408" y="1659"/>
                </a:lnTo>
                <a:lnTo>
                  <a:pt x="3388" y="1681"/>
                </a:lnTo>
                <a:lnTo>
                  <a:pt x="3368" y="1703"/>
                </a:lnTo>
                <a:lnTo>
                  <a:pt x="3347" y="1723"/>
                </a:lnTo>
                <a:lnTo>
                  <a:pt x="3324" y="1742"/>
                </a:lnTo>
                <a:lnTo>
                  <a:pt x="3301" y="1761"/>
                </a:lnTo>
                <a:lnTo>
                  <a:pt x="3277" y="1778"/>
                </a:lnTo>
                <a:lnTo>
                  <a:pt x="3252" y="1793"/>
                </a:lnTo>
                <a:lnTo>
                  <a:pt x="3227" y="1809"/>
                </a:lnTo>
                <a:lnTo>
                  <a:pt x="3200" y="1822"/>
                </a:lnTo>
                <a:lnTo>
                  <a:pt x="3174" y="1834"/>
                </a:lnTo>
                <a:lnTo>
                  <a:pt x="3146" y="1845"/>
                </a:lnTo>
                <a:lnTo>
                  <a:pt x="3118" y="1854"/>
                </a:lnTo>
                <a:lnTo>
                  <a:pt x="3088" y="1863"/>
                </a:lnTo>
                <a:lnTo>
                  <a:pt x="3059" y="1870"/>
                </a:lnTo>
                <a:lnTo>
                  <a:pt x="3029" y="1875"/>
                </a:lnTo>
                <a:lnTo>
                  <a:pt x="2999" y="1879"/>
                </a:lnTo>
                <a:lnTo>
                  <a:pt x="2967" y="1882"/>
                </a:lnTo>
                <a:lnTo>
                  <a:pt x="2937" y="1882"/>
                </a:lnTo>
                <a:lnTo>
                  <a:pt x="2905" y="1882"/>
                </a:lnTo>
                <a:lnTo>
                  <a:pt x="2874" y="1879"/>
                </a:lnTo>
                <a:lnTo>
                  <a:pt x="2843" y="1875"/>
                </a:lnTo>
                <a:lnTo>
                  <a:pt x="2814" y="1870"/>
                </a:lnTo>
                <a:lnTo>
                  <a:pt x="2784" y="1863"/>
                </a:lnTo>
                <a:lnTo>
                  <a:pt x="2755" y="1854"/>
                </a:lnTo>
                <a:lnTo>
                  <a:pt x="2726" y="1845"/>
                </a:lnTo>
                <a:lnTo>
                  <a:pt x="2699" y="1834"/>
                </a:lnTo>
                <a:lnTo>
                  <a:pt x="2671" y="1822"/>
                </a:lnTo>
                <a:lnTo>
                  <a:pt x="2646" y="1809"/>
                </a:lnTo>
                <a:lnTo>
                  <a:pt x="2619" y="1793"/>
                </a:lnTo>
                <a:lnTo>
                  <a:pt x="2595" y="1778"/>
                </a:lnTo>
                <a:lnTo>
                  <a:pt x="2570" y="1761"/>
                </a:lnTo>
                <a:lnTo>
                  <a:pt x="2548" y="1742"/>
                </a:lnTo>
                <a:lnTo>
                  <a:pt x="2526" y="1723"/>
                </a:lnTo>
                <a:lnTo>
                  <a:pt x="2504" y="1703"/>
                </a:lnTo>
                <a:lnTo>
                  <a:pt x="2484" y="1681"/>
                </a:lnTo>
                <a:lnTo>
                  <a:pt x="2465" y="1659"/>
                </a:lnTo>
                <a:lnTo>
                  <a:pt x="2446" y="1636"/>
                </a:lnTo>
                <a:lnTo>
                  <a:pt x="2430" y="1612"/>
                </a:lnTo>
                <a:lnTo>
                  <a:pt x="2414" y="1587"/>
                </a:lnTo>
                <a:lnTo>
                  <a:pt x="2399" y="1562"/>
                </a:lnTo>
                <a:lnTo>
                  <a:pt x="2385" y="1535"/>
                </a:lnTo>
                <a:lnTo>
                  <a:pt x="2373" y="1508"/>
                </a:lnTo>
                <a:lnTo>
                  <a:pt x="2362" y="1480"/>
                </a:lnTo>
                <a:lnTo>
                  <a:pt x="2353" y="1452"/>
                </a:lnTo>
                <a:lnTo>
                  <a:pt x="2345" y="1423"/>
                </a:lnTo>
                <a:lnTo>
                  <a:pt x="2337" y="1394"/>
                </a:lnTo>
                <a:lnTo>
                  <a:pt x="2332" y="1363"/>
                </a:lnTo>
                <a:lnTo>
                  <a:pt x="2328" y="1333"/>
                </a:lnTo>
                <a:lnTo>
                  <a:pt x="2326" y="1302"/>
                </a:lnTo>
                <a:lnTo>
                  <a:pt x="2325" y="1271"/>
                </a:lnTo>
                <a:lnTo>
                  <a:pt x="2326" y="1239"/>
                </a:lnTo>
                <a:lnTo>
                  <a:pt x="2328" y="1208"/>
                </a:lnTo>
                <a:lnTo>
                  <a:pt x="2332" y="1178"/>
                </a:lnTo>
                <a:lnTo>
                  <a:pt x="2337" y="1147"/>
                </a:lnTo>
                <a:lnTo>
                  <a:pt x="2345" y="1118"/>
                </a:lnTo>
                <a:lnTo>
                  <a:pt x="2353" y="1089"/>
                </a:lnTo>
                <a:lnTo>
                  <a:pt x="2362" y="1061"/>
                </a:lnTo>
                <a:lnTo>
                  <a:pt x="2373" y="1032"/>
                </a:lnTo>
                <a:lnTo>
                  <a:pt x="2385" y="1006"/>
                </a:lnTo>
                <a:lnTo>
                  <a:pt x="2399" y="979"/>
                </a:lnTo>
                <a:lnTo>
                  <a:pt x="2414" y="954"/>
                </a:lnTo>
                <a:lnTo>
                  <a:pt x="2430" y="928"/>
                </a:lnTo>
                <a:lnTo>
                  <a:pt x="2446" y="905"/>
                </a:lnTo>
                <a:lnTo>
                  <a:pt x="2465" y="881"/>
                </a:lnTo>
                <a:lnTo>
                  <a:pt x="2484" y="859"/>
                </a:lnTo>
                <a:lnTo>
                  <a:pt x="2504" y="838"/>
                </a:lnTo>
                <a:lnTo>
                  <a:pt x="2526" y="817"/>
                </a:lnTo>
                <a:lnTo>
                  <a:pt x="2548" y="799"/>
                </a:lnTo>
                <a:lnTo>
                  <a:pt x="2570" y="780"/>
                </a:lnTo>
                <a:lnTo>
                  <a:pt x="2595" y="763"/>
                </a:lnTo>
                <a:lnTo>
                  <a:pt x="2619" y="747"/>
                </a:lnTo>
                <a:lnTo>
                  <a:pt x="2646" y="733"/>
                </a:lnTo>
                <a:lnTo>
                  <a:pt x="2671" y="719"/>
                </a:lnTo>
                <a:lnTo>
                  <a:pt x="2699" y="706"/>
                </a:lnTo>
                <a:lnTo>
                  <a:pt x="2726" y="696"/>
                </a:lnTo>
                <a:lnTo>
                  <a:pt x="2755" y="686"/>
                </a:lnTo>
                <a:lnTo>
                  <a:pt x="2784" y="678"/>
                </a:lnTo>
                <a:lnTo>
                  <a:pt x="2814" y="670"/>
                </a:lnTo>
                <a:lnTo>
                  <a:pt x="2843" y="665"/>
                </a:lnTo>
                <a:lnTo>
                  <a:pt x="2874" y="661"/>
                </a:lnTo>
                <a:lnTo>
                  <a:pt x="2905" y="659"/>
                </a:lnTo>
                <a:lnTo>
                  <a:pt x="2937" y="658"/>
                </a:lnTo>
                <a:close/>
                <a:moveTo>
                  <a:pt x="7582" y="474"/>
                </a:moveTo>
                <a:lnTo>
                  <a:pt x="14452" y="474"/>
                </a:lnTo>
                <a:lnTo>
                  <a:pt x="14467" y="474"/>
                </a:lnTo>
                <a:lnTo>
                  <a:pt x="14482" y="476"/>
                </a:lnTo>
                <a:lnTo>
                  <a:pt x="14497" y="477"/>
                </a:lnTo>
                <a:lnTo>
                  <a:pt x="14511" y="480"/>
                </a:lnTo>
                <a:lnTo>
                  <a:pt x="14525" y="483"/>
                </a:lnTo>
                <a:lnTo>
                  <a:pt x="14539" y="487"/>
                </a:lnTo>
                <a:lnTo>
                  <a:pt x="14553" y="492"/>
                </a:lnTo>
                <a:lnTo>
                  <a:pt x="14566" y="497"/>
                </a:lnTo>
                <a:lnTo>
                  <a:pt x="14578" y="503"/>
                </a:lnTo>
                <a:lnTo>
                  <a:pt x="14592" y="509"/>
                </a:lnTo>
                <a:lnTo>
                  <a:pt x="14604" y="517"/>
                </a:lnTo>
                <a:lnTo>
                  <a:pt x="14616" y="524"/>
                </a:lnTo>
                <a:lnTo>
                  <a:pt x="14627" y="532"/>
                </a:lnTo>
                <a:lnTo>
                  <a:pt x="14638" y="541"/>
                </a:lnTo>
                <a:lnTo>
                  <a:pt x="14649" y="550"/>
                </a:lnTo>
                <a:lnTo>
                  <a:pt x="14659" y="560"/>
                </a:lnTo>
                <a:lnTo>
                  <a:pt x="14669" y="571"/>
                </a:lnTo>
                <a:lnTo>
                  <a:pt x="14678" y="581"/>
                </a:lnTo>
                <a:lnTo>
                  <a:pt x="14686" y="592"/>
                </a:lnTo>
                <a:lnTo>
                  <a:pt x="14694" y="603"/>
                </a:lnTo>
                <a:lnTo>
                  <a:pt x="14702" y="615"/>
                </a:lnTo>
                <a:lnTo>
                  <a:pt x="14710" y="628"/>
                </a:lnTo>
                <a:lnTo>
                  <a:pt x="14716" y="640"/>
                </a:lnTo>
                <a:lnTo>
                  <a:pt x="14722" y="653"/>
                </a:lnTo>
                <a:lnTo>
                  <a:pt x="14727" y="666"/>
                </a:lnTo>
                <a:lnTo>
                  <a:pt x="14732" y="680"/>
                </a:lnTo>
                <a:lnTo>
                  <a:pt x="14736" y="694"/>
                </a:lnTo>
                <a:lnTo>
                  <a:pt x="14739" y="708"/>
                </a:lnTo>
                <a:lnTo>
                  <a:pt x="14741" y="722"/>
                </a:lnTo>
                <a:lnTo>
                  <a:pt x="14743" y="737"/>
                </a:lnTo>
                <a:lnTo>
                  <a:pt x="14744" y="752"/>
                </a:lnTo>
                <a:lnTo>
                  <a:pt x="14745" y="767"/>
                </a:lnTo>
                <a:lnTo>
                  <a:pt x="14745" y="1699"/>
                </a:lnTo>
                <a:lnTo>
                  <a:pt x="14744" y="1714"/>
                </a:lnTo>
                <a:lnTo>
                  <a:pt x="14743" y="1728"/>
                </a:lnTo>
                <a:lnTo>
                  <a:pt x="14741" y="1742"/>
                </a:lnTo>
                <a:lnTo>
                  <a:pt x="14739" y="1758"/>
                </a:lnTo>
                <a:lnTo>
                  <a:pt x="14736" y="1771"/>
                </a:lnTo>
                <a:lnTo>
                  <a:pt x="14732" y="1785"/>
                </a:lnTo>
                <a:lnTo>
                  <a:pt x="14727" y="1798"/>
                </a:lnTo>
                <a:lnTo>
                  <a:pt x="14722" y="1812"/>
                </a:lnTo>
                <a:lnTo>
                  <a:pt x="14716" y="1825"/>
                </a:lnTo>
                <a:lnTo>
                  <a:pt x="14710" y="1838"/>
                </a:lnTo>
                <a:lnTo>
                  <a:pt x="14702" y="1850"/>
                </a:lnTo>
                <a:lnTo>
                  <a:pt x="14694" y="1862"/>
                </a:lnTo>
                <a:lnTo>
                  <a:pt x="14686" y="1874"/>
                </a:lnTo>
                <a:lnTo>
                  <a:pt x="14678" y="1885"/>
                </a:lnTo>
                <a:lnTo>
                  <a:pt x="14669" y="1895"/>
                </a:lnTo>
                <a:lnTo>
                  <a:pt x="14659" y="1905"/>
                </a:lnTo>
                <a:lnTo>
                  <a:pt x="14649" y="1916"/>
                </a:lnTo>
                <a:lnTo>
                  <a:pt x="14638" y="1925"/>
                </a:lnTo>
                <a:lnTo>
                  <a:pt x="14627" y="1933"/>
                </a:lnTo>
                <a:lnTo>
                  <a:pt x="14616" y="1941"/>
                </a:lnTo>
                <a:lnTo>
                  <a:pt x="14604" y="1949"/>
                </a:lnTo>
                <a:lnTo>
                  <a:pt x="14592" y="1956"/>
                </a:lnTo>
                <a:lnTo>
                  <a:pt x="14578" y="1962"/>
                </a:lnTo>
                <a:lnTo>
                  <a:pt x="14566" y="1969"/>
                </a:lnTo>
                <a:lnTo>
                  <a:pt x="14553" y="1974"/>
                </a:lnTo>
                <a:lnTo>
                  <a:pt x="14539" y="1979"/>
                </a:lnTo>
                <a:lnTo>
                  <a:pt x="14525" y="1982"/>
                </a:lnTo>
                <a:lnTo>
                  <a:pt x="14511" y="1986"/>
                </a:lnTo>
                <a:lnTo>
                  <a:pt x="14497" y="1988"/>
                </a:lnTo>
                <a:lnTo>
                  <a:pt x="14482" y="1990"/>
                </a:lnTo>
                <a:lnTo>
                  <a:pt x="14467" y="1991"/>
                </a:lnTo>
                <a:lnTo>
                  <a:pt x="14452" y="1991"/>
                </a:lnTo>
                <a:lnTo>
                  <a:pt x="7582" y="1991"/>
                </a:lnTo>
                <a:lnTo>
                  <a:pt x="7567" y="1991"/>
                </a:lnTo>
                <a:lnTo>
                  <a:pt x="7552" y="1990"/>
                </a:lnTo>
                <a:lnTo>
                  <a:pt x="7537" y="1988"/>
                </a:lnTo>
                <a:lnTo>
                  <a:pt x="7523" y="1986"/>
                </a:lnTo>
                <a:lnTo>
                  <a:pt x="7509" y="1982"/>
                </a:lnTo>
                <a:lnTo>
                  <a:pt x="7495" y="1979"/>
                </a:lnTo>
                <a:lnTo>
                  <a:pt x="7481" y="1974"/>
                </a:lnTo>
                <a:lnTo>
                  <a:pt x="7468" y="1969"/>
                </a:lnTo>
                <a:lnTo>
                  <a:pt x="7455" y="1962"/>
                </a:lnTo>
                <a:lnTo>
                  <a:pt x="7443" y="1956"/>
                </a:lnTo>
                <a:lnTo>
                  <a:pt x="7431" y="1949"/>
                </a:lnTo>
                <a:lnTo>
                  <a:pt x="7418" y="1941"/>
                </a:lnTo>
                <a:lnTo>
                  <a:pt x="7407" y="1933"/>
                </a:lnTo>
                <a:lnTo>
                  <a:pt x="7396" y="1925"/>
                </a:lnTo>
                <a:lnTo>
                  <a:pt x="7385" y="1916"/>
                </a:lnTo>
                <a:lnTo>
                  <a:pt x="7375" y="1905"/>
                </a:lnTo>
                <a:lnTo>
                  <a:pt x="7365" y="1895"/>
                </a:lnTo>
                <a:lnTo>
                  <a:pt x="7356" y="1885"/>
                </a:lnTo>
                <a:lnTo>
                  <a:pt x="7347" y="1874"/>
                </a:lnTo>
                <a:lnTo>
                  <a:pt x="7339" y="1862"/>
                </a:lnTo>
                <a:lnTo>
                  <a:pt x="7332" y="1850"/>
                </a:lnTo>
                <a:lnTo>
                  <a:pt x="7325" y="1838"/>
                </a:lnTo>
                <a:lnTo>
                  <a:pt x="7318" y="1825"/>
                </a:lnTo>
                <a:lnTo>
                  <a:pt x="7312" y="1812"/>
                </a:lnTo>
                <a:lnTo>
                  <a:pt x="7306" y="1798"/>
                </a:lnTo>
                <a:lnTo>
                  <a:pt x="7302" y="1785"/>
                </a:lnTo>
                <a:lnTo>
                  <a:pt x="7298" y="1772"/>
                </a:lnTo>
                <a:lnTo>
                  <a:pt x="7295" y="1758"/>
                </a:lnTo>
                <a:lnTo>
                  <a:pt x="7292" y="1742"/>
                </a:lnTo>
                <a:lnTo>
                  <a:pt x="7290" y="1728"/>
                </a:lnTo>
                <a:lnTo>
                  <a:pt x="7289" y="1714"/>
                </a:lnTo>
                <a:lnTo>
                  <a:pt x="7289" y="1699"/>
                </a:lnTo>
                <a:lnTo>
                  <a:pt x="7289" y="767"/>
                </a:lnTo>
                <a:lnTo>
                  <a:pt x="7289" y="752"/>
                </a:lnTo>
                <a:lnTo>
                  <a:pt x="7290" y="737"/>
                </a:lnTo>
                <a:lnTo>
                  <a:pt x="7292" y="722"/>
                </a:lnTo>
                <a:lnTo>
                  <a:pt x="7295" y="708"/>
                </a:lnTo>
                <a:lnTo>
                  <a:pt x="7298" y="694"/>
                </a:lnTo>
                <a:lnTo>
                  <a:pt x="7302" y="680"/>
                </a:lnTo>
                <a:lnTo>
                  <a:pt x="7306" y="666"/>
                </a:lnTo>
                <a:lnTo>
                  <a:pt x="7312" y="653"/>
                </a:lnTo>
                <a:lnTo>
                  <a:pt x="7318" y="640"/>
                </a:lnTo>
                <a:lnTo>
                  <a:pt x="7325" y="628"/>
                </a:lnTo>
                <a:lnTo>
                  <a:pt x="7332" y="615"/>
                </a:lnTo>
                <a:lnTo>
                  <a:pt x="7339" y="603"/>
                </a:lnTo>
                <a:lnTo>
                  <a:pt x="7347" y="592"/>
                </a:lnTo>
                <a:lnTo>
                  <a:pt x="7356" y="581"/>
                </a:lnTo>
                <a:lnTo>
                  <a:pt x="7365" y="571"/>
                </a:lnTo>
                <a:lnTo>
                  <a:pt x="7375" y="560"/>
                </a:lnTo>
                <a:lnTo>
                  <a:pt x="7385" y="550"/>
                </a:lnTo>
                <a:lnTo>
                  <a:pt x="7396" y="541"/>
                </a:lnTo>
                <a:lnTo>
                  <a:pt x="7407" y="532"/>
                </a:lnTo>
                <a:lnTo>
                  <a:pt x="7418" y="524"/>
                </a:lnTo>
                <a:lnTo>
                  <a:pt x="7431" y="517"/>
                </a:lnTo>
                <a:lnTo>
                  <a:pt x="7443" y="509"/>
                </a:lnTo>
                <a:lnTo>
                  <a:pt x="7455" y="503"/>
                </a:lnTo>
                <a:lnTo>
                  <a:pt x="7468" y="497"/>
                </a:lnTo>
                <a:lnTo>
                  <a:pt x="7481" y="492"/>
                </a:lnTo>
                <a:lnTo>
                  <a:pt x="7495" y="487"/>
                </a:lnTo>
                <a:lnTo>
                  <a:pt x="7509" y="483"/>
                </a:lnTo>
                <a:lnTo>
                  <a:pt x="7523" y="480"/>
                </a:lnTo>
                <a:lnTo>
                  <a:pt x="7537" y="477"/>
                </a:lnTo>
                <a:lnTo>
                  <a:pt x="7552" y="476"/>
                </a:lnTo>
                <a:lnTo>
                  <a:pt x="7567" y="474"/>
                </a:lnTo>
                <a:lnTo>
                  <a:pt x="7582" y="474"/>
                </a:lnTo>
                <a:close/>
              </a:path>
            </a:pathLst>
          </a:custGeom>
          <a:solidFill>
            <a:schemeClr val="accent2">
              <a:lumMod val="75000"/>
            </a:schemeClr>
          </a:solidFill>
          <a:ln w="9525">
            <a:noFill/>
            <a:round/>
          </a:ln>
        </p:spPr>
        <p:txBody>
          <a:bodyPr vert="horz" wrap="square" lIns="68598" tIns="34299" rIns="68598" bIns="34299" numCol="1" anchor="t" anchorCtr="0" compatLnSpc="1"/>
          <a:lstStyle/>
          <a:p>
            <a:endParaRPr lang="zh-CN" altLang="en-US" sz="1350">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87" name="直接连接符 364"/>
          <p:cNvCxnSpPr/>
          <p:nvPr>
            <p:custDataLst>
              <p:tags r:id="rId19"/>
            </p:custDataLst>
          </p:nvPr>
        </p:nvCxnSpPr>
        <p:spPr bwMode="auto">
          <a:xfrm flipV="1">
            <a:off x="4801125" y="3503875"/>
            <a:ext cx="1847428" cy="1289775"/>
          </a:xfrm>
          <a:prstGeom prst="line">
            <a:avLst/>
          </a:prstGeom>
          <a:noFill/>
          <a:ln w="19050" cap="flat" cmpd="sng" algn="ctr">
            <a:solidFill>
              <a:schemeClr val="accent6"/>
            </a:solidFill>
            <a:prstDash val="solid"/>
            <a:round/>
            <a:headEnd type="none" w="med" len="med"/>
            <a:tailEnd type="none" w="med" len="med"/>
          </a:ln>
          <a:effectLst/>
        </p:spPr>
      </p:cxnSp>
      <p:cxnSp>
        <p:nvCxnSpPr>
          <p:cNvPr id="88" name="直接连接符 364"/>
          <p:cNvCxnSpPr/>
          <p:nvPr>
            <p:custDataLst>
              <p:tags r:id="rId20"/>
            </p:custDataLst>
          </p:nvPr>
        </p:nvCxnSpPr>
        <p:spPr bwMode="auto">
          <a:xfrm flipH="1" flipV="1">
            <a:off x="4801124" y="2284587"/>
            <a:ext cx="1847428" cy="1016394"/>
          </a:xfrm>
          <a:prstGeom prst="line">
            <a:avLst/>
          </a:prstGeom>
          <a:noFill/>
          <a:ln w="19050" cap="flat" cmpd="sng" algn="ctr">
            <a:solidFill>
              <a:schemeClr val="tx2"/>
            </a:solidFill>
            <a:prstDash val="solid"/>
            <a:round/>
            <a:headEnd type="none" w="med" len="med"/>
            <a:tailEnd type="none" w="med" len="med"/>
          </a:ln>
          <a:effectLst/>
        </p:spPr>
      </p:cxnSp>
      <p:cxnSp>
        <p:nvCxnSpPr>
          <p:cNvPr id="89" name="直接连接符 364"/>
          <p:cNvCxnSpPr/>
          <p:nvPr>
            <p:custDataLst>
              <p:tags r:id="rId21"/>
            </p:custDataLst>
          </p:nvPr>
        </p:nvCxnSpPr>
        <p:spPr bwMode="auto">
          <a:xfrm flipH="1" flipV="1">
            <a:off x="6648553" y="3503876"/>
            <a:ext cx="1835281" cy="1298400"/>
          </a:xfrm>
          <a:prstGeom prst="line">
            <a:avLst/>
          </a:prstGeom>
          <a:noFill/>
          <a:ln w="19050" cap="flat" cmpd="sng" algn="ctr">
            <a:solidFill>
              <a:schemeClr val="accent6"/>
            </a:solidFill>
            <a:prstDash val="solid"/>
            <a:round/>
            <a:headEnd type="none" w="med" len="med"/>
            <a:tailEnd type="none" w="med" len="med"/>
          </a:ln>
          <a:effectLst/>
        </p:spPr>
      </p:cxnSp>
      <p:cxnSp>
        <p:nvCxnSpPr>
          <p:cNvPr id="90" name="直接连接符 364"/>
          <p:cNvCxnSpPr/>
          <p:nvPr>
            <p:custDataLst>
              <p:tags r:id="rId22"/>
            </p:custDataLst>
          </p:nvPr>
        </p:nvCxnSpPr>
        <p:spPr bwMode="auto">
          <a:xfrm flipH="1" flipV="1">
            <a:off x="4801125" y="3488453"/>
            <a:ext cx="1847428" cy="1305197"/>
          </a:xfrm>
          <a:prstGeom prst="line">
            <a:avLst/>
          </a:prstGeom>
          <a:noFill/>
          <a:ln w="19050" cap="flat" cmpd="sng" algn="ctr">
            <a:solidFill>
              <a:schemeClr val="tx2"/>
            </a:solidFill>
            <a:prstDash val="solid"/>
            <a:round/>
            <a:headEnd type="none" w="med" len="med"/>
            <a:tailEnd type="none" w="med" len="med"/>
          </a:ln>
          <a:effectLst/>
        </p:spPr>
      </p:cxnSp>
      <p:cxnSp>
        <p:nvCxnSpPr>
          <p:cNvPr id="92" name="直接连接符 364"/>
          <p:cNvCxnSpPr/>
          <p:nvPr>
            <p:custDataLst>
              <p:tags r:id="rId23"/>
            </p:custDataLst>
          </p:nvPr>
        </p:nvCxnSpPr>
        <p:spPr bwMode="auto">
          <a:xfrm flipV="1">
            <a:off x="4801125" y="2284588"/>
            <a:ext cx="1847427" cy="1021218"/>
          </a:xfrm>
          <a:prstGeom prst="line">
            <a:avLst/>
          </a:prstGeom>
          <a:noFill/>
          <a:ln w="19050" cap="flat" cmpd="sng" algn="ctr">
            <a:solidFill>
              <a:schemeClr val="accent6"/>
            </a:solidFill>
            <a:prstDash val="solid"/>
            <a:round/>
            <a:headEnd type="none" w="med" len="med"/>
            <a:tailEnd type="none" w="med" len="med"/>
          </a:ln>
          <a:effectLst/>
        </p:spPr>
      </p:cxnSp>
      <p:cxnSp>
        <p:nvCxnSpPr>
          <p:cNvPr id="93" name="直接连接符 364"/>
          <p:cNvCxnSpPr/>
          <p:nvPr>
            <p:custDataLst>
              <p:tags r:id="rId24"/>
            </p:custDataLst>
          </p:nvPr>
        </p:nvCxnSpPr>
        <p:spPr bwMode="auto">
          <a:xfrm flipV="1">
            <a:off x="6648552" y="2291168"/>
            <a:ext cx="0" cy="1044000"/>
          </a:xfrm>
          <a:prstGeom prst="line">
            <a:avLst/>
          </a:prstGeom>
          <a:noFill/>
          <a:ln w="19050" cap="flat" cmpd="sng" algn="ctr">
            <a:solidFill>
              <a:schemeClr val="accent6"/>
            </a:solidFill>
            <a:prstDash val="solid"/>
            <a:round/>
            <a:headEnd type="none" w="med" len="med"/>
            <a:tailEnd type="none" w="med" len="med"/>
          </a:ln>
          <a:effectLst/>
        </p:spPr>
      </p:cxnSp>
      <p:cxnSp>
        <p:nvCxnSpPr>
          <p:cNvPr id="94" name="直接连接符 364"/>
          <p:cNvCxnSpPr/>
          <p:nvPr>
            <p:custDataLst>
              <p:tags r:id="rId25"/>
            </p:custDataLst>
          </p:nvPr>
        </p:nvCxnSpPr>
        <p:spPr bwMode="auto">
          <a:xfrm flipH="1" flipV="1">
            <a:off x="4801125" y="3498981"/>
            <a:ext cx="3682709" cy="1294669"/>
          </a:xfrm>
          <a:prstGeom prst="line">
            <a:avLst/>
          </a:prstGeom>
          <a:noFill/>
          <a:ln w="19050" cap="flat" cmpd="sng" algn="ctr">
            <a:solidFill>
              <a:schemeClr val="tx2"/>
            </a:solidFill>
            <a:prstDash val="solid"/>
            <a:round/>
            <a:headEnd type="none" w="med" len="med"/>
            <a:tailEnd type="none" w="med" len="med"/>
          </a:ln>
          <a:effectLst/>
        </p:spPr>
      </p:cxnSp>
      <p:cxnSp>
        <p:nvCxnSpPr>
          <p:cNvPr id="95" name="直接连接符 364"/>
          <p:cNvCxnSpPr/>
          <p:nvPr>
            <p:custDataLst>
              <p:tags r:id="rId26"/>
            </p:custDataLst>
          </p:nvPr>
        </p:nvCxnSpPr>
        <p:spPr bwMode="auto">
          <a:xfrm flipV="1">
            <a:off x="4801123" y="3503874"/>
            <a:ext cx="1" cy="1296000"/>
          </a:xfrm>
          <a:prstGeom prst="line">
            <a:avLst/>
          </a:prstGeom>
          <a:noFill/>
          <a:ln w="19050" cap="flat" cmpd="sng" algn="ctr">
            <a:solidFill>
              <a:schemeClr val="tx2"/>
            </a:solidFill>
            <a:prstDash val="solid"/>
            <a:round/>
            <a:headEnd type="none" w="med" len="med"/>
            <a:tailEnd type="none" w="med" len="med"/>
          </a:ln>
          <a:effectLst/>
        </p:spPr>
      </p:cxnSp>
      <p:cxnSp>
        <p:nvCxnSpPr>
          <p:cNvPr id="96" name="直接连接符 364"/>
          <p:cNvCxnSpPr/>
          <p:nvPr>
            <p:custDataLst>
              <p:tags r:id="rId27"/>
            </p:custDataLst>
          </p:nvPr>
        </p:nvCxnSpPr>
        <p:spPr bwMode="auto">
          <a:xfrm flipV="1">
            <a:off x="6648552" y="3497037"/>
            <a:ext cx="1" cy="1296000"/>
          </a:xfrm>
          <a:prstGeom prst="line">
            <a:avLst/>
          </a:prstGeom>
          <a:noFill/>
          <a:ln w="19050" cap="flat" cmpd="sng" algn="ctr">
            <a:solidFill>
              <a:schemeClr val="accent6"/>
            </a:solidFill>
            <a:prstDash val="solid"/>
            <a:round/>
            <a:headEnd type="none" w="med" len="med"/>
            <a:tailEnd type="none" w="med" len="med"/>
          </a:ln>
          <a:effectLst/>
        </p:spPr>
      </p:cxnSp>
      <p:sp>
        <p:nvSpPr>
          <p:cNvPr id="97" name="矩形 96"/>
          <p:cNvSpPr/>
          <p:nvPr>
            <p:custDataLst>
              <p:tags r:id="rId28"/>
            </p:custDataLst>
          </p:nvPr>
        </p:nvSpPr>
        <p:spPr>
          <a:xfrm>
            <a:off x="2205487" y="1386318"/>
            <a:ext cx="2466556" cy="791845"/>
          </a:xfrm>
          <a:prstGeom prst="rect">
            <a:avLst/>
          </a:prstGeom>
        </p:spPr>
        <p:txBody>
          <a:bodyPr wrap="square">
            <a:spAutoFit/>
          </a:bodyPr>
          <a:lstStyle/>
          <a:p>
            <a:pPr>
              <a:lnSpc>
                <a:spcPct val="120000"/>
              </a:lnSpc>
            </a:pPr>
            <a:r>
              <a:rPr lang="zh-CN" altLang="en-US" sz="1400" b="1" dirty="0">
                <a:solidFill>
                  <a:schemeClr val="tx2"/>
                </a:solidFill>
                <a:latin typeface="微软雅黑" panose="020B0503020204020204" pitchFamily="34" charset="-122"/>
                <a:ea typeface="微软雅黑" panose="020B0503020204020204" pitchFamily="34" charset="-122"/>
                <a:cs typeface="Calibri" panose="020F0502020204030204" charset="0"/>
              </a:rPr>
              <a:t>计算层</a:t>
            </a:r>
            <a:r>
              <a:rPr lang="en-US" altLang="zh-CN" sz="1400" b="1" dirty="0">
                <a:solidFill>
                  <a:schemeClr val="tx2"/>
                </a:solidFill>
                <a:latin typeface="微软雅黑" panose="020B0503020204020204" pitchFamily="34" charset="-122"/>
                <a:ea typeface="微软雅黑" panose="020B0503020204020204" pitchFamily="34" charset="-122"/>
                <a:cs typeface="Calibri" panose="020F0502020204030204" charset="0"/>
              </a:rPr>
              <a:t>--</a:t>
            </a:r>
            <a:r>
              <a:rPr lang="zh-CN" altLang="en-US" sz="1400" b="1" dirty="0">
                <a:solidFill>
                  <a:schemeClr val="tx2"/>
                </a:solidFill>
                <a:latin typeface="微软雅黑" panose="020B0503020204020204" pitchFamily="34" charset="-122"/>
                <a:ea typeface="微软雅黑" panose="020B0503020204020204" pitchFamily="34" charset="-122"/>
                <a:cs typeface="Calibri" panose="020F0502020204030204" charset="0"/>
              </a:rPr>
              <a:t>国产机架服务器</a:t>
            </a:r>
            <a:endParaRPr lang="en-US" altLang="zh-CN" sz="1400" b="1" dirty="0">
              <a:solidFill>
                <a:schemeClr val="tx2"/>
              </a:solidFill>
              <a:latin typeface="微软雅黑" panose="020B0503020204020204" pitchFamily="34" charset="-122"/>
              <a:ea typeface="微软雅黑" panose="020B0503020204020204" pitchFamily="34" charset="-122"/>
              <a:cs typeface="Calibri" panose="020F0502020204030204" charset="0"/>
            </a:endParaRPr>
          </a:p>
          <a:p>
            <a:pPr marL="171450" indent="-171450">
              <a:lnSpc>
                <a:spcPct val="120000"/>
              </a:lnSpc>
              <a:buFontTx/>
              <a:buChar char="-"/>
            </a:pPr>
            <a:r>
              <a:rPr lang="zh-CN" altLang="en-US" sz="1200" dirty="0">
                <a:solidFill>
                  <a:schemeClr val="tx2"/>
                </a:solidFill>
                <a:latin typeface="微软雅黑" panose="020B0503020204020204" pitchFamily="34" charset="-122"/>
                <a:ea typeface="微软雅黑" panose="020B0503020204020204" pitchFamily="34" charset="-122"/>
                <a:cs typeface="Calibri" panose="020F0502020204030204" charset="0"/>
              </a:rPr>
              <a:t>安装数据库</a:t>
            </a:r>
            <a:r>
              <a:rPr lang="en-US" altLang="zh-CN" sz="1200" dirty="0">
                <a:solidFill>
                  <a:schemeClr val="tx2"/>
                </a:solidFill>
                <a:latin typeface="微软雅黑" panose="020B0503020204020204" pitchFamily="34" charset="-122"/>
                <a:ea typeface="微软雅黑" panose="020B0503020204020204" pitchFamily="34" charset="-122"/>
                <a:cs typeface="Calibri" panose="020F0502020204030204" charset="0"/>
              </a:rPr>
              <a:t>DB</a:t>
            </a:r>
            <a:r>
              <a:rPr lang="zh-CN" altLang="en-US" sz="1200" dirty="0">
                <a:solidFill>
                  <a:schemeClr val="tx2"/>
                </a:solidFill>
                <a:latin typeface="微软雅黑" panose="020B0503020204020204" pitchFamily="34" charset="-122"/>
                <a:ea typeface="微软雅黑" panose="020B0503020204020204" pitchFamily="34" charset="-122"/>
                <a:cs typeface="Calibri" panose="020F0502020204030204" charset="0"/>
              </a:rPr>
              <a:t>软件</a:t>
            </a:r>
            <a:endParaRPr lang="en-US" altLang="zh-CN" sz="1200" dirty="0">
              <a:solidFill>
                <a:schemeClr val="tx2"/>
              </a:solidFill>
              <a:latin typeface="微软雅黑" panose="020B0503020204020204" pitchFamily="34" charset="-122"/>
              <a:ea typeface="微软雅黑" panose="020B0503020204020204" pitchFamily="34" charset="-122"/>
              <a:cs typeface="Calibri" panose="020F0502020204030204" charset="0"/>
            </a:endParaRPr>
          </a:p>
          <a:p>
            <a:pPr marL="171450" indent="-171450">
              <a:lnSpc>
                <a:spcPct val="120000"/>
              </a:lnSpc>
              <a:buFontTx/>
              <a:buChar char="-"/>
            </a:pPr>
            <a:r>
              <a:rPr lang="zh-CN" altLang="en-US" sz="1200" dirty="0">
                <a:solidFill>
                  <a:schemeClr val="tx2"/>
                </a:solidFill>
                <a:latin typeface="微软雅黑" panose="020B0503020204020204" pitchFamily="34" charset="-122"/>
                <a:ea typeface="微软雅黑" panose="020B0503020204020204" pitchFamily="34" charset="-122"/>
                <a:cs typeface="Calibri" panose="020F0502020204030204" charset="0"/>
              </a:rPr>
              <a:t>提供计算资源</a:t>
            </a:r>
            <a:endParaRPr lang="en-US" altLang="zh-CN" sz="1200" dirty="0">
              <a:solidFill>
                <a:schemeClr val="tx2"/>
              </a:solidFill>
              <a:latin typeface="微软雅黑" panose="020B0503020204020204" pitchFamily="34" charset="-122"/>
              <a:ea typeface="微软雅黑" panose="020B0503020204020204" pitchFamily="34" charset="-122"/>
              <a:cs typeface="Calibri" panose="020F0502020204030204" charset="0"/>
            </a:endParaRPr>
          </a:p>
        </p:txBody>
      </p:sp>
      <p:sp>
        <p:nvSpPr>
          <p:cNvPr id="99" name="矩形 98"/>
          <p:cNvSpPr/>
          <p:nvPr>
            <p:custDataLst>
              <p:tags r:id="rId29"/>
            </p:custDataLst>
          </p:nvPr>
        </p:nvSpPr>
        <p:spPr>
          <a:xfrm>
            <a:off x="2205487" y="2759304"/>
            <a:ext cx="2466556" cy="791845"/>
          </a:xfrm>
          <a:prstGeom prst="rect">
            <a:avLst/>
          </a:prstGeom>
        </p:spPr>
        <p:txBody>
          <a:bodyPr wrap="square">
            <a:spAutoFit/>
          </a:bodyPr>
          <a:lstStyle/>
          <a:p>
            <a:pPr>
              <a:lnSpc>
                <a:spcPct val="120000"/>
              </a:lnSpc>
            </a:pPr>
            <a:r>
              <a:rPr lang="zh-CN" altLang="en-US" sz="1400" b="1" dirty="0">
                <a:solidFill>
                  <a:schemeClr val="tx2"/>
                </a:solidFill>
                <a:latin typeface="微软雅黑" panose="020B0503020204020204" pitchFamily="34" charset="-122"/>
                <a:ea typeface="微软雅黑" panose="020B0503020204020204" pitchFamily="34" charset="-122"/>
                <a:cs typeface="Calibri" panose="020F0502020204030204" charset="0"/>
              </a:rPr>
              <a:t>内联网络层</a:t>
            </a:r>
            <a:r>
              <a:rPr lang="en-US" altLang="zh-CN" sz="1400" b="1" dirty="0">
                <a:solidFill>
                  <a:schemeClr val="tx2"/>
                </a:solidFill>
                <a:latin typeface="微软雅黑" panose="020B0503020204020204" pitchFamily="34" charset="-122"/>
                <a:ea typeface="微软雅黑" panose="020B0503020204020204" pitchFamily="34" charset="-122"/>
                <a:cs typeface="Calibri" panose="020F0502020204030204" charset="0"/>
              </a:rPr>
              <a:t>-- RDMA</a:t>
            </a:r>
            <a:r>
              <a:rPr lang="zh-CN" altLang="en-US" sz="1400" b="1" dirty="0">
                <a:solidFill>
                  <a:schemeClr val="tx2"/>
                </a:solidFill>
                <a:latin typeface="微软雅黑" panose="020B0503020204020204" pitchFamily="34" charset="-122"/>
                <a:ea typeface="微软雅黑" panose="020B0503020204020204" pitchFamily="34" charset="-122"/>
                <a:cs typeface="Calibri" panose="020F0502020204030204" charset="0"/>
              </a:rPr>
              <a:t>交换机</a:t>
            </a:r>
            <a:endParaRPr lang="en-US" altLang="zh-CN" sz="1400" b="1" dirty="0">
              <a:solidFill>
                <a:schemeClr val="tx2"/>
              </a:solidFill>
              <a:latin typeface="微软雅黑" panose="020B0503020204020204" pitchFamily="34" charset="-122"/>
              <a:ea typeface="微软雅黑" panose="020B0503020204020204" pitchFamily="34" charset="-122"/>
              <a:cs typeface="Calibri" panose="020F0502020204030204" charset="0"/>
            </a:endParaRPr>
          </a:p>
          <a:p>
            <a:pPr marL="171450" indent="-171450">
              <a:lnSpc>
                <a:spcPct val="120000"/>
              </a:lnSpc>
              <a:buFontTx/>
              <a:buChar char="-"/>
            </a:pPr>
            <a:r>
              <a:rPr lang="en-US" altLang="zh-CN" sz="1200" dirty="0">
                <a:solidFill>
                  <a:schemeClr val="tx2"/>
                </a:solidFill>
                <a:latin typeface="微软雅黑" panose="020B0503020204020204" pitchFamily="34" charset="-122"/>
                <a:ea typeface="微软雅黑" panose="020B0503020204020204" pitchFamily="34" charset="-122"/>
                <a:cs typeface="Calibri" panose="020F0502020204030204" charset="0"/>
              </a:rPr>
              <a:t>Infiniband</a:t>
            </a:r>
            <a:r>
              <a:rPr lang="zh-CN" altLang="en-US" sz="1200" dirty="0">
                <a:solidFill>
                  <a:schemeClr val="tx2"/>
                </a:solidFill>
                <a:latin typeface="微软雅黑" panose="020B0503020204020204" pitchFamily="34" charset="-122"/>
                <a:ea typeface="微软雅黑" panose="020B0503020204020204" pitchFamily="34" charset="-122"/>
                <a:cs typeface="Calibri" panose="020F0502020204030204" charset="0"/>
                <a:sym typeface="+mn-ea"/>
              </a:rPr>
              <a:t>或万兆</a:t>
            </a:r>
            <a:r>
              <a:rPr lang="zh-CN" altLang="en-US" sz="1200" dirty="0">
                <a:solidFill>
                  <a:schemeClr val="tx2"/>
                </a:solidFill>
                <a:latin typeface="微软雅黑" panose="020B0503020204020204" pitchFamily="34" charset="-122"/>
                <a:ea typeface="微软雅黑" panose="020B0503020204020204" pitchFamily="34" charset="-122"/>
                <a:cs typeface="Calibri" panose="020F0502020204030204" charset="0"/>
              </a:rPr>
              <a:t>交换机</a:t>
            </a:r>
            <a:endParaRPr lang="en-US" altLang="zh-CN" sz="1200" dirty="0">
              <a:solidFill>
                <a:schemeClr val="tx2"/>
              </a:solidFill>
              <a:latin typeface="微软雅黑" panose="020B0503020204020204" pitchFamily="34" charset="-122"/>
              <a:ea typeface="微软雅黑" panose="020B0503020204020204" pitchFamily="34" charset="-122"/>
              <a:cs typeface="Calibri" panose="020F0502020204030204" charset="0"/>
            </a:endParaRPr>
          </a:p>
          <a:p>
            <a:pPr marL="171450" indent="-171450">
              <a:lnSpc>
                <a:spcPct val="120000"/>
              </a:lnSpc>
              <a:buFontTx/>
              <a:buChar char="-"/>
            </a:pPr>
            <a:r>
              <a:rPr lang="zh-CN" altLang="en-US" sz="1200" dirty="0">
                <a:solidFill>
                  <a:schemeClr val="tx2"/>
                </a:solidFill>
                <a:latin typeface="微软雅黑" panose="020B0503020204020204" pitchFamily="34" charset="-122"/>
                <a:ea typeface="微软雅黑" panose="020B0503020204020204" pitchFamily="34" charset="-122"/>
                <a:cs typeface="Calibri" panose="020F0502020204030204" charset="0"/>
              </a:rPr>
              <a:t>提供内联高速传输</a:t>
            </a:r>
            <a:endParaRPr lang="en-US" altLang="zh-CN" sz="1200" dirty="0">
              <a:solidFill>
                <a:schemeClr val="tx2"/>
              </a:solidFill>
              <a:latin typeface="微软雅黑" panose="020B0503020204020204" pitchFamily="34" charset="-122"/>
              <a:ea typeface="微软雅黑" panose="020B0503020204020204" pitchFamily="34" charset="-122"/>
              <a:cs typeface="Calibri" panose="020F0502020204030204" charset="0"/>
            </a:endParaRPr>
          </a:p>
        </p:txBody>
      </p:sp>
      <p:sp>
        <p:nvSpPr>
          <p:cNvPr id="100" name="矩形 99"/>
          <p:cNvSpPr/>
          <p:nvPr>
            <p:custDataLst>
              <p:tags r:id="rId30"/>
            </p:custDataLst>
          </p:nvPr>
        </p:nvSpPr>
        <p:spPr>
          <a:xfrm>
            <a:off x="2205487" y="4429721"/>
            <a:ext cx="2466556" cy="749300"/>
          </a:xfrm>
          <a:prstGeom prst="rect">
            <a:avLst/>
          </a:prstGeom>
        </p:spPr>
        <p:txBody>
          <a:bodyPr wrap="square">
            <a:spAutoFit/>
          </a:bodyPr>
          <a:lstStyle/>
          <a:p>
            <a:r>
              <a:rPr lang="zh-CN" altLang="en-US" sz="1400" b="1" dirty="0">
                <a:solidFill>
                  <a:schemeClr val="tx2"/>
                </a:solidFill>
                <a:latin typeface="微软雅黑" panose="020B0503020204020204" pitchFamily="34" charset="-122"/>
                <a:ea typeface="微软雅黑" panose="020B0503020204020204" pitchFamily="34" charset="-122"/>
                <a:cs typeface="Calibri" panose="020F0502020204030204" charset="0"/>
              </a:rPr>
              <a:t>存储层</a:t>
            </a:r>
            <a:r>
              <a:rPr lang="en-US" altLang="zh-CN" sz="1400" b="1" dirty="0">
                <a:solidFill>
                  <a:schemeClr val="tx2"/>
                </a:solidFill>
                <a:latin typeface="微软雅黑" panose="020B0503020204020204" pitchFamily="34" charset="-122"/>
                <a:ea typeface="微软雅黑" panose="020B0503020204020204" pitchFamily="34" charset="-122"/>
                <a:cs typeface="Calibri" panose="020F0502020204030204" charset="0"/>
              </a:rPr>
              <a:t>--</a:t>
            </a:r>
            <a:r>
              <a:rPr lang="zh-CN" altLang="en-US" sz="1400" b="1" dirty="0">
                <a:solidFill>
                  <a:schemeClr val="tx2"/>
                </a:solidFill>
                <a:latin typeface="微软雅黑" panose="020B0503020204020204" pitchFamily="34" charset="-122"/>
                <a:ea typeface="微软雅黑" panose="020B0503020204020204" pitchFamily="34" charset="-122"/>
                <a:cs typeface="Calibri" panose="020F0502020204030204" charset="0"/>
              </a:rPr>
              <a:t>国产机架服务器</a:t>
            </a:r>
            <a:endParaRPr lang="en-US" altLang="zh-CN" sz="1400" b="1" dirty="0">
              <a:solidFill>
                <a:schemeClr val="tx2"/>
              </a:solidFill>
              <a:latin typeface="微软雅黑" panose="020B0503020204020204" pitchFamily="34" charset="-122"/>
              <a:ea typeface="微软雅黑" panose="020B0503020204020204" pitchFamily="34" charset="-122"/>
              <a:cs typeface="Calibri" panose="020F0502020204030204" charset="0"/>
            </a:endParaRPr>
          </a:p>
          <a:p>
            <a:pPr marL="171450" indent="-171450">
              <a:lnSpc>
                <a:spcPct val="120000"/>
              </a:lnSpc>
              <a:buFontTx/>
              <a:buChar char="-"/>
            </a:pPr>
            <a:r>
              <a:rPr lang="zh-CN" altLang="en-US" sz="1200" dirty="0">
                <a:solidFill>
                  <a:schemeClr val="tx2"/>
                </a:solidFill>
                <a:latin typeface="微软雅黑" panose="020B0503020204020204" pitchFamily="34" charset="-122"/>
                <a:ea typeface="微软雅黑" panose="020B0503020204020204" pitchFamily="34" charset="-122"/>
                <a:cs typeface="Calibri" panose="020F0502020204030204" charset="0"/>
              </a:rPr>
              <a:t>存储数据及闪存技术</a:t>
            </a:r>
            <a:endParaRPr lang="en-US" altLang="zh-CN" sz="1200" dirty="0">
              <a:solidFill>
                <a:schemeClr val="tx2"/>
              </a:solidFill>
              <a:latin typeface="微软雅黑" panose="020B0503020204020204" pitchFamily="34" charset="-122"/>
              <a:ea typeface="微软雅黑" panose="020B0503020204020204" pitchFamily="34" charset="-122"/>
              <a:cs typeface="Calibri" panose="020F0502020204030204" charset="0"/>
            </a:endParaRPr>
          </a:p>
          <a:p>
            <a:pPr marL="171450" indent="-171450">
              <a:lnSpc>
                <a:spcPct val="120000"/>
              </a:lnSpc>
              <a:buFontTx/>
              <a:buChar char="-"/>
            </a:pPr>
            <a:r>
              <a:rPr lang="zh-CN" altLang="en-US" sz="1200" dirty="0">
                <a:solidFill>
                  <a:schemeClr val="tx2"/>
                </a:solidFill>
                <a:latin typeface="微软雅黑" panose="020B0503020204020204" pitchFamily="34" charset="-122"/>
                <a:ea typeface="微软雅黑" panose="020B0503020204020204" pitchFamily="34" charset="-122"/>
                <a:cs typeface="Calibri" panose="020F0502020204030204" charset="0"/>
              </a:rPr>
              <a:t>提供高速</a:t>
            </a:r>
            <a:r>
              <a:rPr lang="en-US" altLang="zh-CN" sz="1200" dirty="0">
                <a:solidFill>
                  <a:schemeClr val="tx2"/>
                </a:solidFill>
                <a:latin typeface="微软雅黑" panose="020B0503020204020204" pitchFamily="34" charset="-122"/>
                <a:ea typeface="微软雅黑" panose="020B0503020204020204" pitchFamily="34" charset="-122"/>
                <a:cs typeface="Calibri" panose="020F0502020204030204" charset="0"/>
              </a:rPr>
              <a:t>IO</a:t>
            </a:r>
            <a:r>
              <a:rPr lang="zh-CN" altLang="en-US" sz="1200" dirty="0">
                <a:solidFill>
                  <a:schemeClr val="tx2"/>
                </a:solidFill>
                <a:latin typeface="微软雅黑" panose="020B0503020204020204" pitchFamily="34" charset="-122"/>
                <a:ea typeface="微软雅黑" panose="020B0503020204020204" pitchFamily="34" charset="-122"/>
                <a:cs typeface="Calibri" panose="020F0502020204030204" charset="0"/>
              </a:rPr>
              <a:t>输出</a:t>
            </a:r>
            <a:endParaRPr lang="en-US" altLang="zh-CN" sz="1200" dirty="0">
              <a:solidFill>
                <a:schemeClr val="tx2"/>
              </a:solidFill>
              <a:latin typeface="微软雅黑" panose="020B0503020204020204" pitchFamily="34" charset="-122"/>
              <a:ea typeface="微软雅黑" panose="020B0503020204020204" pitchFamily="34" charset="-122"/>
              <a:cs typeface="Calibri" panose="020F0502020204030204" charset="0"/>
            </a:endParaRPr>
          </a:p>
        </p:txBody>
      </p:sp>
      <p:grpSp>
        <p:nvGrpSpPr>
          <p:cNvPr id="101" name="组合 100"/>
          <p:cNvGrpSpPr/>
          <p:nvPr/>
        </p:nvGrpSpPr>
        <p:grpSpPr>
          <a:xfrm>
            <a:off x="7839183" y="2072995"/>
            <a:ext cx="359023" cy="60663"/>
            <a:chOff x="3124200" y="3932555"/>
            <a:chExt cx="504825" cy="105354"/>
          </a:xfrm>
          <a:effectLst>
            <a:outerShdw blurRad="50800" dist="38100" dir="2700000" algn="tl" rotWithShape="0">
              <a:prstClr val="black">
                <a:alpha val="40000"/>
              </a:prstClr>
            </a:outerShdw>
          </a:effectLst>
        </p:grpSpPr>
        <p:sp>
          <p:nvSpPr>
            <p:cNvPr id="102" name="Oval 20"/>
            <p:cNvSpPr>
              <a:spLocks noChangeArrowheads="1"/>
            </p:cNvSpPr>
            <p:nvPr>
              <p:custDataLst>
                <p:tags r:id="rId31"/>
              </p:custDataLst>
            </p:nvPr>
          </p:nvSpPr>
          <p:spPr bwMode="gray">
            <a:xfrm>
              <a:off x="3528060" y="3932555"/>
              <a:ext cx="100965" cy="99378"/>
            </a:xfrm>
            <a:prstGeom prst="ellipse">
              <a:avLst/>
            </a:prstGeom>
            <a:solidFill>
              <a:srgbClr val="0070C0"/>
            </a:solidFill>
            <a:ln>
              <a:noFill/>
            </a:ln>
          </p:spPr>
          <p:txBody>
            <a:bodyPr wrap="none" anchor="ctr"/>
            <a:lstStyle/>
            <a:p>
              <a:endParaRPr lang="zh-CN" altLang="en-US"/>
            </a:p>
          </p:txBody>
        </p:sp>
        <p:sp>
          <p:nvSpPr>
            <p:cNvPr id="103" name="Oval 26"/>
            <p:cNvSpPr>
              <a:spLocks noChangeArrowheads="1"/>
            </p:cNvSpPr>
            <p:nvPr>
              <p:custDataLst>
                <p:tags r:id="rId32"/>
              </p:custDataLst>
            </p:nvPr>
          </p:nvSpPr>
          <p:spPr bwMode="gray">
            <a:xfrm>
              <a:off x="3326130" y="3932555"/>
              <a:ext cx="100965" cy="99378"/>
            </a:xfrm>
            <a:prstGeom prst="ellipse">
              <a:avLst/>
            </a:prstGeom>
            <a:solidFill>
              <a:srgbClr val="0070C0"/>
            </a:solidFill>
            <a:ln>
              <a:noFill/>
            </a:ln>
          </p:spPr>
          <p:txBody>
            <a:bodyPr wrap="none" anchor="ctr"/>
            <a:lstStyle/>
            <a:p>
              <a:endParaRPr lang="zh-CN" altLang="en-US"/>
            </a:p>
          </p:txBody>
        </p:sp>
        <p:sp>
          <p:nvSpPr>
            <p:cNvPr id="104" name="Oval 28"/>
            <p:cNvSpPr>
              <a:spLocks noChangeArrowheads="1"/>
            </p:cNvSpPr>
            <p:nvPr>
              <p:custDataLst>
                <p:tags r:id="rId33"/>
              </p:custDataLst>
            </p:nvPr>
          </p:nvSpPr>
          <p:spPr bwMode="gray">
            <a:xfrm>
              <a:off x="3124200" y="3938531"/>
              <a:ext cx="100966" cy="99378"/>
            </a:xfrm>
            <a:prstGeom prst="ellipse">
              <a:avLst/>
            </a:prstGeom>
            <a:solidFill>
              <a:srgbClr val="0070C0"/>
            </a:solidFill>
            <a:ln>
              <a:noFill/>
            </a:ln>
          </p:spPr>
          <p:txBody>
            <a:bodyPr wrap="none" anchor="ctr"/>
            <a:lstStyle/>
            <a:p>
              <a:endParaRPr lang="zh-CN" altLang="en-US"/>
            </a:p>
          </p:txBody>
        </p:sp>
      </p:grpSp>
      <p:grpSp>
        <p:nvGrpSpPr>
          <p:cNvPr id="105" name="组合 104"/>
          <p:cNvGrpSpPr/>
          <p:nvPr/>
        </p:nvGrpSpPr>
        <p:grpSpPr>
          <a:xfrm>
            <a:off x="7868273" y="3373578"/>
            <a:ext cx="359023" cy="60663"/>
            <a:chOff x="3124200" y="3932555"/>
            <a:chExt cx="504825" cy="105354"/>
          </a:xfrm>
          <a:effectLst>
            <a:outerShdw blurRad="50800" dist="38100" dir="2700000" algn="tl" rotWithShape="0">
              <a:prstClr val="black">
                <a:alpha val="40000"/>
              </a:prstClr>
            </a:outerShdw>
          </a:effectLst>
        </p:grpSpPr>
        <p:sp>
          <p:nvSpPr>
            <p:cNvPr id="106" name="Oval 20"/>
            <p:cNvSpPr>
              <a:spLocks noChangeArrowheads="1"/>
            </p:cNvSpPr>
            <p:nvPr>
              <p:custDataLst>
                <p:tags r:id="rId34"/>
              </p:custDataLst>
            </p:nvPr>
          </p:nvSpPr>
          <p:spPr bwMode="gray">
            <a:xfrm>
              <a:off x="3528060" y="3932555"/>
              <a:ext cx="100965" cy="99378"/>
            </a:xfrm>
            <a:prstGeom prst="ellipse">
              <a:avLst/>
            </a:prstGeom>
            <a:solidFill>
              <a:srgbClr val="0070C0"/>
            </a:solidFill>
            <a:ln>
              <a:noFill/>
            </a:ln>
          </p:spPr>
          <p:txBody>
            <a:bodyPr wrap="none" anchor="ctr"/>
            <a:lstStyle/>
            <a:p>
              <a:endParaRPr lang="zh-CN" altLang="en-US"/>
            </a:p>
          </p:txBody>
        </p:sp>
        <p:sp>
          <p:nvSpPr>
            <p:cNvPr id="107" name="Oval 26"/>
            <p:cNvSpPr>
              <a:spLocks noChangeArrowheads="1"/>
            </p:cNvSpPr>
            <p:nvPr>
              <p:custDataLst>
                <p:tags r:id="rId35"/>
              </p:custDataLst>
            </p:nvPr>
          </p:nvSpPr>
          <p:spPr bwMode="gray">
            <a:xfrm>
              <a:off x="3326130" y="3932555"/>
              <a:ext cx="100965" cy="99378"/>
            </a:xfrm>
            <a:prstGeom prst="ellipse">
              <a:avLst/>
            </a:prstGeom>
            <a:solidFill>
              <a:srgbClr val="0070C0"/>
            </a:solidFill>
            <a:ln>
              <a:noFill/>
            </a:ln>
          </p:spPr>
          <p:txBody>
            <a:bodyPr wrap="none" anchor="ctr"/>
            <a:lstStyle/>
            <a:p>
              <a:endParaRPr lang="zh-CN" altLang="en-US"/>
            </a:p>
          </p:txBody>
        </p:sp>
        <p:sp>
          <p:nvSpPr>
            <p:cNvPr id="108" name="Oval 28"/>
            <p:cNvSpPr>
              <a:spLocks noChangeArrowheads="1"/>
            </p:cNvSpPr>
            <p:nvPr>
              <p:custDataLst>
                <p:tags r:id="rId36"/>
              </p:custDataLst>
            </p:nvPr>
          </p:nvSpPr>
          <p:spPr bwMode="gray">
            <a:xfrm>
              <a:off x="3124200" y="3938531"/>
              <a:ext cx="100966" cy="99378"/>
            </a:xfrm>
            <a:prstGeom prst="ellipse">
              <a:avLst/>
            </a:prstGeom>
            <a:solidFill>
              <a:srgbClr val="0070C0"/>
            </a:solidFill>
            <a:ln>
              <a:noFill/>
            </a:ln>
          </p:spPr>
          <p:txBody>
            <a:bodyPr wrap="none" anchor="ctr"/>
            <a:lstStyle/>
            <a:p>
              <a:endParaRPr lang="zh-CN" altLang="en-US"/>
            </a:p>
          </p:txBody>
        </p:sp>
      </p:grpSp>
      <p:grpSp>
        <p:nvGrpSpPr>
          <p:cNvPr id="109" name="组合 108"/>
          <p:cNvGrpSpPr/>
          <p:nvPr/>
        </p:nvGrpSpPr>
        <p:grpSpPr>
          <a:xfrm>
            <a:off x="9371008" y="5109087"/>
            <a:ext cx="359023" cy="60663"/>
            <a:chOff x="3124200" y="3932555"/>
            <a:chExt cx="504825" cy="105354"/>
          </a:xfrm>
          <a:effectLst>
            <a:outerShdw blurRad="50800" dist="38100" dir="2700000" algn="tl" rotWithShape="0">
              <a:prstClr val="black">
                <a:alpha val="40000"/>
              </a:prstClr>
            </a:outerShdw>
          </a:effectLst>
        </p:grpSpPr>
        <p:sp>
          <p:nvSpPr>
            <p:cNvPr id="110" name="Oval 20"/>
            <p:cNvSpPr>
              <a:spLocks noChangeArrowheads="1"/>
            </p:cNvSpPr>
            <p:nvPr>
              <p:custDataLst>
                <p:tags r:id="rId37"/>
              </p:custDataLst>
            </p:nvPr>
          </p:nvSpPr>
          <p:spPr bwMode="gray">
            <a:xfrm>
              <a:off x="3528060" y="3932555"/>
              <a:ext cx="100965" cy="99378"/>
            </a:xfrm>
            <a:prstGeom prst="ellipse">
              <a:avLst/>
            </a:prstGeom>
            <a:solidFill>
              <a:srgbClr val="0070C0"/>
            </a:solidFill>
            <a:ln>
              <a:noFill/>
            </a:ln>
          </p:spPr>
          <p:txBody>
            <a:bodyPr wrap="none" anchor="ctr"/>
            <a:lstStyle/>
            <a:p>
              <a:endParaRPr lang="zh-CN" altLang="en-US" sz="1200"/>
            </a:p>
          </p:txBody>
        </p:sp>
        <p:sp>
          <p:nvSpPr>
            <p:cNvPr id="112" name="Oval 26"/>
            <p:cNvSpPr>
              <a:spLocks noChangeArrowheads="1"/>
            </p:cNvSpPr>
            <p:nvPr>
              <p:custDataLst>
                <p:tags r:id="rId38"/>
              </p:custDataLst>
            </p:nvPr>
          </p:nvSpPr>
          <p:spPr bwMode="gray">
            <a:xfrm>
              <a:off x="3326130" y="3932555"/>
              <a:ext cx="100965" cy="99378"/>
            </a:xfrm>
            <a:prstGeom prst="ellipse">
              <a:avLst/>
            </a:prstGeom>
            <a:solidFill>
              <a:srgbClr val="0070C0"/>
            </a:solidFill>
            <a:ln>
              <a:noFill/>
            </a:ln>
          </p:spPr>
          <p:txBody>
            <a:bodyPr wrap="none" anchor="ctr"/>
            <a:lstStyle/>
            <a:p>
              <a:endParaRPr lang="zh-CN" altLang="en-US" sz="1200"/>
            </a:p>
          </p:txBody>
        </p:sp>
        <p:sp>
          <p:nvSpPr>
            <p:cNvPr id="115" name="Oval 28"/>
            <p:cNvSpPr>
              <a:spLocks noChangeArrowheads="1"/>
            </p:cNvSpPr>
            <p:nvPr>
              <p:custDataLst>
                <p:tags r:id="rId39"/>
              </p:custDataLst>
            </p:nvPr>
          </p:nvSpPr>
          <p:spPr bwMode="gray">
            <a:xfrm>
              <a:off x="3124200" y="3938531"/>
              <a:ext cx="100966" cy="99378"/>
            </a:xfrm>
            <a:prstGeom prst="ellipse">
              <a:avLst/>
            </a:prstGeom>
            <a:solidFill>
              <a:srgbClr val="0070C0"/>
            </a:solidFill>
            <a:ln>
              <a:noFill/>
            </a:ln>
          </p:spPr>
          <p:txBody>
            <a:bodyPr wrap="none" anchor="ctr"/>
            <a:lstStyle/>
            <a:p>
              <a:endParaRPr lang="zh-CN" altLang="en-US" sz="1200"/>
            </a:p>
          </p:txBody>
        </p:sp>
      </p:grpSp>
      <p:grpSp>
        <p:nvGrpSpPr>
          <p:cNvPr id="116" name="组合 115"/>
          <p:cNvGrpSpPr/>
          <p:nvPr/>
        </p:nvGrpSpPr>
        <p:grpSpPr>
          <a:xfrm>
            <a:off x="3970149" y="5471670"/>
            <a:ext cx="1010818" cy="415754"/>
            <a:chOff x="2442839" y="5385310"/>
            <a:chExt cx="1010818" cy="415754"/>
          </a:xfrm>
        </p:grpSpPr>
        <p:pic>
          <p:nvPicPr>
            <p:cNvPr id="118" name="Picture 2" descr="\\Mac\Home\Desktop\SSD.png"/>
            <p:cNvPicPr>
              <a:picLocks noChangeAspect="1" noChangeArrowheads="1"/>
            </p:cNvPicPr>
            <p:nvPr>
              <p:custDataLst>
                <p:tags r:id="rId40"/>
              </p:custDataLst>
            </p:nvPr>
          </p:nvPicPr>
          <p:blipFill>
            <a:blip r:embed="rId41" cstate="print">
              <a:extLst>
                <a:ext uri="{28A0092B-C50C-407E-A947-70E740481C1C}">
                  <a14:useLocalDpi xmlns:a14="http://schemas.microsoft.com/office/drawing/2010/main" val="0"/>
                </a:ext>
              </a:extLst>
            </a:blip>
            <a:srcRect/>
            <a:stretch>
              <a:fillRect/>
            </a:stretch>
          </p:blipFill>
          <p:spPr bwMode="auto">
            <a:xfrm>
              <a:off x="2442839" y="5385310"/>
              <a:ext cx="415754" cy="415754"/>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3" descr="\\Mac\Home\Desktop\NVMe.png"/>
            <p:cNvPicPr>
              <a:picLocks noChangeAspect="1" noChangeArrowheads="1"/>
            </p:cNvPicPr>
            <p:nvPr>
              <p:custDataLst>
                <p:tags r:id="rId42"/>
              </p:custDataLst>
            </p:nvPr>
          </p:nvPicPr>
          <p:blipFill>
            <a:blip r:embed="rId43" cstate="print">
              <a:extLst>
                <a:ext uri="{28A0092B-C50C-407E-A947-70E740481C1C}">
                  <a14:useLocalDpi xmlns:a14="http://schemas.microsoft.com/office/drawing/2010/main" val="0"/>
                </a:ext>
              </a:extLst>
            </a:blip>
            <a:srcRect/>
            <a:stretch>
              <a:fillRect/>
            </a:stretch>
          </p:blipFill>
          <p:spPr bwMode="auto">
            <a:xfrm>
              <a:off x="2884811" y="5400423"/>
              <a:ext cx="568846" cy="3617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0" name="组合 119"/>
          <p:cNvGrpSpPr/>
          <p:nvPr/>
        </p:nvGrpSpPr>
        <p:grpSpPr>
          <a:xfrm>
            <a:off x="5807047" y="5470392"/>
            <a:ext cx="1010818" cy="415754"/>
            <a:chOff x="2442839" y="5385310"/>
            <a:chExt cx="1010818" cy="415754"/>
          </a:xfrm>
        </p:grpSpPr>
        <p:pic>
          <p:nvPicPr>
            <p:cNvPr id="121" name="Picture 2" descr="\\Mac\Home\Desktop\SSD.png"/>
            <p:cNvPicPr>
              <a:picLocks noChangeAspect="1" noChangeArrowheads="1"/>
            </p:cNvPicPr>
            <p:nvPr>
              <p:custDataLst>
                <p:tags r:id="rId44"/>
              </p:custDataLst>
            </p:nvPr>
          </p:nvPicPr>
          <p:blipFill>
            <a:blip r:embed="rId41" cstate="print">
              <a:extLst>
                <a:ext uri="{28A0092B-C50C-407E-A947-70E740481C1C}">
                  <a14:useLocalDpi xmlns:a14="http://schemas.microsoft.com/office/drawing/2010/main" val="0"/>
                </a:ext>
              </a:extLst>
            </a:blip>
            <a:srcRect/>
            <a:stretch>
              <a:fillRect/>
            </a:stretch>
          </p:blipFill>
          <p:spPr bwMode="auto">
            <a:xfrm>
              <a:off x="2442839" y="5385310"/>
              <a:ext cx="415754" cy="415754"/>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3" descr="\\Mac\Home\Desktop\NVMe.png"/>
            <p:cNvPicPr>
              <a:picLocks noChangeAspect="1" noChangeArrowheads="1"/>
            </p:cNvPicPr>
            <p:nvPr>
              <p:custDataLst>
                <p:tags r:id="rId45"/>
              </p:custDataLst>
            </p:nvPr>
          </p:nvPicPr>
          <p:blipFill>
            <a:blip r:embed="rId43" cstate="print">
              <a:extLst>
                <a:ext uri="{28A0092B-C50C-407E-A947-70E740481C1C}">
                  <a14:useLocalDpi xmlns:a14="http://schemas.microsoft.com/office/drawing/2010/main" val="0"/>
                </a:ext>
              </a:extLst>
            </a:blip>
            <a:srcRect/>
            <a:stretch>
              <a:fillRect/>
            </a:stretch>
          </p:blipFill>
          <p:spPr bwMode="auto">
            <a:xfrm>
              <a:off x="2884811" y="5400423"/>
              <a:ext cx="568846" cy="3617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3" name="组合 132"/>
          <p:cNvGrpSpPr/>
          <p:nvPr/>
        </p:nvGrpSpPr>
        <p:grpSpPr>
          <a:xfrm>
            <a:off x="7650082" y="5469114"/>
            <a:ext cx="1010818" cy="415754"/>
            <a:chOff x="2442839" y="5385310"/>
            <a:chExt cx="1010818" cy="415754"/>
          </a:xfrm>
        </p:grpSpPr>
        <p:pic>
          <p:nvPicPr>
            <p:cNvPr id="134" name="Picture 2" descr="\\Mac\Home\Desktop\SSD.png"/>
            <p:cNvPicPr>
              <a:picLocks noChangeAspect="1" noChangeArrowheads="1"/>
            </p:cNvPicPr>
            <p:nvPr>
              <p:custDataLst>
                <p:tags r:id="rId46"/>
              </p:custDataLst>
            </p:nvPr>
          </p:nvPicPr>
          <p:blipFill>
            <a:blip r:embed="rId41" cstate="print">
              <a:extLst>
                <a:ext uri="{28A0092B-C50C-407E-A947-70E740481C1C}">
                  <a14:useLocalDpi xmlns:a14="http://schemas.microsoft.com/office/drawing/2010/main" val="0"/>
                </a:ext>
              </a:extLst>
            </a:blip>
            <a:srcRect/>
            <a:stretch>
              <a:fillRect/>
            </a:stretch>
          </p:blipFill>
          <p:spPr bwMode="auto">
            <a:xfrm>
              <a:off x="2442839" y="5385310"/>
              <a:ext cx="415754" cy="415754"/>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3" descr="\\Mac\Home\Desktop\NVMe.png"/>
            <p:cNvPicPr>
              <a:picLocks noChangeAspect="1" noChangeArrowheads="1"/>
            </p:cNvPicPr>
            <p:nvPr>
              <p:custDataLst>
                <p:tags r:id="rId47"/>
              </p:custDataLst>
            </p:nvPr>
          </p:nvPicPr>
          <p:blipFill>
            <a:blip r:embed="rId43" cstate="print">
              <a:extLst>
                <a:ext uri="{28A0092B-C50C-407E-A947-70E740481C1C}">
                  <a14:useLocalDpi xmlns:a14="http://schemas.microsoft.com/office/drawing/2010/main" val="0"/>
                </a:ext>
              </a:extLst>
            </a:blip>
            <a:srcRect/>
            <a:stretch>
              <a:fillRect/>
            </a:stretch>
          </p:blipFill>
          <p:spPr bwMode="auto">
            <a:xfrm>
              <a:off x="2884811" y="5400423"/>
              <a:ext cx="568846" cy="3617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6" name="组合 135"/>
          <p:cNvGrpSpPr/>
          <p:nvPr/>
        </p:nvGrpSpPr>
        <p:grpSpPr>
          <a:xfrm>
            <a:off x="8860339" y="5634748"/>
            <a:ext cx="359023" cy="60663"/>
            <a:chOff x="3124200" y="3932555"/>
            <a:chExt cx="504825" cy="105354"/>
          </a:xfrm>
          <a:effectLst>
            <a:outerShdw blurRad="50800" dist="38100" dir="2700000" algn="tl" rotWithShape="0">
              <a:prstClr val="black">
                <a:alpha val="40000"/>
              </a:prstClr>
            </a:outerShdw>
          </a:effectLst>
        </p:grpSpPr>
        <p:sp>
          <p:nvSpPr>
            <p:cNvPr id="137" name="Oval 20"/>
            <p:cNvSpPr>
              <a:spLocks noChangeArrowheads="1"/>
            </p:cNvSpPr>
            <p:nvPr>
              <p:custDataLst>
                <p:tags r:id="rId48"/>
              </p:custDataLst>
            </p:nvPr>
          </p:nvSpPr>
          <p:spPr bwMode="gray">
            <a:xfrm>
              <a:off x="3528060" y="3932555"/>
              <a:ext cx="100965" cy="99378"/>
            </a:xfrm>
            <a:prstGeom prst="ellipse">
              <a:avLst/>
            </a:prstGeom>
            <a:solidFill>
              <a:srgbClr val="0070C0"/>
            </a:solidFill>
            <a:ln>
              <a:noFill/>
            </a:ln>
          </p:spPr>
          <p:txBody>
            <a:bodyPr wrap="none" anchor="ctr"/>
            <a:lstStyle/>
            <a:p>
              <a:endParaRPr lang="zh-CN" altLang="en-US"/>
            </a:p>
          </p:txBody>
        </p:sp>
        <p:sp>
          <p:nvSpPr>
            <p:cNvPr id="138" name="Oval 26"/>
            <p:cNvSpPr>
              <a:spLocks noChangeArrowheads="1"/>
            </p:cNvSpPr>
            <p:nvPr>
              <p:custDataLst>
                <p:tags r:id="rId49"/>
              </p:custDataLst>
            </p:nvPr>
          </p:nvSpPr>
          <p:spPr bwMode="gray">
            <a:xfrm>
              <a:off x="3326130" y="3932555"/>
              <a:ext cx="100965" cy="99378"/>
            </a:xfrm>
            <a:prstGeom prst="ellipse">
              <a:avLst/>
            </a:prstGeom>
            <a:solidFill>
              <a:srgbClr val="0070C0"/>
            </a:solidFill>
            <a:ln>
              <a:noFill/>
            </a:ln>
          </p:spPr>
          <p:txBody>
            <a:bodyPr wrap="none" anchor="ctr"/>
            <a:lstStyle/>
            <a:p>
              <a:endParaRPr lang="zh-CN" altLang="en-US"/>
            </a:p>
          </p:txBody>
        </p:sp>
        <p:sp>
          <p:nvSpPr>
            <p:cNvPr id="139" name="Oval 28"/>
            <p:cNvSpPr>
              <a:spLocks noChangeArrowheads="1"/>
            </p:cNvSpPr>
            <p:nvPr>
              <p:custDataLst>
                <p:tags r:id="rId50"/>
              </p:custDataLst>
            </p:nvPr>
          </p:nvSpPr>
          <p:spPr bwMode="gray">
            <a:xfrm>
              <a:off x="3124200" y="3938531"/>
              <a:ext cx="100966" cy="99378"/>
            </a:xfrm>
            <a:prstGeom prst="ellipse">
              <a:avLst/>
            </a:prstGeom>
            <a:solidFill>
              <a:srgbClr val="0070C0"/>
            </a:solidFill>
            <a:ln>
              <a:noFill/>
            </a:ln>
          </p:spPr>
          <p:txBody>
            <a:bodyPr wrap="none" anchor="ctr"/>
            <a:lstStyle/>
            <a:p>
              <a:endParaRPr lang="zh-CN" altLang="en-US"/>
            </a:p>
          </p:txBody>
        </p:sp>
      </p:grpSp>
      <p:grpSp>
        <p:nvGrpSpPr>
          <p:cNvPr id="140" name="组合 139"/>
          <p:cNvGrpSpPr/>
          <p:nvPr/>
        </p:nvGrpSpPr>
        <p:grpSpPr>
          <a:xfrm>
            <a:off x="2130725" y="1385385"/>
            <a:ext cx="129107" cy="1368933"/>
            <a:chOff x="2130725" y="1299025"/>
            <a:chExt cx="129107" cy="1368933"/>
          </a:xfrm>
        </p:grpSpPr>
        <p:sp>
          <p:nvSpPr>
            <p:cNvPr id="141" name="矩形 140"/>
            <p:cNvSpPr/>
            <p:nvPr>
              <p:custDataLst>
                <p:tags r:id="rId51"/>
              </p:custDataLst>
            </p:nvPr>
          </p:nvSpPr>
          <p:spPr>
            <a:xfrm>
              <a:off x="2130725" y="1299025"/>
              <a:ext cx="69011" cy="136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2" name="左中括号 141"/>
            <p:cNvSpPr/>
            <p:nvPr>
              <p:custDataLst>
                <p:tags r:id="rId52"/>
              </p:custDataLst>
            </p:nvPr>
          </p:nvSpPr>
          <p:spPr>
            <a:xfrm>
              <a:off x="2214113" y="1299958"/>
              <a:ext cx="45719" cy="1368000"/>
            </a:xfrm>
            <a:prstGeom prst="leftBracket">
              <a:avLst/>
            </a:prstGeom>
            <a:ln w="1905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143" name="组合 142"/>
          <p:cNvGrpSpPr/>
          <p:nvPr/>
        </p:nvGrpSpPr>
        <p:grpSpPr>
          <a:xfrm>
            <a:off x="2130724" y="2785617"/>
            <a:ext cx="131983" cy="336397"/>
            <a:chOff x="2130724" y="2682005"/>
            <a:chExt cx="131983" cy="336397"/>
          </a:xfrm>
        </p:grpSpPr>
        <p:sp>
          <p:nvSpPr>
            <p:cNvPr id="144" name="矩形 143"/>
            <p:cNvSpPr/>
            <p:nvPr>
              <p:custDataLst>
                <p:tags r:id="rId53"/>
              </p:custDataLst>
            </p:nvPr>
          </p:nvSpPr>
          <p:spPr>
            <a:xfrm>
              <a:off x="2130724" y="2682005"/>
              <a:ext cx="69011" cy="324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5" name="左中括号 144"/>
            <p:cNvSpPr/>
            <p:nvPr>
              <p:custDataLst>
                <p:tags r:id="rId54"/>
              </p:custDataLst>
            </p:nvPr>
          </p:nvSpPr>
          <p:spPr>
            <a:xfrm>
              <a:off x="2216988" y="2694402"/>
              <a:ext cx="45719" cy="324000"/>
            </a:xfrm>
            <a:prstGeom prst="leftBracket">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146" name="组合 145"/>
          <p:cNvGrpSpPr/>
          <p:nvPr/>
        </p:nvGrpSpPr>
        <p:grpSpPr>
          <a:xfrm>
            <a:off x="2130725" y="3139084"/>
            <a:ext cx="134858" cy="2736879"/>
            <a:chOff x="2130725" y="3069976"/>
            <a:chExt cx="134858" cy="2736879"/>
          </a:xfrm>
        </p:grpSpPr>
        <p:sp>
          <p:nvSpPr>
            <p:cNvPr id="147" name="矩形 146"/>
            <p:cNvSpPr/>
            <p:nvPr>
              <p:custDataLst>
                <p:tags r:id="rId55"/>
              </p:custDataLst>
            </p:nvPr>
          </p:nvSpPr>
          <p:spPr>
            <a:xfrm>
              <a:off x="2130725" y="3070855"/>
              <a:ext cx="69011" cy="2736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8" name="左中括号 147"/>
            <p:cNvSpPr/>
            <p:nvPr>
              <p:custDataLst>
                <p:tags r:id="rId56"/>
              </p:custDataLst>
            </p:nvPr>
          </p:nvSpPr>
          <p:spPr>
            <a:xfrm>
              <a:off x="2219864" y="3069976"/>
              <a:ext cx="45719" cy="2736000"/>
            </a:xfrm>
            <a:prstGeom prst="leftBracket">
              <a:avLst/>
            </a:prstGeom>
            <a:ln w="19050">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149" name="组合 148"/>
          <p:cNvGrpSpPr/>
          <p:nvPr/>
        </p:nvGrpSpPr>
        <p:grpSpPr>
          <a:xfrm>
            <a:off x="6716570" y="1094596"/>
            <a:ext cx="539750" cy="539750"/>
            <a:chOff x="12085" y="1640"/>
            <a:chExt cx="850" cy="850"/>
          </a:xfrm>
          <a:effectLst>
            <a:outerShdw blurRad="50800" dist="38100" dir="2700000" algn="tl" rotWithShape="0">
              <a:schemeClr val="accent1">
                <a:lumMod val="75000"/>
                <a:alpha val="40000"/>
              </a:schemeClr>
            </a:outerShdw>
          </a:effectLst>
        </p:grpSpPr>
        <p:sp>
          <p:nvSpPr>
            <p:cNvPr id="150" name="椭圆 149"/>
            <p:cNvSpPr>
              <a:spLocks noChangeAspect="1"/>
            </p:cNvSpPr>
            <p:nvPr>
              <p:custDataLst>
                <p:tags r:id="rId57"/>
              </p:custDataLst>
            </p:nvPr>
          </p:nvSpPr>
          <p:spPr>
            <a:xfrm>
              <a:off x="12085" y="1640"/>
              <a:ext cx="850" cy="8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1" name="图片 150" descr="polardb_icon_small"/>
            <p:cNvPicPr>
              <a:picLocks noChangeAspect="1"/>
            </p:cNvPicPr>
            <p:nvPr>
              <p:custDataLst>
                <p:tags r:id="rId58"/>
              </p:custDataLst>
            </p:nvPr>
          </p:nvPicPr>
          <p:blipFill>
            <a:blip r:embed="rId59"/>
            <a:stretch>
              <a:fillRect/>
            </a:stretch>
          </p:blipFill>
          <p:spPr>
            <a:xfrm>
              <a:off x="12246" y="1764"/>
              <a:ext cx="588" cy="603"/>
            </a:xfrm>
            <a:prstGeom prst="rect">
              <a:avLst/>
            </a:prstGeom>
          </p:spPr>
        </p:pic>
      </p:grpSp>
      <p:grpSp>
        <p:nvGrpSpPr>
          <p:cNvPr id="152" name="组合 151"/>
          <p:cNvGrpSpPr/>
          <p:nvPr/>
        </p:nvGrpSpPr>
        <p:grpSpPr>
          <a:xfrm>
            <a:off x="4325795" y="1094596"/>
            <a:ext cx="539750" cy="539750"/>
            <a:chOff x="12085" y="1640"/>
            <a:chExt cx="850" cy="850"/>
          </a:xfrm>
          <a:effectLst>
            <a:outerShdw blurRad="50800" dist="38100" dir="2700000" algn="tl" rotWithShape="0">
              <a:schemeClr val="accent1">
                <a:lumMod val="75000"/>
                <a:alpha val="40000"/>
              </a:schemeClr>
            </a:outerShdw>
          </a:effectLst>
        </p:grpSpPr>
        <p:sp>
          <p:nvSpPr>
            <p:cNvPr id="153" name="椭圆 152"/>
            <p:cNvSpPr>
              <a:spLocks noChangeAspect="1"/>
            </p:cNvSpPr>
            <p:nvPr>
              <p:custDataLst>
                <p:tags r:id="rId60"/>
              </p:custDataLst>
            </p:nvPr>
          </p:nvSpPr>
          <p:spPr>
            <a:xfrm>
              <a:off x="12085" y="1640"/>
              <a:ext cx="850" cy="8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4" name="图片 153" descr="polardb_icon_small"/>
            <p:cNvPicPr>
              <a:picLocks noChangeAspect="1"/>
            </p:cNvPicPr>
            <p:nvPr>
              <p:custDataLst>
                <p:tags r:id="rId61"/>
              </p:custDataLst>
            </p:nvPr>
          </p:nvPicPr>
          <p:blipFill>
            <a:blip r:embed="rId59"/>
            <a:stretch>
              <a:fillRect/>
            </a:stretch>
          </p:blipFill>
          <p:spPr>
            <a:xfrm>
              <a:off x="12246" y="1764"/>
              <a:ext cx="588" cy="603"/>
            </a:xfrm>
            <a:prstGeom prst="rect">
              <a:avLst/>
            </a:prstGeom>
          </p:spPr>
        </p:pic>
      </p:grpSp>
      <p:grpSp>
        <p:nvGrpSpPr>
          <p:cNvPr id="155" name="组合 154"/>
          <p:cNvGrpSpPr/>
          <p:nvPr/>
        </p:nvGrpSpPr>
        <p:grpSpPr>
          <a:xfrm>
            <a:off x="5919645" y="1094596"/>
            <a:ext cx="539750" cy="539750"/>
            <a:chOff x="12085" y="1640"/>
            <a:chExt cx="850" cy="850"/>
          </a:xfrm>
          <a:effectLst>
            <a:outerShdw blurRad="50800" dist="38100" dir="2700000" algn="tl" rotWithShape="0">
              <a:schemeClr val="accent1">
                <a:lumMod val="75000"/>
                <a:alpha val="40000"/>
              </a:schemeClr>
            </a:outerShdw>
          </a:effectLst>
        </p:grpSpPr>
        <p:sp>
          <p:nvSpPr>
            <p:cNvPr id="156" name="椭圆 155"/>
            <p:cNvSpPr>
              <a:spLocks noChangeAspect="1"/>
            </p:cNvSpPr>
            <p:nvPr>
              <p:custDataLst>
                <p:tags r:id="rId62"/>
              </p:custDataLst>
            </p:nvPr>
          </p:nvSpPr>
          <p:spPr>
            <a:xfrm>
              <a:off x="12085" y="1640"/>
              <a:ext cx="850" cy="8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7" name="图片 156" descr="polardb_icon_small"/>
            <p:cNvPicPr>
              <a:picLocks noChangeAspect="1"/>
            </p:cNvPicPr>
            <p:nvPr>
              <p:custDataLst>
                <p:tags r:id="rId63"/>
              </p:custDataLst>
            </p:nvPr>
          </p:nvPicPr>
          <p:blipFill>
            <a:blip r:embed="rId59"/>
            <a:stretch>
              <a:fillRect/>
            </a:stretch>
          </p:blipFill>
          <p:spPr>
            <a:xfrm>
              <a:off x="12246" y="1764"/>
              <a:ext cx="588" cy="603"/>
            </a:xfrm>
            <a:prstGeom prst="rect">
              <a:avLst/>
            </a:prstGeom>
          </p:spPr>
        </p:pic>
      </p:grpSp>
      <p:grpSp>
        <p:nvGrpSpPr>
          <p:cNvPr id="158" name="组合 157"/>
          <p:cNvGrpSpPr/>
          <p:nvPr/>
        </p:nvGrpSpPr>
        <p:grpSpPr>
          <a:xfrm>
            <a:off x="5122720" y="1094596"/>
            <a:ext cx="539750" cy="539750"/>
            <a:chOff x="12085" y="1640"/>
            <a:chExt cx="850" cy="850"/>
          </a:xfrm>
          <a:effectLst>
            <a:outerShdw blurRad="50800" dist="38100" dir="2700000" algn="tl" rotWithShape="0">
              <a:schemeClr val="accent1">
                <a:lumMod val="75000"/>
                <a:alpha val="40000"/>
              </a:schemeClr>
            </a:outerShdw>
          </a:effectLst>
        </p:grpSpPr>
        <p:sp>
          <p:nvSpPr>
            <p:cNvPr id="159" name="椭圆 158"/>
            <p:cNvSpPr>
              <a:spLocks noChangeAspect="1"/>
            </p:cNvSpPr>
            <p:nvPr>
              <p:custDataLst>
                <p:tags r:id="rId64"/>
              </p:custDataLst>
            </p:nvPr>
          </p:nvSpPr>
          <p:spPr>
            <a:xfrm>
              <a:off x="12085" y="1640"/>
              <a:ext cx="850" cy="8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0" name="图片 159" descr="polardb_icon_small"/>
            <p:cNvPicPr>
              <a:picLocks noChangeAspect="1"/>
            </p:cNvPicPr>
            <p:nvPr>
              <p:custDataLst>
                <p:tags r:id="rId65"/>
              </p:custDataLst>
            </p:nvPr>
          </p:nvPicPr>
          <p:blipFill>
            <a:blip r:embed="rId59"/>
            <a:stretch>
              <a:fillRect/>
            </a:stretch>
          </p:blipFill>
          <p:spPr>
            <a:xfrm>
              <a:off x="12246" y="1764"/>
              <a:ext cx="588" cy="603"/>
            </a:xfrm>
            <a:prstGeom prst="rect">
              <a:avLst/>
            </a:prstGeom>
          </p:spPr>
        </p:pic>
      </p:grpSp>
      <p:sp>
        <p:nvSpPr>
          <p:cNvPr id="161" name="灯片编号占位符 160"/>
          <p:cNvSpPr>
            <a:spLocks noGrp="1"/>
          </p:cNvSpPr>
          <p:nvPr>
            <p:ph type="sldNum" sz="quarter" idx="12"/>
            <p:custDataLst>
              <p:tags r:id="rId66"/>
            </p:custDataLst>
          </p:nvPr>
        </p:nvSpPr>
        <p:spPr>
          <a:xfrm>
            <a:off x="8610599" y="6651943"/>
            <a:ext cx="2909888" cy="206381"/>
          </a:xfrm>
        </p:spPr>
        <p:txBody>
          <a:bodyPr/>
          <a:lstStyle/>
          <a:p>
            <a:fld id="{5DD3DB80-B894-403A-B48E-6FDC1A72010E}" type="slidenum">
              <a:rPr lang="zh-CN" altLang="en-US" smtClean="0"/>
            </a:fld>
            <a:endParaRPr lang="zh-CN" alt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kern="0" dirty="0">
                <a:solidFill>
                  <a:srgbClr val="0070C0"/>
                </a:solidFill>
                <a:latin typeface="微软雅黑" panose="020B0503020204020204" pitchFamily="34" charset="-122"/>
                <a:ea typeface="微软雅黑" panose="020B0503020204020204" pitchFamily="34" charset="-122"/>
                <a:sym typeface="+mn-ea"/>
              </a:rPr>
              <a:t>高新能</a:t>
            </a:r>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一体机：</a:t>
            </a:r>
            <a:r>
              <a:rPr lang="en-US" altLang="zh-CN" kern="0" dirty="0">
                <a:solidFill>
                  <a:srgbClr val="0070C0"/>
                </a:solidFill>
                <a:latin typeface="微软雅黑" panose="020B0503020204020204" pitchFamily="34" charset="-122"/>
                <a:ea typeface="微软雅黑" panose="020B0503020204020204" pitchFamily="34" charset="-122"/>
                <a:sym typeface="+mn-ea"/>
              </a:rPr>
              <a:t>CData</a:t>
            </a:r>
            <a:r>
              <a:rPr lang="zh-CN" altLang="en-US" kern="0" dirty="0">
                <a:solidFill>
                  <a:srgbClr val="0070C0"/>
                </a:solidFill>
                <a:latin typeface="微软雅黑" panose="020B0503020204020204" pitchFamily="34" charset="-122"/>
                <a:ea typeface="微软雅黑" panose="020B0503020204020204" pitchFamily="34" charset="-122"/>
                <a:sym typeface="+mn-ea"/>
              </a:rPr>
              <a:t>存储多副本</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grpSp>
        <p:nvGrpSpPr>
          <p:cNvPr id="6" name="组合 5"/>
          <p:cNvGrpSpPr/>
          <p:nvPr/>
        </p:nvGrpSpPr>
        <p:grpSpPr>
          <a:xfrm>
            <a:off x="855209" y="1151933"/>
            <a:ext cx="6545496" cy="2872651"/>
            <a:chOff x="961539" y="1134127"/>
            <a:chExt cx="6545496" cy="2872651"/>
          </a:xfrm>
        </p:grpSpPr>
        <p:sp>
          <p:nvSpPr>
            <p:cNvPr id="3" name="Freeform 20"/>
            <p:cNvSpPr>
              <a:spLocks noEditPoints="1"/>
            </p:cNvSpPr>
            <p:nvPr>
              <p:custDataLst>
                <p:tags r:id="rId1"/>
              </p:custDataLst>
            </p:nvPr>
          </p:nvSpPr>
          <p:spPr bwMode="auto">
            <a:xfrm>
              <a:off x="5930149" y="3146945"/>
              <a:ext cx="1576886" cy="492623"/>
            </a:xfrm>
            <a:custGeom>
              <a:avLst/>
              <a:gdLst/>
              <a:ahLst/>
              <a:cxnLst>
                <a:cxn ang="0">
                  <a:pos x="722" y="224"/>
                </a:cxn>
                <a:cxn ang="0">
                  <a:pos x="734" y="212"/>
                </a:cxn>
                <a:cxn ang="0">
                  <a:pos x="646" y="22"/>
                </a:cxn>
                <a:cxn ang="0">
                  <a:pos x="634" y="6"/>
                </a:cxn>
                <a:cxn ang="0">
                  <a:pos x="132" y="0"/>
                </a:cxn>
                <a:cxn ang="0">
                  <a:pos x="114" y="6"/>
                </a:cxn>
                <a:cxn ang="0">
                  <a:pos x="102" y="22"/>
                </a:cxn>
                <a:cxn ang="0">
                  <a:pos x="14" y="212"/>
                </a:cxn>
                <a:cxn ang="0">
                  <a:pos x="26" y="224"/>
                </a:cxn>
                <a:cxn ang="0">
                  <a:pos x="20" y="250"/>
                </a:cxn>
                <a:cxn ang="0">
                  <a:pos x="6" y="256"/>
                </a:cxn>
                <a:cxn ang="0">
                  <a:pos x="0" y="500"/>
                </a:cxn>
                <a:cxn ang="0">
                  <a:pos x="6" y="514"/>
                </a:cxn>
                <a:cxn ang="0">
                  <a:pos x="728" y="520"/>
                </a:cxn>
                <a:cxn ang="0">
                  <a:pos x="742" y="514"/>
                </a:cxn>
                <a:cxn ang="0">
                  <a:pos x="748" y="272"/>
                </a:cxn>
                <a:cxn ang="0">
                  <a:pos x="742" y="256"/>
                </a:cxn>
                <a:cxn ang="0">
                  <a:pos x="728" y="250"/>
                </a:cxn>
                <a:cxn ang="0">
                  <a:pos x="124" y="436"/>
                </a:cxn>
                <a:cxn ang="0">
                  <a:pos x="108" y="446"/>
                </a:cxn>
                <a:cxn ang="0">
                  <a:pos x="96" y="442"/>
                </a:cxn>
                <a:cxn ang="0">
                  <a:pos x="90" y="336"/>
                </a:cxn>
                <a:cxn ang="0">
                  <a:pos x="96" y="324"/>
                </a:cxn>
                <a:cxn ang="0">
                  <a:pos x="108" y="318"/>
                </a:cxn>
                <a:cxn ang="0">
                  <a:pos x="124" y="328"/>
                </a:cxn>
                <a:cxn ang="0">
                  <a:pos x="198" y="428"/>
                </a:cxn>
                <a:cxn ang="0">
                  <a:pos x="194" y="442"/>
                </a:cxn>
                <a:cxn ang="0">
                  <a:pos x="182" y="446"/>
                </a:cxn>
                <a:cxn ang="0">
                  <a:pos x="166" y="436"/>
                </a:cxn>
                <a:cxn ang="0">
                  <a:pos x="164" y="336"/>
                </a:cxn>
                <a:cxn ang="0">
                  <a:pos x="176" y="320"/>
                </a:cxn>
                <a:cxn ang="0">
                  <a:pos x="188" y="320"/>
                </a:cxn>
                <a:cxn ang="0">
                  <a:pos x="198" y="336"/>
                </a:cxn>
                <a:cxn ang="0">
                  <a:pos x="274" y="428"/>
                </a:cxn>
                <a:cxn ang="0">
                  <a:pos x="262" y="444"/>
                </a:cxn>
                <a:cxn ang="0">
                  <a:pos x="250" y="444"/>
                </a:cxn>
                <a:cxn ang="0">
                  <a:pos x="240" y="428"/>
                </a:cxn>
                <a:cxn ang="0">
                  <a:pos x="240" y="328"/>
                </a:cxn>
                <a:cxn ang="0">
                  <a:pos x="256" y="318"/>
                </a:cxn>
                <a:cxn ang="0">
                  <a:pos x="268" y="324"/>
                </a:cxn>
                <a:cxn ang="0">
                  <a:pos x="274" y="428"/>
                </a:cxn>
                <a:cxn ang="0">
                  <a:pos x="346" y="436"/>
                </a:cxn>
                <a:cxn ang="0">
                  <a:pos x="330" y="446"/>
                </a:cxn>
                <a:cxn ang="0">
                  <a:pos x="318" y="442"/>
                </a:cxn>
                <a:cxn ang="0">
                  <a:pos x="314" y="336"/>
                </a:cxn>
                <a:cxn ang="0">
                  <a:pos x="318" y="324"/>
                </a:cxn>
                <a:cxn ang="0">
                  <a:pos x="330" y="318"/>
                </a:cxn>
                <a:cxn ang="0">
                  <a:pos x="346" y="328"/>
                </a:cxn>
                <a:cxn ang="0">
                  <a:pos x="626" y="390"/>
                </a:cxn>
                <a:cxn ang="0">
                  <a:pos x="610" y="386"/>
                </a:cxn>
                <a:cxn ang="0">
                  <a:pos x="592" y="372"/>
                </a:cxn>
                <a:cxn ang="0">
                  <a:pos x="586" y="350"/>
                </a:cxn>
                <a:cxn ang="0">
                  <a:pos x="588" y="334"/>
                </a:cxn>
                <a:cxn ang="0">
                  <a:pos x="604" y="316"/>
                </a:cxn>
                <a:cxn ang="0">
                  <a:pos x="626" y="308"/>
                </a:cxn>
                <a:cxn ang="0">
                  <a:pos x="642" y="312"/>
                </a:cxn>
                <a:cxn ang="0">
                  <a:pos x="660" y="326"/>
                </a:cxn>
                <a:cxn ang="0">
                  <a:pos x="666" y="350"/>
                </a:cxn>
                <a:cxn ang="0">
                  <a:pos x="664" y="366"/>
                </a:cxn>
                <a:cxn ang="0">
                  <a:pos x="648" y="384"/>
                </a:cxn>
                <a:cxn ang="0">
                  <a:pos x="626" y="390"/>
                </a:cxn>
              </a:cxnLst>
              <a:rect l="0" t="0" r="r" b="b"/>
              <a:pathLst>
                <a:path w="748" h="520">
                  <a:moveTo>
                    <a:pt x="26" y="224"/>
                  </a:moveTo>
                  <a:lnTo>
                    <a:pt x="722" y="224"/>
                  </a:lnTo>
                  <a:lnTo>
                    <a:pt x="722" y="224"/>
                  </a:lnTo>
                  <a:lnTo>
                    <a:pt x="728" y="222"/>
                  </a:lnTo>
                  <a:lnTo>
                    <a:pt x="732" y="218"/>
                  </a:lnTo>
                  <a:lnTo>
                    <a:pt x="734" y="212"/>
                  </a:lnTo>
                  <a:lnTo>
                    <a:pt x="732" y="204"/>
                  </a:lnTo>
                  <a:lnTo>
                    <a:pt x="732" y="204"/>
                  </a:lnTo>
                  <a:lnTo>
                    <a:pt x="646" y="22"/>
                  </a:lnTo>
                  <a:lnTo>
                    <a:pt x="646" y="22"/>
                  </a:lnTo>
                  <a:lnTo>
                    <a:pt x="640" y="14"/>
                  </a:lnTo>
                  <a:lnTo>
                    <a:pt x="634" y="6"/>
                  </a:lnTo>
                  <a:lnTo>
                    <a:pt x="626" y="2"/>
                  </a:lnTo>
                  <a:lnTo>
                    <a:pt x="616" y="0"/>
                  </a:lnTo>
                  <a:lnTo>
                    <a:pt x="132" y="0"/>
                  </a:lnTo>
                  <a:lnTo>
                    <a:pt x="132" y="0"/>
                  </a:lnTo>
                  <a:lnTo>
                    <a:pt x="122" y="2"/>
                  </a:lnTo>
                  <a:lnTo>
                    <a:pt x="114" y="6"/>
                  </a:lnTo>
                  <a:lnTo>
                    <a:pt x="108" y="14"/>
                  </a:lnTo>
                  <a:lnTo>
                    <a:pt x="102" y="22"/>
                  </a:lnTo>
                  <a:lnTo>
                    <a:pt x="102" y="22"/>
                  </a:lnTo>
                  <a:lnTo>
                    <a:pt x="14" y="204"/>
                  </a:lnTo>
                  <a:lnTo>
                    <a:pt x="14" y="204"/>
                  </a:lnTo>
                  <a:lnTo>
                    <a:pt x="14" y="212"/>
                  </a:lnTo>
                  <a:lnTo>
                    <a:pt x="16" y="218"/>
                  </a:lnTo>
                  <a:lnTo>
                    <a:pt x="20" y="222"/>
                  </a:lnTo>
                  <a:lnTo>
                    <a:pt x="26" y="224"/>
                  </a:lnTo>
                  <a:lnTo>
                    <a:pt x="26" y="224"/>
                  </a:lnTo>
                  <a:close/>
                  <a:moveTo>
                    <a:pt x="728" y="250"/>
                  </a:moveTo>
                  <a:lnTo>
                    <a:pt x="20" y="250"/>
                  </a:lnTo>
                  <a:lnTo>
                    <a:pt x="20" y="250"/>
                  </a:lnTo>
                  <a:lnTo>
                    <a:pt x="12" y="252"/>
                  </a:lnTo>
                  <a:lnTo>
                    <a:pt x="6" y="256"/>
                  </a:lnTo>
                  <a:lnTo>
                    <a:pt x="2" y="264"/>
                  </a:lnTo>
                  <a:lnTo>
                    <a:pt x="0" y="272"/>
                  </a:lnTo>
                  <a:lnTo>
                    <a:pt x="0" y="500"/>
                  </a:lnTo>
                  <a:lnTo>
                    <a:pt x="0" y="500"/>
                  </a:lnTo>
                  <a:lnTo>
                    <a:pt x="2" y="508"/>
                  </a:lnTo>
                  <a:lnTo>
                    <a:pt x="6" y="514"/>
                  </a:lnTo>
                  <a:lnTo>
                    <a:pt x="12" y="518"/>
                  </a:lnTo>
                  <a:lnTo>
                    <a:pt x="20" y="520"/>
                  </a:lnTo>
                  <a:lnTo>
                    <a:pt x="728" y="520"/>
                  </a:lnTo>
                  <a:lnTo>
                    <a:pt x="728" y="520"/>
                  </a:lnTo>
                  <a:lnTo>
                    <a:pt x="736" y="518"/>
                  </a:lnTo>
                  <a:lnTo>
                    <a:pt x="742" y="514"/>
                  </a:lnTo>
                  <a:lnTo>
                    <a:pt x="746" y="508"/>
                  </a:lnTo>
                  <a:lnTo>
                    <a:pt x="748" y="500"/>
                  </a:lnTo>
                  <a:lnTo>
                    <a:pt x="748" y="272"/>
                  </a:lnTo>
                  <a:lnTo>
                    <a:pt x="748" y="272"/>
                  </a:lnTo>
                  <a:lnTo>
                    <a:pt x="746" y="264"/>
                  </a:lnTo>
                  <a:lnTo>
                    <a:pt x="742" y="256"/>
                  </a:lnTo>
                  <a:lnTo>
                    <a:pt x="736" y="252"/>
                  </a:lnTo>
                  <a:lnTo>
                    <a:pt x="728" y="250"/>
                  </a:lnTo>
                  <a:lnTo>
                    <a:pt x="728" y="250"/>
                  </a:lnTo>
                  <a:close/>
                  <a:moveTo>
                    <a:pt x="124" y="428"/>
                  </a:moveTo>
                  <a:lnTo>
                    <a:pt x="124" y="428"/>
                  </a:lnTo>
                  <a:lnTo>
                    <a:pt x="124" y="436"/>
                  </a:lnTo>
                  <a:lnTo>
                    <a:pt x="120" y="442"/>
                  </a:lnTo>
                  <a:lnTo>
                    <a:pt x="114" y="444"/>
                  </a:lnTo>
                  <a:lnTo>
                    <a:pt x="108" y="446"/>
                  </a:lnTo>
                  <a:lnTo>
                    <a:pt x="108" y="446"/>
                  </a:lnTo>
                  <a:lnTo>
                    <a:pt x="102" y="444"/>
                  </a:lnTo>
                  <a:lnTo>
                    <a:pt x="96" y="442"/>
                  </a:lnTo>
                  <a:lnTo>
                    <a:pt x="92" y="436"/>
                  </a:lnTo>
                  <a:lnTo>
                    <a:pt x="90" y="428"/>
                  </a:lnTo>
                  <a:lnTo>
                    <a:pt x="90" y="336"/>
                  </a:lnTo>
                  <a:lnTo>
                    <a:pt x="90" y="336"/>
                  </a:lnTo>
                  <a:lnTo>
                    <a:pt x="92" y="328"/>
                  </a:lnTo>
                  <a:lnTo>
                    <a:pt x="96" y="324"/>
                  </a:lnTo>
                  <a:lnTo>
                    <a:pt x="102" y="320"/>
                  </a:lnTo>
                  <a:lnTo>
                    <a:pt x="108" y="318"/>
                  </a:lnTo>
                  <a:lnTo>
                    <a:pt x="108" y="318"/>
                  </a:lnTo>
                  <a:lnTo>
                    <a:pt x="114" y="320"/>
                  </a:lnTo>
                  <a:lnTo>
                    <a:pt x="120" y="324"/>
                  </a:lnTo>
                  <a:lnTo>
                    <a:pt x="124" y="328"/>
                  </a:lnTo>
                  <a:lnTo>
                    <a:pt x="124" y="336"/>
                  </a:lnTo>
                  <a:lnTo>
                    <a:pt x="124" y="428"/>
                  </a:lnTo>
                  <a:close/>
                  <a:moveTo>
                    <a:pt x="198" y="428"/>
                  </a:moveTo>
                  <a:lnTo>
                    <a:pt x="198" y="428"/>
                  </a:lnTo>
                  <a:lnTo>
                    <a:pt x="198" y="436"/>
                  </a:lnTo>
                  <a:lnTo>
                    <a:pt x="194" y="442"/>
                  </a:lnTo>
                  <a:lnTo>
                    <a:pt x="188" y="444"/>
                  </a:lnTo>
                  <a:lnTo>
                    <a:pt x="182" y="446"/>
                  </a:lnTo>
                  <a:lnTo>
                    <a:pt x="182" y="446"/>
                  </a:lnTo>
                  <a:lnTo>
                    <a:pt x="176" y="444"/>
                  </a:lnTo>
                  <a:lnTo>
                    <a:pt x="170" y="442"/>
                  </a:lnTo>
                  <a:lnTo>
                    <a:pt x="166" y="436"/>
                  </a:lnTo>
                  <a:lnTo>
                    <a:pt x="164" y="428"/>
                  </a:lnTo>
                  <a:lnTo>
                    <a:pt x="164" y="336"/>
                  </a:lnTo>
                  <a:lnTo>
                    <a:pt x="164" y="336"/>
                  </a:lnTo>
                  <a:lnTo>
                    <a:pt x="166" y="328"/>
                  </a:lnTo>
                  <a:lnTo>
                    <a:pt x="170" y="324"/>
                  </a:lnTo>
                  <a:lnTo>
                    <a:pt x="176" y="320"/>
                  </a:lnTo>
                  <a:lnTo>
                    <a:pt x="182" y="318"/>
                  </a:lnTo>
                  <a:lnTo>
                    <a:pt x="182" y="318"/>
                  </a:lnTo>
                  <a:lnTo>
                    <a:pt x="188" y="320"/>
                  </a:lnTo>
                  <a:lnTo>
                    <a:pt x="194" y="324"/>
                  </a:lnTo>
                  <a:lnTo>
                    <a:pt x="198" y="328"/>
                  </a:lnTo>
                  <a:lnTo>
                    <a:pt x="198" y="336"/>
                  </a:lnTo>
                  <a:lnTo>
                    <a:pt x="198" y="428"/>
                  </a:lnTo>
                  <a:close/>
                  <a:moveTo>
                    <a:pt x="274" y="428"/>
                  </a:moveTo>
                  <a:lnTo>
                    <a:pt x="274" y="428"/>
                  </a:lnTo>
                  <a:lnTo>
                    <a:pt x="272" y="436"/>
                  </a:lnTo>
                  <a:lnTo>
                    <a:pt x="268" y="442"/>
                  </a:lnTo>
                  <a:lnTo>
                    <a:pt x="262" y="444"/>
                  </a:lnTo>
                  <a:lnTo>
                    <a:pt x="256" y="446"/>
                  </a:lnTo>
                  <a:lnTo>
                    <a:pt x="256" y="446"/>
                  </a:lnTo>
                  <a:lnTo>
                    <a:pt x="250" y="444"/>
                  </a:lnTo>
                  <a:lnTo>
                    <a:pt x="244" y="442"/>
                  </a:lnTo>
                  <a:lnTo>
                    <a:pt x="240" y="436"/>
                  </a:lnTo>
                  <a:lnTo>
                    <a:pt x="240" y="428"/>
                  </a:lnTo>
                  <a:lnTo>
                    <a:pt x="240" y="336"/>
                  </a:lnTo>
                  <a:lnTo>
                    <a:pt x="240" y="336"/>
                  </a:lnTo>
                  <a:lnTo>
                    <a:pt x="240" y="328"/>
                  </a:lnTo>
                  <a:lnTo>
                    <a:pt x="244" y="324"/>
                  </a:lnTo>
                  <a:lnTo>
                    <a:pt x="250" y="320"/>
                  </a:lnTo>
                  <a:lnTo>
                    <a:pt x="256" y="318"/>
                  </a:lnTo>
                  <a:lnTo>
                    <a:pt x="256" y="318"/>
                  </a:lnTo>
                  <a:lnTo>
                    <a:pt x="262" y="320"/>
                  </a:lnTo>
                  <a:lnTo>
                    <a:pt x="268" y="324"/>
                  </a:lnTo>
                  <a:lnTo>
                    <a:pt x="272" y="328"/>
                  </a:lnTo>
                  <a:lnTo>
                    <a:pt x="274" y="336"/>
                  </a:lnTo>
                  <a:lnTo>
                    <a:pt x="274" y="428"/>
                  </a:lnTo>
                  <a:close/>
                  <a:moveTo>
                    <a:pt x="348" y="428"/>
                  </a:moveTo>
                  <a:lnTo>
                    <a:pt x="348" y="428"/>
                  </a:lnTo>
                  <a:lnTo>
                    <a:pt x="346" y="436"/>
                  </a:lnTo>
                  <a:lnTo>
                    <a:pt x="342" y="442"/>
                  </a:lnTo>
                  <a:lnTo>
                    <a:pt x="338" y="444"/>
                  </a:lnTo>
                  <a:lnTo>
                    <a:pt x="330" y="446"/>
                  </a:lnTo>
                  <a:lnTo>
                    <a:pt x="330" y="446"/>
                  </a:lnTo>
                  <a:lnTo>
                    <a:pt x="324" y="444"/>
                  </a:lnTo>
                  <a:lnTo>
                    <a:pt x="318" y="442"/>
                  </a:lnTo>
                  <a:lnTo>
                    <a:pt x="314" y="436"/>
                  </a:lnTo>
                  <a:lnTo>
                    <a:pt x="314" y="428"/>
                  </a:lnTo>
                  <a:lnTo>
                    <a:pt x="314" y="336"/>
                  </a:lnTo>
                  <a:lnTo>
                    <a:pt x="314" y="336"/>
                  </a:lnTo>
                  <a:lnTo>
                    <a:pt x="314" y="328"/>
                  </a:lnTo>
                  <a:lnTo>
                    <a:pt x="318" y="324"/>
                  </a:lnTo>
                  <a:lnTo>
                    <a:pt x="324" y="320"/>
                  </a:lnTo>
                  <a:lnTo>
                    <a:pt x="330" y="318"/>
                  </a:lnTo>
                  <a:lnTo>
                    <a:pt x="330" y="318"/>
                  </a:lnTo>
                  <a:lnTo>
                    <a:pt x="338" y="320"/>
                  </a:lnTo>
                  <a:lnTo>
                    <a:pt x="342" y="324"/>
                  </a:lnTo>
                  <a:lnTo>
                    <a:pt x="346" y="328"/>
                  </a:lnTo>
                  <a:lnTo>
                    <a:pt x="348" y="336"/>
                  </a:lnTo>
                  <a:lnTo>
                    <a:pt x="348" y="428"/>
                  </a:lnTo>
                  <a:close/>
                  <a:moveTo>
                    <a:pt x="626" y="390"/>
                  </a:moveTo>
                  <a:lnTo>
                    <a:pt x="626" y="390"/>
                  </a:lnTo>
                  <a:lnTo>
                    <a:pt x="618" y="390"/>
                  </a:lnTo>
                  <a:lnTo>
                    <a:pt x="610" y="386"/>
                  </a:lnTo>
                  <a:lnTo>
                    <a:pt x="604" y="384"/>
                  </a:lnTo>
                  <a:lnTo>
                    <a:pt x="598" y="378"/>
                  </a:lnTo>
                  <a:lnTo>
                    <a:pt x="592" y="372"/>
                  </a:lnTo>
                  <a:lnTo>
                    <a:pt x="588" y="366"/>
                  </a:lnTo>
                  <a:lnTo>
                    <a:pt x="586" y="358"/>
                  </a:lnTo>
                  <a:lnTo>
                    <a:pt x="586" y="350"/>
                  </a:lnTo>
                  <a:lnTo>
                    <a:pt x="586" y="350"/>
                  </a:lnTo>
                  <a:lnTo>
                    <a:pt x="586" y="342"/>
                  </a:lnTo>
                  <a:lnTo>
                    <a:pt x="588" y="334"/>
                  </a:lnTo>
                  <a:lnTo>
                    <a:pt x="592" y="326"/>
                  </a:lnTo>
                  <a:lnTo>
                    <a:pt x="598" y="320"/>
                  </a:lnTo>
                  <a:lnTo>
                    <a:pt x="604" y="316"/>
                  </a:lnTo>
                  <a:lnTo>
                    <a:pt x="610" y="312"/>
                  </a:lnTo>
                  <a:lnTo>
                    <a:pt x="618" y="310"/>
                  </a:lnTo>
                  <a:lnTo>
                    <a:pt x="626" y="308"/>
                  </a:lnTo>
                  <a:lnTo>
                    <a:pt x="626" y="308"/>
                  </a:lnTo>
                  <a:lnTo>
                    <a:pt x="634" y="310"/>
                  </a:lnTo>
                  <a:lnTo>
                    <a:pt x="642" y="312"/>
                  </a:lnTo>
                  <a:lnTo>
                    <a:pt x="648" y="316"/>
                  </a:lnTo>
                  <a:lnTo>
                    <a:pt x="654" y="320"/>
                  </a:lnTo>
                  <a:lnTo>
                    <a:pt x="660" y="326"/>
                  </a:lnTo>
                  <a:lnTo>
                    <a:pt x="664" y="334"/>
                  </a:lnTo>
                  <a:lnTo>
                    <a:pt x="666" y="342"/>
                  </a:lnTo>
                  <a:lnTo>
                    <a:pt x="666" y="350"/>
                  </a:lnTo>
                  <a:lnTo>
                    <a:pt x="666" y="350"/>
                  </a:lnTo>
                  <a:lnTo>
                    <a:pt x="666" y="358"/>
                  </a:lnTo>
                  <a:lnTo>
                    <a:pt x="664" y="366"/>
                  </a:lnTo>
                  <a:lnTo>
                    <a:pt x="660" y="372"/>
                  </a:lnTo>
                  <a:lnTo>
                    <a:pt x="654" y="378"/>
                  </a:lnTo>
                  <a:lnTo>
                    <a:pt x="648" y="384"/>
                  </a:lnTo>
                  <a:lnTo>
                    <a:pt x="642" y="386"/>
                  </a:lnTo>
                  <a:lnTo>
                    <a:pt x="634" y="390"/>
                  </a:lnTo>
                  <a:lnTo>
                    <a:pt x="626" y="390"/>
                  </a:lnTo>
                  <a:lnTo>
                    <a:pt x="626" y="390"/>
                  </a:lnTo>
                  <a:close/>
                </a:path>
              </a:pathLst>
            </a:custGeom>
            <a:solidFill>
              <a:srgbClr val="0099CC"/>
            </a:solidFill>
            <a:ln w="9525">
              <a:noFill/>
              <a:round/>
            </a:ln>
          </p:spPr>
          <p:txBody>
            <a:bodyPr vert="horz" wrap="square" lIns="68598" tIns="34299" rIns="68598" bIns="34299" numCol="1" anchor="t" anchorCtr="0" compatLnSpc="1"/>
            <a:lstStyle/>
            <a:p>
              <a:endParaRPr lang="zh-CN" altLang="en-US" sz="135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5" name="Freeform 14"/>
            <p:cNvSpPr>
              <a:spLocks noEditPoints="1"/>
            </p:cNvSpPr>
            <p:nvPr>
              <p:custDataLst>
                <p:tags r:id="rId2"/>
              </p:custDataLst>
            </p:nvPr>
          </p:nvSpPr>
          <p:spPr bwMode="auto">
            <a:xfrm>
              <a:off x="4232034" y="2250915"/>
              <a:ext cx="1447303" cy="203678"/>
            </a:xfrm>
            <a:custGeom>
              <a:avLst/>
              <a:gdLst/>
              <a:ahLst/>
              <a:cxnLst>
                <a:cxn ang="0">
                  <a:pos x="15920" y="15"/>
                </a:cxn>
                <a:cxn ang="0">
                  <a:pos x="16066" y="82"/>
                </a:cxn>
                <a:cxn ang="0">
                  <a:pos x="16180" y="191"/>
                </a:cxn>
                <a:cxn ang="0">
                  <a:pos x="16254" y="333"/>
                </a:cxn>
                <a:cxn ang="0">
                  <a:pos x="16275" y="1979"/>
                </a:cxn>
                <a:cxn ang="0">
                  <a:pos x="16247" y="2142"/>
                </a:cxn>
                <a:cxn ang="0">
                  <a:pos x="16166" y="2279"/>
                </a:cxn>
                <a:cxn ang="0">
                  <a:pos x="16047" y="2384"/>
                </a:cxn>
                <a:cxn ang="0">
                  <a:pos x="15897" y="2443"/>
                </a:cxn>
                <a:cxn ang="0">
                  <a:pos x="425" y="2450"/>
                </a:cxn>
                <a:cxn ang="0">
                  <a:pos x="269" y="2406"/>
                </a:cxn>
                <a:cxn ang="0">
                  <a:pos x="139" y="2313"/>
                </a:cxn>
                <a:cxn ang="0">
                  <a:pos x="47" y="2184"/>
                </a:cxn>
                <a:cxn ang="0">
                  <a:pos x="2" y="2027"/>
                </a:cxn>
                <a:cxn ang="0">
                  <a:pos x="9" y="379"/>
                </a:cxn>
                <a:cxn ang="0">
                  <a:pos x="68" y="228"/>
                </a:cxn>
                <a:cxn ang="0">
                  <a:pos x="173" y="109"/>
                </a:cxn>
                <a:cxn ang="0">
                  <a:pos x="310" y="29"/>
                </a:cxn>
                <a:cxn ang="0">
                  <a:pos x="473" y="0"/>
                </a:cxn>
                <a:cxn ang="0">
                  <a:pos x="3118" y="686"/>
                </a:cxn>
                <a:cxn ang="0">
                  <a:pos x="3301" y="780"/>
                </a:cxn>
                <a:cxn ang="0">
                  <a:pos x="3442" y="928"/>
                </a:cxn>
                <a:cxn ang="0">
                  <a:pos x="3528" y="1118"/>
                </a:cxn>
                <a:cxn ang="0">
                  <a:pos x="3544" y="1333"/>
                </a:cxn>
                <a:cxn ang="0">
                  <a:pos x="3487" y="1535"/>
                </a:cxn>
                <a:cxn ang="0">
                  <a:pos x="3368" y="1703"/>
                </a:cxn>
                <a:cxn ang="0">
                  <a:pos x="3200" y="1822"/>
                </a:cxn>
                <a:cxn ang="0">
                  <a:pos x="2999" y="1879"/>
                </a:cxn>
                <a:cxn ang="0">
                  <a:pos x="2784" y="1863"/>
                </a:cxn>
                <a:cxn ang="0">
                  <a:pos x="2595" y="1778"/>
                </a:cxn>
                <a:cxn ang="0">
                  <a:pos x="2446" y="1636"/>
                </a:cxn>
                <a:cxn ang="0">
                  <a:pos x="2353" y="1452"/>
                </a:cxn>
                <a:cxn ang="0">
                  <a:pos x="2326" y="1239"/>
                </a:cxn>
                <a:cxn ang="0">
                  <a:pos x="2373" y="1032"/>
                </a:cxn>
                <a:cxn ang="0">
                  <a:pos x="2484" y="859"/>
                </a:cxn>
                <a:cxn ang="0">
                  <a:pos x="2646" y="733"/>
                </a:cxn>
                <a:cxn ang="0">
                  <a:pos x="2843" y="665"/>
                </a:cxn>
                <a:cxn ang="0">
                  <a:pos x="14482" y="476"/>
                </a:cxn>
                <a:cxn ang="0">
                  <a:pos x="14578" y="503"/>
                </a:cxn>
                <a:cxn ang="0">
                  <a:pos x="14659" y="560"/>
                </a:cxn>
                <a:cxn ang="0">
                  <a:pos x="14716" y="640"/>
                </a:cxn>
                <a:cxn ang="0">
                  <a:pos x="14743" y="737"/>
                </a:cxn>
                <a:cxn ang="0">
                  <a:pos x="14739" y="1758"/>
                </a:cxn>
                <a:cxn ang="0">
                  <a:pos x="14702" y="1850"/>
                </a:cxn>
                <a:cxn ang="0">
                  <a:pos x="14638" y="1925"/>
                </a:cxn>
                <a:cxn ang="0">
                  <a:pos x="14553" y="1974"/>
                </a:cxn>
                <a:cxn ang="0">
                  <a:pos x="14452" y="1991"/>
                </a:cxn>
                <a:cxn ang="0">
                  <a:pos x="7495" y="1979"/>
                </a:cxn>
                <a:cxn ang="0">
                  <a:pos x="7407" y="1933"/>
                </a:cxn>
                <a:cxn ang="0">
                  <a:pos x="7339" y="1862"/>
                </a:cxn>
                <a:cxn ang="0">
                  <a:pos x="7298" y="1772"/>
                </a:cxn>
                <a:cxn ang="0">
                  <a:pos x="7289" y="752"/>
                </a:cxn>
                <a:cxn ang="0">
                  <a:pos x="7312" y="653"/>
                </a:cxn>
                <a:cxn ang="0">
                  <a:pos x="7365" y="571"/>
                </a:cxn>
                <a:cxn ang="0">
                  <a:pos x="7443" y="509"/>
                </a:cxn>
                <a:cxn ang="0">
                  <a:pos x="7537" y="477"/>
                </a:cxn>
              </a:cxnLst>
              <a:rect l="0" t="0" r="r" b="b"/>
              <a:pathLst>
                <a:path w="16275" h="2453">
                  <a:moveTo>
                    <a:pt x="473" y="0"/>
                  </a:moveTo>
                  <a:lnTo>
                    <a:pt x="15802" y="0"/>
                  </a:lnTo>
                  <a:lnTo>
                    <a:pt x="15826" y="1"/>
                  </a:lnTo>
                  <a:lnTo>
                    <a:pt x="15850" y="2"/>
                  </a:lnTo>
                  <a:lnTo>
                    <a:pt x="15874" y="5"/>
                  </a:lnTo>
                  <a:lnTo>
                    <a:pt x="15897" y="10"/>
                  </a:lnTo>
                  <a:lnTo>
                    <a:pt x="15920" y="15"/>
                  </a:lnTo>
                  <a:lnTo>
                    <a:pt x="15942" y="21"/>
                  </a:lnTo>
                  <a:lnTo>
                    <a:pt x="15964" y="29"/>
                  </a:lnTo>
                  <a:lnTo>
                    <a:pt x="15986" y="38"/>
                  </a:lnTo>
                  <a:lnTo>
                    <a:pt x="16006" y="47"/>
                  </a:lnTo>
                  <a:lnTo>
                    <a:pt x="16027" y="57"/>
                  </a:lnTo>
                  <a:lnTo>
                    <a:pt x="16047" y="69"/>
                  </a:lnTo>
                  <a:lnTo>
                    <a:pt x="16066" y="82"/>
                  </a:lnTo>
                  <a:lnTo>
                    <a:pt x="16085" y="95"/>
                  </a:lnTo>
                  <a:lnTo>
                    <a:pt x="16102" y="109"/>
                  </a:lnTo>
                  <a:lnTo>
                    <a:pt x="16119" y="123"/>
                  </a:lnTo>
                  <a:lnTo>
                    <a:pt x="16136" y="140"/>
                  </a:lnTo>
                  <a:lnTo>
                    <a:pt x="16152" y="156"/>
                  </a:lnTo>
                  <a:lnTo>
                    <a:pt x="16166" y="173"/>
                  </a:lnTo>
                  <a:lnTo>
                    <a:pt x="16180" y="191"/>
                  </a:lnTo>
                  <a:lnTo>
                    <a:pt x="16194" y="210"/>
                  </a:lnTo>
                  <a:lnTo>
                    <a:pt x="16206" y="228"/>
                  </a:lnTo>
                  <a:lnTo>
                    <a:pt x="16218" y="249"/>
                  </a:lnTo>
                  <a:lnTo>
                    <a:pt x="16228" y="269"/>
                  </a:lnTo>
                  <a:lnTo>
                    <a:pt x="16237" y="289"/>
                  </a:lnTo>
                  <a:lnTo>
                    <a:pt x="16247" y="312"/>
                  </a:lnTo>
                  <a:lnTo>
                    <a:pt x="16254" y="333"/>
                  </a:lnTo>
                  <a:lnTo>
                    <a:pt x="16260" y="356"/>
                  </a:lnTo>
                  <a:lnTo>
                    <a:pt x="16265" y="379"/>
                  </a:lnTo>
                  <a:lnTo>
                    <a:pt x="16270" y="401"/>
                  </a:lnTo>
                  <a:lnTo>
                    <a:pt x="16273" y="426"/>
                  </a:lnTo>
                  <a:lnTo>
                    <a:pt x="16274" y="449"/>
                  </a:lnTo>
                  <a:lnTo>
                    <a:pt x="16275" y="474"/>
                  </a:lnTo>
                  <a:lnTo>
                    <a:pt x="16275" y="1979"/>
                  </a:lnTo>
                  <a:lnTo>
                    <a:pt x="16274" y="2003"/>
                  </a:lnTo>
                  <a:lnTo>
                    <a:pt x="16273" y="2027"/>
                  </a:lnTo>
                  <a:lnTo>
                    <a:pt x="16270" y="2051"/>
                  </a:lnTo>
                  <a:lnTo>
                    <a:pt x="16265" y="2073"/>
                  </a:lnTo>
                  <a:lnTo>
                    <a:pt x="16260" y="2097"/>
                  </a:lnTo>
                  <a:lnTo>
                    <a:pt x="16254" y="2119"/>
                  </a:lnTo>
                  <a:lnTo>
                    <a:pt x="16247" y="2142"/>
                  </a:lnTo>
                  <a:lnTo>
                    <a:pt x="16237" y="2163"/>
                  </a:lnTo>
                  <a:lnTo>
                    <a:pt x="16228" y="2184"/>
                  </a:lnTo>
                  <a:lnTo>
                    <a:pt x="16218" y="2204"/>
                  </a:lnTo>
                  <a:lnTo>
                    <a:pt x="16206" y="2224"/>
                  </a:lnTo>
                  <a:lnTo>
                    <a:pt x="16194" y="2244"/>
                  </a:lnTo>
                  <a:lnTo>
                    <a:pt x="16180" y="2262"/>
                  </a:lnTo>
                  <a:lnTo>
                    <a:pt x="16166" y="2279"/>
                  </a:lnTo>
                  <a:lnTo>
                    <a:pt x="16152" y="2297"/>
                  </a:lnTo>
                  <a:lnTo>
                    <a:pt x="16136" y="2313"/>
                  </a:lnTo>
                  <a:lnTo>
                    <a:pt x="16119" y="2329"/>
                  </a:lnTo>
                  <a:lnTo>
                    <a:pt x="16102" y="2344"/>
                  </a:lnTo>
                  <a:lnTo>
                    <a:pt x="16085" y="2358"/>
                  </a:lnTo>
                  <a:lnTo>
                    <a:pt x="16066" y="2371"/>
                  </a:lnTo>
                  <a:lnTo>
                    <a:pt x="16047" y="2384"/>
                  </a:lnTo>
                  <a:lnTo>
                    <a:pt x="16027" y="2395"/>
                  </a:lnTo>
                  <a:lnTo>
                    <a:pt x="16006" y="2406"/>
                  </a:lnTo>
                  <a:lnTo>
                    <a:pt x="15986" y="2415"/>
                  </a:lnTo>
                  <a:lnTo>
                    <a:pt x="15964" y="2424"/>
                  </a:lnTo>
                  <a:lnTo>
                    <a:pt x="15942" y="2431"/>
                  </a:lnTo>
                  <a:lnTo>
                    <a:pt x="15920" y="2437"/>
                  </a:lnTo>
                  <a:lnTo>
                    <a:pt x="15897" y="2443"/>
                  </a:lnTo>
                  <a:lnTo>
                    <a:pt x="15874" y="2447"/>
                  </a:lnTo>
                  <a:lnTo>
                    <a:pt x="15850" y="2450"/>
                  </a:lnTo>
                  <a:lnTo>
                    <a:pt x="15826" y="2451"/>
                  </a:lnTo>
                  <a:lnTo>
                    <a:pt x="15802" y="2453"/>
                  </a:lnTo>
                  <a:lnTo>
                    <a:pt x="473" y="2453"/>
                  </a:lnTo>
                  <a:lnTo>
                    <a:pt x="449" y="2451"/>
                  </a:lnTo>
                  <a:lnTo>
                    <a:pt x="425" y="2450"/>
                  </a:lnTo>
                  <a:lnTo>
                    <a:pt x="401" y="2447"/>
                  </a:lnTo>
                  <a:lnTo>
                    <a:pt x="378" y="2443"/>
                  </a:lnTo>
                  <a:lnTo>
                    <a:pt x="355" y="2437"/>
                  </a:lnTo>
                  <a:lnTo>
                    <a:pt x="333" y="2431"/>
                  </a:lnTo>
                  <a:lnTo>
                    <a:pt x="310" y="2424"/>
                  </a:lnTo>
                  <a:lnTo>
                    <a:pt x="289" y="2415"/>
                  </a:lnTo>
                  <a:lnTo>
                    <a:pt x="269" y="2406"/>
                  </a:lnTo>
                  <a:lnTo>
                    <a:pt x="248" y="2395"/>
                  </a:lnTo>
                  <a:lnTo>
                    <a:pt x="228" y="2384"/>
                  </a:lnTo>
                  <a:lnTo>
                    <a:pt x="209" y="2371"/>
                  </a:lnTo>
                  <a:lnTo>
                    <a:pt x="190" y="2358"/>
                  </a:lnTo>
                  <a:lnTo>
                    <a:pt x="173" y="2344"/>
                  </a:lnTo>
                  <a:lnTo>
                    <a:pt x="156" y="2329"/>
                  </a:lnTo>
                  <a:lnTo>
                    <a:pt x="139" y="2313"/>
                  </a:lnTo>
                  <a:lnTo>
                    <a:pt x="123" y="2297"/>
                  </a:lnTo>
                  <a:lnTo>
                    <a:pt x="108" y="2279"/>
                  </a:lnTo>
                  <a:lnTo>
                    <a:pt x="95" y="2262"/>
                  </a:lnTo>
                  <a:lnTo>
                    <a:pt x="81" y="2244"/>
                  </a:lnTo>
                  <a:lnTo>
                    <a:pt x="68" y="2224"/>
                  </a:lnTo>
                  <a:lnTo>
                    <a:pt x="57" y="2204"/>
                  </a:lnTo>
                  <a:lnTo>
                    <a:pt x="47" y="2184"/>
                  </a:lnTo>
                  <a:lnTo>
                    <a:pt x="38" y="2163"/>
                  </a:lnTo>
                  <a:lnTo>
                    <a:pt x="28" y="2142"/>
                  </a:lnTo>
                  <a:lnTo>
                    <a:pt x="21" y="2119"/>
                  </a:lnTo>
                  <a:lnTo>
                    <a:pt x="15" y="2097"/>
                  </a:lnTo>
                  <a:lnTo>
                    <a:pt x="9" y="2073"/>
                  </a:lnTo>
                  <a:lnTo>
                    <a:pt x="5" y="2051"/>
                  </a:lnTo>
                  <a:lnTo>
                    <a:pt x="2" y="2027"/>
                  </a:lnTo>
                  <a:lnTo>
                    <a:pt x="1" y="2003"/>
                  </a:lnTo>
                  <a:lnTo>
                    <a:pt x="0" y="1979"/>
                  </a:lnTo>
                  <a:lnTo>
                    <a:pt x="0" y="474"/>
                  </a:lnTo>
                  <a:lnTo>
                    <a:pt x="1" y="449"/>
                  </a:lnTo>
                  <a:lnTo>
                    <a:pt x="2" y="426"/>
                  </a:lnTo>
                  <a:lnTo>
                    <a:pt x="5" y="401"/>
                  </a:lnTo>
                  <a:lnTo>
                    <a:pt x="9" y="379"/>
                  </a:lnTo>
                  <a:lnTo>
                    <a:pt x="15" y="356"/>
                  </a:lnTo>
                  <a:lnTo>
                    <a:pt x="21" y="333"/>
                  </a:lnTo>
                  <a:lnTo>
                    <a:pt x="28" y="312"/>
                  </a:lnTo>
                  <a:lnTo>
                    <a:pt x="38" y="289"/>
                  </a:lnTo>
                  <a:lnTo>
                    <a:pt x="47" y="269"/>
                  </a:lnTo>
                  <a:lnTo>
                    <a:pt x="57" y="249"/>
                  </a:lnTo>
                  <a:lnTo>
                    <a:pt x="68" y="228"/>
                  </a:lnTo>
                  <a:lnTo>
                    <a:pt x="81" y="210"/>
                  </a:lnTo>
                  <a:lnTo>
                    <a:pt x="95" y="191"/>
                  </a:lnTo>
                  <a:lnTo>
                    <a:pt x="108" y="173"/>
                  </a:lnTo>
                  <a:lnTo>
                    <a:pt x="123" y="156"/>
                  </a:lnTo>
                  <a:lnTo>
                    <a:pt x="139" y="140"/>
                  </a:lnTo>
                  <a:lnTo>
                    <a:pt x="156" y="123"/>
                  </a:lnTo>
                  <a:lnTo>
                    <a:pt x="173" y="109"/>
                  </a:lnTo>
                  <a:lnTo>
                    <a:pt x="190" y="95"/>
                  </a:lnTo>
                  <a:lnTo>
                    <a:pt x="209" y="82"/>
                  </a:lnTo>
                  <a:lnTo>
                    <a:pt x="228" y="69"/>
                  </a:lnTo>
                  <a:lnTo>
                    <a:pt x="248" y="57"/>
                  </a:lnTo>
                  <a:lnTo>
                    <a:pt x="269" y="47"/>
                  </a:lnTo>
                  <a:lnTo>
                    <a:pt x="289" y="38"/>
                  </a:lnTo>
                  <a:lnTo>
                    <a:pt x="310" y="29"/>
                  </a:lnTo>
                  <a:lnTo>
                    <a:pt x="333" y="21"/>
                  </a:lnTo>
                  <a:lnTo>
                    <a:pt x="355" y="15"/>
                  </a:lnTo>
                  <a:lnTo>
                    <a:pt x="378" y="10"/>
                  </a:lnTo>
                  <a:lnTo>
                    <a:pt x="401" y="5"/>
                  </a:lnTo>
                  <a:lnTo>
                    <a:pt x="425" y="2"/>
                  </a:lnTo>
                  <a:lnTo>
                    <a:pt x="449" y="1"/>
                  </a:lnTo>
                  <a:lnTo>
                    <a:pt x="473" y="0"/>
                  </a:lnTo>
                  <a:close/>
                  <a:moveTo>
                    <a:pt x="2937" y="658"/>
                  </a:moveTo>
                  <a:lnTo>
                    <a:pt x="2967" y="659"/>
                  </a:lnTo>
                  <a:lnTo>
                    <a:pt x="2999" y="661"/>
                  </a:lnTo>
                  <a:lnTo>
                    <a:pt x="3029" y="665"/>
                  </a:lnTo>
                  <a:lnTo>
                    <a:pt x="3059" y="670"/>
                  </a:lnTo>
                  <a:lnTo>
                    <a:pt x="3088" y="678"/>
                  </a:lnTo>
                  <a:lnTo>
                    <a:pt x="3118" y="686"/>
                  </a:lnTo>
                  <a:lnTo>
                    <a:pt x="3146" y="696"/>
                  </a:lnTo>
                  <a:lnTo>
                    <a:pt x="3174" y="706"/>
                  </a:lnTo>
                  <a:lnTo>
                    <a:pt x="3200" y="719"/>
                  </a:lnTo>
                  <a:lnTo>
                    <a:pt x="3227" y="733"/>
                  </a:lnTo>
                  <a:lnTo>
                    <a:pt x="3252" y="747"/>
                  </a:lnTo>
                  <a:lnTo>
                    <a:pt x="3277" y="763"/>
                  </a:lnTo>
                  <a:lnTo>
                    <a:pt x="3301" y="780"/>
                  </a:lnTo>
                  <a:lnTo>
                    <a:pt x="3324" y="799"/>
                  </a:lnTo>
                  <a:lnTo>
                    <a:pt x="3347" y="817"/>
                  </a:lnTo>
                  <a:lnTo>
                    <a:pt x="3368" y="838"/>
                  </a:lnTo>
                  <a:lnTo>
                    <a:pt x="3388" y="859"/>
                  </a:lnTo>
                  <a:lnTo>
                    <a:pt x="3408" y="881"/>
                  </a:lnTo>
                  <a:lnTo>
                    <a:pt x="3425" y="905"/>
                  </a:lnTo>
                  <a:lnTo>
                    <a:pt x="3442" y="928"/>
                  </a:lnTo>
                  <a:lnTo>
                    <a:pt x="3458" y="954"/>
                  </a:lnTo>
                  <a:lnTo>
                    <a:pt x="3473" y="979"/>
                  </a:lnTo>
                  <a:lnTo>
                    <a:pt x="3487" y="1006"/>
                  </a:lnTo>
                  <a:lnTo>
                    <a:pt x="3499" y="1032"/>
                  </a:lnTo>
                  <a:lnTo>
                    <a:pt x="3509" y="1061"/>
                  </a:lnTo>
                  <a:lnTo>
                    <a:pt x="3519" y="1089"/>
                  </a:lnTo>
                  <a:lnTo>
                    <a:pt x="3528" y="1118"/>
                  </a:lnTo>
                  <a:lnTo>
                    <a:pt x="3535" y="1147"/>
                  </a:lnTo>
                  <a:lnTo>
                    <a:pt x="3540" y="1178"/>
                  </a:lnTo>
                  <a:lnTo>
                    <a:pt x="3544" y="1208"/>
                  </a:lnTo>
                  <a:lnTo>
                    <a:pt x="3546" y="1239"/>
                  </a:lnTo>
                  <a:lnTo>
                    <a:pt x="3547" y="1271"/>
                  </a:lnTo>
                  <a:lnTo>
                    <a:pt x="3546" y="1302"/>
                  </a:lnTo>
                  <a:lnTo>
                    <a:pt x="3544" y="1333"/>
                  </a:lnTo>
                  <a:lnTo>
                    <a:pt x="3540" y="1363"/>
                  </a:lnTo>
                  <a:lnTo>
                    <a:pt x="3535" y="1394"/>
                  </a:lnTo>
                  <a:lnTo>
                    <a:pt x="3528" y="1423"/>
                  </a:lnTo>
                  <a:lnTo>
                    <a:pt x="3519" y="1452"/>
                  </a:lnTo>
                  <a:lnTo>
                    <a:pt x="3509" y="1480"/>
                  </a:lnTo>
                  <a:lnTo>
                    <a:pt x="3499" y="1508"/>
                  </a:lnTo>
                  <a:lnTo>
                    <a:pt x="3487" y="1535"/>
                  </a:lnTo>
                  <a:lnTo>
                    <a:pt x="3473" y="1562"/>
                  </a:lnTo>
                  <a:lnTo>
                    <a:pt x="3458" y="1587"/>
                  </a:lnTo>
                  <a:lnTo>
                    <a:pt x="3442" y="1612"/>
                  </a:lnTo>
                  <a:lnTo>
                    <a:pt x="3425" y="1636"/>
                  </a:lnTo>
                  <a:lnTo>
                    <a:pt x="3408" y="1659"/>
                  </a:lnTo>
                  <a:lnTo>
                    <a:pt x="3388" y="1681"/>
                  </a:lnTo>
                  <a:lnTo>
                    <a:pt x="3368" y="1703"/>
                  </a:lnTo>
                  <a:lnTo>
                    <a:pt x="3347" y="1723"/>
                  </a:lnTo>
                  <a:lnTo>
                    <a:pt x="3324" y="1742"/>
                  </a:lnTo>
                  <a:lnTo>
                    <a:pt x="3301" y="1761"/>
                  </a:lnTo>
                  <a:lnTo>
                    <a:pt x="3277" y="1778"/>
                  </a:lnTo>
                  <a:lnTo>
                    <a:pt x="3252" y="1793"/>
                  </a:lnTo>
                  <a:lnTo>
                    <a:pt x="3227" y="1809"/>
                  </a:lnTo>
                  <a:lnTo>
                    <a:pt x="3200" y="1822"/>
                  </a:lnTo>
                  <a:lnTo>
                    <a:pt x="3174" y="1834"/>
                  </a:lnTo>
                  <a:lnTo>
                    <a:pt x="3146" y="1845"/>
                  </a:lnTo>
                  <a:lnTo>
                    <a:pt x="3118" y="1854"/>
                  </a:lnTo>
                  <a:lnTo>
                    <a:pt x="3088" y="1863"/>
                  </a:lnTo>
                  <a:lnTo>
                    <a:pt x="3059" y="1870"/>
                  </a:lnTo>
                  <a:lnTo>
                    <a:pt x="3029" y="1875"/>
                  </a:lnTo>
                  <a:lnTo>
                    <a:pt x="2999" y="1879"/>
                  </a:lnTo>
                  <a:lnTo>
                    <a:pt x="2967" y="1882"/>
                  </a:lnTo>
                  <a:lnTo>
                    <a:pt x="2937" y="1882"/>
                  </a:lnTo>
                  <a:lnTo>
                    <a:pt x="2905" y="1882"/>
                  </a:lnTo>
                  <a:lnTo>
                    <a:pt x="2874" y="1879"/>
                  </a:lnTo>
                  <a:lnTo>
                    <a:pt x="2843" y="1875"/>
                  </a:lnTo>
                  <a:lnTo>
                    <a:pt x="2814" y="1870"/>
                  </a:lnTo>
                  <a:lnTo>
                    <a:pt x="2784" y="1863"/>
                  </a:lnTo>
                  <a:lnTo>
                    <a:pt x="2755" y="1854"/>
                  </a:lnTo>
                  <a:lnTo>
                    <a:pt x="2726" y="1845"/>
                  </a:lnTo>
                  <a:lnTo>
                    <a:pt x="2699" y="1834"/>
                  </a:lnTo>
                  <a:lnTo>
                    <a:pt x="2671" y="1822"/>
                  </a:lnTo>
                  <a:lnTo>
                    <a:pt x="2646" y="1809"/>
                  </a:lnTo>
                  <a:lnTo>
                    <a:pt x="2619" y="1793"/>
                  </a:lnTo>
                  <a:lnTo>
                    <a:pt x="2595" y="1778"/>
                  </a:lnTo>
                  <a:lnTo>
                    <a:pt x="2570" y="1761"/>
                  </a:lnTo>
                  <a:lnTo>
                    <a:pt x="2548" y="1742"/>
                  </a:lnTo>
                  <a:lnTo>
                    <a:pt x="2526" y="1723"/>
                  </a:lnTo>
                  <a:lnTo>
                    <a:pt x="2504" y="1703"/>
                  </a:lnTo>
                  <a:lnTo>
                    <a:pt x="2484" y="1681"/>
                  </a:lnTo>
                  <a:lnTo>
                    <a:pt x="2465" y="1659"/>
                  </a:lnTo>
                  <a:lnTo>
                    <a:pt x="2446" y="1636"/>
                  </a:lnTo>
                  <a:lnTo>
                    <a:pt x="2430" y="1612"/>
                  </a:lnTo>
                  <a:lnTo>
                    <a:pt x="2414" y="1587"/>
                  </a:lnTo>
                  <a:lnTo>
                    <a:pt x="2399" y="1562"/>
                  </a:lnTo>
                  <a:lnTo>
                    <a:pt x="2385" y="1535"/>
                  </a:lnTo>
                  <a:lnTo>
                    <a:pt x="2373" y="1508"/>
                  </a:lnTo>
                  <a:lnTo>
                    <a:pt x="2362" y="1480"/>
                  </a:lnTo>
                  <a:lnTo>
                    <a:pt x="2353" y="1452"/>
                  </a:lnTo>
                  <a:lnTo>
                    <a:pt x="2345" y="1423"/>
                  </a:lnTo>
                  <a:lnTo>
                    <a:pt x="2337" y="1394"/>
                  </a:lnTo>
                  <a:lnTo>
                    <a:pt x="2332" y="1363"/>
                  </a:lnTo>
                  <a:lnTo>
                    <a:pt x="2328" y="1333"/>
                  </a:lnTo>
                  <a:lnTo>
                    <a:pt x="2326" y="1302"/>
                  </a:lnTo>
                  <a:lnTo>
                    <a:pt x="2325" y="1271"/>
                  </a:lnTo>
                  <a:lnTo>
                    <a:pt x="2326" y="1239"/>
                  </a:lnTo>
                  <a:lnTo>
                    <a:pt x="2328" y="1208"/>
                  </a:lnTo>
                  <a:lnTo>
                    <a:pt x="2332" y="1178"/>
                  </a:lnTo>
                  <a:lnTo>
                    <a:pt x="2337" y="1147"/>
                  </a:lnTo>
                  <a:lnTo>
                    <a:pt x="2345" y="1118"/>
                  </a:lnTo>
                  <a:lnTo>
                    <a:pt x="2353" y="1089"/>
                  </a:lnTo>
                  <a:lnTo>
                    <a:pt x="2362" y="1061"/>
                  </a:lnTo>
                  <a:lnTo>
                    <a:pt x="2373" y="1032"/>
                  </a:lnTo>
                  <a:lnTo>
                    <a:pt x="2385" y="1006"/>
                  </a:lnTo>
                  <a:lnTo>
                    <a:pt x="2399" y="979"/>
                  </a:lnTo>
                  <a:lnTo>
                    <a:pt x="2414" y="954"/>
                  </a:lnTo>
                  <a:lnTo>
                    <a:pt x="2430" y="928"/>
                  </a:lnTo>
                  <a:lnTo>
                    <a:pt x="2446" y="905"/>
                  </a:lnTo>
                  <a:lnTo>
                    <a:pt x="2465" y="881"/>
                  </a:lnTo>
                  <a:lnTo>
                    <a:pt x="2484" y="859"/>
                  </a:lnTo>
                  <a:lnTo>
                    <a:pt x="2504" y="838"/>
                  </a:lnTo>
                  <a:lnTo>
                    <a:pt x="2526" y="817"/>
                  </a:lnTo>
                  <a:lnTo>
                    <a:pt x="2548" y="799"/>
                  </a:lnTo>
                  <a:lnTo>
                    <a:pt x="2570" y="780"/>
                  </a:lnTo>
                  <a:lnTo>
                    <a:pt x="2595" y="763"/>
                  </a:lnTo>
                  <a:lnTo>
                    <a:pt x="2619" y="747"/>
                  </a:lnTo>
                  <a:lnTo>
                    <a:pt x="2646" y="733"/>
                  </a:lnTo>
                  <a:lnTo>
                    <a:pt x="2671" y="719"/>
                  </a:lnTo>
                  <a:lnTo>
                    <a:pt x="2699" y="706"/>
                  </a:lnTo>
                  <a:lnTo>
                    <a:pt x="2726" y="696"/>
                  </a:lnTo>
                  <a:lnTo>
                    <a:pt x="2755" y="686"/>
                  </a:lnTo>
                  <a:lnTo>
                    <a:pt x="2784" y="678"/>
                  </a:lnTo>
                  <a:lnTo>
                    <a:pt x="2814" y="670"/>
                  </a:lnTo>
                  <a:lnTo>
                    <a:pt x="2843" y="665"/>
                  </a:lnTo>
                  <a:lnTo>
                    <a:pt x="2874" y="661"/>
                  </a:lnTo>
                  <a:lnTo>
                    <a:pt x="2905" y="659"/>
                  </a:lnTo>
                  <a:lnTo>
                    <a:pt x="2937" y="658"/>
                  </a:lnTo>
                  <a:close/>
                  <a:moveTo>
                    <a:pt x="7582" y="474"/>
                  </a:moveTo>
                  <a:lnTo>
                    <a:pt x="14452" y="474"/>
                  </a:lnTo>
                  <a:lnTo>
                    <a:pt x="14467" y="474"/>
                  </a:lnTo>
                  <a:lnTo>
                    <a:pt x="14482" y="476"/>
                  </a:lnTo>
                  <a:lnTo>
                    <a:pt x="14497" y="477"/>
                  </a:lnTo>
                  <a:lnTo>
                    <a:pt x="14511" y="480"/>
                  </a:lnTo>
                  <a:lnTo>
                    <a:pt x="14525" y="483"/>
                  </a:lnTo>
                  <a:lnTo>
                    <a:pt x="14539" y="487"/>
                  </a:lnTo>
                  <a:lnTo>
                    <a:pt x="14553" y="492"/>
                  </a:lnTo>
                  <a:lnTo>
                    <a:pt x="14566" y="497"/>
                  </a:lnTo>
                  <a:lnTo>
                    <a:pt x="14578" y="503"/>
                  </a:lnTo>
                  <a:lnTo>
                    <a:pt x="14592" y="509"/>
                  </a:lnTo>
                  <a:lnTo>
                    <a:pt x="14604" y="517"/>
                  </a:lnTo>
                  <a:lnTo>
                    <a:pt x="14616" y="524"/>
                  </a:lnTo>
                  <a:lnTo>
                    <a:pt x="14627" y="532"/>
                  </a:lnTo>
                  <a:lnTo>
                    <a:pt x="14638" y="541"/>
                  </a:lnTo>
                  <a:lnTo>
                    <a:pt x="14649" y="550"/>
                  </a:lnTo>
                  <a:lnTo>
                    <a:pt x="14659" y="560"/>
                  </a:lnTo>
                  <a:lnTo>
                    <a:pt x="14669" y="571"/>
                  </a:lnTo>
                  <a:lnTo>
                    <a:pt x="14678" y="581"/>
                  </a:lnTo>
                  <a:lnTo>
                    <a:pt x="14686" y="592"/>
                  </a:lnTo>
                  <a:lnTo>
                    <a:pt x="14694" y="603"/>
                  </a:lnTo>
                  <a:lnTo>
                    <a:pt x="14702" y="615"/>
                  </a:lnTo>
                  <a:lnTo>
                    <a:pt x="14710" y="628"/>
                  </a:lnTo>
                  <a:lnTo>
                    <a:pt x="14716" y="640"/>
                  </a:lnTo>
                  <a:lnTo>
                    <a:pt x="14722" y="653"/>
                  </a:lnTo>
                  <a:lnTo>
                    <a:pt x="14727" y="666"/>
                  </a:lnTo>
                  <a:lnTo>
                    <a:pt x="14732" y="680"/>
                  </a:lnTo>
                  <a:lnTo>
                    <a:pt x="14736" y="694"/>
                  </a:lnTo>
                  <a:lnTo>
                    <a:pt x="14739" y="708"/>
                  </a:lnTo>
                  <a:lnTo>
                    <a:pt x="14741" y="722"/>
                  </a:lnTo>
                  <a:lnTo>
                    <a:pt x="14743" y="737"/>
                  </a:lnTo>
                  <a:lnTo>
                    <a:pt x="14744" y="752"/>
                  </a:lnTo>
                  <a:lnTo>
                    <a:pt x="14745" y="767"/>
                  </a:lnTo>
                  <a:lnTo>
                    <a:pt x="14745" y="1699"/>
                  </a:lnTo>
                  <a:lnTo>
                    <a:pt x="14744" y="1714"/>
                  </a:lnTo>
                  <a:lnTo>
                    <a:pt x="14743" y="1728"/>
                  </a:lnTo>
                  <a:lnTo>
                    <a:pt x="14741" y="1742"/>
                  </a:lnTo>
                  <a:lnTo>
                    <a:pt x="14739" y="1758"/>
                  </a:lnTo>
                  <a:lnTo>
                    <a:pt x="14736" y="1771"/>
                  </a:lnTo>
                  <a:lnTo>
                    <a:pt x="14732" y="1785"/>
                  </a:lnTo>
                  <a:lnTo>
                    <a:pt x="14727" y="1798"/>
                  </a:lnTo>
                  <a:lnTo>
                    <a:pt x="14722" y="1812"/>
                  </a:lnTo>
                  <a:lnTo>
                    <a:pt x="14716" y="1825"/>
                  </a:lnTo>
                  <a:lnTo>
                    <a:pt x="14710" y="1838"/>
                  </a:lnTo>
                  <a:lnTo>
                    <a:pt x="14702" y="1850"/>
                  </a:lnTo>
                  <a:lnTo>
                    <a:pt x="14694" y="1862"/>
                  </a:lnTo>
                  <a:lnTo>
                    <a:pt x="14686" y="1874"/>
                  </a:lnTo>
                  <a:lnTo>
                    <a:pt x="14678" y="1885"/>
                  </a:lnTo>
                  <a:lnTo>
                    <a:pt x="14669" y="1895"/>
                  </a:lnTo>
                  <a:lnTo>
                    <a:pt x="14659" y="1905"/>
                  </a:lnTo>
                  <a:lnTo>
                    <a:pt x="14649" y="1916"/>
                  </a:lnTo>
                  <a:lnTo>
                    <a:pt x="14638" y="1925"/>
                  </a:lnTo>
                  <a:lnTo>
                    <a:pt x="14627" y="1933"/>
                  </a:lnTo>
                  <a:lnTo>
                    <a:pt x="14616" y="1941"/>
                  </a:lnTo>
                  <a:lnTo>
                    <a:pt x="14604" y="1949"/>
                  </a:lnTo>
                  <a:lnTo>
                    <a:pt x="14592" y="1956"/>
                  </a:lnTo>
                  <a:lnTo>
                    <a:pt x="14578" y="1962"/>
                  </a:lnTo>
                  <a:lnTo>
                    <a:pt x="14566" y="1969"/>
                  </a:lnTo>
                  <a:lnTo>
                    <a:pt x="14553" y="1974"/>
                  </a:lnTo>
                  <a:lnTo>
                    <a:pt x="14539" y="1979"/>
                  </a:lnTo>
                  <a:lnTo>
                    <a:pt x="14525" y="1982"/>
                  </a:lnTo>
                  <a:lnTo>
                    <a:pt x="14511" y="1986"/>
                  </a:lnTo>
                  <a:lnTo>
                    <a:pt x="14497" y="1988"/>
                  </a:lnTo>
                  <a:lnTo>
                    <a:pt x="14482" y="1990"/>
                  </a:lnTo>
                  <a:lnTo>
                    <a:pt x="14467" y="1991"/>
                  </a:lnTo>
                  <a:lnTo>
                    <a:pt x="14452" y="1991"/>
                  </a:lnTo>
                  <a:lnTo>
                    <a:pt x="7582" y="1991"/>
                  </a:lnTo>
                  <a:lnTo>
                    <a:pt x="7567" y="1991"/>
                  </a:lnTo>
                  <a:lnTo>
                    <a:pt x="7552" y="1990"/>
                  </a:lnTo>
                  <a:lnTo>
                    <a:pt x="7537" y="1988"/>
                  </a:lnTo>
                  <a:lnTo>
                    <a:pt x="7523" y="1986"/>
                  </a:lnTo>
                  <a:lnTo>
                    <a:pt x="7509" y="1982"/>
                  </a:lnTo>
                  <a:lnTo>
                    <a:pt x="7495" y="1979"/>
                  </a:lnTo>
                  <a:lnTo>
                    <a:pt x="7481" y="1974"/>
                  </a:lnTo>
                  <a:lnTo>
                    <a:pt x="7468" y="1969"/>
                  </a:lnTo>
                  <a:lnTo>
                    <a:pt x="7455" y="1962"/>
                  </a:lnTo>
                  <a:lnTo>
                    <a:pt x="7443" y="1956"/>
                  </a:lnTo>
                  <a:lnTo>
                    <a:pt x="7431" y="1949"/>
                  </a:lnTo>
                  <a:lnTo>
                    <a:pt x="7418" y="1941"/>
                  </a:lnTo>
                  <a:lnTo>
                    <a:pt x="7407" y="1933"/>
                  </a:lnTo>
                  <a:lnTo>
                    <a:pt x="7396" y="1925"/>
                  </a:lnTo>
                  <a:lnTo>
                    <a:pt x="7385" y="1916"/>
                  </a:lnTo>
                  <a:lnTo>
                    <a:pt x="7375" y="1905"/>
                  </a:lnTo>
                  <a:lnTo>
                    <a:pt x="7365" y="1895"/>
                  </a:lnTo>
                  <a:lnTo>
                    <a:pt x="7356" y="1885"/>
                  </a:lnTo>
                  <a:lnTo>
                    <a:pt x="7347" y="1874"/>
                  </a:lnTo>
                  <a:lnTo>
                    <a:pt x="7339" y="1862"/>
                  </a:lnTo>
                  <a:lnTo>
                    <a:pt x="7332" y="1850"/>
                  </a:lnTo>
                  <a:lnTo>
                    <a:pt x="7325" y="1838"/>
                  </a:lnTo>
                  <a:lnTo>
                    <a:pt x="7318" y="1825"/>
                  </a:lnTo>
                  <a:lnTo>
                    <a:pt x="7312" y="1812"/>
                  </a:lnTo>
                  <a:lnTo>
                    <a:pt x="7306" y="1798"/>
                  </a:lnTo>
                  <a:lnTo>
                    <a:pt x="7302" y="1785"/>
                  </a:lnTo>
                  <a:lnTo>
                    <a:pt x="7298" y="1772"/>
                  </a:lnTo>
                  <a:lnTo>
                    <a:pt x="7295" y="1758"/>
                  </a:lnTo>
                  <a:lnTo>
                    <a:pt x="7292" y="1742"/>
                  </a:lnTo>
                  <a:lnTo>
                    <a:pt x="7290" y="1728"/>
                  </a:lnTo>
                  <a:lnTo>
                    <a:pt x="7289" y="1714"/>
                  </a:lnTo>
                  <a:lnTo>
                    <a:pt x="7289" y="1699"/>
                  </a:lnTo>
                  <a:lnTo>
                    <a:pt x="7289" y="767"/>
                  </a:lnTo>
                  <a:lnTo>
                    <a:pt x="7289" y="752"/>
                  </a:lnTo>
                  <a:lnTo>
                    <a:pt x="7290" y="737"/>
                  </a:lnTo>
                  <a:lnTo>
                    <a:pt x="7292" y="722"/>
                  </a:lnTo>
                  <a:lnTo>
                    <a:pt x="7295" y="708"/>
                  </a:lnTo>
                  <a:lnTo>
                    <a:pt x="7298" y="694"/>
                  </a:lnTo>
                  <a:lnTo>
                    <a:pt x="7302" y="680"/>
                  </a:lnTo>
                  <a:lnTo>
                    <a:pt x="7306" y="666"/>
                  </a:lnTo>
                  <a:lnTo>
                    <a:pt x="7312" y="653"/>
                  </a:lnTo>
                  <a:lnTo>
                    <a:pt x="7318" y="640"/>
                  </a:lnTo>
                  <a:lnTo>
                    <a:pt x="7325" y="628"/>
                  </a:lnTo>
                  <a:lnTo>
                    <a:pt x="7332" y="615"/>
                  </a:lnTo>
                  <a:lnTo>
                    <a:pt x="7339" y="603"/>
                  </a:lnTo>
                  <a:lnTo>
                    <a:pt x="7347" y="592"/>
                  </a:lnTo>
                  <a:lnTo>
                    <a:pt x="7356" y="581"/>
                  </a:lnTo>
                  <a:lnTo>
                    <a:pt x="7365" y="571"/>
                  </a:lnTo>
                  <a:lnTo>
                    <a:pt x="7375" y="560"/>
                  </a:lnTo>
                  <a:lnTo>
                    <a:pt x="7385" y="550"/>
                  </a:lnTo>
                  <a:lnTo>
                    <a:pt x="7396" y="541"/>
                  </a:lnTo>
                  <a:lnTo>
                    <a:pt x="7407" y="532"/>
                  </a:lnTo>
                  <a:lnTo>
                    <a:pt x="7418" y="524"/>
                  </a:lnTo>
                  <a:lnTo>
                    <a:pt x="7431" y="517"/>
                  </a:lnTo>
                  <a:lnTo>
                    <a:pt x="7443" y="509"/>
                  </a:lnTo>
                  <a:lnTo>
                    <a:pt x="7455" y="503"/>
                  </a:lnTo>
                  <a:lnTo>
                    <a:pt x="7468" y="497"/>
                  </a:lnTo>
                  <a:lnTo>
                    <a:pt x="7481" y="492"/>
                  </a:lnTo>
                  <a:lnTo>
                    <a:pt x="7495" y="487"/>
                  </a:lnTo>
                  <a:lnTo>
                    <a:pt x="7509" y="483"/>
                  </a:lnTo>
                  <a:lnTo>
                    <a:pt x="7523" y="480"/>
                  </a:lnTo>
                  <a:lnTo>
                    <a:pt x="7537" y="477"/>
                  </a:lnTo>
                  <a:lnTo>
                    <a:pt x="7552" y="476"/>
                  </a:lnTo>
                  <a:lnTo>
                    <a:pt x="7567" y="474"/>
                  </a:lnTo>
                  <a:lnTo>
                    <a:pt x="7582" y="474"/>
                  </a:lnTo>
                  <a:close/>
                </a:path>
              </a:pathLst>
            </a:custGeom>
            <a:solidFill>
              <a:schemeClr val="accent2">
                <a:lumMod val="75000"/>
              </a:schemeClr>
            </a:solidFill>
            <a:ln w="9525">
              <a:noFill/>
              <a:round/>
            </a:ln>
          </p:spPr>
          <p:txBody>
            <a:bodyPr vert="horz" wrap="square" lIns="68598" tIns="34299" rIns="68598" bIns="34299" numCol="1" anchor="t" anchorCtr="0" compatLnSpc="1"/>
            <a:lstStyle/>
            <a:p>
              <a:endParaRPr lang="zh-CN" altLang="en-US" sz="1350">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20" name="直接连接符 364"/>
            <p:cNvCxnSpPr/>
            <p:nvPr>
              <p:custDataLst>
                <p:tags r:id="rId3"/>
              </p:custDataLst>
            </p:nvPr>
          </p:nvCxnSpPr>
          <p:spPr bwMode="auto">
            <a:xfrm flipH="1" flipV="1">
              <a:off x="2698466" y="1641102"/>
              <a:ext cx="510477" cy="645345"/>
            </a:xfrm>
            <a:prstGeom prst="line">
              <a:avLst/>
            </a:prstGeom>
            <a:noFill/>
            <a:ln w="12700" cap="flat" cmpd="dbl" algn="ctr">
              <a:solidFill>
                <a:srgbClr val="473F51"/>
              </a:solidFill>
              <a:prstDash val="solid"/>
              <a:round/>
              <a:headEnd type="none" w="med" len="med"/>
              <a:tailEnd type="none" w="med" len="med"/>
            </a:ln>
            <a:effectLst/>
          </p:spPr>
        </p:cxnSp>
        <p:sp>
          <p:nvSpPr>
            <p:cNvPr id="211" name="Freeform 20"/>
            <p:cNvSpPr>
              <a:spLocks noEditPoints="1"/>
            </p:cNvSpPr>
            <p:nvPr>
              <p:custDataLst>
                <p:tags r:id="rId4"/>
              </p:custDataLst>
            </p:nvPr>
          </p:nvSpPr>
          <p:spPr bwMode="auto">
            <a:xfrm>
              <a:off x="2026675" y="1134127"/>
              <a:ext cx="1576886" cy="492623"/>
            </a:xfrm>
            <a:custGeom>
              <a:avLst/>
              <a:gdLst/>
              <a:ahLst/>
              <a:cxnLst>
                <a:cxn ang="0">
                  <a:pos x="722" y="224"/>
                </a:cxn>
                <a:cxn ang="0">
                  <a:pos x="734" y="212"/>
                </a:cxn>
                <a:cxn ang="0">
                  <a:pos x="646" y="22"/>
                </a:cxn>
                <a:cxn ang="0">
                  <a:pos x="634" y="6"/>
                </a:cxn>
                <a:cxn ang="0">
                  <a:pos x="132" y="0"/>
                </a:cxn>
                <a:cxn ang="0">
                  <a:pos x="114" y="6"/>
                </a:cxn>
                <a:cxn ang="0">
                  <a:pos x="102" y="22"/>
                </a:cxn>
                <a:cxn ang="0">
                  <a:pos x="14" y="212"/>
                </a:cxn>
                <a:cxn ang="0">
                  <a:pos x="26" y="224"/>
                </a:cxn>
                <a:cxn ang="0">
                  <a:pos x="20" y="250"/>
                </a:cxn>
                <a:cxn ang="0">
                  <a:pos x="6" y="256"/>
                </a:cxn>
                <a:cxn ang="0">
                  <a:pos x="0" y="500"/>
                </a:cxn>
                <a:cxn ang="0">
                  <a:pos x="6" y="514"/>
                </a:cxn>
                <a:cxn ang="0">
                  <a:pos x="728" y="520"/>
                </a:cxn>
                <a:cxn ang="0">
                  <a:pos x="742" y="514"/>
                </a:cxn>
                <a:cxn ang="0">
                  <a:pos x="748" y="272"/>
                </a:cxn>
                <a:cxn ang="0">
                  <a:pos x="742" y="256"/>
                </a:cxn>
                <a:cxn ang="0">
                  <a:pos x="728" y="250"/>
                </a:cxn>
                <a:cxn ang="0">
                  <a:pos x="124" y="436"/>
                </a:cxn>
                <a:cxn ang="0">
                  <a:pos x="108" y="446"/>
                </a:cxn>
                <a:cxn ang="0">
                  <a:pos x="96" y="442"/>
                </a:cxn>
                <a:cxn ang="0">
                  <a:pos x="90" y="336"/>
                </a:cxn>
                <a:cxn ang="0">
                  <a:pos x="96" y="324"/>
                </a:cxn>
                <a:cxn ang="0">
                  <a:pos x="108" y="318"/>
                </a:cxn>
                <a:cxn ang="0">
                  <a:pos x="124" y="328"/>
                </a:cxn>
                <a:cxn ang="0">
                  <a:pos x="198" y="428"/>
                </a:cxn>
                <a:cxn ang="0">
                  <a:pos x="194" y="442"/>
                </a:cxn>
                <a:cxn ang="0">
                  <a:pos x="182" y="446"/>
                </a:cxn>
                <a:cxn ang="0">
                  <a:pos x="166" y="436"/>
                </a:cxn>
                <a:cxn ang="0">
                  <a:pos x="164" y="336"/>
                </a:cxn>
                <a:cxn ang="0">
                  <a:pos x="176" y="320"/>
                </a:cxn>
                <a:cxn ang="0">
                  <a:pos x="188" y="320"/>
                </a:cxn>
                <a:cxn ang="0">
                  <a:pos x="198" y="336"/>
                </a:cxn>
                <a:cxn ang="0">
                  <a:pos x="274" y="428"/>
                </a:cxn>
                <a:cxn ang="0">
                  <a:pos x="262" y="444"/>
                </a:cxn>
                <a:cxn ang="0">
                  <a:pos x="250" y="444"/>
                </a:cxn>
                <a:cxn ang="0">
                  <a:pos x="240" y="428"/>
                </a:cxn>
                <a:cxn ang="0">
                  <a:pos x="240" y="328"/>
                </a:cxn>
                <a:cxn ang="0">
                  <a:pos x="256" y="318"/>
                </a:cxn>
                <a:cxn ang="0">
                  <a:pos x="268" y="324"/>
                </a:cxn>
                <a:cxn ang="0">
                  <a:pos x="274" y="428"/>
                </a:cxn>
                <a:cxn ang="0">
                  <a:pos x="346" y="436"/>
                </a:cxn>
                <a:cxn ang="0">
                  <a:pos x="330" y="446"/>
                </a:cxn>
                <a:cxn ang="0">
                  <a:pos x="318" y="442"/>
                </a:cxn>
                <a:cxn ang="0">
                  <a:pos x="314" y="336"/>
                </a:cxn>
                <a:cxn ang="0">
                  <a:pos x="318" y="324"/>
                </a:cxn>
                <a:cxn ang="0">
                  <a:pos x="330" y="318"/>
                </a:cxn>
                <a:cxn ang="0">
                  <a:pos x="346" y="328"/>
                </a:cxn>
                <a:cxn ang="0">
                  <a:pos x="626" y="390"/>
                </a:cxn>
                <a:cxn ang="0">
                  <a:pos x="610" y="386"/>
                </a:cxn>
                <a:cxn ang="0">
                  <a:pos x="592" y="372"/>
                </a:cxn>
                <a:cxn ang="0">
                  <a:pos x="586" y="350"/>
                </a:cxn>
                <a:cxn ang="0">
                  <a:pos x="588" y="334"/>
                </a:cxn>
                <a:cxn ang="0">
                  <a:pos x="604" y="316"/>
                </a:cxn>
                <a:cxn ang="0">
                  <a:pos x="626" y="308"/>
                </a:cxn>
                <a:cxn ang="0">
                  <a:pos x="642" y="312"/>
                </a:cxn>
                <a:cxn ang="0">
                  <a:pos x="660" y="326"/>
                </a:cxn>
                <a:cxn ang="0">
                  <a:pos x="666" y="350"/>
                </a:cxn>
                <a:cxn ang="0">
                  <a:pos x="664" y="366"/>
                </a:cxn>
                <a:cxn ang="0">
                  <a:pos x="648" y="384"/>
                </a:cxn>
                <a:cxn ang="0">
                  <a:pos x="626" y="390"/>
                </a:cxn>
              </a:cxnLst>
              <a:rect l="0" t="0" r="r" b="b"/>
              <a:pathLst>
                <a:path w="748" h="520">
                  <a:moveTo>
                    <a:pt x="26" y="224"/>
                  </a:moveTo>
                  <a:lnTo>
                    <a:pt x="722" y="224"/>
                  </a:lnTo>
                  <a:lnTo>
                    <a:pt x="722" y="224"/>
                  </a:lnTo>
                  <a:lnTo>
                    <a:pt x="728" y="222"/>
                  </a:lnTo>
                  <a:lnTo>
                    <a:pt x="732" y="218"/>
                  </a:lnTo>
                  <a:lnTo>
                    <a:pt x="734" y="212"/>
                  </a:lnTo>
                  <a:lnTo>
                    <a:pt x="732" y="204"/>
                  </a:lnTo>
                  <a:lnTo>
                    <a:pt x="732" y="204"/>
                  </a:lnTo>
                  <a:lnTo>
                    <a:pt x="646" y="22"/>
                  </a:lnTo>
                  <a:lnTo>
                    <a:pt x="646" y="22"/>
                  </a:lnTo>
                  <a:lnTo>
                    <a:pt x="640" y="14"/>
                  </a:lnTo>
                  <a:lnTo>
                    <a:pt x="634" y="6"/>
                  </a:lnTo>
                  <a:lnTo>
                    <a:pt x="626" y="2"/>
                  </a:lnTo>
                  <a:lnTo>
                    <a:pt x="616" y="0"/>
                  </a:lnTo>
                  <a:lnTo>
                    <a:pt x="132" y="0"/>
                  </a:lnTo>
                  <a:lnTo>
                    <a:pt x="132" y="0"/>
                  </a:lnTo>
                  <a:lnTo>
                    <a:pt x="122" y="2"/>
                  </a:lnTo>
                  <a:lnTo>
                    <a:pt x="114" y="6"/>
                  </a:lnTo>
                  <a:lnTo>
                    <a:pt x="108" y="14"/>
                  </a:lnTo>
                  <a:lnTo>
                    <a:pt x="102" y="22"/>
                  </a:lnTo>
                  <a:lnTo>
                    <a:pt x="102" y="22"/>
                  </a:lnTo>
                  <a:lnTo>
                    <a:pt x="14" y="204"/>
                  </a:lnTo>
                  <a:lnTo>
                    <a:pt x="14" y="204"/>
                  </a:lnTo>
                  <a:lnTo>
                    <a:pt x="14" y="212"/>
                  </a:lnTo>
                  <a:lnTo>
                    <a:pt x="16" y="218"/>
                  </a:lnTo>
                  <a:lnTo>
                    <a:pt x="20" y="222"/>
                  </a:lnTo>
                  <a:lnTo>
                    <a:pt x="26" y="224"/>
                  </a:lnTo>
                  <a:lnTo>
                    <a:pt x="26" y="224"/>
                  </a:lnTo>
                  <a:close/>
                  <a:moveTo>
                    <a:pt x="728" y="250"/>
                  </a:moveTo>
                  <a:lnTo>
                    <a:pt x="20" y="250"/>
                  </a:lnTo>
                  <a:lnTo>
                    <a:pt x="20" y="250"/>
                  </a:lnTo>
                  <a:lnTo>
                    <a:pt x="12" y="252"/>
                  </a:lnTo>
                  <a:lnTo>
                    <a:pt x="6" y="256"/>
                  </a:lnTo>
                  <a:lnTo>
                    <a:pt x="2" y="264"/>
                  </a:lnTo>
                  <a:lnTo>
                    <a:pt x="0" y="272"/>
                  </a:lnTo>
                  <a:lnTo>
                    <a:pt x="0" y="500"/>
                  </a:lnTo>
                  <a:lnTo>
                    <a:pt x="0" y="500"/>
                  </a:lnTo>
                  <a:lnTo>
                    <a:pt x="2" y="508"/>
                  </a:lnTo>
                  <a:lnTo>
                    <a:pt x="6" y="514"/>
                  </a:lnTo>
                  <a:lnTo>
                    <a:pt x="12" y="518"/>
                  </a:lnTo>
                  <a:lnTo>
                    <a:pt x="20" y="520"/>
                  </a:lnTo>
                  <a:lnTo>
                    <a:pt x="728" y="520"/>
                  </a:lnTo>
                  <a:lnTo>
                    <a:pt x="728" y="520"/>
                  </a:lnTo>
                  <a:lnTo>
                    <a:pt x="736" y="518"/>
                  </a:lnTo>
                  <a:lnTo>
                    <a:pt x="742" y="514"/>
                  </a:lnTo>
                  <a:lnTo>
                    <a:pt x="746" y="508"/>
                  </a:lnTo>
                  <a:lnTo>
                    <a:pt x="748" y="500"/>
                  </a:lnTo>
                  <a:lnTo>
                    <a:pt x="748" y="272"/>
                  </a:lnTo>
                  <a:lnTo>
                    <a:pt x="748" y="272"/>
                  </a:lnTo>
                  <a:lnTo>
                    <a:pt x="746" y="264"/>
                  </a:lnTo>
                  <a:lnTo>
                    <a:pt x="742" y="256"/>
                  </a:lnTo>
                  <a:lnTo>
                    <a:pt x="736" y="252"/>
                  </a:lnTo>
                  <a:lnTo>
                    <a:pt x="728" y="250"/>
                  </a:lnTo>
                  <a:lnTo>
                    <a:pt x="728" y="250"/>
                  </a:lnTo>
                  <a:close/>
                  <a:moveTo>
                    <a:pt x="124" y="428"/>
                  </a:moveTo>
                  <a:lnTo>
                    <a:pt x="124" y="428"/>
                  </a:lnTo>
                  <a:lnTo>
                    <a:pt x="124" y="436"/>
                  </a:lnTo>
                  <a:lnTo>
                    <a:pt x="120" y="442"/>
                  </a:lnTo>
                  <a:lnTo>
                    <a:pt x="114" y="444"/>
                  </a:lnTo>
                  <a:lnTo>
                    <a:pt x="108" y="446"/>
                  </a:lnTo>
                  <a:lnTo>
                    <a:pt x="108" y="446"/>
                  </a:lnTo>
                  <a:lnTo>
                    <a:pt x="102" y="444"/>
                  </a:lnTo>
                  <a:lnTo>
                    <a:pt x="96" y="442"/>
                  </a:lnTo>
                  <a:lnTo>
                    <a:pt x="92" y="436"/>
                  </a:lnTo>
                  <a:lnTo>
                    <a:pt x="90" y="428"/>
                  </a:lnTo>
                  <a:lnTo>
                    <a:pt x="90" y="336"/>
                  </a:lnTo>
                  <a:lnTo>
                    <a:pt x="90" y="336"/>
                  </a:lnTo>
                  <a:lnTo>
                    <a:pt x="92" y="328"/>
                  </a:lnTo>
                  <a:lnTo>
                    <a:pt x="96" y="324"/>
                  </a:lnTo>
                  <a:lnTo>
                    <a:pt x="102" y="320"/>
                  </a:lnTo>
                  <a:lnTo>
                    <a:pt x="108" y="318"/>
                  </a:lnTo>
                  <a:lnTo>
                    <a:pt x="108" y="318"/>
                  </a:lnTo>
                  <a:lnTo>
                    <a:pt x="114" y="320"/>
                  </a:lnTo>
                  <a:lnTo>
                    <a:pt x="120" y="324"/>
                  </a:lnTo>
                  <a:lnTo>
                    <a:pt x="124" y="328"/>
                  </a:lnTo>
                  <a:lnTo>
                    <a:pt x="124" y="336"/>
                  </a:lnTo>
                  <a:lnTo>
                    <a:pt x="124" y="428"/>
                  </a:lnTo>
                  <a:close/>
                  <a:moveTo>
                    <a:pt x="198" y="428"/>
                  </a:moveTo>
                  <a:lnTo>
                    <a:pt x="198" y="428"/>
                  </a:lnTo>
                  <a:lnTo>
                    <a:pt x="198" y="436"/>
                  </a:lnTo>
                  <a:lnTo>
                    <a:pt x="194" y="442"/>
                  </a:lnTo>
                  <a:lnTo>
                    <a:pt x="188" y="444"/>
                  </a:lnTo>
                  <a:lnTo>
                    <a:pt x="182" y="446"/>
                  </a:lnTo>
                  <a:lnTo>
                    <a:pt x="182" y="446"/>
                  </a:lnTo>
                  <a:lnTo>
                    <a:pt x="176" y="444"/>
                  </a:lnTo>
                  <a:lnTo>
                    <a:pt x="170" y="442"/>
                  </a:lnTo>
                  <a:lnTo>
                    <a:pt x="166" y="436"/>
                  </a:lnTo>
                  <a:lnTo>
                    <a:pt x="164" y="428"/>
                  </a:lnTo>
                  <a:lnTo>
                    <a:pt x="164" y="336"/>
                  </a:lnTo>
                  <a:lnTo>
                    <a:pt x="164" y="336"/>
                  </a:lnTo>
                  <a:lnTo>
                    <a:pt x="166" y="328"/>
                  </a:lnTo>
                  <a:lnTo>
                    <a:pt x="170" y="324"/>
                  </a:lnTo>
                  <a:lnTo>
                    <a:pt x="176" y="320"/>
                  </a:lnTo>
                  <a:lnTo>
                    <a:pt x="182" y="318"/>
                  </a:lnTo>
                  <a:lnTo>
                    <a:pt x="182" y="318"/>
                  </a:lnTo>
                  <a:lnTo>
                    <a:pt x="188" y="320"/>
                  </a:lnTo>
                  <a:lnTo>
                    <a:pt x="194" y="324"/>
                  </a:lnTo>
                  <a:lnTo>
                    <a:pt x="198" y="328"/>
                  </a:lnTo>
                  <a:lnTo>
                    <a:pt x="198" y="336"/>
                  </a:lnTo>
                  <a:lnTo>
                    <a:pt x="198" y="428"/>
                  </a:lnTo>
                  <a:close/>
                  <a:moveTo>
                    <a:pt x="274" y="428"/>
                  </a:moveTo>
                  <a:lnTo>
                    <a:pt x="274" y="428"/>
                  </a:lnTo>
                  <a:lnTo>
                    <a:pt x="272" y="436"/>
                  </a:lnTo>
                  <a:lnTo>
                    <a:pt x="268" y="442"/>
                  </a:lnTo>
                  <a:lnTo>
                    <a:pt x="262" y="444"/>
                  </a:lnTo>
                  <a:lnTo>
                    <a:pt x="256" y="446"/>
                  </a:lnTo>
                  <a:lnTo>
                    <a:pt x="256" y="446"/>
                  </a:lnTo>
                  <a:lnTo>
                    <a:pt x="250" y="444"/>
                  </a:lnTo>
                  <a:lnTo>
                    <a:pt x="244" y="442"/>
                  </a:lnTo>
                  <a:lnTo>
                    <a:pt x="240" y="436"/>
                  </a:lnTo>
                  <a:lnTo>
                    <a:pt x="240" y="428"/>
                  </a:lnTo>
                  <a:lnTo>
                    <a:pt x="240" y="336"/>
                  </a:lnTo>
                  <a:lnTo>
                    <a:pt x="240" y="336"/>
                  </a:lnTo>
                  <a:lnTo>
                    <a:pt x="240" y="328"/>
                  </a:lnTo>
                  <a:lnTo>
                    <a:pt x="244" y="324"/>
                  </a:lnTo>
                  <a:lnTo>
                    <a:pt x="250" y="320"/>
                  </a:lnTo>
                  <a:lnTo>
                    <a:pt x="256" y="318"/>
                  </a:lnTo>
                  <a:lnTo>
                    <a:pt x="256" y="318"/>
                  </a:lnTo>
                  <a:lnTo>
                    <a:pt x="262" y="320"/>
                  </a:lnTo>
                  <a:lnTo>
                    <a:pt x="268" y="324"/>
                  </a:lnTo>
                  <a:lnTo>
                    <a:pt x="272" y="328"/>
                  </a:lnTo>
                  <a:lnTo>
                    <a:pt x="274" y="336"/>
                  </a:lnTo>
                  <a:lnTo>
                    <a:pt x="274" y="428"/>
                  </a:lnTo>
                  <a:close/>
                  <a:moveTo>
                    <a:pt x="348" y="428"/>
                  </a:moveTo>
                  <a:lnTo>
                    <a:pt x="348" y="428"/>
                  </a:lnTo>
                  <a:lnTo>
                    <a:pt x="346" y="436"/>
                  </a:lnTo>
                  <a:lnTo>
                    <a:pt x="342" y="442"/>
                  </a:lnTo>
                  <a:lnTo>
                    <a:pt x="338" y="444"/>
                  </a:lnTo>
                  <a:lnTo>
                    <a:pt x="330" y="446"/>
                  </a:lnTo>
                  <a:lnTo>
                    <a:pt x="330" y="446"/>
                  </a:lnTo>
                  <a:lnTo>
                    <a:pt x="324" y="444"/>
                  </a:lnTo>
                  <a:lnTo>
                    <a:pt x="318" y="442"/>
                  </a:lnTo>
                  <a:lnTo>
                    <a:pt x="314" y="436"/>
                  </a:lnTo>
                  <a:lnTo>
                    <a:pt x="314" y="428"/>
                  </a:lnTo>
                  <a:lnTo>
                    <a:pt x="314" y="336"/>
                  </a:lnTo>
                  <a:lnTo>
                    <a:pt x="314" y="336"/>
                  </a:lnTo>
                  <a:lnTo>
                    <a:pt x="314" y="328"/>
                  </a:lnTo>
                  <a:lnTo>
                    <a:pt x="318" y="324"/>
                  </a:lnTo>
                  <a:lnTo>
                    <a:pt x="324" y="320"/>
                  </a:lnTo>
                  <a:lnTo>
                    <a:pt x="330" y="318"/>
                  </a:lnTo>
                  <a:lnTo>
                    <a:pt x="330" y="318"/>
                  </a:lnTo>
                  <a:lnTo>
                    <a:pt x="338" y="320"/>
                  </a:lnTo>
                  <a:lnTo>
                    <a:pt x="342" y="324"/>
                  </a:lnTo>
                  <a:lnTo>
                    <a:pt x="346" y="328"/>
                  </a:lnTo>
                  <a:lnTo>
                    <a:pt x="348" y="336"/>
                  </a:lnTo>
                  <a:lnTo>
                    <a:pt x="348" y="428"/>
                  </a:lnTo>
                  <a:close/>
                  <a:moveTo>
                    <a:pt x="626" y="390"/>
                  </a:moveTo>
                  <a:lnTo>
                    <a:pt x="626" y="390"/>
                  </a:lnTo>
                  <a:lnTo>
                    <a:pt x="618" y="390"/>
                  </a:lnTo>
                  <a:lnTo>
                    <a:pt x="610" y="386"/>
                  </a:lnTo>
                  <a:lnTo>
                    <a:pt x="604" y="384"/>
                  </a:lnTo>
                  <a:lnTo>
                    <a:pt x="598" y="378"/>
                  </a:lnTo>
                  <a:lnTo>
                    <a:pt x="592" y="372"/>
                  </a:lnTo>
                  <a:lnTo>
                    <a:pt x="588" y="366"/>
                  </a:lnTo>
                  <a:lnTo>
                    <a:pt x="586" y="358"/>
                  </a:lnTo>
                  <a:lnTo>
                    <a:pt x="586" y="350"/>
                  </a:lnTo>
                  <a:lnTo>
                    <a:pt x="586" y="350"/>
                  </a:lnTo>
                  <a:lnTo>
                    <a:pt x="586" y="342"/>
                  </a:lnTo>
                  <a:lnTo>
                    <a:pt x="588" y="334"/>
                  </a:lnTo>
                  <a:lnTo>
                    <a:pt x="592" y="326"/>
                  </a:lnTo>
                  <a:lnTo>
                    <a:pt x="598" y="320"/>
                  </a:lnTo>
                  <a:lnTo>
                    <a:pt x="604" y="316"/>
                  </a:lnTo>
                  <a:lnTo>
                    <a:pt x="610" y="312"/>
                  </a:lnTo>
                  <a:lnTo>
                    <a:pt x="618" y="310"/>
                  </a:lnTo>
                  <a:lnTo>
                    <a:pt x="626" y="308"/>
                  </a:lnTo>
                  <a:lnTo>
                    <a:pt x="626" y="308"/>
                  </a:lnTo>
                  <a:lnTo>
                    <a:pt x="634" y="310"/>
                  </a:lnTo>
                  <a:lnTo>
                    <a:pt x="642" y="312"/>
                  </a:lnTo>
                  <a:lnTo>
                    <a:pt x="648" y="316"/>
                  </a:lnTo>
                  <a:lnTo>
                    <a:pt x="654" y="320"/>
                  </a:lnTo>
                  <a:lnTo>
                    <a:pt x="660" y="326"/>
                  </a:lnTo>
                  <a:lnTo>
                    <a:pt x="664" y="334"/>
                  </a:lnTo>
                  <a:lnTo>
                    <a:pt x="666" y="342"/>
                  </a:lnTo>
                  <a:lnTo>
                    <a:pt x="666" y="350"/>
                  </a:lnTo>
                  <a:lnTo>
                    <a:pt x="666" y="350"/>
                  </a:lnTo>
                  <a:lnTo>
                    <a:pt x="666" y="358"/>
                  </a:lnTo>
                  <a:lnTo>
                    <a:pt x="664" y="366"/>
                  </a:lnTo>
                  <a:lnTo>
                    <a:pt x="660" y="372"/>
                  </a:lnTo>
                  <a:lnTo>
                    <a:pt x="654" y="378"/>
                  </a:lnTo>
                  <a:lnTo>
                    <a:pt x="648" y="384"/>
                  </a:lnTo>
                  <a:lnTo>
                    <a:pt x="642" y="386"/>
                  </a:lnTo>
                  <a:lnTo>
                    <a:pt x="634" y="390"/>
                  </a:lnTo>
                  <a:lnTo>
                    <a:pt x="626" y="390"/>
                  </a:lnTo>
                  <a:lnTo>
                    <a:pt x="626" y="390"/>
                  </a:lnTo>
                  <a:close/>
                </a:path>
              </a:pathLst>
            </a:custGeom>
            <a:solidFill>
              <a:srgbClr val="0099CC"/>
            </a:solidFill>
            <a:ln w="9525">
              <a:noFill/>
              <a:round/>
            </a:ln>
          </p:spPr>
          <p:txBody>
            <a:bodyPr vert="horz" wrap="square" lIns="68598" tIns="34299" rIns="68598" bIns="34299" numCol="1" anchor="t" anchorCtr="0" compatLnSpc="1"/>
            <a:lstStyle/>
            <a:p>
              <a:endParaRPr lang="zh-CN" altLang="en-US" sz="135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12" name="Freeform 20"/>
            <p:cNvSpPr>
              <a:spLocks noEditPoints="1"/>
            </p:cNvSpPr>
            <p:nvPr>
              <p:custDataLst>
                <p:tags r:id="rId5"/>
              </p:custDataLst>
            </p:nvPr>
          </p:nvSpPr>
          <p:spPr bwMode="auto">
            <a:xfrm>
              <a:off x="4795186" y="1144789"/>
              <a:ext cx="1576886" cy="492623"/>
            </a:xfrm>
            <a:custGeom>
              <a:avLst/>
              <a:gdLst/>
              <a:ahLst/>
              <a:cxnLst>
                <a:cxn ang="0">
                  <a:pos x="722" y="224"/>
                </a:cxn>
                <a:cxn ang="0">
                  <a:pos x="734" y="212"/>
                </a:cxn>
                <a:cxn ang="0">
                  <a:pos x="646" y="22"/>
                </a:cxn>
                <a:cxn ang="0">
                  <a:pos x="634" y="6"/>
                </a:cxn>
                <a:cxn ang="0">
                  <a:pos x="132" y="0"/>
                </a:cxn>
                <a:cxn ang="0">
                  <a:pos x="114" y="6"/>
                </a:cxn>
                <a:cxn ang="0">
                  <a:pos x="102" y="22"/>
                </a:cxn>
                <a:cxn ang="0">
                  <a:pos x="14" y="212"/>
                </a:cxn>
                <a:cxn ang="0">
                  <a:pos x="26" y="224"/>
                </a:cxn>
                <a:cxn ang="0">
                  <a:pos x="20" y="250"/>
                </a:cxn>
                <a:cxn ang="0">
                  <a:pos x="6" y="256"/>
                </a:cxn>
                <a:cxn ang="0">
                  <a:pos x="0" y="500"/>
                </a:cxn>
                <a:cxn ang="0">
                  <a:pos x="6" y="514"/>
                </a:cxn>
                <a:cxn ang="0">
                  <a:pos x="728" y="520"/>
                </a:cxn>
                <a:cxn ang="0">
                  <a:pos x="742" y="514"/>
                </a:cxn>
                <a:cxn ang="0">
                  <a:pos x="748" y="272"/>
                </a:cxn>
                <a:cxn ang="0">
                  <a:pos x="742" y="256"/>
                </a:cxn>
                <a:cxn ang="0">
                  <a:pos x="728" y="250"/>
                </a:cxn>
                <a:cxn ang="0">
                  <a:pos x="124" y="436"/>
                </a:cxn>
                <a:cxn ang="0">
                  <a:pos x="108" y="446"/>
                </a:cxn>
                <a:cxn ang="0">
                  <a:pos x="96" y="442"/>
                </a:cxn>
                <a:cxn ang="0">
                  <a:pos x="90" y="336"/>
                </a:cxn>
                <a:cxn ang="0">
                  <a:pos x="96" y="324"/>
                </a:cxn>
                <a:cxn ang="0">
                  <a:pos x="108" y="318"/>
                </a:cxn>
                <a:cxn ang="0">
                  <a:pos x="124" y="328"/>
                </a:cxn>
                <a:cxn ang="0">
                  <a:pos x="198" y="428"/>
                </a:cxn>
                <a:cxn ang="0">
                  <a:pos x="194" y="442"/>
                </a:cxn>
                <a:cxn ang="0">
                  <a:pos x="182" y="446"/>
                </a:cxn>
                <a:cxn ang="0">
                  <a:pos x="166" y="436"/>
                </a:cxn>
                <a:cxn ang="0">
                  <a:pos x="164" y="336"/>
                </a:cxn>
                <a:cxn ang="0">
                  <a:pos x="176" y="320"/>
                </a:cxn>
                <a:cxn ang="0">
                  <a:pos x="188" y="320"/>
                </a:cxn>
                <a:cxn ang="0">
                  <a:pos x="198" y="336"/>
                </a:cxn>
                <a:cxn ang="0">
                  <a:pos x="274" y="428"/>
                </a:cxn>
                <a:cxn ang="0">
                  <a:pos x="262" y="444"/>
                </a:cxn>
                <a:cxn ang="0">
                  <a:pos x="250" y="444"/>
                </a:cxn>
                <a:cxn ang="0">
                  <a:pos x="240" y="428"/>
                </a:cxn>
                <a:cxn ang="0">
                  <a:pos x="240" y="328"/>
                </a:cxn>
                <a:cxn ang="0">
                  <a:pos x="256" y="318"/>
                </a:cxn>
                <a:cxn ang="0">
                  <a:pos x="268" y="324"/>
                </a:cxn>
                <a:cxn ang="0">
                  <a:pos x="274" y="428"/>
                </a:cxn>
                <a:cxn ang="0">
                  <a:pos x="346" y="436"/>
                </a:cxn>
                <a:cxn ang="0">
                  <a:pos x="330" y="446"/>
                </a:cxn>
                <a:cxn ang="0">
                  <a:pos x="318" y="442"/>
                </a:cxn>
                <a:cxn ang="0">
                  <a:pos x="314" y="336"/>
                </a:cxn>
                <a:cxn ang="0">
                  <a:pos x="318" y="324"/>
                </a:cxn>
                <a:cxn ang="0">
                  <a:pos x="330" y="318"/>
                </a:cxn>
                <a:cxn ang="0">
                  <a:pos x="346" y="328"/>
                </a:cxn>
                <a:cxn ang="0">
                  <a:pos x="626" y="390"/>
                </a:cxn>
                <a:cxn ang="0">
                  <a:pos x="610" y="386"/>
                </a:cxn>
                <a:cxn ang="0">
                  <a:pos x="592" y="372"/>
                </a:cxn>
                <a:cxn ang="0">
                  <a:pos x="586" y="350"/>
                </a:cxn>
                <a:cxn ang="0">
                  <a:pos x="588" y="334"/>
                </a:cxn>
                <a:cxn ang="0">
                  <a:pos x="604" y="316"/>
                </a:cxn>
                <a:cxn ang="0">
                  <a:pos x="626" y="308"/>
                </a:cxn>
                <a:cxn ang="0">
                  <a:pos x="642" y="312"/>
                </a:cxn>
                <a:cxn ang="0">
                  <a:pos x="660" y="326"/>
                </a:cxn>
                <a:cxn ang="0">
                  <a:pos x="666" y="350"/>
                </a:cxn>
                <a:cxn ang="0">
                  <a:pos x="664" y="366"/>
                </a:cxn>
                <a:cxn ang="0">
                  <a:pos x="648" y="384"/>
                </a:cxn>
                <a:cxn ang="0">
                  <a:pos x="626" y="390"/>
                </a:cxn>
              </a:cxnLst>
              <a:rect l="0" t="0" r="r" b="b"/>
              <a:pathLst>
                <a:path w="748" h="520">
                  <a:moveTo>
                    <a:pt x="26" y="224"/>
                  </a:moveTo>
                  <a:lnTo>
                    <a:pt x="722" y="224"/>
                  </a:lnTo>
                  <a:lnTo>
                    <a:pt x="722" y="224"/>
                  </a:lnTo>
                  <a:lnTo>
                    <a:pt x="728" y="222"/>
                  </a:lnTo>
                  <a:lnTo>
                    <a:pt x="732" y="218"/>
                  </a:lnTo>
                  <a:lnTo>
                    <a:pt x="734" y="212"/>
                  </a:lnTo>
                  <a:lnTo>
                    <a:pt x="732" y="204"/>
                  </a:lnTo>
                  <a:lnTo>
                    <a:pt x="732" y="204"/>
                  </a:lnTo>
                  <a:lnTo>
                    <a:pt x="646" y="22"/>
                  </a:lnTo>
                  <a:lnTo>
                    <a:pt x="646" y="22"/>
                  </a:lnTo>
                  <a:lnTo>
                    <a:pt x="640" y="14"/>
                  </a:lnTo>
                  <a:lnTo>
                    <a:pt x="634" y="6"/>
                  </a:lnTo>
                  <a:lnTo>
                    <a:pt x="626" y="2"/>
                  </a:lnTo>
                  <a:lnTo>
                    <a:pt x="616" y="0"/>
                  </a:lnTo>
                  <a:lnTo>
                    <a:pt x="132" y="0"/>
                  </a:lnTo>
                  <a:lnTo>
                    <a:pt x="132" y="0"/>
                  </a:lnTo>
                  <a:lnTo>
                    <a:pt x="122" y="2"/>
                  </a:lnTo>
                  <a:lnTo>
                    <a:pt x="114" y="6"/>
                  </a:lnTo>
                  <a:lnTo>
                    <a:pt x="108" y="14"/>
                  </a:lnTo>
                  <a:lnTo>
                    <a:pt x="102" y="22"/>
                  </a:lnTo>
                  <a:lnTo>
                    <a:pt x="102" y="22"/>
                  </a:lnTo>
                  <a:lnTo>
                    <a:pt x="14" y="204"/>
                  </a:lnTo>
                  <a:lnTo>
                    <a:pt x="14" y="204"/>
                  </a:lnTo>
                  <a:lnTo>
                    <a:pt x="14" y="212"/>
                  </a:lnTo>
                  <a:lnTo>
                    <a:pt x="16" y="218"/>
                  </a:lnTo>
                  <a:lnTo>
                    <a:pt x="20" y="222"/>
                  </a:lnTo>
                  <a:lnTo>
                    <a:pt x="26" y="224"/>
                  </a:lnTo>
                  <a:lnTo>
                    <a:pt x="26" y="224"/>
                  </a:lnTo>
                  <a:close/>
                  <a:moveTo>
                    <a:pt x="728" y="250"/>
                  </a:moveTo>
                  <a:lnTo>
                    <a:pt x="20" y="250"/>
                  </a:lnTo>
                  <a:lnTo>
                    <a:pt x="20" y="250"/>
                  </a:lnTo>
                  <a:lnTo>
                    <a:pt x="12" y="252"/>
                  </a:lnTo>
                  <a:lnTo>
                    <a:pt x="6" y="256"/>
                  </a:lnTo>
                  <a:lnTo>
                    <a:pt x="2" y="264"/>
                  </a:lnTo>
                  <a:lnTo>
                    <a:pt x="0" y="272"/>
                  </a:lnTo>
                  <a:lnTo>
                    <a:pt x="0" y="500"/>
                  </a:lnTo>
                  <a:lnTo>
                    <a:pt x="0" y="500"/>
                  </a:lnTo>
                  <a:lnTo>
                    <a:pt x="2" y="508"/>
                  </a:lnTo>
                  <a:lnTo>
                    <a:pt x="6" y="514"/>
                  </a:lnTo>
                  <a:lnTo>
                    <a:pt x="12" y="518"/>
                  </a:lnTo>
                  <a:lnTo>
                    <a:pt x="20" y="520"/>
                  </a:lnTo>
                  <a:lnTo>
                    <a:pt x="728" y="520"/>
                  </a:lnTo>
                  <a:lnTo>
                    <a:pt x="728" y="520"/>
                  </a:lnTo>
                  <a:lnTo>
                    <a:pt x="736" y="518"/>
                  </a:lnTo>
                  <a:lnTo>
                    <a:pt x="742" y="514"/>
                  </a:lnTo>
                  <a:lnTo>
                    <a:pt x="746" y="508"/>
                  </a:lnTo>
                  <a:lnTo>
                    <a:pt x="748" y="500"/>
                  </a:lnTo>
                  <a:lnTo>
                    <a:pt x="748" y="272"/>
                  </a:lnTo>
                  <a:lnTo>
                    <a:pt x="748" y="272"/>
                  </a:lnTo>
                  <a:lnTo>
                    <a:pt x="746" y="264"/>
                  </a:lnTo>
                  <a:lnTo>
                    <a:pt x="742" y="256"/>
                  </a:lnTo>
                  <a:lnTo>
                    <a:pt x="736" y="252"/>
                  </a:lnTo>
                  <a:lnTo>
                    <a:pt x="728" y="250"/>
                  </a:lnTo>
                  <a:lnTo>
                    <a:pt x="728" y="250"/>
                  </a:lnTo>
                  <a:close/>
                  <a:moveTo>
                    <a:pt x="124" y="428"/>
                  </a:moveTo>
                  <a:lnTo>
                    <a:pt x="124" y="428"/>
                  </a:lnTo>
                  <a:lnTo>
                    <a:pt x="124" y="436"/>
                  </a:lnTo>
                  <a:lnTo>
                    <a:pt x="120" y="442"/>
                  </a:lnTo>
                  <a:lnTo>
                    <a:pt x="114" y="444"/>
                  </a:lnTo>
                  <a:lnTo>
                    <a:pt x="108" y="446"/>
                  </a:lnTo>
                  <a:lnTo>
                    <a:pt x="108" y="446"/>
                  </a:lnTo>
                  <a:lnTo>
                    <a:pt x="102" y="444"/>
                  </a:lnTo>
                  <a:lnTo>
                    <a:pt x="96" y="442"/>
                  </a:lnTo>
                  <a:lnTo>
                    <a:pt x="92" y="436"/>
                  </a:lnTo>
                  <a:lnTo>
                    <a:pt x="90" y="428"/>
                  </a:lnTo>
                  <a:lnTo>
                    <a:pt x="90" y="336"/>
                  </a:lnTo>
                  <a:lnTo>
                    <a:pt x="90" y="336"/>
                  </a:lnTo>
                  <a:lnTo>
                    <a:pt x="92" y="328"/>
                  </a:lnTo>
                  <a:lnTo>
                    <a:pt x="96" y="324"/>
                  </a:lnTo>
                  <a:lnTo>
                    <a:pt x="102" y="320"/>
                  </a:lnTo>
                  <a:lnTo>
                    <a:pt x="108" y="318"/>
                  </a:lnTo>
                  <a:lnTo>
                    <a:pt x="108" y="318"/>
                  </a:lnTo>
                  <a:lnTo>
                    <a:pt x="114" y="320"/>
                  </a:lnTo>
                  <a:lnTo>
                    <a:pt x="120" y="324"/>
                  </a:lnTo>
                  <a:lnTo>
                    <a:pt x="124" y="328"/>
                  </a:lnTo>
                  <a:lnTo>
                    <a:pt x="124" y="336"/>
                  </a:lnTo>
                  <a:lnTo>
                    <a:pt x="124" y="428"/>
                  </a:lnTo>
                  <a:close/>
                  <a:moveTo>
                    <a:pt x="198" y="428"/>
                  </a:moveTo>
                  <a:lnTo>
                    <a:pt x="198" y="428"/>
                  </a:lnTo>
                  <a:lnTo>
                    <a:pt x="198" y="436"/>
                  </a:lnTo>
                  <a:lnTo>
                    <a:pt x="194" y="442"/>
                  </a:lnTo>
                  <a:lnTo>
                    <a:pt x="188" y="444"/>
                  </a:lnTo>
                  <a:lnTo>
                    <a:pt x="182" y="446"/>
                  </a:lnTo>
                  <a:lnTo>
                    <a:pt x="182" y="446"/>
                  </a:lnTo>
                  <a:lnTo>
                    <a:pt x="176" y="444"/>
                  </a:lnTo>
                  <a:lnTo>
                    <a:pt x="170" y="442"/>
                  </a:lnTo>
                  <a:lnTo>
                    <a:pt x="166" y="436"/>
                  </a:lnTo>
                  <a:lnTo>
                    <a:pt x="164" y="428"/>
                  </a:lnTo>
                  <a:lnTo>
                    <a:pt x="164" y="336"/>
                  </a:lnTo>
                  <a:lnTo>
                    <a:pt x="164" y="336"/>
                  </a:lnTo>
                  <a:lnTo>
                    <a:pt x="166" y="328"/>
                  </a:lnTo>
                  <a:lnTo>
                    <a:pt x="170" y="324"/>
                  </a:lnTo>
                  <a:lnTo>
                    <a:pt x="176" y="320"/>
                  </a:lnTo>
                  <a:lnTo>
                    <a:pt x="182" y="318"/>
                  </a:lnTo>
                  <a:lnTo>
                    <a:pt x="182" y="318"/>
                  </a:lnTo>
                  <a:lnTo>
                    <a:pt x="188" y="320"/>
                  </a:lnTo>
                  <a:lnTo>
                    <a:pt x="194" y="324"/>
                  </a:lnTo>
                  <a:lnTo>
                    <a:pt x="198" y="328"/>
                  </a:lnTo>
                  <a:lnTo>
                    <a:pt x="198" y="336"/>
                  </a:lnTo>
                  <a:lnTo>
                    <a:pt x="198" y="428"/>
                  </a:lnTo>
                  <a:close/>
                  <a:moveTo>
                    <a:pt x="274" y="428"/>
                  </a:moveTo>
                  <a:lnTo>
                    <a:pt x="274" y="428"/>
                  </a:lnTo>
                  <a:lnTo>
                    <a:pt x="272" y="436"/>
                  </a:lnTo>
                  <a:lnTo>
                    <a:pt x="268" y="442"/>
                  </a:lnTo>
                  <a:lnTo>
                    <a:pt x="262" y="444"/>
                  </a:lnTo>
                  <a:lnTo>
                    <a:pt x="256" y="446"/>
                  </a:lnTo>
                  <a:lnTo>
                    <a:pt x="256" y="446"/>
                  </a:lnTo>
                  <a:lnTo>
                    <a:pt x="250" y="444"/>
                  </a:lnTo>
                  <a:lnTo>
                    <a:pt x="244" y="442"/>
                  </a:lnTo>
                  <a:lnTo>
                    <a:pt x="240" y="436"/>
                  </a:lnTo>
                  <a:lnTo>
                    <a:pt x="240" y="428"/>
                  </a:lnTo>
                  <a:lnTo>
                    <a:pt x="240" y="336"/>
                  </a:lnTo>
                  <a:lnTo>
                    <a:pt x="240" y="336"/>
                  </a:lnTo>
                  <a:lnTo>
                    <a:pt x="240" y="328"/>
                  </a:lnTo>
                  <a:lnTo>
                    <a:pt x="244" y="324"/>
                  </a:lnTo>
                  <a:lnTo>
                    <a:pt x="250" y="320"/>
                  </a:lnTo>
                  <a:lnTo>
                    <a:pt x="256" y="318"/>
                  </a:lnTo>
                  <a:lnTo>
                    <a:pt x="256" y="318"/>
                  </a:lnTo>
                  <a:lnTo>
                    <a:pt x="262" y="320"/>
                  </a:lnTo>
                  <a:lnTo>
                    <a:pt x="268" y="324"/>
                  </a:lnTo>
                  <a:lnTo>
                    <a:pt x="272" y="328"/>
                  </a:lnTo>
                  <a:lnTo>
                    <a:pt x="274" y="336"/>
                  </a:lnTo>
                  <a:lnTo>
                    <a:pt x="274" y="428"/>
                  </a:lnTo>
                  <a:close/>
                  <a:moveTo>
                    <a:pt x="348" y="428"/>
                  </a:moveTo>
                  <a:lnTo>
                    <a:pt x="348" y="428"/>
                  </a:lnTo>
                  <a:lnTo>
                    <a:pt x="346" y="436"/>
                  </a:lnTo>
                  <a:lnTo>
                    <a:pt x="342" y="442"/>
                  </a:lnTo>
                  <a:lnTo>
                    <a:pt x="338" y="444"/>
                  </a:lnTo>
                  <a:lnTo>
                    <a:pt x="330" y="446"/>
                  </a:lnTo>
                  <a:lnTo>
                    <a:pt x="330" y="446"/>
                  </a:lnTo>
                  <a:lnTo>
                    <a:pt x="324" y="444"/>
                  </a:lnTo>
                  <a:lnTo>
                    <a:pt x="318" y="442"/>
                  </a:lnTo>
                  <a:lnTo>
                    <a:pt x="314" y="436"/>
                  </a:lnTo>
                  <a:lnTo>
                    <a:pt x="314" y="428"/>
                  </a:lnTo>
                  <a:lnTo>
                    <a:pt x="314" y="336"/>
                  </a:lnTo>
                  <a:lnTo>
                    <a:pt x="314" y="336"/>
                  </a:lnTo>
                  <a:lnTo>
                    <a:pt x="314" y="328"/>
                  </a:lnTo>
                  <a:lnTo>
                    <a:pt x="318" y="324"/>
                  </a:lnTo>
                  <a:lnTo>
                    <a:pt x="324" y="320"/>
                  </a:lnTo>
                  <a:lnTo>
                    <a:pt x="330" y="318"/>
                  </a:lnTo>
                  <a:lnTo>
                    <a:pt x="330" y="318"/>
                  </a:lnTo>
                  <a:lnTo>
                    <a:pt x="338" y="320"/>
                  </a:lnTo>
                  <a:lnTo>
                    <a:pt x="342" y="324"/>
                  </a:lnTo>
                  <a:lnTo>
                    <a:pt x="346" y="328"/>
                  </a:lnTo>
                  <a:lnTo>
                    <a:pt x="348" y="336"/>
                  </a:lnTo>
                  <a:lnTo>
                    <a:pt x="348" y="428"/>
                  </a:lnTo>
                  <a:close/>
                  <a:moveTo>
                    <a:pt x="626" y="390"/>
                  </a:moveTo>
                  <a:lnTo>
                    <a:pt x="626" y="390"/>
                  </a:lnTo>
                  <a:lnTo>
                    <a:pt x="618" y="390"/>
                  </a:lnTo>
                  <a:lnTo>
                    <a:pt x="610" y="386"/>
                  </a:lnTo>
                  <a:lnTo>
                    <a:pt x="604" y="384"/>
                  </a:lnTo>
                  <a:lnTo>
                    <a:pt x="598" y="378"/>
                  </a:lnTo>
                  <a:lnTo>
                    <a:pt x="592" y="372"/>
                  </a:lnTo>
                  <a:lnTo>
                    <a:pt x="588" y="366"/>
                  </a:lnTo>
                  <a:lnTo>
                    <a:pt x="586" y="358"/>
                  </a:lnTo>
                  <a:lnTo>
                    <a:pt x="586" y="350"/>
                  </a:lnTo>
                  <a:lnTo>
                    <a:pt x="586" y="350"/>
                  </a:lnTo>
                  <a:lnTo>
                    <a:pt x="586" y="342"/>
                  </a:lnTo>
                  <a:lnTo>
                    <a:pt x="588" y="334"/>
                  </a:lnTo>
                  <a:lnTo>
                    <a:pt x="592" y="326"/>
                  </a:lnTo>
                  <a:lnTo>
                    <a:pt x="598" y="320"/>
                  </a:lnTo>
                  <a:lnTo>
                    <a:pt x="604" y="316"/>
                  </a:lnTo>
                  <a:lnTo>
                    <a:pt x="610" y="312"/>
                  </a:lnTo>
                  <a:lnTo>
                    <a:pt x="618" y="310"/>
                  </a:lnTo>
                  <a:lnTo>
                    <a:pt x="626" y="308"/>
                  </a:lnTo>
                  <a:lnTo>
                    <a:pt x="626" y="308"/>
                  </a:lnTo>
                  <a:lnTo>
                    <a:pt x="634" y="310"/>
                  </a:lnTo>
                  <a:lnTo>
                    <a:pt x="642" y="312"/>
                  </a:lnTo>
                  <a:lnTo>
                    <a:pt x="648" y="316"/>
                  </a:lnTo>
                  <a:lnTo>
                    <a:pt x="654" y="320"/>
                  </a:lnTo>
                  <a:lnTo>
                    <a:pt x="660" y="326"/>
                  </a:lnTo>
                  <a:lnTo>
                    <a:pt x="664" y="334"/>
                  </a:lnTo>
                  <a:lnTo>
                    <a:pt x="666" y="342"/>
                  </a:lnTo>
                  <a:lnTo>
                    <a:pt x="666" y="350"/>
                  </a:lnTo>
                  <a:lnTo>
                    <a:pt x="666" y="350"/>
                  </a:lnTo>
                  <a:lnTo>
                    <a:pt x="666" y="358"/>
                  </a:lnTo>
                  <a:lnTo>
                    <a:pt x="664" y="366"/>
                  </a:lnTo>
                  <a:lnTo>
                    <a:pt x="660" y="372"/>
                  </a:lnTo>
                  <a:lnTo>
                    <a:pt x="654" y="378"/>
                  </a:lnTo>
                  <a:lnTo>
                    <a:pt x="648" y="384"/>
                  </a:lnTo>
                  <a:lnTo>
                    <a:pt x="642" y="386"/>
                  </a:lnTo>
                  <a:lnTo>
                    <a:pt x="634" y="390"/>
                  </a:lnTo>
                  <a:lnTo>
                    <a:pt x="626" y="390"/>
                  </a:lnTo>
                  <a:lnTo>
                    <a:pt x="626" y="390"/>
                  </a:lnTo>
                  <a:close/>
                </a:path>
              </a:pathLst>
            </a:custGeom>
            <a:solidFill>
              <a:srgbClr val="0099CC"/>
            </a:solidFill>
            <a:ln w="9525">
              <a:noFill/>
              <a:round/>
            </a:ln>
          </p:spPr>
          <p:txBody>
            <a:bodyPr vert="horz" wrap="square" lIns="68598" tIns="34299" rIns="68598" bIns="34299" numCol="1" anchor="t" anchorCtr="0" compatLnSpc="1"/>
            <a:lstStyle/>
            <a:p>
              <a:endParaRPr lang="zh-CN" altLang="en-US" sz="135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13" name="Freeform 20"/>
            <p:cNvSpPr>
              <a:spLocks noEditPoints="1"/>
            </p:cNvSpPr>
            <p:nvPr>
              <p:custDataLst>
                <p:tags r:id="rId6"/>
              </p:custDataLst>
            </p:nvPr>
          </p:nvSpPr>
          <p:spPr bwMode="auto">
            <a:xfrm>
              <a:off x="961539" y="3144909"/>
              <a:ext cx="1576886" cy="492623"/>
            </a:xfrm>
            <a:custGeom>
              <a:avLst/>
              <a:gdLst/>
              <a:ahLst/>
              <a:cxnLst>
                <a:cxn ang="0">
                  <a:pos x="722" y="224"/>
                </a:cxn>
                <a:cxn ang="0">
                  <a:pos x="734" y="212"/>
                </a:cxn>
                <a:cxn ang="0">
                  <a:pos x="646" y="22"/>
                </a:cxn>
                <a:cxn ang="0">
                  <a:pos x="634" y="6"/>
                </a:cxn>
                <a:cxn ang="0">
                  <a:pos x="132" y="0"/>
                </a:cxn>
                <a:cxn ang="0">
                  <a:pos x="114" y="6"/>
                </a:cxn>
                <a:cxn ang="0">
                  <a:pos x="102" y="22"/>
                </a:cxn>
                <a:cxn ang="0">
                  <a:pos x="14" y="212"/>
                </a:cxn>
                <a:cxn ang="0">
                  <a:pos x="26" y="224"/>
                </a:cxn>
                <a:cxn ang="0">
                  <a:pos x="20" y="250"/>
                </a:cxn>
                <a:cxn ang="0">
                  <a:pos x="6" y="256"/>
                </a:cxn>
                <a:cxn ang="0">
                  <a:pos x="0" y="500"/>
                </a:cxn>
                <a:cxn ang="0">
                  <a:pos x="6" y="514"/>
                </a:cxn>
                <a:cxn ang="0">
                  <a:pos x="728" y="520"/>
                </a:cxn>
                <a:cxn ang="0">
                  <a:pos x="742" y="514"/>
                </a:cxn>
                <a:cxn ang="0">
                  <a:pos x="748" y="272"/>
                </a:cxn>
                <a:cxn ang="0">
                  <a:pos x="742" y="256"/>
                </a:cxn>
                <a:cxn ang="0">
                  <a:pos x="728" y="250"/>
                </a:cxn>
                <a:cxn ang="0">
                  <a:pos x="124" y="436"/>
                </a:cxn>
                <a:cxn ang="0">
                  <a:pos x="108" y="446"/>
                </a:cxn>
                <a:cxn ang="0">
                  <a:pos x="96" y="442"/>
                </a:cxn>
                <a:cxn ang="0">
                  <a:pos x="90" y="336"/>
                </a:cxn>
                <a:cxn ang="0">
                  <a:pos x="96" y="324"/>
                </a:cxn>
                <a:cxn ang="0">
                  <a:pos x="108" y="318"/>
                </a:cxn>
                <a:cxn ang="0">
                  <a:pos x="124" y="328"/>
                </a:cxn>
                <a:cxn ang="0">
                  <a:pos x="198" y="428"/>
                </a:cxn>
                <a:cxn ang="0">
                  <a:pos x="194" y="442"/>
                </a:cxn>
                <a:cxn ang="0">
                  <a:pos x="182" y="446"/>
                </a:cxn>
                <a:cxn ang="0">
                  <a:pos x="166" y="436"/>
                </a:cxn>
                <a:cxn ang="0">
                  <a:pos x="164" y="336"/>
                </a:cxn>
                <a:cxn ang="0">
                  <a:pos x="176" y="320"/>
                </a:cxn>
                <a:cxn ang="0">
                  <a:pos x="188" y="320"/>
                </a:cxn>
                <a:cxn ang="0">
                  <a:pos x="198" y="336"/>
                </a:cxn>
                <a:cxn ang="0">
                  <a:pos x="274" y="428"/>
                </a:cxn>
                <a:cxn ang="0">
                  <a:pos x="262" y="444"/>
                </a:cxn>
                <a:cxn ang="0">
                  <a:pos x="250" y="444"/>
                </a:cxn>
                <a:cxn ang="0">
                  <a:pos x="240" y="428"/>
                </a:cxn>
                <a:cxn ang="0">
                  <a:pos x="240" y="328"/>
                </a:cxn>
                <a:cxn ang="0">
                  <a:pos x="256" y="318"/>
                </a:cxn>
                <a:cxn ang="0">
                  <a:pos x="268" y="324"/>
                </a:cxn>
                <a:cxn ang="0">
                  <a:pos x="274" y="428"/>
                </a:cxn>
                <a:cxn ang="0">
                  <a:pos x="346" y="436"/>
                </a:cxn>
                <a:cxn ang="0">
                  <a:pos x="330" y="446"/>
                </a:cxn>
                <a:cxn ang="0">
                  <a:pos x="318" y="442"/>
                </a:cxn>
                <a:cxn ang="0">
                  <a:pos x="314" y="336"/>
                </a:cxn>
                <a:cxn ang="0">
                  <a:pos x="318" y="324"/>
                </a:cxn>
                <a:cxn ang="0">
                  <a:pos x="330" y="318"/>
                </a:cxn>
                <a:cxn ang="0">
                  <a:pos x="346" y="328"/>
                </a:cxn>
                <a:cxn ang="0">
                  <a:pos x="626" y="390"/>
                </a:cxn>
                <a:cxn ang="0">
                  <a:pos x="610" y="386"/>
                </a:cxn>
                <a:cxn ang="0">
                  <a:pos x="592" y="372"/>
                </a:cxn>
                <a:cxn ang="0">
                  <a:pos x="586" y="350"/>
                </a:cxn>
                <a:cxn ang="0">
                  <a:pos x="588" y="334"/>
                </a:cxn>
                <a:cxn ang="0">
                  <a:pos x="604" y="316"/>
                </a:cxn>
                <a:cxn ang="0">
                  <a:pos x="626" y="308"/>
                </a:cxn>
                <a:cxn ang="0">
                  <a:pos x="642" y="312"/>
                </a:cxn>
                <a:cxn ang="0">
                  <a:pos x="660" y="326"/>
                </a:cxn>
                <a:cxn ang="0">
                  <a:pos x="666" y="350"/>
                </a:cxn>
                <a:cxn ang="0">
                  <a:pos x="664" y="366"/>
                </a:cxn>
                <a:cxn ang="0">
                  <a:pos x="648" y="384"/>
                </a:cxn>
                <a:cxn ang="0">
                  <a:pos x="626" y="390"/>
                </a:cxn>
              </a:cxnLst>
              <a:rect l="0" t="0" r="r" b="b"/>
              <a:pathLst>
                <a:path w="748" h="520">
                  <a:moveTo>
                    <a:pt x="26" y="224"/>
                  </a:moveTo>
                  <a:lnTo>
                    <a:pt x="722" y="224"/>
                  </a:lnTo>
                  <a:lnTo>
                    <a:pt x="722" y="224"/>
                  </a:lnTo>
                  <a:lnTo>
                    <a:pt x="728" y="222"/>
                  </a:lnTo>
                  <a:lnTo>
                    <a:pt x="732" y="218"/>
                  </a:lnTo>
                  <a:lnTo>
                    <a:pt x="734" y="212"/>
                  </a:lnTo>
                  <a:lnTo>
                    <a:pt x="732" y="204"/>
                  </a:lnTo>
                  <a:lnTo>
                    <a:pt x="732" y="204"/>
                  </a:lnTo>
                  <a:lnTo>
                    <a:pt x="646" y="22"/>
                  </a:lnTo>
                  <a:lnTo>
                    <a:pt x="646" y="22"/>
                  </a:lnTo>
                  <a:lnTo>
                    <a:pt x="640" y="14"/>
                  </a:lnTo>
                  <a:lnTo>
                    <a:pt x="634" y="6"/>
                  </a:lnTo>
                  <a:lnTo>
                    <a:pt x="626" y="2"/>
                  </a:lnTo>
                  <a:lnTo>
                    <a:pt x="616" y="0"/>
                  </a:lnTo>
                  <a:lnTo>
                    <a:pt x="132" y="0"/>
                  </a:lnTo>
                  <a:lnTo>
                    <a:pt x="132" y="0"/>
                  </a:lnTo>
                  <a:lnTo>
                    <a:pt x="122" y="2"/>
                  </a:lnTo>
                  <a:lnTo>
                    <a:pt x="114" y="6"/>
                  </a:lnTo>
                  <a:lnTo>
                    <a:pt x="108" y="14"/>
                  </a:lnTo>
                  <a:lnTo>
                    <a:pt x="102" y="22"/>
                  </a:lnTo>
                  <a:lnTo>
                    <a:pt x="102" y="22"/>
                  </a:lnTo>
                  <a:lnTo>
                    <a:pt x="14" y="204"/>
                  </a:lnTo>
                  <a:lnTo>
                    <a:pt x="14" y="204"/>
                  </a:lnTo>
                  <a:lnTo>
                    <a:pt x="14" y="212"/>
                  </a:lnTo>
                  <a:lnTo>
                    <a:pt x="16" y="218"/>
                  </a:lnTo>
                  <a:lnTo>
                    <a:pt x="20" y="222"/>
                  </a:lnTo>
                  <a:lnTo>
                    <a:pt x="26" y="224"/>
                  </a:lnTo>
                  <a:lnTo>
                    <a:pt x="26" y="224"/>
                  </a:lnTo>
                  <a:close/>
                  <a:moveTo>
                    <a:pt x="728" y="250"/>
                  </a:moveTo>
                  <a:lnTo>
                    <a:pt x="20" y="250"/>
                  </a:lnTo>
                  <a:lnTo>
                    <a:pt x="20" y="250"/>
                  </a:lnTo>
                  <a:lnTo>
                    <a:pt x="12" y="252"/>
                  </a:lnTo>
                  <a:lnTo>
                    <a:pt x="6" y="256"/>
                  </a:lnTo>
                  <a:lnTo>
                    <a:pt x="2" y="264"/>
                  </a:lnTo>
                  <a:lnTo>
                    <a:pt x="0" y="272"/>
                  </a:lnTo>
                  <a:lnTo>
                    <a:pt x="0" y="500"/>
                  </a:lnTo>
                  <a:lnTo>
                    <a:pt x="0" y="500"/>
                  </a:lnTo>
                  <a:lnTo>
                    <a:pt x="2" y="508"/>
                  </a:lnTo>
                  <a:lnTo>
                    <a:pt x="6" y="514"/>
                  </a:lnTo>
                  <a:lnTo>
                    <a:pt x="12" y="518"/>
                  </a:lnTo>
                  <a:lnTo>
                    <a:pt x="20" y="520"/>
                  </a:lnTo>
                  <a:lnTo>
                    <a:pt x="728" y="520"/>
                  </a:lnTo>
                  <a:lnTo>
                    <a:pt x="728" y="520"/>
                  </a:lnTo>
                  <a:lnTo>
                    <a:pt x="736" y="518"/>
                  </a:lnTo>
                  <a:lnTo>
                    <a:pt x="742" y="514"/>
                  </a:lnTo>
                  <a:lnTo>
                    <a:pt x="746" y="508"/>
                  </a:lnTo>
                  <a:lnTo>
                    <a:pt x="748" y="500"/>
                  </a:lnTo>
                  <a:lnTo>
                    <a:pt x="748" y="272"/>
                  </a:lnTo>
                  <a:lnTo>
                    <a:pt x="748" y="272"/>
                  </a:lnTo>
                  <a:lnTo>
                    <a:pt x="746" y="264"/>
                  </a:lnTo>
                  <a:lnTo>
                    <a:pt x="742" y="256"/>
                  </a:lnTo>
                  <a:lnTo>
                    <a:pt x="736" y="252"/>
                  </a:lnTo>
                  <a:lnTo>
                    <a:pt x="728" y="250"/>
                  </a:lnTo>
                  <a:lnTo>
                    <a:pt x="728" y="250"/>
                  </a:lnTo>
                  <a:close/>
                  <a:moveTo>
                    <a:pt x="124" y="428"/>
                  </a:moveTo>
                  <a:lnTo>
                    <a:pt x="124" y="428"/>
                  </a:lnTo>
                  <a:lnTo>
                    <a:pt x="124" y="436"/>
                  </a:lnTo>
                  <a:lnTo>
                    <a:pt x="120" y="442"/>
                  </a:lnTo>
                  <a:lnTo>
                    <a:pt x="114" y="444"/>
                  </a:lnTo>
                  <a:lnTo>
                    <a:pt x="108" y="446"/>
                  </a:lnTo>
                  <a:lnTo>
                    <a:pt x="108" y="446"/>
                  </a:lnTo>
                  <a:lnTo>
                    <a:pt x="102" y="444"/>
                  </a:lnTo>
                  <a:lnTo>
                    <a:pt x="96" y="442"/>
                  </a:lnTo>
                  <a:lnTo>
                    <a:pt x="92" y="436"/>
                  </a:lnTo>
                  <a:lnTo>
                    <a:pt x="90" y="428"/>
                  </a:lnTo>
                  <a:lnTo>
                    <a:pt x="90" y="336"/>
                  </a:lnTo>
                  <a:lnTo>
                    <a:pt x="90" y="336"/>
                  </a:lnTo>
                  <a:lnTo>
                    <a:pt x="92" y="328"/>
                  </a:lnTo>
                  <a:lnTo>
                    <a:pt x="96" y="324"/>
                  </a:lnTo>
                  <a:lnTo>
                    <a:pt x="102" y="320"/>
                  </a:lnTo>
                  <a:lnTo>
                    <a:pt x="108" y="318"/>
                  </a:lnTo>
                  <a:lnTo>
                    <a:pt x="108" y="318"/>
                  </a:lnTo>
                  <a:lnTo>
                    <a:pt x="114" y="320"/>
                  </a:lnTo>
                  <a:lnTo>
                    <a:pt x="120" y="324"/>
                  </a:lnTo>
                  <a:lnTo>
                    <a:pt x="124" y="328"/>
                  </a:lnTo>
                  <a:lnTo>
                    <a:pt x="124" y="336"/>
                  </a:lnTo>
                  <a:lnTo>
                    <a:pt x="124" y="428"/>
                  </a:lnTo>
                  <a:close/>
                  <a:moveTo>
                    <a:pt x="198" y="428"/>
                  </a:moveTo>
                  <a:lnTo>
                    <a:pt x="198" y="428"/>
                  </a:lnTo>
                  <a:lnTo>
                    <a:pt x="198" y="436"/>
                  </a:lnTo>
                  <a:lnTo>
                    <a:pt x="194" y="442"/>
                  </a:lnTo>
                  <a:lnTo>
                    <a:pt x="188" y="444"/>
                  </a:lnTo>
                  <a:lnTo>
                    <a:pt x="182" y="446"/>
                  </a:lnTo>
                  <a:lnTo>
                    <a:pt x="182" y="446"/>
                  </a:lnTo>
                  <a:lnTo>
                    <a:pt x="176" y="444"/>
                  </a:lnTo>
                  <a:lnTo>
                    <a:pt x="170" y="442"/>
                  </a:lnTo>
                  <a:lnTo>
                    <a:pt x="166" y="436"/>
                  </a:lnTo>
                  <a:lnTo>
                    <a:pt x="164" y="428"/>
                  </a:lnTo>
                  <a:lnTo>
                    <a:pt x="164" y="336"/>
                  </a:lnTo>
                  <a:lnTo>
                    <a:pt x="164" y="336"/>
                  </a:lnTo>
                  <a:lnTo>
                    <a:pt x="166" y="328"/>
                  </a:lnTo>
                  <a:lnTo>
                    <a:pt x="170" y="324"/>
                  </a:lnTo>
                  <a:lnTo>
                    <a:pt x="176" y="320"/>
                  </a:lnTo>
                  <a:lnTo>
                    <a:pt x="182" y="318"/>
                  </a:lnTo>
                  <a:lnTo>
                    <a:pt x="182" y="318"/>
                  </a:lnTo>
                  <a:lnTo>
                    <a:pt x="188" y="320"/>
                  </a:lnTo>
                  <a:lnTo>
                    <a:pt x="194" y="324"/>
                  </a:lnTo>
                  <a:lnTo>
                    <a:pt x="198" y="328"/>
                  </a:lnTo>
                  <a:lnTo>
                    <a:pt x="198" y="336"/>
                  </a:lnTo>
                  <a:lnTo>
                    <a:pt x="198" y="428"/>
                  </a:lnTo>
                  <a:close/>
                  <a:moveTo>
                    <a:pt x="274" y="428"/>
                  </a:moveTo>
                  <a:lnTo>
                    <a:pt x="274" y="428"/>
                  </a:lnTo>
                  <a:lnTo>
                    <a:pt x="272" y="436"/>
                  </a:lnTo>
                  <a:lnTo>
                    <a:pt x="268" y="442"/>
                  </a:lnTo>
                  <a:lnTo>
                    <a:pt x="262" y="444"/>
                  </a:lnTo>
                  <a:lnTo>
                    <a:pt x="256" y="446"/>
                  </a:lnTo>
                  <a:lnTo>
                    <a:pt x="256" y="446"/>
                  </a:lnTo>
                  <a:lnTo>
                    <a:pt x="250" y="444"/>
                  </a:lnTo>
                  <a:lnTo>
                    <a:pt x="244" y="442"/>
                  </a:lnTo>
                  <a:lnTo>
                    <a:pt x="240" y="436"/>
                  </a:lnTo>
                  <a:lnTo>
                    <a:pt x="240" y="428"/>
                  </a:lnTo>
                  <a:lnTo>
                    <a:pt x="240" y="336"/>
                  </a:lnTo>
                  <a:lnTo>
                    <a:pt x="240" y="336"/>
                  </a:lnTo>
                  <a:lnTo>
                    <a:pt x="240" y="328"/>
                  </a:lnTo>
                  <a:lnTo>
                    <a:pt x="244" y="324"/>
                  </a:lnTo>
                  <a:lnTo>
                    <a:pt x="250" y="320"/>
                  </a:lnTo>
                  <a:lnTo>
                    <a:pt x="256" y="318"/>
                  </a:lnTo>
                  <a:lnTo>
                    <a:pt x="256" y="318"/>
                  </a:lnTo>
                  <a:lnTo>
                    <a:pt x="262" y="320"/>
                  </a:lnTo>
                  <a:lnTo>
                    <a:pt x="268" y="324"/>
                  </a:lnTo>
                  <a:lnTo>
                    <a:pt x="272" y="328"/>
                  </a:lnTo>
                  <a:lnTo>
                    <a:pt x="274" y="336"/>
                  </a:lnTo>
                  <a:lnTo>
                    <a:pt x="274" y="428"/>
                  </a:lnTo>
                  <a:close/>
                  <a:moveTo>
                    <a:pt x="348" y="428"/>
                  </a:moveTo>
                  <a:lnTo>
                    <a:pt x="348" y="428"/>
                  </a:lnTo>
                  <a:lnTo>
                    <a:pt x="346" y="436"/>
                  </a:lnTo>
                  <a:lnTo>
                    <a:pt x="342" y="442"/>
                  </a:lnTo>
                  <a:lnTo>
                    <a:pt x="338" y="444"/>
                  </a:lnTo>
                  <a:lnTo>
                    <a:pt x="330" y="446"/>
                  </a:lnTo>
                  <a:lnTo>
                    <a:pt x="330" y="446"/>
                  </a:lnTo>
                  <a:lnTo>
                    <a:pt x="324" y="444"/>
                  </a:lnTo>
                  <a:lnTo>
                    <a:pt x="318" y="442"/>
                  </a:lnTo>
                  <a:lnTo>
                    <a:pt x="314" y="436"/>
                  </a:lnTo>
                  <a:lnTo>
                    <a:pt x="314" y="428"/>
                  </a:lnTo>
                  <a:lnTo>
                    <a:pt x="314" y="336"/>
                  </a:lnTo>
                  <a:lnTo>
                    <a:pt x="314" y="336"/>
                  </a:lnTo>
                  <a:lnTo>
                    <a:pt x="314" y="328"/>
                  </a:lnTo>
                  <a:lnTo>
                    <a:pt x="318" y="324"/>
                  </a:lnTo>
                  <a:lnTo>
                    <a:pt x="324" y="320"/>
                  </a:lnTo>
                  <a:lnTo>
                    <a:pt x="330" y="318"/>
                  </a:lnTo>
                  <a:lnTo>
                    <a:pt x="330" y="318"/>
                  </a:lnTo>
                  <a:lnTo>
                    <a:pt x="338" y="320"/>
                  </a:lnTo>
                  <a:lnTo>
                    <a:pt x="342" y="324"/>
                  </a:lnTo>
                  <a:lnTo>
                    <a:pt x="346" y="328"/>
                  </a:lnTo>
                  <a:lnTo>
                    <a:pt x="348" y="336"/>
                  </a:lnTo>
                  <a:lnTo>
                    <a:pt x="348" y="428"/>
                  </a:lnTo>
                  <a:close/>
                  <a:moveTo>
                    <a:pt x="626" y="390"/>
                  </a:moveTo>
                  <a:lnTo>
                    <a:pt x="626" y="390"/>
                  </a:lnTo>
                  <a:lnTo>
                    <a:pt x="618" y="390"/>
                  </a:lnTo>
                  <a:lnTo>
                    <a:pt x="610" y="386"/>
                  </a:lnTo>
                  <a:lnTo>
                    <a:pt x="604" y="384"/>
                  </a:lnTo>
                  <a:lnTo>
                    <a:pt x="598" y="378"/>
                  </a:lnTo>
                  <a:lnTo>
                    <a:pt x="592" y="372"/>
                  </a:lnTo>
                  <a:lnTo>
                    <a:pt x="588" y="366"/>
                  </a:lnTo>
                  <a:lnTo>
                    <a:pt x="586" y="358"/>
                  </a:lnTo>
                  <a:lnTo>
                    <a:pt x="586" y="350"/>
                  </a:lnTo>
                  <a:lnTo>
                    <a:pt x="586" y="350"/>
                  </a:lnTo>
                  <a:lnTo>
                    <a:pt x="586" y="342"/>
                  </a:lnTo>
                  <a:lnTo>
                    <a:pt x="588" y="334"/>
                  </a:lnTo>
                  <a:lnTo>
                    <a:pt x="592" y="326"/>
                  </a:lnTo>
                  <a:lnTo>
                    <a:pt x="598" y="320"/>
                  </a:lnTo>
                  <a:lnTo>
                    <a:pt x="604" y="316"/>
                  </a:lnTo>
                  <a:lnTo>
                    <a:pt x="610" y="312"/>
                  </a:lnTo>
                  <a:lnTo>
                    <a:pt x="618" y="310"/>
                  </a:lnTo>
                  <a:lnTo>
                    <a:pt x="626" y="308"/>
                  </a:lnTo>
                  <a:lnTo>
                    <a:pt x="626" y="308"/>
                  </a:lnTo>
                  <a:lnTo>
                    <a:pt x="634" y="310"/>
                  </a:lnTo>
                  <a:lnTo>
                    <a:pt x="642" y="312"/>
                  </a:lnTo>
                  <a:lnTo>
                    <a:pt x="648" y="316"/>
                  </a:lnTo>
                  <a:lnTo>
                    <a:pt x="654" y="320"/>
                  </a:lnTo>
                  <a:lnTo>
                    <a:pt x="660" y="326"/>
                  </a:lnTo>
                  <a:lnTo>
                    <a:pt x="664" y="334"/>
                  </a:lnTo>
                  <a:lnTo>
                    <a:pt x="666" y="342"/>
                  </a:lnTo>
                  <a:lnTo>
                    <a:pt x="666" y="350"/>
                  </a:lnTo>
                  <a:lnTo>
                    <a:pt x="666" y="350"/>
                  </a:lnTo>
                  <a:lnTo>
                    <a:pt x="666" y="358"/>
                  </a:lnTo>
                  <a:lnTo>
                    <a:pt x="664" y="366"/>
                  </a:lnTo>
                  <a:lnTo>
                    <a:pt x="660" y="372"/>
                  </a:lnTo>
                  <a:lnTo>
                    <a:pt x="654" y="378"/>
                  </a:lnTo>
                  <a:lnTo>
                    <a:pt x="648" y="384"/>
                  </a:lnTo>
                  <a:lnTo>
                    <a:pt x="642" y="386"/>
                  </a:lnTo>
                  <a:lnTo>
                    <a:pt x="634" y="390"/>
                  </a:lnTo>
                  <a:lnTo>
                    <a:pt x="626" y="390"/>
                  </a:lnTo>
                  <a:lnTo>
                    <a:pt x="626" y="390"/>
                  </a:lnTo>
                  <a:close/>
                </a:path>
              </a:pathLst>
            </a:custGeom>
            <a:solidFill>
              <a:srgbClr val="0099CC"/>
            </a:solidFill>
            <a:ln w="9525">
              <a:noFill/>
              <a:round/>
            </a:ln>
          </p:spPr>
          <p:txBody>
            <a:bodyPr vert="horz" wrap="square" lIns="68598" tIns="34299" rIns="68598" bIns="34299" numCol="1" anchor="t" anchorCtr="0" compatLnSpc="1"/>
            <a:lstStyle/>
            <a:p>
              <a:endParaRPr lang="zh-CN" altLang="en-US" sz="135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14" name="Freeform 20"/>
            <p:cNvSpPr>
              <a:spLocks noEditPoints="1"/>
            </p:cNvSpPr>
            <p:nvPr>
              <p:custDataLst>
                <p:tags r:id="rId7"/>
              </p:custDataLst>
            </p:nvPr>
          </p:nvSpPr>
          <p:spPr bwMode="auto">
            <a:xfrm>
              <a:off x="3446588" y="3155571"/>
              <a:ext cx="1576886" cy="492623"/>
            </a:xfrm>
            <a:custGeom>
              <a:avLst/>
              <a:gdLst/>
              <a:ahLst/>
              <a:cxnLst>
                <a:cxn ang="0">
                  <a:pos x="722" y="224"/>
                </a:cxn>
                <a:cxn ang="0">
                  <a:pos x="734" y="212"/>
                </a:cxn>
                <a:cxn ang="0">
                  <a:pos x="646" y="22"/>
                </a:cxn>
                <a:cxn ang="0">
                  <a:pos x="634" y="6"/>
                </a:cxn>
                <a:cxn ang="0">
                  <a:pos x="132" y="0"/>
                </a:cxn>
                <a:cxn ang="0">
                  <a:pos x="114" y="6"/>
                </a:cxn>
                <a:cxn ang="0">
                  <a:pos x="102" y="22"/>
                </a:cxn>
                <a:cxn ang="0">
                  <a:pos x="14" y="212"/>
                </a:cxn>
                <a:cxn ang="0">
                  <a:pos x="26" y="224"/>
                </a:cxn>
                <a:cxn ang="0">
                  <a:pos x="20" y="250"/>
                </a:cxn>
                <a:cxn ang="0">
                  <a:pos x="6" y="256"/>
                </a:cxn>
                <a:cxn ang="0">
                  <a:pos x="0" y="500"/>
                </a:cxn>
                <a:cxn ang="0">
                  <a:pos x="6" y="514"/>
                </a:cxn>
                <a:cxn ang="0">
                  <a:pos x="728" y="520"/>
                </a:cxn>
                <a:cxn ang="0">
                  <a:pos x="742" y="514"/>
                </a:cxn>
                <a:cxn ang="0">
                  <a:pos x="748" y="272"/>
                </a:cxn>
                <a:cxn ang="0">
                  <a:pos x="742" y="256"/>
                </a:cxn>
                <a:cxn ang="0">
                  <a:pos x="728" y="250"/>
                </a:cxn>
                <a:cxn ang="0">
                  <a:pos x="124" y="436"/>
                </a:cxn>
                <a:cxn ang="0">
                  <a:pos x="108" y="446"/>
                </a:cxn>
                <a:cxn ang="0">
                  <a:pos x="96" y="442"/>
                </a:cxn>
                <a:cxn ang="0">
                  <a:pos x="90" y="336"/>
                </a:cxn>
                <a:cxn ang="0">
                  <a:pos x="96" y="324"/>
                </a:cxn>
                <a:cxn ang="0">
                  <a:pos x="108" y="318"/>
                </a:cxn>
                <a:cxn ang="0">
                  <a:pos x="124" y="328"/>
                </a:cxn>
                <a:cxn ang="0">
                  <a:pos x="198" y="428"/>
                </a:cxn>
                <a:cxn ang="0">
                  <a:pos x="194" y="442"/>
                </a:cxn>
                <a:cxn ang="0">
                  <a:pos x="182" y="446"/>
                </a:cxn>
                <a:cxn ang="0">
                  <a:pos x="166" y="436"/>
                </a:cxn>
                <a:cxn ang="0">
                  <a:pos x="164" y="336"/>
                </a:cxn>
                <a:cxn ang="0">
                  <a:pos x="176" y="320"/>
                </a:cxn>
                <a:cxn ang="0">
                  <a:pos x="188" y="320"/>
                </a:cxn>
                <a:cxn ang="0">
                  <a:pos x="198" y="336"/>
                </a:cxn>
                <a:cxn ang="0">
                  <a:pos x="274" y="428"/>
                </a:cxn>
                <a:cxn ang="0">
                  <a:pos x="262" y="444"/>
                </a:cxn>
                <a:cxn ang="0">
                  <a:pos x="250" y="444"/>
                </a:cxn>
                <a:cxn ang="0">
                  <a:pos x="240" y="428"/>
                </a:cxn>
                <a:cxn ang="0">
                  <a:pos x="240" y="328"/>
                </a:cxn>
                <a:cxn ang="0">
                  <a:pos x="256" y="318"/>
                </a:cxn>
                <a:cxn ang="0">
                  <a:pos x="268" y="324"/>
                </a:cxn>
                <a:cxn ang="0">
                  <a:pos x="274" y="428"/>
                </a:cxn>
                <a:cxn ang="0">
                  <a:pos x="346" y="436"/>
                </a:cxn>
                <a:cxn ang="0">
                  <a:pos x="330" y="446"/>
                </a:cxn>
                <a:cxn ang="0">
                  <a:pos x="318" y="442"/>
                </a:cxn>
                <a:cxn ang="0">
                  <a:pos x="314" y="336"/>
                </a:cxn>
                <a:cxn ang="0">
                  <a:pos x="318" y="324"/>
                </a:cxn>
                <a:cxn ang="0">
                  <a:pos x="330" y="318"/>
                </a:cxn>
                <a:cxn ang="0">
                  <a:pos x="346" y="328"/>
                </a:cxn>
                <a:cxn ang="0">
                  <a:pos x="626" y="390"/>
                </a:cxn>
                <a:cxn ang="0">
                  <a:pos x="610" y="386"/>
                </a:cxn>
                <a:cxn ang="0">
                  <a:pos x="592" y="372"/>
                </a:cxn>
                <a:cxn ang="0">
                  <a:pos x="586" y="350"/>
                </a:cxn>
                <a:cxn ang="0">
                  <a:pos x="588" y="334"/>
                </a:cxn>
                <a:cxn ang="0">
                  <a:pos x="604" y="316"/>
                </a:cxn>
                <a:cxn ang="0">
                  <a:pos x="626" y="308"/>
                </a:cxn>
                <a:cxn ang="0">
                  <a:pos x="642" y="312"/>
                </a:cxn>
                <a:cxn ang="0">
                  <a:pos x="660" y="326"/>
                </a:cxn>
                <a:cxn ang="0">
                  <a:pos x="666" y="350"/>
                </a:cxn>
                <a:cxn ang="0">
                  <a:pos x="664" y="366"/>
                </a:cxn>
                <a:cxn ang="0">
                  <a:pos x="648" y="384"/>
                </a:cxn>
                <a:cxn ang="0">
                  <a:pos x="626" y="390"/>
                </a:cxn>
              </a:cxnLst>
              <a:rect l="0" t="0" r="r" b="b"/>
              <a:pathLst>
                <a:path w="748" h="520">
                  <a:moveTo>
                    <a:pt x="26" y="224"/>
                  </a:moveTo>
                  <a:lnTo>
                    <a:pt x="722" y="224"/>
                  </a:lnTo>
                  <a:lnTo>
                    <a:pt x="722" y="224"/>
                  </a:lnTo>
                  <a:lnTo>
                    <a:pt x="728" y="222"/>
                  </a:lnTo>
                  <a:lnTo>
                    <a:pt x="732" y="218"/>
                  </a:lnTo>
                  <a:lnTo>
                    <a:pt x="734" y="212"/>
                  </a:lnTo>
                  <a:lnTo>
                    <a:pt x="732" y="204"/>
                  </a:lnTo>
                  <a:lnTo>
                    <a:pt x="732" y="204"/>
                  </a:lnTo>
                  <a:lnTo>
                    <a:pt x="646" y="22"/>
                  </a:lnTo>
                  <a:lnTo>
                    <a:pt x="646" y="22"/>
                  </a:lnTo>
                  <a:lnTo>
                    <a:pt x="640" y="14"/>
                  </a:lnTo>
                  <a:lnTo>
                    <a:pt x="634" y="6"/>
                  </a:lnTo>
                  <a:lnTo>
                    <a:pt x="626" y="2"/>
                  </a:lnTo>
                  <a:lnTo>
                    <a:pt x="616" y="0"/>
                  </a:lnTo>
                  <a:lnTo>
                    <a:pt x="132" y="0"/>
                  </a:lnTo>
                  <a:lnTo>
                    <a:pt x="132" y="0"/>
                  </a:lnTo>
                  <a:lnTo>
                    <a:pt x="122" y="2"/>
                  </a:lnTo>
                  <a:lnTo>
                    <a:pt x="114" y="6"/>
                  </a:lnTo>
                  <a:lnTo>
                    <a:pt x="108" y="14"/>
                  </a:lnTo>
                  <a:lnTo>
                    <a:pt x="102" y="22"/>
                  </a:lnTo>
                  <a:lnTo>
                    <a:pt x="102" y="22"/>
                  </a:lnTo>
                  <a:lnTo>
                    <a:pt x="14" y="204"/>
                  </a:lnTo>
                  <a:lnTo>
                    <a:pt x="14" y="204"/>
                  </a:lnTo>
                  <a:lnTo>
                    <a:pt x="14" y="212"/>
                  </a:lnTo>
                  <a:lnTo>
                    <a:pt x="16" y="218"/>
                  </a:lnTo>
                  <a:lnTo>
                    <a:pt x="20" y="222"/>
                  </a:lnTo>
                  <a:lnTo>
                    <a:pt x="26" y="224"/>
                  </a:lnTo>
                  <a:lnTo>
                    <a:pt x="26" y="224"/>
                  </a:lnTo>
                  <a:close/>
                  <a:moveTo>
                    <a:pt x="728" y="250"/>
                  </a:moveTo>
                  <a:lnTo>
                    <a:pt x="20" y="250"/>
                  </a:lnTo>
                  <a:lnTo>
                    <a:pt x="20" y="250"/>
                  </a:lnTo>
                  <a:lnTo>
                    <a:pt x="12" y="252"/>
                  </a:lnTo>
                  <a:lnTo>
                    <a:pt x="6" y="256"/>
                  </a:lnTo>
                  <a:lnTo>
                    <a:pt x="2" y="264"/>
                  </a:lnTo>
                  <a:lnTo>
                    <a:pt x="0" y="272"/>
                  </a:lnTo>
                  <a:lnTo>
                    <a:pt x="0" y="500"/>
                  </a:lnTo>
                  <a:lnTo>
                    <a:pt x="0" y="500"/>
                  </a:lnTo>
                  <a:lnTo>
                    <a:pt x="2" y="508"/>
                  </a:lnTo>
                  <a:lnTo>
                    <a:pt x="6" y="514"/>
                  </a:lnTo>
                  <a:lnTo>
                    <a:pt x="12" y="518"/>
                  </a:lnTo>
                  <a:lnTo>
                    <a:pt x="20" y="520"/>
                  </a:lnTo>
                  <a:lnTo>
                    <a:pt x="728" y="520"/>
                  </a:lnTo>
                  <a:lnTo>
                    <a:pt x="728" y="520"/>
                  </a:lnTo>
                  <a:lnTo>
                    <a:pt x="736" y="518"/>
                  </a:lnTo>
                  <a:lnTo>
                    <a:pt x="742" y="514"/>
                  </a:lnTo>
                  <a:lnTo>
                    <a:pt x="746" y="508"/>
                  </a:lnTo>
                  <a:lnTo>
                    <a:pt x="748" y="500"/>
                  </a:lnTo>
                  <a:lnTo>
                    <a:pt x="748" y="272"/>
                  </a:lnTo>
                  <a:lnTo>
                    <a:pt x="748" y="272"/>
                  </a:lnTo>
                  <a:lnTo>
                    <a:pt x="746" y="264"/>
                  </a:lnTo>
                  <a:lnTo>
                    <a:pt x="742" y="256"/>
                  </a:lnTo>
                  <a:lnTo>
                    <a:pt x="736" y="252"/>
                  </a:lnTo>
                  <a:lnTo>
                    <a:pt x="728" y="250"/>
                  </a:lnTo>
                  <a:lnTo>
                    <a:pt x="728" y="250"/>
                  </a:lnTo>
                  <a:close/>
                  <a:moveTo>
                    <a:pt x="124" y="428"/>
                  </a:moveTo>
                  <a:lnTo>
                    <a:pt x="124" y="428"/>
                  </a:lnTo>
                  <a:lnTo>
                    <a:pt x="124" y="436"/>
                  </a:lnTo>
                  <a:lnTo>
                    <a:pt x="120" y="442"/>
                  </a:lnTo>
                  <a:lnTo>
                    <a:pt x="114" y="444"/>
                  </a:lnTo>
                  <a:lnTo>
                    <a:pt x="108" y="446"/>
                  </a:lnTo>
                  <a:lnTo>
                    <a:pt x="108" y="446"/>
                  </a:lnTo>
                  <a:lnTo>
                    <a:pt x="102" y="444"/>
                  </a:lnTo>
                  <a:lnTo>
                    <a:pt x="96" y="442"/>
                  </a:lnTo>
                  <a:lnTo>
                    <a:pt x="92" y="436"/>
                  </a:lnTo>
                  <a:lnTo>
                    <a:pt x="90" y="428"/>
                  </a:lnTo>
                  <a:lnTo>
                    <a:pt x="90" y="336"/>
                  </a:lnTo>
                  <a:lnTo>
                    <a:pt x="90" y="336"/>
                  </a:lnTo>
                  <a:lnTo>
                    <a:pt x="92" y="328"/>
                  </a:lnTo>
                  <a:lnTo>
                    <a:pt x="96" y="324"/>
                  </a:lnTo>
                  <a:lnTo>
                    <a:pt x="102" y="320"/>
                  </a:lnTo>
                  <a:lnTo>
                    <a:pt x="108" y="318"/>
                  </a:lnTo>
                  <a:lnTo>
                    <a:pt x="108" y="318"/>
                  </a:lnTo>
                  <a:lnTo>
                    <a:pt x="114" y="320"/>
                  </a:lnTo>
                  <a:lnTo>
                    <a:pt x="120" y="324"/>
                  </a:lnTo>
                  <a:lnTo>
                    <a:pt x="124" y="328"/>
                  </a:lnTo>
                  <a:lnTo>
                    <a:pt x="124" y="336"/>
                  </a:lnTo>
                  <a:lnTo>
                    <a:pt x="124" y="428"/>
                  </a:lnTo>
                  <a:close/>
                  <a:moveTo>
                    <a:pt x="198" y="428"/>
                  </a:moveTo>
                  <a:lnTo>
                    <a:pt x="198" y="428"/>
                  </a:lnTo>
                  <a:lnTo>
                    <a:pt x="198" y="436"/>
                  </a:lnTo>
                  <a:lnTo>
                    <a:pt x="194" y="442"/>
                  </a:lnTo>
                  <a:lnTo>
                    <a:pt x="188" y="444"/>
                  </a:lnTo>
                  <a:lnTo>
                    <a:pt x="182" y="446"/>
                  </a:lnTo>
                  <a:lnTo>
                    <a:pt x="182" y="446"/>
                  </a:lnTo>
                  <a:lnTo>
                    <a:pt x="176" y="444"/>
                  </a:lnTo>
                  <a:lnTo>
                    <a:pt x="170" y="442"/>
                  </a:lnTo>
                  <a:lnTo>
                    <a:pt x="166" y="436"/>
                  </a:lnTo>
                  <a:lnTo>
                    <a:pt x="164" y="428"/>
                  </a:lnTo>
                  <a:lnTo>
                    <a:pt x="164" y="336"/>
                  </a:lnTo>
                  <a:lnTo>
                    <a:pt x="164" y="336"/>
                  </a:lnTo>
                  <a:lnTo>
                    <a:pt x="166" y="328"/>
                  </a:lnTo>
                  <a:lnTo>
                    <a:pt x="170" y="324"/>
                  </a:lnTo>
                  <a:lnTo>
                    <a:pt x="176" y="320"/>
                  </a:lnTo>
                  <a:lnTo>
                    <a:pt x="182" y="318"/>
                  </a:lnTo>
                  <a:lnTo>
                    <a:pt x="182" y="318"/>
                  </a:lnTo>
                  <a:lnTo>
                    <a:pt x="188" y="320"/>
                  </a:lnTo>
                  <a:lnTo>
                    <a:pt x="194" y="324"/>
                  </a:lnTo>
                  <a:lnTo>
                    <a:pt x="198" y="328"/>
                  </a:lnTo>
                  <a:lnTo>
                    <a:pt x="198" y="336"/>
                  </a:lnTo>
                  <a:lnTo>
                    <a:pt x="198" y="428"/>
                  </a:lnTo>
                  <a:close/>
                  <a:moveTo>
                    <a:pt x="274" y="428"/>
                  </a:moveTo>
                  <a:lnTo>
                    <a:pt x="274" y="428"/>
                  </a:lnTo>
                  <a:lnTo>
                    <a:pt x="272" y="436"/>
                  </a:lnTo>
                  <a:lnTo>
                    <a:pt x="268" y="442"/>
                  </a:lnTo>
                  <a:lnTo>
                    <a:pt x="262" y="444"/>
                  </a:lnTo>
                  <a:lnTo>
                    <a:pt x="256" y="446"/>
                  </a:lnTo>
                  <a:lnTo>
                    <a:pt x="256" y="446"/>
                  </a:lnTo>
                  <a:lnTo>
                    <a:pt x="250" y="444"/>
                  </a:lnTo>
                  <a:lnTo>
                    <a:pt x="244" y="442"/>
                  </a:lnTo>
                  <a:lnTo>
                    <a:pt x="240" y="436"/>
                  </a:lnTo>
                  <a:lnTo>
                    <a:pt x="240" y="428"/>
                  </a:lnTo>
                  <a:lnTo>
                    <a:pt x="240" y="336"/>
                  </a:lnTo>
                  <a:lnTo>
                    <a:pt x="240" y="336"/>
                  </a:lnTo>
                  <a:lnTo>
                    <a:pt x="240" y="328"/>
                  </a:lnTo>
                  <a:lnTo>
                    <a:pt x="244" y="324"/>
                  </a:lnTo>
                  <a:lnTo>
                    <a:pt x="250" y="320"/>
                  </a:lnTo>
                  <a:lnTo>
                    <a:pt x="256" y="318"/>
                  </a:lnTo>
                  <a:lnTo>
                    <a:pt x="256" y="318"/>
                  </a:lnTo>
                  <a:lnTo>
                    <a:pt x="262" y="320"/>
                  </a:lnTo>
                  <a:lnTo>
                    <a:pt x="268" y="324"/>
                  </a:lnTo>
                  <a:lnTo>
                    <a:pt x="272" y="328"/>
                  </a:lnTo>
                  <a:lnTo>
                    <a:pt x="274" y="336"/>
                  </a:lnTo>
                  <a:lnTo>
                    <a:pt x="274" y="428"/>
                  </a:lnTo>
                  <a:close/>
                  <a:moveTo>
                    <a:pt x="348" y="428"/>
                  </a:moveTo>
                  <a:lnTo>
                    <a:pt x="348" y="428"/>
                  </a:lnTo>
                  <a:lnTo>
                    <a:pt x="346" y="436"/>
                  </a:lnTo>
                  <a:lnTo>
                    <a:pt x="342" y="442"/>
                  </a:lnTo>
                  <a:lnTo>
                    <a:pt x="338" y="444"/>
                  </a:lnTo>
                  <a:lnTo>
                    <a:pt x="330" y="446"/>
                  </a:lnTo>
                  <a:lnTo>
                    <a:pt x="330" y="446"/>
                  </a:lnTo>
                  <a:lnTo>
                    <a:pt x="324" y="444"/>
                  </a:lnTo>
                  <a:lnTo>
                    <a:pt x="318" y="442"/>
                  </a:lnTo>
                  <a:lnTo>
                    <a:pt x="314" y="436"/>
                  </a:lnTo>
                  <a:lnTo>
                    <a:pt x="314" y="428"/>
                  </a:lnTo>
                  <a:lnTo>
                    <a:pt x="314" y="336"/>
                  </a:lnTo>
                  <a:lnTo>
                    <a:pt x="314" y="336"/>
                  </a:lnTo>
                  <a:lnTo>
                    <a:pt x="314" y="328"/>
                  </a:lnTo>
                  <a:lnTo>
                    <a:pt x="318" y="324"/>
                  </a:lnTo>
                  <a:lnTo>
                    <a:pt x="324" y="320"/>
                  </a:lnTo>
                  <a:lnTo>
                    <a:pt x="330" y="318"/>
                  </a:lnTo>
                  <a:lnTo>
                    <a:pt x="330" y="318"/>
                  </a:lnTo>
                  <a:lnTo>
                    <a:pt x="338" y="320"/>
                  </a:lnTo>
                  <a:lnTo>
                    <a:pt x="342" y="324"/>
                  </a:lnTo>
                  <a:lnTo>
                    <a:pt x="346" y="328"/>
                  </a:lnTo>
                  <a:lnTo>
                    <a:pt x="348" y="336"/>
                  </a:lnTo>
                  <a:lnTo>
                    <a:pt x="348" y="428"/>
                  </a:lnTo>
                  <a:close/>
                  <a:moveTo>
                    <a:pt x="626" y="390"/>
                  </a:moveTo>
                  <a:lnTo>
                    <a:pt x="626" y="390"/>
                  </a:lnTo>
                  <a:lnTo>
                    <a:pt x="618" y="390"/>
                  </a:lnTo>
                  <a:lnTo>
                    <a:pt x="610" y="386"/>
                  </a:lnTo>
                  <a:lnTo>
                    <a:pt x="604" y="384"/>
                  </a:lnTo>
                  <a:lnTo>
                    <a:pt x="598" y="378"/>
                  </a:lnTo>
                  <a:lnTo>
                    <a:pt x="592" y="372"/>
                  </a:lnTo>
                  <a:lnTo>
                    <a:pt x="588" y="366"/>
                  </a:lnTo>
                  <a:lnTo>
                    <a:pt x="586" y="358"/>
                  </a:lnTo>
                  <a:lnTo>
                    <a:pt x="586" y="350"/>
                  </a:lnTo>
                  <a:lnTo>
                    <a:pt x="586" y="350"/>
                  </a:lnTo>
                  <a:lnTo>
                    <a:pt x="586" y="342"/>
                  </a:lnTo>
                  <a:lnTo>
                    <a:pt x="588" y="334"/>
                  </a:lnTo>
                  <a:lnTo>
                    <a:pt x="592" y="326"/>
                  </a:lnTo>
                  <a:lnTo>
                    <a:pt x="598" y="320"/>
                  </a:lnTo>
                  <a:lnTo>
                    <a:pt x="604" y="316"/>
                  </a:lnTo>
                  <a:lnTo>
                    <a:pt x="610" y="312"/>
                  </a:lnTo>
                  <a:lnTo>
                    <a:pt x="618" y="310"/>
                  </a:lnTo>
                  <a:lnTo>
                    <a:pt x="626" y="308"/>
                  </a:lnTo>
                  <a:lnTo>
                    <a:pt x="626" y="308"/>
                  </a:lnTo>
                  <a:lnTo>
                    <a:pt x="634" y="310"/>
                  </a:lnTo>
                  <a:lnTo>
                    <a:pt x="642" y="312"/>
                  </a:lnTo>
                  <a:lnTo>
                    <a:pt x="648" y="316"/>
                  </a:lnTo>
                  <a:lnTo>
                    <a:pt x="654" y="320"/>
                  </a:lnTo>
                  <a:lnTo>
                    <a:pt x="660" y="326"/>
                  </a:lnTo>
                  <a:lnTo>
                    <a:pt x="664" y="334"/>
                  </a:lnTo>
                  <a:lnTo>
                    <a:pt x="666" y="342"/>
                  </a:lnTo>
                  <a:lnTo>
                    <a:pt x="666" y="350"/>
                  </a:lnTo>
                  <a:lnTo>
                    <a:pt x="666" y="350"/>
                  </a:lnTo>
                  <a:lnTo>
                    <a:pt x="666" y="358"/>
                  </a:lnTo>
                  <a:lnTo>
                    <a:pt x="664" y="366"/>
                  </a:lnTo>
                  <a:lnTo>
                    <a:pt x="660" y="372"/>
                  </a:lnTo>
                  <a:lnTo>
                    <a:pt x="654" y="378"/>
                  </a:lnTo>
                  <a:lnTo>
                    <a:pt x="648" y="384"/>
                  </a:lnTo>
                  <a:lnTo>
                    <a:pt x="642" y="386"/>
                  </a:lnTo>
                  <a:lnTo>
                    <a:pt x="634" y="390"/>
                  </a:lnTo>
                  <a:lnTo>
                    <a:pt x="626" y="390"/>
                  </a:lnTo>
                  <a:lnTo>
                    <a:pt x="626" y="390"/>
                  </a:lnTo>
                  <a:close/>
                </a:path>
              </a:pathLst>
            </a:custGeom>
            <a:solidFill>
              <a:srgbClr val="0099CC"/>
            </a:solidFill>
            <a:ln w="9525">
              <a:noFill/>
              <a:round/>
            </a:ln>
          </p:spPr>
          <p:txBody>
            <a:bodyPr vert="horz" wrap="square" lIns="68598" tIns="34299" rIns="68598" bIns="34299" numCol="1" anchor="t" anchorCtr="0" compatLnSpc="1"/>
            <a:lstStyle/>
            <a:p>
              <a:endParaRPr lang="zh-CN" altLang="en-US" sz="135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15" name="Freeform 14"/>
            <p:cNvSpPr>
              <a:spLocks noEditPoints="1"/>
            </p:cNvSpPr>
            <p:nvPr>
              <p:custDataLst>
                <p:tags r:id="rId8"/>
              </p:custDataLst>
            </p:nvPr>
          </p:nvSpPr>
          <p:spPr bwMode="auto">
            <a:xfrm>
              <a:off x="2485292" y="2265417"/>
              <a:ext cx="1447303" cy="203678"/>
            </a:xfrm>
            <a:custGeom>
              <a:avLst/>
              <a:gdLst/>
              <a:ahLst/>
              <a:cxnLst>
                <a:cxn ang="0">
                  <a:pos x="15920" y="15"/>
                </a:cxn>
                <a:cxn ang="0">
                  <a:pos x="16066" y="82"/>
                </a:cxn>
                <a:cxn ang="0">
                  <a:pos x="16180" y="191"/>
                </a:cxn>
                <a:cxn ang="0">
                  <a:pos x="16254" y="333"/>
                </a:cxn>
                <a:cxn ang="0">
                  <a:pos x="16275" y="1979"/>
                </a:cxn>
                <a:cxn ang="0">
                  <a:pos x="16247" y="2142"/>
                </a:cxn>
                <a:cxn ang="0">
                  <a:pos x="16166" y="2279"/>
                </a:cxn>
                <a:cxn ang="0">
                  <a:pos x="16047" y="2384"/>
                </a:cxn>
                <a:cxn ang="0">
                  <a:pos x="15897" y="2443"/>
                </a:cxn>
                <a:cxn ang="0">
                  <a:pos x="425" y="2450"/>
                </a:cxn>
                <a:cxn ang="0">
                  <a:pos x="269" y="2406"/>
                </a:cxn>
                <a:cxn ang="0">
                  <a:pos x="139" y="2313"/>
                </a:cxn>
                <a:cxn ang="0">
                  <a:pos x="47" y="2184"/>
                </a:cxn>
                <a:cxn ang="0">
                  <a:pos x="2" y="2027"/>
                </a:cxn>
                <a:cxn ang="0">
                  <a:pos x="9" y="379"/>
                </a:cxn>
                <a:cxn ang="0">
                  <a:pos x="68" y="228"/>
                </a:cxn>
                <a:cxn ang="0">
                  <a:pos x="173" y="109"/>
                </a:cxn>
                <a:cxn ang="0">
                  <a:pos x="310" y="29"/>
                </a:cxn>
                <a:cxn ang="0">
                  <a:pos x="473" y="0"/>
                </a:cxn>
                <a:cxn ang="0">
                  <a:pos x="3118" y="686"/>
                </a:cxn>
                <a:cxn ang="0">
                  <a:pos x="3301" y="780"/>
                </a:cxn>
                <a:cxn ang="0">
                  <a:pos x="3442" y="928"/>
                </a:cxn>
                <a:cxn ang="0">
                  <a:pos x="3528" y="1118"/>
                </a:cxn>
                <a:cxn ang="0">
                  <a:pos x="3544" y="1333"/>
                </a:cxn>
                <a:cxn ang="0">
                  <a:pos x="3487" y="1535"/>
                </a:cxn>
                <a:cxn ang="0">
                  <a:pos x="3368" y="1703"/>
                </a:cxn>
                <a:cxn ang="0">
                  <a:pos x="3200" y="1822"/>
                </a:cxn>
                <a:cxn ang="0">
                  <a:pos x="2999" y="1879"/>
                </a:cxn>
                <a:cxn ang="0">
                  <a:pos x="2784" y="1863"/>
                </a:cxn>
                <a:cxn ang="0">
                  <a:pos x="2595" y="1778"/>
                </a:cxn>
                <a:cxn ang="0">
                  <a:pos x="2446" y="1636"/>
                </a:cxn>
                <a:cxn ang="0">
                  <a:pos x="2353" y="1452"/>
                </a:cxn>
                <a:cxn ang="0">
                  <a:pos x="2326" y="1239"/>
                </a:cxn>
                <a:cxn ang="0">
                  <a:pos x="2373" y="1032"/>
                </a:cxn>
                <a:cxn ang="0">
                  <a:pos x="2484" y="859"/>
                </a:cxn>
                <a:cxn ang="0">
                  <a:pos x="2646" y="733"/>
                </a:cxn>
                <a:cxn ang="0">
                  <a:pos x="2843" y="665"/>
                </a:cxn>
                <a:cxn ang="0">
                  <a:pos x="14482" y="476"/>
                </a:cxn>
                <a:cxn ang="0">
                  <a:pos x="14578" y="503"/>
                </a:cxn>
                <a:cxn ang="0">
                  <a:pos x="14659" y="560"/>
                </a:cxn>
                <a:cxn ang="0">
                  <a:pos x="14716" y="640"/>
                </a:cxn>
                <a:cxn ang="0">
                  <a:pos x="14743" y="737"/>
                </a:cxn>
                <a:cxn ang="0">
                  <a:pos x="14739" y="1758"/>
                </a:cxn>
                <a:cxn ang="0">
                  <a:pos x="14702" y="1850"/>
                </a:cxn>
                <a:cxn ang="0">
                  <a:pos x="14638" y="1925"/>
                </a:cxn>
                <a:cxn ang="0">
                  <a:pos x="14553" y="1974"/>
                </a:cxn>
                <a:cxn ang="0">
                  <a:pos x="14452" y="1991"/>
                </a:cxn>
                <a:cxn ang="0">
                  <a:pos x="7495" y="1979"/>
                </a:cxn>
                <a:cxn ang="0">
                  <a:pos x="7407" y="1933"/>
                </a:cxn>
                <a:cxn ang="0">
                  <a:pos x="7339" y="1862"/>
                </a:cxn>
                <a:cxn ang="0">
                  <a:pos x="7298" y="1772"/>
                </a:cxn>
                <a:cxn ang="0">
                  <a:pos x="7289" y="752"/>
                </a:cxn>
                <a:cxn ang="0">
                  <a:pos x="7312" y="653"/>
                </a:cxn>
                <a:cxn ang="0">
                  <a:pos x="7365" y="571"/>
                </a:cxn>
                <a:cxn ang="0">
                  <a:pos x="7443" y="509"/>
                </a:cxn>
                <a:cxn ang="0">
                  <a:pos x="7537" y="477"/>
                </a:cxn>
              </a:cxnLst>
              <a:rect l="0" t="0" r="r" b="b"/>
              <a:pathLst>
                <a:path w="16275" h="2453">
                  <a:moveTo>
                    <a:pt x="473" y="0"/>
                  </a:moveTo>
                  <a:lnTo>
                    <a:pt x="15802" y="0"/>
                  </a:lnTo>
                  <a:lnTo>
                    <a:pt x="15826" y="1"/>
                  </a:lnTo>
                  <a:lnTo>
                    <a:pt x="15850" y="2"/>
                  </a:lnTo>
                  <a:lnTo>
                    <a:pt x="15874" y="5"/>
                  </a:lnTo>
                  <a:lnTo>
                    <a:pt x="15897" y="10"/>
                  </a:lnTo>
                  <a:lnTo>
                    <a:pt x="15920" y="15"/>
                  </a:lnTo>
                  <a:lnTo>
                    <a:pt x="15942" y="21"/>
                  </a:lnTo>
                  <a:lnTo>
                    <a:pt x="15964" y="29"/>
                  </a:lnTo>
                  <a:lnTo>
                    <a:pt x="15986" y="38"/>
                  </a:lnTo>
                  <a:lnTo>
                    <a:pt x="16006" y="47"/>
                  </a:lnTo>
                  <a:lnTo>
                    <a:pt x="16027" y="57"/>
                  </a:lnTo>
                  <a:lnTo>
                    <a:pt x="16047" y="69"/>
                  </a:lnTo>
                  <a:lnTo>
                    <a:pt x="16066" y="82"/>
                  </a:lnTo>
                  <a:lnTo>
                    <a:pt x="16085" y="95"/>
                  </a:lnTo>
                  <a:lnTo>
                    <a:pt x="16102" y="109"/>
                  </a:lnTo>
                  <a:lnTo>
                    <a:pt x="16119" y="123"/>
                  </a:lnTo>
                  <a:lnTo>
                    <a:pt x="16136" y="140"/>
                  </a:lnTo>
                  <a:lnTo>
                    <a:pt x="16152" y="156"/>
                  </a:lnTo>
                  <a:lnTo>
                    <a:pt x="16166" y="173"/>
                  </a:lnTo>
                  <a:lnTo>
                    <a:pt x="16180" y="191"/>
                  </a:lnTo>
                  <a:lnTo>
                    <a:pt x="16194" y="210"/>
                  </a:lnTo>
                  <a:lnTo>
                    <a:pt x="16206" y="228"/>
                  </a:lnTo>
                  <a:lnTo>
                    <a:pt x="16218" y="249"/>
                  </a:lnTo>
                  <a:lnTo>
                    <a:pt x="16228" y="269"/>
                  </a:lnTo>
                  <a:lnTo>
                    <a:pt x="16237" y="289"/>
                  </a:lnTo>
                  <a:lnTo>
                    <a:pt x="16247" y="312"/>
                  </a:lnTo>
                  <a:lnTo>
                    <a:pt x="16254" y="333"/>
                  </a:lnTo>
                  <a:lnTo>
                    <a:pt x="16260" y="356"/>
                  </a:lnTo>
                  <a:lnTo>
                    <a:pt x="16265" y="379"/>
                  </a:lnTo>
                  <a:lnTo>
                    <a:pt x="16270" y="401"/>
                  </a:lnTo>
                  <a:lnTo>
                    <a:pt x="16273" y="426"/>
                  </a:lnTo>
                  <a:lnTo>
                    <a:pt x="16274" y="449"/>
                  </a:lnTo>
                  <a:lnTo>
                    <a:pt x="16275" y="474"/>
                  </a:lnTo>
                  <a:lnTo>
                    <a:pt x="16275" y="1979"/>
                  </a:lnTo>
                  <a:lnTo>
                    <a:pt x="16274" y="2003"/>
                  </a:lnTo>
                  <a:lnTo>
                    <a:pt x="16273" y="2027"/>
                  </a:lnTo>
                  <a:lnTo>
                    <a:pt x="16270" y="2051"/>
                  </a:lnTo>
                  <a:lnTo>
                    <a:pt x="16265" y="2073"/>
                  </a:lnTo>
                  <a:lnTo>
                    <a:pt x="16260" y="2097"/>
                  </a:lnTo>
                  <a:lnTo>
                    <a:pt x="16254" y="2119"/>
                  </a:lnTo>
                  <a:lnTo>
                    <a:pt x="16247" y="2142"/>
                  </a:lnTo>
                  <a:lnTo>
                    <a:pt x="16237" y="2163"/>
                  </a:lnTo>
                  <a:lnTo>
                    <a:pt x="16228" y="2184"/>
                  </a:lnTo>
                  <a:lnTo>
                    <a:pt x="16218" y="2204"/>
                  </a:lnTo>
                  <a:lnTo>
                    <a:pt x="16206" y="2224"/>
                  </a:lnTo>
                  <a:lnTo>
                    <a:pt x="16194" y="2244"/>
                  </a:lnTo>
                  <a:lnTo>
                    <a:pt x="16180" y="2262"/>
                  </a:lnTo>
                  <a:lnTo>
                    <a:pt x="16166" y="2279"/>
                  </a:lnTo>
                  <a:lnTo>
                    <a:pt x="16152" y="2297"/>
                  </a:lnTo>
                  <a:lnTo>
                    <a:pt x="16136" y="2313"/>
                  </a:lnTo>
                  <a:lnTo>
                    <a:pt x="16119" y="2329"/>
                  </a:lnTo>
                  <a:lnTo>
                    <a:pt x="16102" y="2344"/>
                  </a:lnTo>
                  <a:lnTo>
                    <a:pt x="16085" y="2358"/>
                  </a:lnTo>
                  <a:lnTo>
                    <a:pt x="16066" y="2371"/>
                  </a:lnTo>
                  <a:lnTo>
                    <a:pt x="16047" y="2384"/>
                  </a:lnTo>
                  <a:lnTo>
                    <a:pt x="16027" y="2395"/>
                  </a:lnTo>
                  <a:lnTo>
                    <a:pt x="16006" y="2406"/>
                  </a:lnTo>
                  <a:lnTo>
                    <a:pt x="15986" y="2415"/>
                  </a:lnTo>
                  <a:lnTo>
                    <a:pt x="15964" y="2424"/>
                  </a:lnTo>
                  <a:lnTo>
                    <a:pt x="15942" y="2431"/>
                  </a:lnTo>
                  <a:lnTo>
                    <a:pt x="15920" y="2437"/>
                  </a:lnTo>
                  <a:lnTo>
                    <a:pt x="15897" y="2443"/>
                  </a:lnTo>
                  <a:lnTo>
                    <a:pt x="15874" y="2447"/>
                  </a:lnTo>
                  <a:lnTo>
                    <a:pt x="15850" y="2450"/>
                  </a:lnTo>
                  <a:lnTo>
                    <a:pt x="15826" y="2451"/>
                  </a:lnTo>
                  <a:lnTo>
                    <a:pt x="15802" y="2453"/>
                  </a:lnTo>
                  <a:lnTo>
                    <a:pt x="473" y="2453"/>
                  </a:lnTo>
                  <a:lnTo>
                    <a:pt x="449" y="2451"/>
                  </a:lnTo>
                  <a:lnTo>
                    <a:pt x="425" y="2450"/>
                  </a:lnTo>
                  <a:lnTo>
                    <a:pt x="401" y="2447"/>
                  </a:lnTo>
                  <a:lnTo>
                    <a:pt x="378" y="2443"/>
                  </a:lnTo>
                  <a:lnTo>
                    <a:pt x="355" y="2437"/>
                  </a:lnTo>
                  <a:lnTo>
                    <a:pt x="333" y="2431"/>
                  </a:lnTo>
                  <a:lnTo>
                    <a:pt x="310" y="2424"/>
                  </a:lnTo>
                  <a:lnTo>
                    <a:pt x="289" y="2415"/>
                  </a:lnTo>
                  <a:lnTo>
                    <a:pt x="269" y="2406"/>
                  </a:lnTo>
                  <a:lnTo>
                    <a:pt x="248" y="2395"/>
                  </a:lnTo>
                  <a:lnTo>
                    <a:pt x="228" y="2384"/>
                  </a:lnTo>
                  <a:lnTo>
                    <a:pt x="209" y="2371"/>
                  </a:lnTo>
                  <a:lnTo>
                    <a:pt x="190" y="2358"/>
                  </a:lnTo>
                  <a:lnTo>
                    <a:pt x="173" y="2344"/>
                  </a:lnTo>
                  <a:lnTo>
                    <a:pt x="156" y="2329"/>
                  </a:lnTo>
                  <a:lnTo>
                    <a:pt x="139" y="2313"/>
                  </a:lnTo>
                  <a:lnTo>
                    <a:pt x="123" y="2297"/>
                  </a:lnTo>
                  <a:lnTo>
                    <a:pt x="108" y="2279"/>
                  </a:lnTo>
                  <a:lnTo>
                    <a:pt x="95" y="2262"/>
                  </a:lnTo>
                  <a:lnTo>
                    <a:pt x="81" y="2244"/>
                  </a:lnTo>
                  <a:lnTo>
                    <a:pt x="68" y="2224"/>
                  </a:lnTo>
                  <a:lnTo>
                    <a:pt x="57" y="2204"/>
                  </a:lnTo>
                  <a:lnTo>
                    <a:pt x="47" y="2184"/>
                  </a:lnTo>
                  <a:lnTo>
                    <a:pt x="38" y="2163"/>
                  </a:lnTo>
                  <a:lnTo>
                    <a:pt x="28" y="2142"/>
                  </a:lnTo>
                  <a:lnTo>
                    <a:pt x="21" y="2119"/>
                  </a:lnTo>
                  <a:lnTo>
                    <a:pt x="15" y="2097"/>
                  </a:lnTo>
                  <a:lnTo>
                    <a:pt x="9" y="2073"/>
                  </a:lnTo>
                  <a:lnTo>
                    <a:pt x="5" y="2051"/>
                  </a:lnTo>
                  <a:lnTo>
                    <a:pt x="2" y="2027"/>
                  </a:lnTo>
                  <a:lnTo>
                    <a:pt x="1" y="2003"/>
                  </a:lnTo>
                  <a:lnTo>
                    <a:pt x="0" y="1979"/>
                  </a:lnTo>
                  <a:lnTo>
                    <a:pt x="0" y="474"/>
                  </a:lnTo>
                  <a:lnTo>
                    <a:pt x="1" y="449"/>
                  </a:lnTo>
                  <a:lnTo>
                    <a:pt x="2" y="426"/>
                  </a:lnTo>
                  <a:lnTo>
                    <a:pt x="5" y="401"/>
                  </a:lnTo>
                  <a:lnTo>
                    <a:pt x="9" y="379"/>
                  </a:lnTo>
                  <a:lnTo>
                    <a:pt x="15" y="356"/>
                  </a:lnTo>
                  <a:lnTo>
                    <a:pt x="21" y="333"/>
                  </a:lnTo>
                  <a:lnTo>
                    <a:pt x="28" y="312"/>
                  </a:lnTo>
                  <a:lnTo>
                    <a:pt x="38" y="289"/>
                  </a:lnTo>
                  <a:lnTo>
                    <a:pt x="47" y="269"/>
                  </a:lnTo>
                  <a:lnTo>
                    <a:pt x="57" y="249"/>
                  </a:lnTo>
                  <a:lnTo>
                    <a:pt x="68" y="228"/>
                  </a:lnTo>
                  <a:lnTo>
                    <a:pt x="81" y="210"/>
                  </a:lnTo>
                  <a:lnTo>
                    <a:pt x="95" y="191"/>
                  </a:lnTo>
                  <a:lnTo>
                    <a:pt x="108" y="173"/>
                  </a:lnTo>
                  <a:lnTo>
                    <a:pt x="123" y="156"/>
                  </a:lnTo>
                  <a:lnTo>
                    <a:pt x="139" y="140"/>
                  </a:lnTo>
                  <a:lnTo>
                    <a:pt x="156" y="123"/>
                  </a:lnTo>
                  <a:lnTo>
                    <a:pt x="173" y="109"/>
                  </a:lnTo>
                  <a:lnTo>
                    <a:pt x="190" y="95"/>
                  </a:lnTo>
                  <a:lnTo>
                    <a:pt x="209" y="82"/>
                  </a:lnTo>
                  <a:lnTo>
                    <a:pt x="228" y="69"/>
                  </a:lnTo>
                  <a:lnTo>
                    <a:pt x="248" y="57"/>
                  </a:lnTo>
                  <a:lnTo>
                    <a:pt x="269" y="47"/>
                  </a:lnTo>
                  <a:lnTo>
                    <a:pt x="289" y="38"/>
                  </a:lnTo>
                  <a:lnTo>
                    <a:pt x="310" y="29"/>
                  </a:lnTo>
                  <a:lnTo>
                    <a:pt x="333" y="21"/>
                  </a:lnTo>
                  <a:lnTo>
                    <a:pt x="355" y="15"/>
                  </a:lnTo>
                  <a:lnTo>
                    <a:pt x="378" y="10"/>
                  </a:lnTo>
                  <a:lnTo>
                    <a:pt x="401" y="5"/>
                  </a:lnTo>
                  <a:lnTo>
                    <a:pt x="425" y="2"/>
                  </a:lnTo>
                  <a:lnTo>
                    <a:pt x="449" y="1"/>
                  </a:lnTo>
                  <a:lnTo>
                    <a:pt x="473" y="0"/>
                  </a:lnTo>
                  <a:close/>
                  <a:moveTo>
                    <a:pt x="2937" y="658"/>
                  </a:moveTo>
                  <a:lnTo>
                    <a:pt x="2967" y="659"/>
                  </a:lnTo>
                  <a:lnTo>
                    <a:pt x="2999" y="661"/>
                  </a:lnTo>
                  <a:lnTo>
                    <a:pt x="3029" y="665"/>
                  </a:lnTo>
                  <a:lnTo>
                    <a:pt x="3059" y="670"/>
                  </a:lnTo>
                  <a:lnTo>
                    <a:pt x="3088" y="678"/>
                  </a:lnTo>
                  <a:lnTo>
                    <a:pt x="3118" y="686"/>
                  </a:lnTo>
                  <a:lnTo>
                    <a:pt x="3146" y="696"/>
                  </a:lnTo>
                  <a:lnTo>
                    <a:pt x="3174" y="706"/>
                  </a:lnTo>
                  <a:lnTo>
                    <a:pt x="3200" y="719"/>
                  </a:lnTo>
                  <a:lnTo>
                    <a:pt x="3227" y="733"/>
                  </a:lnTo>
                  <a:lnTo>
                    <a:pt x="3252" y="747"/>
                  </a:lnTo>
                  <a:lnTo>
                    <a:pt x="3277" y="763"/>
                  </a:lnTo>
                  <a:lnTo>
                    <a:pt x="3301" y="780"/>
                  </a:lnTo>
                  <a:lnTo>
                    <a:pt x="3324" y="799"/>
                  </a:lnTo>
                  <a:lnTo>
                    <a:pt x="3347" y="817"/>
                  </a:lnTo>
                  <a:lnTo>
                    <a:pt x="3368" y="838"/>
                  </a:lnTo>
                  <a:lnTo>
                    <a:pt x="3388" y="859"/>
                  </a:lnTo>
                  <a:lnTo>
                    <a:pt x="3408" y="881"/>
                  </a:lnTo>
                  <a:lnTo>
                    <a:pt x="3425" y="905"/>
                  </a:lnTo>
                  <a:lnTo>
                    <a:pt x="3442" y="928"/>
                  </a:lnTo>
                  <a:lnTo>
                    <a:pt x="3458" y="954"/>
                  </a:lnTo>
                  <a:lnTo>
                    <a:pt x="3473" y="979"/>
                  </a:lnTo>
                  <a:lnTo>
                    <a:pt x="3487" y="1006"/>
                  </a:lnTo>
                  <a:lnTo>
                    <a:pt x="3499" y="1032"/>
                  </a:lnTo>
                  <a:lnTo>
                    <a:pt x="3509" y="1061"/>
                  </a:lnTo>
                  <a:lnTo>
                    <a:pt x="3519" y="1089"/>
                  </a:lnTo>
                  <a:lnTo>
                    <a:pt x="3528" y="1118"/>
                  </a:lnTo>
                  <a:lnTo>
                    <a:pt x="3535" y="1147"/>
                  </a:lnTo>
                  <a:lnTo>
                    <a:pt x="3540" y="1178"/>
                  </a:lnTo>
                  <a:lnTo>
                    <a:pt x="3544" y="1208"/>
                  </a:lnTo>
                  <a:lnTo>
                    <a:pt x="3546" y="1239"/>
                  </a:lnTo>
                  <a:lnTo>
                    <a:pt x="3547" y="1271"/>
                  </a:lnTo>
                  <a:lnTo>
                    <a:pt x="3546" y="1302"/>
                  </a:lnTo>
                  <a:lnTo>
                    <a:pt x="3544" y="1333"/>
                  </a:lnTo>
                  <a:lnTo>
                    <a:pt x="3540" y="1363"/>
                  </a:lnTo>
                  <a:lnTo>
                    <a:pt x="3535" y="1394"/>
                  </a:lnTo>
                  <a:lnTo>
                    <a:pt x="3528" y="1423"/>
                  </a:lnTo>
                  <a:lnTo>
                    <a:pt x="3519" y="1452"/>
                  </a:lnTo>
                  <a:lnTo>
                    <a:pt x="3509" y="1480"/>
                  </a:lnTo>
                  <a:lnTo>
                    <a:pt x="3499" y="1508"/>
                  </a:lnTo>
                  <a:lnTo>
                    <a:pt x="3487" y="1535"/>
                  </a:lnTo>
                  <a:lnTo>
                    <a:pt x="3473" y="1562"/>
                  </a:lnTo>
                  <a:lnTo>
                    <a:pt x="3458" y="1587"/>
                  </a:lnTo>
                  <a:lnTo>
                    <a:pt x="3442" y="1612"/>
                  </a:lnTo>
                  <a:lnTo>
                    <a:pt x="3425" y="1636"/>
                  </a:lnTo>
                  <a:lnTo>
                    <a:pt x="3408" y="1659"/>
                  </a:lnTo>
                  <a:lnTo>
                    <a:pt x="3388" y="1681"/>
                  </a:lnTo>
                  <a:lnTo>
                    <a:pt x="3368" y="1703"/>
                  </a:lnTo>
                  <a:lnTo>
                    <a:pt x="3347" y="1723"/>
                  </a:lnTo>
                  <a:lnTo>
                    <a:pt x="3324" y="1742"/>
                  </a:lnTo>
                  <a:lnTo>
                    <a:pt x="3301" y="1761"/>
                  </a:lnTo>
                  <a:lnTo>
                    <a:pt x="3277" y="1778"/>
                  </a:lnTo>
                  <a:lnTo>
                    <a:pt x="3252" y="1793"/>
                  </a:lnTo>
                  <a:lnTo>
                    <a:pt x="3227" y="1809"/>
                  </a:lnTo>
                  <a:lnTo>
                    <a:pt x="3200" y="1822"/>
                  </a:lnTo>
                  <a:lnTo>
                    <a:pt x="3174" y="1834"/>
                  </a:lnTo>
                  <a:lnTo>
                    <a:pt x="3146" y="1845"/>
                  </a:lnTo>
                  <a:lnTo>
                    <a:pt x="3118" y="1854"/>
                  </a:lnTo>
                  <a:lnTo>
                    <a:pt x="3088" y="1863"/>
                  </a:lnTo>
                  <a:lnTo>
                    <a:pt x="3059" y="1870"/>
                  </a:lnTo>
                  <a:lnTo>
                    <a:pt x="3029" y="1875"/>
                  </a:lnTo>
                  <a:lnTo>
                    <a:pt x="2999" y="1879"/>
                  </a:lnTo>
                  <a:lnTo>
                    <a:pt x="2967" y="1882"/>
                  </a:lnTo>
                  <a:lnTo>
                    <a:pt x="2937" y="1882"/>
                  </a:lnTo>
                  <a:lnTo>
                    <a:pt x="2905" y="1882"/>
                  </a:lnTo>
                  <a:lnTo>
                    <a:pt x="2874" y="1879"/>
                  </a:lnTo>
                  <a:lnTo>
                    <a:pt x="2843" y="1875"/>
                  </a:lnTo>
                  <a:lnTo>
                    <a:pt x="2814" y="1870"/>
                  </a:lnTo>
                  <a:lnTo>
                    <a:pt x="2784" y="1863"/>
                  </a:lnTo>
                  <a:lnTo>
                    <a:pt x="2755" y="1854"/>
                  </a:lnTo>
                  <a:lnTo>
                    <a:pt x="2726" y="1845"/>
                  </a:lnTo>
                  <a:lnTo>
                    <a:pt x="2699" y="1834"/>
                  </a:lnTo>
                  <a:lnTo>
                    <a:pt x="2671" y="1822"/>
                  </a:lnTo>
                  <a:lnTo>
                    <a:pt x="2646" y="1809"/>
                  </a:lnTo>
                  <a:lnTo>
                    <a:pt x="2619" y="1793"/>
                  </a:lnTo>
                  <a:lnTo>
                    <a:pt x="2595" y="1778"/>
                  </a:lnTo>
                  <a:lnTo>
                    <a:pt x="2570" y="1761"/>
                  </a:lnTo>
                  <a:lnTo>
                    <a:pt x="2548" y="1742"/>
                  </a:lnTo>
                  <a:lnTo>
                    <a:pt x="2526" y="1723"/>
                  </a:lnTo>
                  <a:lnTo>
                    <a:pt x="2504" y="1703"/>
                  </a:lnTo>
                  <a:lnTo>
                    <a:pt x="2484" y="1681"/>
                  </a:lnTo>
                  <a:lnTo>
                    <a:pt x="2465" y="1659"/>
                  </a:lnTo>
                  <a:lnTo>
                    <a:pt x="2446" y="1636"/>
                  </a:lnTo>
                  <a:lnTo>
                    <a:pt x="2430" y="1612"/>
                  </a:lnTo>
                  <a:lnTo>
                    <a:pt x="2414" y="1587"/>
                  </a:lnTo>
                  <a:lnTo>
                    <a:pt x="2399" y="1562"/>
                  </a:lnTo>
                  <a:lnTo>
                    <a:pt x="2385" y="1535"/>
                  </a:lnTo>
                  <a:lnTo>
                    <a:pt x="2373" y="1508"/>
                  </a:lnTo>
                  <a:lnTo>
                    <a:pt x="2362" y="1480"/>
                  </a:lnTo>
                  <a:lnTo>
                    <a:pt x="2353" y="1452"/>
                  </a:lnTo>
                  <a:lnTo>
                    <a:pt x="2345" y="1423"/>
                  </a:lnTo>
                  <a:lnTo>
                    <a:pt x="2337" y="1394"/>
                  </a:lnTo>
                  <a:lnTo>
                    <a:pt x="2332" y="1363"/>
                  </a:lnTo>
                  <a:lnTo>
                    <a:pt x="2328" y="1333"/>
                  </a:lnTo>
                  <a:lnTo>
                    <a:pt x="2326" y="1302"/>
                  </a:lnTo>
                  <a:lnTo>
                    <a:pt x="2325" y="1271"/>
                  </a:lnTo>
                  <a:lnTo>
                    <a:pt x="2326" y="1239"/>
                  </a:lnTo>
                  <a:lnTo>
                    <a:pt x="2328" y="1208"/>
                  </a:lnTo>
                  <a:lnTo>
                    <a:pt x="2332" y="1178"/>
                  </a:lnTo>
                  <a:lnTo>
                    <a:pt x="2337" y="1147"/>
                  </a:lnTo>
                  <a:lnTo>
                    <a:pt x="2345" y="1118"/>
                  </a:lnTo>
                  <a:lnTo>
                    <a:pt x="2353" y="1089"/>
                  </a:lnTo>
                  <a:lnTo>
                    <a:pt x="2362" y="1061"/>
                  </a:lnTo>
                  <a:lnTo>
                    <a:pt x="2373" y="1032"/>
                  </a:lnTo>
                  <a:lnTo>
                    <a:pt x="2385" y="1006"/>
                  </a:lnTo>
                  <a:lnTo>
                    <a:pt x="2399" y="979"/>
                  </a:lnTo>
                  <a:lnTo>
                    <a:pt x="2414" y="954"/>
                  </a:lnTo>
                  <a:lnTo>
                    <a:pt x="2430" y="928"/>
                  </a:lnTo>
                  <a:lnTo>
                    <a:pt x="2446" y="905"/>
                  </a:lnTo>
                  <a:lnTo>
                    <a:pt x="2465" y="881"/>
                  </a:lnTo>
                  <a:lnTo>
                    <a:pt x="2484" y="859"/>
                  </a:lnTo>
                  <a:lnTo>
                    <a:pt x="2504" y="838"/>
                  </a:lnTo>
                  <a:lnTo>
                    <a:pt x="2526" y="817"/>
                  </a:lnTo>
                  <a:lnTo>
                    <a:pt x="2548" y="799"/>
                  </a:lnTo>
                  <a:lnTo>
                    <a:pt x="2570" y="780"/>
                  </a:lnTo>
                  <a:lnTo>
                    <a:pt x="2595" y="763"/>
                  </a:lnTo>
                  <a:lnTo>
                    <a:pt x="2619" y="747"/>
                  </a:lnTo>
                  <a:lnTo>
                    <a:pt x="2646" y="733"/>
                  </a:lnTo>
                  <a:lnTo>
                    <a:pt x="2671" y="719"/>
                  </a:lnTo>
                  <a:lnTo>
                    <a:pt x="2699" y="706"/>
                  </a:lnTo>
                  <a:lnTo>
                    <a:pt x="2726" y="696"/>
                  </a:lnTo>
                  <a:lnTo>
                    <a:pt x="2755" y="686"/>
                  </a:lnTo>
                  <a:lnTo>
                    <a:pt x="2784" y="678"/>
                  </a:lnTo>
                  <a:lnTo>
                    <a:pt x="2814" y="670"/>
                  </a:lnTo>
                  <a:lnTo>
                    <a:pt x="2843" y="665"/>
                  </a:lnTo>
                  <a:lnTo>
                    <a:pt x="2874" y="661"/>
                  </a:lnTo>
                  <a:lnTo>
                    <a:pt x="2905" y="659"/>
                  </a:lnTo>
                  <a:lnTo>
                    <a:pt x="2937" y="658"/>
                  </a:lnTo>
                  <a:close/>
                  <a:moveTo>
                    <a:pt x="7582" y="474"/>
                  </a:moveTo>
                  <a:lnTo>
                    <a:pt x="14452" y="474"/>
                  </a:lnTo>
                  <a:lnTo>
                    <a:pt x="14467" y="474"/>
                  </a:lnTo>
                  <a:lnTo>
                    <a:pt x="14482" y="476"/>
                  </a:lnTo>
                  <a:lnTo>
                    <a:pt x="14497" y="477"/>
                  </a:lnTo>
                  <a:lnTo>
                    <a:pt x="14511" y="480"/>
                  </a:lnTo>
                  <a:lnTo>
                    <a:pt x="14525" y="483"/>
                  </a:lnTo>
                  <a:lnTo>
                    <a:pt x="14539" y="487"/>
                  </a:lnTo>
                  <a:lnTo>
                    <a:pt x="14553" y="492"/>
                  </a:lnTo>
                  <a:lnTo>
                    <a:pt x="14566" y="497"/>
                  </a:lnTo>
                  <a:lnTo>
                    <a:pt x="14578" y="503"/>
                  </a:lnTo>
                  <a:lnTo>
                    <a:pt x="14592" y="509"/>
                  </a:lnTo>
                  <a:lnTo>
                    <a:pt x="14604" y="517"/>
                  </a:lnTo>
                  <a:lnTo>
                    <a:pt x="14616" y="524"/>
                  </a:lnTo>
                  <a:lnTo>
                    <a:pt x="14627" y="532"/>
                  </a:lnTo>
                  <a:lnTo>
                    <a:pt x="14638" y="541"/>
                  </a:lnTo>
                  <a:lnTo>
                    <a:pt x="14649" y="550"/>
                  </a:lnTo>
                  <a:lnTo>
                    <a:pt x="14659" y="560"/>
                  </a:lnTo>
                  <a:lnTo>
                    <a:pt x="14669" y="571"/>
                  </a:lnTo>
                  <a:lnTo>
                    <a:pt x="14678" y="581"/>
                  </a:lnTo>
                  <a:lnTo>
                    <a:pt x="14686" y="592"/>
                  </a:lnTo>
                  <a:lnTo>
                    <a:pt x="14694" y="603"/>
                  </a:lnTo>
                  <a:lnTo>
                    <a:pt x="14702" y="615"/>
                  </a:lnTo>
                  <a:lnTo>
                    <a:pt x="14710" y="628"/>
                  </a:lnTo>
                  <a:lnTo>
                    <a:pt x="14716" y="640"/>
                  </a:lnTo>
                  <a:lnTo>
                    <a:pt x="14722" y="653"/>
                  </a:lnTo>
                  <a:lnTo>
                    <a:pt x="14727" y="666"/>
                  </a:lnTo>
                  <a:lnTo>
                    <a:pt x="14732" y="680"/>
                  </a:lnTo>
                  <a:lnTo>
                    <a:pt x="14736" y="694"/>
                  </a:lnTo>
                  <a:lnTo>
                    <a:pt x="14739" y="708"/>
                  </a:lnTo>
                  <a:lnTo>
                    <a:pt x="14741" y="722"/>
                  </a:lnTo>
                  <a:lnTo>
                    <a:pt x="14743" y="737"/>
                  </a:lnTo>
                  <a:lnTo>
                    <a:pt x="14744" y="752"/>
                  </a:lnTo>
                  <a:lnTo>
                    <a:pt x="14745" y="767"/>
                  </a:lnTo>
                  <a:lnTo>
                    <a:pt x="14745" y="1699"/>
                  </a:lnTo>
                  <a:lnTo>
                    <a:pt x="14744" y="1714"/>
                  </a:lnTo>
                  <a:lnTo>
                    <a:pt x="14743" y="1728"/>
                  </a:lnTo>
                  <a:lnTo>
                    <a:pt x="14741" y="1742"/>
                  </a:lnTo>
                  <a:lnTo>
                    <a:pt x="14739" y="1758"/>
                  </a:lnTo>
                  <a:lnTo>
                    <a:pt x="14736" y="1771"/>
                  </a:lnTo>
                  <a:lnTo>
                    <a:pt x="14732" y="1785"/>
                  </a:lnTo>
                  <a:lnTo>
                    <a:pt x="14727" y="1798"/>
                  </a:lnTo>
                  <a:lnTo>
                    <a:pt x="14722" y="1812"/>
                  </a:lnTo>
                  <a:lnTo>
                    <a:pt x="14716" y="1825"/>
                  </a:lnTo>
                  <a:lnTo>
                    <a:pt x="14710" y="1838"/>
                  </a:lnTo>
                  <a:lnTo>
                    <a:pt x="14702" y="1850"/>
                  </a:lnTo>
                  <a:lnTo>
                    <a:pt x="14694" y="1862"/>
                  </a:lnTo>
                  <a:lnTo>
                    <a:pt x="14686" y="1874"/>
                  </a:lnTo>
                  <a:lnTo>
                    <a:pt x="14678" y="1885"/>
                  </a:lnTo>
                  <a:lnTo>
                    <a:pt x="14669" y="1895"/>
                  </a:lnTo>
                  <a:lnTo>
                    <a:pt x="14659" y="1905"/>
                  </a:lnTo>
                  <a:lnTo>
                    <a:pt x="14649" y="1916"/>
                  </a:lnTo>
                  <a:lnTo>
                    <a:pt x="14638" y="1925"/>
                  </a:lnTo>
                  <a:lnTo>
                    <a:pt x="14627" y="1933"/>
                  </a:lnTo>
                  <a:lnTo>
                    <a:pt x="14616" y="1941"/>
                  </a:lnTo>
                  <a:lnTo>
                    <a:pt x="14604" y="1949"/>
                  </a:lnTo>
                  <a:lnTo>
                    <a:pt x="14592" y="1956"/>
                  </a:lnTo>
                  <a:lnTo>
                    <a:pt x="14578" y="1962"/>
                  </a:lnTo>
                  <a:lnTo>
                    <a:pt x="14566" y="1969"/>
                  </a:lnTo>
                  <a:lnTo>
                    <a:pt x="14553" y="1974"/>
                  </a:lnTo>
                  <a:lnTo>
                    <a:pt x="14539" y="1979"/>
                  </a:lnTo>
                  <a:lnTo>
                    <a:pt x="14525" y="1982"/>
                  </a:lnTo>
                  <a:lnTo>
                    <a:pt x="14511" y="1986"/>
                  </a:lnTo>
                  <a:lnTo>
                    <a:pt x="14497" y="1988"/>
                  </a:lnTo>
                  <a:lnTo>
                    <a:pt x="14482" y="1990"/>
                  </a:lnTo>
                  <a:lnTo>
                    <a:pt x="14467" y="1991"/>
                  </a:lnTo>
                  <a:lnTo>
                    <a:pt x="14452" y="1991"/>
                  </a:lnTo>
                  <a:lnTo>
                    <a:pt x="7582" y="1991"/>
                  </a:lnTo>
                  <a:lnTo>
                    <a:pt x="7567" y="1991"/>
                  </a:lnTo>
                  <a:lnTo>
                    <a:pt x="7552" y="1990"/>
                  </a:lnTo>
                  <a:lnTo>
                    <a:pt x="7537" y="1988"/>
                  </a:lnTo>
                  <a:lnTo>
                    <a:pt x="7523" y="1986"/>
                  </a:lnTo>
                  <a:lnTo>
                    <a:pt x="7509" y="1982"/>
                  </a:lnTo>
                  <a:lnTo>
                    <a:pt x="7495" y="1979"/>
                  </a:lnTo>
                  <a:lnTo>
                    <a:pt x="7481" y="1974"/>
                  </a:lnTo>
                  <a:lnTo>
                    <a:pt x="7468" y="1969"/>
                  </a:lnTo>
                  <a:lnTo>
                    <a:pt x="7455" y="1962"/>
                  </a:lnTo>
                  <a:lnTo>
                    <a:pt x="7443" y="1956"/>
                  </a:lnTo>
                  <a:lnTo>
                    <a:pt x="7431" y="1949"/>
                  </a:lnTo>
                  <a:lnTo>
                    <a:pt x="7418" y="1941"/>
                  </a:lnTo>
                  <a:lnTo>
                    <a:pt x="7407" y="1933"/>
                  </a:lnTo>
                  <a:lnTo>
                    <a:pt x="7396" y="1925"/>
                  </a:lnTo>
                  <a:lnTo>
                    <a:pt x="7385" y="1916"/>
                  </a:lnTo>
                  <a:lnTo>
                    <a:pt x="7375" y="1905"/>
                  </a:lnTo>
                  <a:lnTo>
                    <a:pt x="7365" y="1895"/>
                  </a:lnTo>
                  <a:lnTo>
                    <a:pt x="7356" y="1885"/>
                  </a:lnTo>
                  <a:lnTo>
                    <a:pt x="7347" y="1874"/>
                  </a:lnTo>
                  <a:lnTo>
                    <a:pt x="7339" y="1862"/>
                  </a:lnTo>
                  <a:lnTo>
                    <a:pt x="7332" y="1850"/>
                  </a:lnTo>
                  <a:lnTo>
                    <a:pt x="7325" y="1838"/>
                  </a:lnTo>
                  <a:lnTo>
                    <a:pt x="7318" y="1825"/>
                  </a:lnTo>
                  <a:lnTo>
                    <a:pt x="7312" y="1812"/>
                  </a:lnTo>
                  <a:lnTo>
                    <a:pt x="7306" y="1798"/>
                  </a:lnTo>
                  <a:lnTo>
                    <a:pt x="7302" y="1785"/>
                  </a:lnTo>
                  <a:lnTo>
                    <a:pt x="7298" y="1772"/>
                  </a:lnTo>
                  <a:lnTo>
                    <a:pt x="7295" y="1758"/>
                  </a:lnTo>
                  <a:lnTo>
                    <a:pt x="7292" y="1742"/>
                  </a:lnTo>
                  <a:lnTo>
                    <a:pt x="7290" y="1728"/>
                  </a:lnTo>
                  <a:lnTo>
                    <a:pt x="7289" y="1714"/>
                  </a:lnTo>
                  <a:lnTo>
                    <a:pt x="7289" y="1699"/>
                  </a:lnTo>
                  <a:lnTo>
                    <a:pt x="7289" y="767"/>
                  </a:lnTo>
                  <a:lnTo>
                    <a:pt x="7289" y="752"/>
                  </a:lnTo>
                  <a:lnTo>
                    <a:pt x="7290" y="737"/>
                  </a:lnTo>
                  <a:lnTo>
                    <a:pt x="7292" y="722"/>
                  </a:lnTo>
                  <a:lnTo>
                    <a:pt x="7295" y="708"/>
                  </a:lnTo>
                  <a:lnTo>
                    <a:pt x="7298" y="694"/>
                  </a:lnTo>
                  <a:lnTo>
                    <a:pt x="7302" y="680"/>
                  </a:lnTo>
                  <a:lnTo>
                    <a:pt x="7306" y="666"/>
                  </a:lnTo>
                  <a:lnTo>
                    <a:pt x="7312" y="653"/>
                  </a:lnTo>
                  <a:lnTo>
                    <a:pt x="7318" y="640"/>
                  </a:lnTo>
                  <a:lnTo>
                    <a:pt x="7325" y="628"/>
                  </a:lnTo>
                  <a:lnTo>
                    <a:pt x="7332" y="615"/>
                  </a:lnTo>
                  <a:lnTo>
                    <a:pt x="7339" y="603"/>
                  </a:lnTo>
                  <a:lnTo>
                    <a:pt x="7347" y="592"/>
                  </a:lnTo>
                  <a:lnTo>
                    <a:pt x="7356" y="581"/>
                  </a:lnTo>
                  <a:lnTo>
                    <a:pt x="7365" y="571"/>
                  </a:lnTo>
                  <a:lnTo>
                    <a:pt x="7375" y="560"/>
                  </a:lnTo>
                  <a:lnTo>
                    <a:pt x="7385" y="550"/>
                  </a:lnTo>
                  <a:lnTo>
                    <a:pt x="7396" y="541"/>
                  </a:lnTo>
                  <a:lnTo>
                    <a:pt x="7407" y="532"/>
                  </a:lnTo>
                  <a:lnTo>
                    <a:pt x="7418" y="524"/>
                  </a:lnTo>
                  <a:lnTo>
                    <a:pt x="7431" y="517"/>
                  </a:lnTo>
                  <a:lnTo>
                    <a:pt x="7443" y="509"/>
                  </a:lnTo>
                  <a:lnTo>
                    <a:pt x="7455" y="503"/>
                  </a:lnTo>
                  <a:lnTo>
                    <a:pt x="7468" y="497"/>
                  </a:lnTo>
                  <a:lnTo>
                    <a:pt x="7481" y="492"/>
                  </a:lnTo>
                  <a:lnTo>
                    <a:pt x="7495" y="487"/>
                  </a:lnTo>
                  <a:lnTo>
                    <a:pt x="7509" y="483"/>
                  </a:lnTo>
                  <a:lnTo>
                    <a:pt x="7523" y="480"/>
                  </a:lnTo>
                  <a:lnTo>
                    <a:pt x="7537" y="477"/>
                  </a:lnTo>
                  <a:lnTo>
                    <a:pt x="7552" y="476"/>
                  </a:lnTo>
                  <a:lnTo>
                    <a:pt x="7567" y="474"/>
                  </a:lnTo>
                  <a:lnTo>
                    <a:pt x="7582" y="474"/>
                  </a:lnTo>
                  <a:close/>
                </a:path>
              </a:pathLst>
            </a:custGeom>
            <a:solidFill>
              <a:schemeClr val="accent2">
                <a:lumMod val="75000"/>
              </a:schemeClr>
            </a:solidFill>
            <a:ln w="9525">
              <a:noFill/>
              <a:round/>
            </a:ln>
          </p:spPr>
          <p:txBody>
            <a:bodyPr vert="horz" wrap="square" lIns="68598" tIns="34299" rIns="68598" bIns="34299" numCol="1" anchor="t" anchorCtr="0" compatLnSpc="1"/>
            <a:lstStyle/>
            <a:p>
              <a:endParaRPr lang="zh-CN" altLang="en-US" sz="1350">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216" name="直接连接符 364"/>
            <p:cNvCxnSpPr/>
            <p:nvPr>
              <p:custDataLst>
                <p:tags r:id="rId9"/>
              </p:custDataLst>
            </p:nvPr>
          </p:nvCxnSpPr>
          <p:spPr bwMode="auto">
            <a:xfrm flipV="1">
              <a:off x="1760459" y="2448105"/>
              <a:ext cx="1475578" cy="696804"/>
            </a:xfrm>
            <a:prstGeom prst="line">
              <a:avLst/>
            </a:prstGeom>
            <a:noFill/>
            <a:ln w="12700" cap="flat" cmpd="dbl" algn="ctr">
              <a:solidFill>
                <a:srgbClr val="473F51"/>
              </a:solidFill>
              <a:prstDash val="solid"/>
              <a:round/>
              <a:headEnd type="none" w="med" len="med"/>
              <a:tailEnd type="none" w="med" len="med"/>
            </a:ln>
            <a:effectLst/>
          </p:spPr>
        </p:cxnSp>
        <p:cxnSp>
          <p:nvCxnSpPr>
            <p:cNvPr id="218" name="直接连接符 364"/>
            <p:cNvCxnSpPr/>
            <p:nvPr>
              <p:custDataLst>
                <p:tags r:id="rId10"/>
              </p:custDataLst>
            </p:nvPr>
          </p:nvCxnSpPr>
          <p:spPr bwMode="auto">
            <a:xfrm flipH="1" flipV="1">
              <a:off x="2698466" y="1626751"/>
              <a:ext cx="2257221" cy="618959"/>
            </a:xfrm>
            <a:prstGeom prst="line">
              <a:avLst/>
            </a:prstGeom>
            <a:noFill/>
            <a:ln w="12700" cap="flat" cmpd="dbl" algn="ctr">
              <a:solidFill>
                <a:srgbClr val="473F51"/>
              </a:solidFill>
              <a:prstDash val="solid"/>
              <a:round/>
              <a:headEnd type="none" w="med" len="med"/>
              <a:tailEnd type="none" w="med" len="med"/>
            </a:ln>
            <a:effectLst/>
          </p:spPr>
        </p:cxnSp>
        <p:cxnSp>
          <p:nvCxnSpPr>
            <p:cNvPr id="220" name="直接连接符 364"/>
            <p:cNvCxnSpPr/>
            <p:nvPr>
              <p:custDataLst>
                <p:tags r:id="rId11"/>
              </p:custDataLst>
            </p:nvPr>
          </p:nvCxnSpPr>
          <p:spPr bwMode="auto">
            <a:xfrm flipH="1" flipV="1">
              <a:off x="3229317" y="2460511"/>
              <a:ext cx="962816" cy="695060"/>
            </a:xfrm>
            <a:prstGeom prst="line">
              <a:avLst/>
            </a:prstGeom>
            <a:noFill/>
            <a:ln w="12700" cap="flat" cmpd="dbl" algn="ctr">
              <a:solidFill>
                <a:srgbClr val="473F51"/>
              </a:solidFill>
              <a:prstDash val="solid"/>
              <a:round/>
              <a:headEnd type="none" w="med" len="med"/>
              <a:tailEnd type="none" w="med" len="med"/>
            </a:ln>
            <a:effectLst/>
          </p:spPr>
        </p:cxnSp>
        <p:cxnSp>
          <p:nvCxnSpPr>
            <p:cNvPr id="222" name="直接连接符 364"/>
            <p:cNvCxnSpPr/>
            <p:nvPr>
              <p:custDataLst>
                <p:tags r:id="rId12"/>
              </p:custDataLst>
            </p:nvPr>
          </p:nvCxnSpPr>
          <p:spPr bwMode="auto">
            <a:xfrm flipH="1" flipV="1">
              <a:off x="3208945" y="2469095"/>
              <a:ext cx="3507742" cy="686476"/>
            </a:xfrm>
            <a:prstGeom prst="line">
              <a:avLst/>
            </a:prstGeom>
            <a:noFill/>
            <a:ln w="12700" cap="flat" cmpd="dbl" algn="ctr">
              <a:solidFill>
                <a:srgbClr val="473F51"/>
              </a:solidFill>
              <a:prstDash val="solid"/>
              <a:round/>
              <a:headEnd type="none" w="med" len="med"/>
              <a:tailEnd type="none" w="med" len="med"/>
            </a:ln>
            <a:effectLst/>
          </p:spPr>
        </p:cxnSp>
        <p:cxnSp>
          <p:nvCxnSpPr>
            <p:cNvPr id="224" name="直接连接符 364"/>
            <p:cNvCxnSpPr/>
            <p:nvPr>
              <p:custDataLst>
                <p:tags r:id="rId13"/>
              </p:custDataLst>
            </p:nvPr>
          </p:nvCxnSpPr>
          <p:spPr bwMode="auto">
            <a:xfrm flipV="1">
              <a:off x="3229316" y="1644969"/>
              <a:ext cx="2237661" cy="605946"/>
            </a:xfrm>
            <a:prstGeom prst="line">
              <a:avLst/>
            </a:prstGeom>
            <a:noFill/>
            <a:ln w="12700" cap="flat" cmpd="dbl" algn="ctr">
              <a:solidFill>
                <a:srgbClr val="473F51"/>
              </a:solidFill>
              <a:prstDash val="solid"/>
              <a:round/>
              <a:headEnd type="none" w="med" len="med"/>
              <a:tailEnd type="none" w="med" len="med"/>
            </a:ln>
            <a:effectLst/>
          </p:spPr>
        </p:cxnSp>
        <p:cxnSp>
          <p:nvCxnSpPr>
            <p:cNvPr id="227" name="直接连接符 364"/>
            <p:cNvCxnSpPr/>
            <p:nvPr>
              <p:custDataLst>
                <p:tags r:id="rId14"/>
              </p:custDataLst>
            </p:nvPr>
          </p:nvCxnSpPr>
          <p:spPr bwMode="auto">
            <a:xfrm flipV="1">
              <a:off x="4955685" y="1644969"/>
              <a:ext cx="511292" cy="594565"/>
            </a:xfrm>
            <a:prstGeom prst="line">
              <a:avLst/>
            </a:prstGeom>
            <a:noFill/>
            <a:ln w="12700" cap="flat" cmpd="dbl" algn="ctr">
              <a:solidFill>
                <a:srgbClr val="473F51"/>
              </a:solidFill>
              <a:prstDash val="solid"/>
              <a:round/>
              <a:headEnd type="none" w="med" len="med"/>
              <a:tailEnd type="none" w="med" len="med"/>
            </a:ln>
            <a:effectLst/>
          </p:spPr>
        </p:cxnSp>
        <p:cxnSp>
          <p:nvCxnSpPr>
            <p:cNvPr id="230" name="直接连接符 364"/>
            <p:cNvCxnSpPr/>
            <p:nvPr>
              <p:custDataLst>
                <p:tags r:id="rId15"/>
              </p:custDataLst>
            </p:nvPr>
          </p:nvCxnSpPr>
          <p:spPr bwMode="auto">
            <a:xfrm flipV="1">
              <a:off x="1753922" y="2448107"/>
              <a:ext cx="3201765" cy="696802"/>
            </a:xfrm>
            <a:prstGeom prst="line">
              <a:avLst/>
            </a:prstGeom>
            <a:noFill/>
            <a:ln w="12700" cap="flat" cmpd="dbl" algn="ctr">
              <a:solidFill>
                <a:srgbClr val="473F51"/>
              </a:solidFill>
              <a:prstDash val="solid"/>
              <a:round/>
              <a:headEnd type="none" w="med" len="med"/>
              <a:tailEnd type="none" w="med" len="med"/>
            </a:ln>
            <a:effectLst/>
          </p:spPr>
        </p:cxnSp>
        <p:cxnSp>
          <p:nvCxnSpPr>
            <p:cNvPr id="232" name="直接连接符 364"/>
            <p:cNvCxnSpPr/>
            <p:nvPr>
              <p:custDataLst>
                <p:tags r:id="rId16"/>
              </p:custDataLst>
            </p:nvPr>
          </p:nvCxnSpPr>
          <p:spPr bwMode="auto">
            <a:xfrm flipV="1">
              <a:off x="4195001" y="2469095"/>
              <a:ext cx="760686" cy="675814"/>
            </a:xfrm>
            <a:prstGeom prst="line">
              <a:avLst/>
            </a:prstGeom>
            <a:noFill/>
            <a:ln w="12700" cap="flat" cmpd="dbl" algn="ctr">
              <a:solidFill>
                <a:srgbClr val="473F51"/>
              </a:solidFill>
              <a:prstDash val="solid"/>
              <a:round/>
              <a:headEnd type="none" w="med" len="med"/>
              <a:tailEnd type="none" w="med" len="med"/>
            </a:ln>
            <a:effectLst/>
          </p:spPr>
        </p:cxnSp>
        <p:cxnSp>
          <p:nvCxnSpPr>
            <p:cNvPr id="236" name="直接连接符 364"/>
            <p:cNvCxnSpPr/>
            <p:nvPr>
              <p:custDataLst>
                <p:tags r:id="rId17"/>
              </p:custDataLst>
            </p:nvPr>
          </p:nvCxnSpPr>
          <p:spPr bwMode="auto">
            <a:xfrm flipH="1" flipV="1">
              <a:off x="4955687" y="2469095"/>
              <a:ext cx="1761000" cy="686476"/>
            </a:xfrm>
            <a:prstGeom prst="line">
              <a:avLst/>
            </a:prstGeom>
            <a:noFill/>
            <a:ln w="12700" cap="flat" cmpd="dbl" algn="ctr">
              <a:solidFill>
                <a:srgbClr val="473F51"/>
              </a:solidFill>
              <a:prstDash val="solid"/>
              <a:round/>
              <a:headEnd type="none" w="med" len="med"/>
              <a:tailEnd type="none" w="med" len="med"/>
            </a:ln>
            <a:effectLst/>
          </p:spPr>
        </p:cxnSp>
        <p:sp>
          <p:nvSpPr>
            <p:cNvPr id="32" name="TextBox 1"/>
            <p:cNvSpPr txBox="1"/>
            <p:nvPr>
              <p:custDataLst>
                <p:tags r:id="rId18"/>
              </p:custDataLst>
            </p:nvPr>
          </p:nvSpPr>
          <p:spPr>
            <a:xfrm>
              <a:off x="1387933" y="3755329"/>
              <a:ext cx="694229" cy="238527"/>
            </a:xfrm>
            <a:prstGeom prst="rect">
              <a:avLst/>
            </a:prstGeom>
            <a:noFill/>
          </p:spPr>
          <p:txBody>
            <a:bodyPr wrap="none" lIns="0" tIns="0" rIns="0" rtlCol="0">
              <a:spAutoFit/>
            </a:bodyPr>
            <a:lstStyle/>
            <a:p>
              <a:pPr>
                <a:lnSpc>
                  <a:spcPts val="1500"/>
                </a:lnSpc>
                <a:tabLst>
                  <a:tab pos="190500" algn="l"/>
                </a:tabLst>
              </a:pPr>
              <a:r>
                <a:rPr lang="en-US" altLang="zh-CN" sz="1200" dirty="0">
                  <a:solidFill>
                    <a:srgbClr val="0099CC"/>
                  </a:solidFill>
                  <a:latin typeface="Arial Black" panose="020B0A04020102020204" pitchFamily="34" charset="0"/>
                  <a:cs typeface="Arial Black" panose="020B0A04020102020204" pitchFamily="34" charset="0"/>
                </a:rPr>
                <a:t>Server</a:t>
              </a:r>
              <a:r>
                <a:rPr lang="en-US" altLang="zh-CN" sz="1200" dirty="0">
                  <a:solidFill>
                    <a:srgbClr val="0099CC"/>
                  </a:solidFill>
                  <a:latin typeface="Times New Roman" panose="02020603050405020304" pitchFamily="18" charset="0"/>
                  <a:cs typeface="Times New Roman" panose="02020603050405020304" pitchFamily="18" charset="0"/>
                </a:rPr>
                <a:t> </a:t>
              </a:r>
              <a:r>
                <a:rPr lang="en-US" altLang="zh-CN" sz="1200" dirty="0">
                  <a:solidFill>
                    <a:srgbClr val="0099CC"/>
                  </a:solidFill>
                  <a:latin typeface="Arial Black" panose="020B0A04020102020204" pitchFamily="34" charset="0"/>
                  <a:cs typeface="Arial Black" panose="020B0A04020102020204" pitchFamily="34" charset="0"/>
                </a:rPr>
                <a:t>1</a:t>
              </a:r>
              <a:endParaRPr lang="en-US" altLang="zh-CN" sz="1200" dirty="0">
                <a:solidFill>
                  <a:srgbClr val="0099CC"/>
                </a:solidFill>
                <a:latin typeface="Arial Black" panose="020B0A04020102020204" pitchFamily="34" charset="0"/>
                <a:cs typeface="Arial Black" panose="020B0A04020102020204" pitchFamily="34" charset="0"/>
              </a:endParaRPr>
            </a:p>
          </p:txBody>
        </p:sp>
        <p:sp>
          <p:nvSpPr>
            <p:cNvPr id="33" name="TextBox 1"/>
            <p:cNvSpPr txBox="1"/>
            <p:nvPr>
              <p:custDataLst>
                <p:tags r:id="rId19"/>
              </p:custDataLst>
            </p:nvPr>
          </p:nvSpPr>
          <p:spPr>
            <a:xfrm>
              <a:off x="3917412" y="3768251"/>
              <a:ext cx="694229" cy="238527"/>
            </a:xfrm>
            <a:prstGeom prst="rect">
              <a:avLst/>
            </a:prstGeom>
            <a:noFill/>
          </p:spPr>
          <p:txBody>
            <a:bodyPr wrap="none" lIns="0" tIns="0" rIns="0" rtlCol="0">
              <a:spAutoFit/>
            </a:bodyPr>
            <a:lstStyle/>
            <a:p>
              <a:pPr>
                <a:lnSpc>
                  <a:spcPts val="1500"/>
                </a:lnSpc>
                <a:tabLst>
                  <a:tab pos="190500" algn="l"/>
                </a:tabLst>
              </a:pPr>
              <a:r>
                <a:rPr lang="en-US" altLang="zh-CN" sz="1200" dirty="0">
                  <a:solidFill>
                    <a:srgbClr val="0099CC"/>
                  </a:solidFill>
                  <a:latin typeface="Arial Black" panose="020B0A04020102020204" pitchFamily="34" charset="0"/>
                  <a:cs typeface="Arial Black" panose="020B0A04020102020204" pitchFamily="34" charset="0"/>
                </a:rPr>
                <a:t>Server</a:t>
              </a:r>
              <a:r>
                <a:rPr lang="en-US" altLang="zh-CN" sz="1200" dirty="0">
                  <a:solidFill>
                    <a:srgbClr val="0099CC"/>
                  </a:solidFill>
                  <a:latin typeface="Times New Roman" panose="02020603050405020304" pitchFamily="18" charset="0"/>
                  <a:cs typeface="Times New Roman" panose="02020603050405020304" pitchFamily="18" charset="0"/>
                </a:rPr>
                <a:t> </a:t>
              </a:r>
              <a:r>
                <a:rPr lang="en-US" altLang="zh-CN" sz="1200" dirty="0">
                  <a:solidFill>
                    <a:srgbClr val="0099CC"/>
                  </a:solidFill>
                  <a:latin typeface="Arial Black" panose="020B0A04020102020204" pitchFamily="34" charset="0"/>
                  <a:cs typeface="Arial Black" panose="020B0A04020102020204" pitchFamily="34" charset="0"/>
                </a:rPr>
                <a:t>2</a:t>
              </a:r>
              <a:endParaRPr lang="en-US" altLang="zh-CN" sz="1200" dirty="0">
                <a:solidFill>
                  <a:srgbClr val="0099CC"/>
                </a:solidFill>
                <a:latin typeface="Arial Black" panose="020B0A04020102020204" pitchFamily="34" charset="0"/>
                <a:cs typeface="Arial Black" panose="020B0A04020102020204" pitchFamily="34" charset="0"/>
              </a:endParaRPr>
            </a:p>
          </p:txBody>
        </p:sp>
        <p:sp>
          <p:nvSpPr>
            <p:cNvPr id="34" name="TextBox 1"/>
            <p:cNvSpPr txBox="1"/>
            <p:nvPr>
              <p:custDataLst>
                <p:tags r:id="rId20"/>
              </p:custDataLst>
            </p:nvPr>
          </p:nvSpPr>
          <p:spPr>
            <a:xfrm>
              <a:off x="6440938" y="3757415"/>
              <a:ext cx="694229" cy="238527"/>
            </a:xfrm>
            <a:prstGeom prst="rect">
              <a:avLst/>
            </a:prstGeom>
            <a:noFill/>
          </p:spPr>
          <p:txBody>
            <a:bodyPr wrap="none" lIns="0" tIns="0" rIns="0" rtlCol="0">
              <a:spAutoFit/>
            </a:bodyPr>
            <a:lstStyle/>
            <a:p>
              <a:pPr>
                <a:lnSpc>
                  <a:spcPts val="1500"/>
                </a:lnSpc>
                <a:tabLst>
                  <a:tab pos="190500" algn="l"/>
                </a:tabLst>
              </a:pPr>
              <a:r>
                <a:rPr lang="en-US" altLang="zh-CN" sz="1200" dirty="0">
                  <a:solidFill>
                    <a:srgbClr val="0099CC"/>
                  </a:solidFill>
                  <a:latin typeface="Arial Black" panose="020B0A04020102020204" pitchFamily="34" charset="0"/>
                  <a:cs typeface="Arial Black" panose="020B0A04020102020204" pitchFamily="34" charset="0"/>
                </a:rPr>
                <a:t>Server</a:t>
              </a:r>
              <a:r>
                <a:rPr lang="en-US" altLang="zh-CN" sz="1200" dirty="0">
                  <a:solidFill>
                    <a:srgbClr val="0099CC"/>
                  </a:solidFill>
                  <a:latin typeface="Times New Roman" panose="02020603050405020304" pitchFamily="18" charset="0"/>
                  <a:cs typeface="Times New Roman" panose="02020603050405020304" pitchFamily="18" charset="0"/>
                </a:rPr>
                <a:t> </a:t>
              </a:r>
              <a:r>
                <a:rPr lang="en-US" altLang="zh-CN" sz="1200" dirty="0">
                  <a:solidFill>
                    <a:srgbClr val="0099CC"/>
                  </a:solidFill>
                  <a:latin typeface="Arial Black" panose="020B0A04020102020204" pitchFamily="34" charset="0"/>
                  <a:cs typeface="Arial Black" panose="020B0A04020102020204" pitchFamily="34" charset="0"/>
                </a:rPr>
                <a:t>3</a:t>
              </a:r>
              <a:endParaRPr lang="en-US" altLang="zh-CN" sz="1200" dirty="0">
                <a:solidFill>
                  <a:srgbClr val="0099CC"/>
                </a:solidFill>
                <a:latin typeface="Arial Black" panose="020B0A04020102020204" pitchFamily="34" charset="0"/>
                <a:cs typeface="Arial Black" panose="020B0A04020102020204" pitchFamily="34" charset="0"/>
              </a:endParaRPr>
            </a:p>
          </p:txBody>
        </p:sp>
      </p:grpSp>
      <p:grpSp>
        <p:nvGrpSpPr>
          <p:cNvPr id="8" name="组合 7"/>
          <p:cNvGrpSpPr/>
          <p:nvPr/>
        </p:nvGrpSpPr>
        <p:grpSpPr>
          <a:xfrm>
            <a:off x="596620" y="4223965"/>
            <a:ext cx="2046885" cy="2304774"/>
            <a:chOff x="510360" y="4121095"/>
            <a:chExt cx="2046885" cy="2304774"/>
          </a:xfrm>
        </p:grpSpPr>
        <p:grpSp>
          <p:nvGrpSpPr>
            <p:cNvPr id="13" name="组合 12"/>
            <p:cNvGrpSpPr/>
            <p:nvPr/>
          </p:nvGrpSpPr>
          <p:grpSpPr>
            <a:xfrm>
              <a:off x="510360" y="4121095"/>
              <a:ext cx="2046885" cy="2304774"/>
              <a:chOff x="499727" y="4121095"/>
              <a:chExt cx="2046885" cy="2304774"/>
            </a:xfrm>
          </p:grpSpPr>
          <p:sp>
            <p:nvSpPr>
              <p:cNvPr id="257" name="圆角矩形 256"/>
              <p:cNvSpPr/>
              <p:nvPr>
                <p:custDataLst>
                  <p:tags r:id="rId21"/>
                </p:custDataLst>
              </p:nvPr>
            </p:nvSpPr>
            <p:spPr bwMode="auto">
              <a:xfrm>
                <a:off x="499727" y="4121095"/>
                <a:ext cx="2046885" cy="2304774"/>
              </a:xfrm>
              <a:prstGeom prst="roundRect">
                <a:avLst>
                  <a:gd name="adj" fmla="val 8528"/>
                </a:avLst>
              </a:prstGeom>
              <a:solidFill>
                <a:schemeClr val="bg1">
                  <a:lumMod val="85000"/>
                </a:schemeClr>
              </a:solidFill>
              <a:ln w="6350">
                <a:noFill/>
                <a:round/>
              </a:ln>
              <a:effectLst>
                <a:outerShdw blurRad="63500" algn="ctr" rotWithShape="0">
                  <a:prstClr val="black">
                    <a:alpha val="40000"/>
                  </a:prstClr>
                </a:outerShdw>
              </a:effectLst>
            </p:spPr>
            <p:txBody>
              <a:bodyPr/>
              <a:lstStyle/>
              <a:p>
                <a:endParaRPr lang="zh-CN" altLang="en-US" kern="0" dirty="0">
                  <a:solidFill>
                    <a:sysClr val="windowText" lastClr="000000"/>
                  </a:solidFill>
                  <a:latin typeface="Arial" panose="020B0604020202020204" pitchFamily="34" charset="0"/>
                  <a:ea typeface="Arial" panose="020B0604020202020204" pitchFamily="34" charset="0"/>
                  <a:cs typeface="Arial" panose="020B0604020202020204" pitchFamily="34" charset="0"/>
                </a:endParaRPr>
              </a:p>
            </p:txBody>
          </p:sp>
          <p:sp>
            <p:nvSpPr>
              <p:cNvPr id="35" name="TextBox 1"/>
              <p:cNvSpPr txBox="1"/>
              <p:nvPr>
                <p:custDataLst>
                  <p:tags r:id="rId22"/>
                </p:custDataLst>
              </p:nvPr>
            </p:nvSpPr>
            <p:spPr>
              <a:xfrm>
                <a:off x="633444" y="4144845"/>
                <a:ext cx="577081" cy="238527"/>
              </a:xfrm>
              <a:prstGeom prst="rect">
                <a:avLst/>
              </a:prstGeom>
              <a:noFill/>
            </p:spPr>
            <p:txBody>
              <a:bodyPr wrap="none" lIns="0" tIns="0" rIns="0" rtlCol="0">
                <a:spAutoFit/>
              </a:bodyPr>
              <a:lstStyle/>
              <a:p>
                <a:pPr>
                  <a:lnSpc>
                    <a:spcPts val="1500"/>
                  </a:lnSpc>
                  <a:tabLst>
                    <a:tab pos="190500" algn="l"/>
                  </a:tabLst>
                </a:pPr>
                <a:r>
                  <a:rPr lang="zh-CN" altLang="en-US" sz="900" b="1" dirty="0">
                    <a:solidFill>
                      <a:schemeClr val="tx1">
                        <a:lumMod val="95000"/>
                        <a:lumOff val="5000"/>
                      </a:schemeClr>
                    </a:solidFill>
                    <a:latin typeface="微软雅黑" panose="020B0503020204020204" pitchFamily="34" charset="-122"/>
                    <a:ea typeface="微软雅黑" panose="020B0503020204020204" pitchFamily="34" charset="-122"/>
                    <a:cs typeface="Arial Black" panose="020B0A04020102020204" pitchFamily="34" charset="0"/>
                  </a:rPr>
                  <a:t>存储硬盘池</a:t>
                </a:r>
                <a:endParaRPr lang="en-US" altLang="zh-CN" sz="900" b="1" dirty="0">
                  <a:solidFill>
                    <a:schemeClr val="tx1">
                      <a:lumMod val="95000"/>
                      <a:lumOff val="5000"/>
                    </a:schemeClr>
                  </a:solidFill>
                  <a:latin typeface="微软雅黑" panose="020B0503020204020204" pitchFamily="34" charset="-122"/>
                  <a:ea typeface="微软雅黑" panose="020B0503020204020204" pitchFamily="34" charset="-122"/>
                  <a:cs typeface="Arial Black" panose="020B0A04020102020204" pitchFamily="34" charset="0"/>
                </a:endParaRPr>
              </a:p>
            </p:txBody>
          </p:sp>
        </p:grpSp>
        <p:sp>
          <p:nvSpPr>
            <p:cNvPr id="30" name="圆角矩形 29"/>
            <p:cNvSpPr/>
            <p:nvPr>
              <p:custDataLst>
                <p:tags r:id="rId23"/>
              </p:custDataLst>
            </p:nvPr>
          </p:nvSpPr>
          <p:spPr>
            <a:xfrm>
              <a:off x="564744" y="4383371"/>
              <a:ext cx="1920548" cy="1980000"/>
            </a:xfrm>
            <a:prstGeom prst="roundRect">
              <a:avLst>
                <a:gd name="adj" fmla="val 59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a:solidFill>
                  <a:srgbClr val="242438"/>
                </a:solidFill>
                <a:latin typeface="Arial" panose="020B0604020202020204" pitchFamily="34" charset="0"/>
                <a:ea typeface="Arial" panose="020B0604020202020204" pitchFamily="34" charset="0"/>
                <a:cs typeface="Arial" panose="020B0604020202020204" pitchFamily="34" charset="0"/>
              </a:endParaRPr>
            </a:p>
          </p:txBody>
        </p:sp>
        <p:sp>
          <p:nvSpPr>
            <p:cNvPr id="26" name="圆角矩形 25"/>
            <p:cNvSpPr/>
            <p:nvPr>
              <p:custDataLst>
                <p:tags r:id="rId24"/>
              </p:custDataLst>
            </p:nvPr>
          </p:nvSpPr>
          <p:spPr bwMode="auto">
            <a:xfrm>
              <a:off x="659203" y="4475356"/>
              <a:ext cx="360000" cy="288000"/>
            </a:xfrm>
            <a:prstGeom prst="roundRect">
              <a:avLst/>
            </a:prstGeom>
            <a:solidFill>
              <a:schemeClr val="accent6"/>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7" name="圆角矩形 6"/>
            <p:cNvSpPr/>
            <p:nvPr>
              <p:custDataLst>
                <p:tags r:id="rId25"/>
              </p:custDataLst>
            </p:nvPr>
          </p:nvSpPr>
          <p:spPr bwMode="auto">
            <a:xfrm>
              <a:off x="1118351" y="4475356"/>
              <a:ext cx="360000" cy="288000"/>
            </a:xfrm>
            <a:prstGeom prst="roundRect">
              <a:avLst/>
            </a:prstGeom>
            <a:solidFill>
              <a:schemeClr val="accent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9" name="圆角矩形 8"/>
            <p:cNvSpPr/>
            <p:nvPr>
              <p:custDataLst>
                <p:tags r:id="rId26"/>
              </p:custDataLst>
            </p:nvPr>
          </p:nvSpPr>
          <p:spPr bwMode="auto">
            <a:xfrm>
              <a:off x="1580459" y="4475356"/>
              <a:ext cx="360000" cy="288000"/>
            </a:xfrm>
            <a:prstGeom prst="roundRect">
              <a:avLst/>
            </a:prstGeom>
            <a:solidFill>
              <a:srgbClr val="C0504D"/>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0" name="圆角矩形 9"/>
            <p:cNvSpPr/>
            <p:nvPr>
              <p:custDataLst>
                <p:tags r:id="rId27"/>
              </p:custDataLst>
            </p:nvPr>
          </p:nvSpPr>
          <p:spPr bwMode="auto">
            <a:xfrm>
              <a:off x="2033647" y="4475356"/>
              <a:ext cx="360000" cy="288000"/>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1" name="圆角矩形 10"/>
            <p:cNvSpPr/>
            <p:nvPr>
              <p:custDataLst>
                <p:tags r:id="rId28"/>
              </p:custDataLst>
            </p:nvPr>
          </p:nvSpPr>
          <p:spPr bwMode="auto">
            <a:xfrm>
              <a:off x="659203" y="4963256"/>
              <a:ext cx="360000" cy="288000"/>
            </a:xfrm>
            <a:prstGeom prst="roundRect">
              <a:avLst/>
            </a:prstGeom>
            <a:solidFill>
              <a:srgbClr val="FFFF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200" b="1" dirty="0">
                <a:solidFill>
                  <a:schemeClr val="tx1">
                    <a:lumMod val="95000"/>
                    <a:lumOff val="5000"/>
                  </a:schemeClr>
                </a:solidFill>
                <a:latin typeface="Arial" panose="020B0604020202020204" pitchFamily="34" charset="0"/>
                <a:ea typeface="Arial" panose="020B0604020202020204" pitchFamily="34" charset="0"/>
                <a:cs typeface="Arial" panose="020B0604020202020204" pitchFamily="34" charset="0"/>
              </a:endParaRPr>
            </a:p>
          </p:txBody>
        </p:sp>
        <p:sp>
          <p:nvSpPr>
            <p:cNvPr id="12" name="圆角矩形 11"/>
            <p:cNvSpPr/>
            <p:nvPr>
              <p:custDataLst>
                <p:tags r:id="rId29"/>
              </p:custDataLst>
            </p:nvPr>
          </p:nvSpPr>
          <p:spPr bwMode="auto">
            <a:xfrm>
              <a:off x="1118351" y="4963256"/>
              <a:ext cx="360000" cy="288000"/>
            </a:xfrm>
            <a:prstGeom prst="roundRect">
              <a:avLst/>
            </a:prstGeom>
            <a:solidFill>
              <a:srgbClr val="7030A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0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4" name="圆角矩形 13"/>
            <p:cNvSpPr/>
            <p:nvPr>
              <p:custDataLst>
                <p:tags r:id="rId30"/>
              </p:custDataLst>
            </p:nvPr>
          </p:nvSpPr>
          <p:spPr bwMode="auto">
            <a:xfrm>
              <a:off x="1580459" y="4963256"/>
              <a:ext cx="360000" cy="288000"/>
            </a:xfrm>
            <a:prstGeom prst="roundRect">
              <a:avLst/>
            </a:prstGeom>
            <a:solidFill>
              <a:schemeClr val="accent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0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5" name="圆角矩形 14"/>
            <p:cNvSpPr/>
            <p:nvPr>
              <p:custDataLst>
                <p:tags r:id="rId31"/>
              </p:custDataLst>
            </p:nvPr>
          </p:nvSpPr>
          <p:spPr bwMode="auto">
            <a:xfrm>
              <a:off x="2033647" y="4963256"/>
              <a:ext cx="360000" cy="288000"/>
            </a:xfrm>
            <a:prstGeom prst="roundRect">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6" name="TextBox 1"/>
            <p:cNvSpPr txBox="1"/>
            <p:nvPr>
              <p:custDataLst>
                <p:tags r:id="rId32"/>
              </p:custDataLst>
            </p:nvPr>
          </p:nvSpPr>
          <p:spPr>
            <a:xfrm>
              <a:off x="1594887" y="5022719"/>
              <a:ext cx="323807"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a:t>
              </a:r>
              <a:r>
                <a:rPr lang="en-US" altLang="zh-CN" sz="1200" b="1" dirty="0">
                  <a:solidFill>
                    <a:prstClr val="white"/>
                  </a:solidFill>
                  <a:latin typeface="Arial" panose="020B0604020202020204" pitchFamily="34" charset="0"/>
                  <a:ea typeface="Arial" panose="020B0604020202020204" pitchFamily="34" charset="0"/>
                  <a:cs typeface="Arial" panose="020B0604020202020204" pitchFamily="34" charset="0"/>
                </a:rPr>
                <a:t>17</a:t>
              </a:r>
              <a:r>
                <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7" name="TextBox 1"/>
            <p:cNvSpPr txBox="1"/>
            <p:nvPr>
              <p:custDataLst>
                <p:tags r:id="rId33"/>
              </p:custDataLst>
            </p:nvPr>
          </p:nvSpPr>
          <p:spPr>
            <a:xfrm>
              <a:off x="2051744" y="5019702"/>
              <a:ext cx="323807"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a:t>
              </a:r>
              <a:r>
                <a:rPr lang="en-US" altLang="zh-CN" sz="1200" b="1" dirty="0">
                  <a:solidFill>
                    <a:prstClr val="white"/>
                  </a:solidFill>
                  <a:latin typeface="Arial" panose="020B0604020202020204" pitchFamily="34" charset="0"/>
                  <a:ea typeface="Arial" panose="020B0604020202020204" pitchFamily="34" charset="0"/>
                  <a:cs typeface="Arial" panose="020B0604020202020204" pitchFamily="34" charset="0"/>
                </a:rPr>
                <a:t>21</a:t>
              </a:r>
              <a:r>
                <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8" name="TextBox 1"/>
            <p:cNvSpPr txBox="1"/>
            <p:nvPr>
              <p:custDataLst>
                <p:tags r:id="rId34"/>
              </p:custDataLst>
            </p:nvPr>
          </p:nvSpPr>
          <p:spPr>
            <a:xfrm>
              <a:off x="719779" y="5017718"/>
              <a:ext cx="238848" cy="230832"/>
            </a:xfrm>
            <a:prstGeom prst="rect">
              <a:avLst/>
            </a:prstGeom>
            <a:noFill/>
          </p:spPr>
          <p:txBody>
            <a:bodyPr wrap="none" lIns="0" tIns="0" rIns="0" rtlCol="0" anchor="ctr">
              <a:spAutoFit/>
            </a:bodyPr>
            <a:lstStyle/>
            <a:p>
              <a:pPr algn="ctr">
                <a:buClr>
                  <a:srgbClr val="CC9900"/>
                </a:buClr>
              </a:pPr>
              <a:r>
                <a:rPr lang="en-US" altLang="zh-CN" sz="1200" b="1" dirty="0">
                  <a:latin typeface="Arial" panose="020B0604020202020204" pitchFamily="34" charset="0"/>
                  <a:ea typeface="Arial" panose="020B0604020202020204" pitchFamily="34" charset="0"/>
                  <a:cs typeface="Arial" panose="020B0604020202020204" pitchFamily="34" charset="0"/>
                </a:rPr>
                <a:t>D</a:t>
              </a:r>
              <a:r>
                <a:rPr lang="en-US" altLang="zh-CN" sz="1200" b="1" dirty="0">
                  <a:solidFill>
                    <a:schemeClr val="tx1">
                      <a:lumMod val="95000"/>
                      <a:lumOff val="5000"/>
                    </a:schemeClr>
                  </a:solidFill>
                  <a:latin typeface="Arial" panose="020B0604020202020204" pitchFamily="34" charset="0"/>
                  <a:ea typeface="Arial" panose="020B0604020202020204" pitchFamily="34" charset="0"/>
                  <a:cs typeface="Arial" panose="020B0604020202020204" pitchFamily="34" charset="0"/>
                </a:rPr>
                <a:t>5</a:t>
              </a:r>
              <a:r>
                <a:rPr lang="zh-CN" altLang="en-US" sz="1200" b="1" dirty="0">
                  <a:solidFill>
                    <a:schemeClr val="tx1">
                      <a:lumMod val="95000"/>
                      <a:lumOff val="5000"/>
                    </a:schemeClr>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schemeClr val="tx1">
                    <a:lumMod val="95000"/>
                    <a:lumOff val="5000"/>
                  </a:schemeClr>
                </a:solidFill>
                <a:latin typeface="Arial" panose="020B0604020202020204" pitchFamily="34" charset="0"/>
                <a:ea typeface="Arial" panose="020B0604020202020204" pitchFamily="34" charset="0"/>
                <a:cs typeface="Arial" panose="020B0604020202020204" pitchFamily="34" charset="0"/>
              </a:endParaRPr>
            </a:p>
          </p:txBody>
        </p:sp>
        <p:sp>
          <p:nvSpPr>
            <p:cNvPr id="76" name="TextBox 1"/>
            <p:cNvSpPr txBox="1"/>
            <p:nvPr>
              <p:custDataLst>
                <p:tags r:id="rId35"/>
              </p:custDataLst>
            </p:nvPr>
          </p:nvSpPr>
          <p:spPr>
            <a:xfrm>
              <a:off x="1178927" y="5022719"/>
              <a:ext cx="238848"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9</a:t>
              </a:r>
              <a:r>
                <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77" name="TextBox 1"/>
            <p:cNvSpPr txBox="1"/>
            <p:nvPr>
              <p:custDataLst>
                <p:tags r:id="rId36"/>
              </p:custDataLst>
            </p:nvPr>
          </p:nvSpPr>
          <p:spPr>
            <a:xfrm>
              <a:off x="685081" y="4523555"/>
              <a:ext cx="30102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1</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19" name="TextBox 1"/>
            <p:cNvSpPr txBox="1"/>
            <p:nvPr>
              <p:custDataLst>
                <p:tags r:id="rId37"/>
              </p:custDataLst>
            </p:nvPr>
          </p:nvSpPr>
          <p:spPr>
            <a:xfrm>
              <a:off x="1147839" y="4523555"/>
              <a:ext cx="30102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2</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21" name="TextBox 1"/>
            <p:cNvSpPr txBox="1"/>
            <p:nvPr>
              <p:custDataLst>
                <p:tags r:id="rId38"/>
              </p:custDataLst>
            </p:nvPr>
          </p:nvSpPr>
          <p:spPr>
            <a:xfrm>
              <a:off x="1609947" y="4523555"/>
              <a:ext cx="30102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3</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22" name="TextBox 1"/>
            <p:cNvSpPr txBox="1"/>
            <p:nvPr>
              <p:custDataLst>
                <p:tags r:id="rId39"/>
              </p:custDataLst>
            </p:nvPr>
          </p:nvSpPr>
          <p:spPr>
            <a:xfrm>
              <a:off x="2063371" y="4529818"/>
              <a:ext cx="30102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4</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23" name="圆角矩形 22"/>
            <p:cNvSpPr/>
            <p:nvPr>
              <p:custDataLst>
                <p:tags r:id="rId40"/>
              </p:custDataLst>
            </p:nvPr>
          </p:nvSpPr>
          <p:spPr bwMode="auto">
            <a:xfrm>
              <a:off x="656335" y="5454503"/>
              <a:ext cx="360000" cy="288000"/>
            </a:xfrm>
            <a:prstGeom prst="roundRect">
              <a:avLst/>
            </a:prstGeom>
            <a:solidFill>
              <a:schemeClr val="bg1">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24" name="圆角矩形 23"/>
            <p:cNvSpPr/>
            <p:nvPr>
              <p:custDataLst>
                <p:tags r:id="rId41"/>
              </p:custDataLst>
            </p:nvPr>
          </p:nvSpPr>
          <p:spPr bwMode="auto">
            <a:xfrm>
              <a:off x="1115483" y="5454503"/>
              <a:ext cx="360000" cy="288000"/>
            </a:xfrm>
            <a:prstGeom prst="roundRect">
              <a:avLst/>
            </a:prstGeom>
            <a:solidFill>
              <a:schemeClr val="accent4">
                <a:lumMod val="60000"/>
                <a:lumOff val="4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25" name="圆角矩形 24"/>
            <p:cNvSpPr/>
            <p:nvPr>
              <p:custDataLst>
                <p:tags r:id="rId42"/>
              </p:custDataLst>
            </p:nvPr>
          </p:nvSpPr>
          <p:spPr bwMode="auto">
            <a:xfrm>
              <a:off x="1577591" y="5454503"/>
              <a:ext cx="360000" cy="288000"/>
            </a:xfrm>
            <a:prstGeom prst="roundRect">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27" name="圆角矩形 26"/>
            <p:cNvSpPr/>
            <p:nvPr>
              <p:custDataLst>
                <p:tags r:id="rId43"/>
              </p:custDataLst>
            </p:nvPr>
          </p:nvSpPr>
          <p:spPr bwMode="auto">
            <a:xfrm>
              <a:off x="2030779" y="5454503"/>
              <a:ext cx="360000" cy="288000"/>
            </a:xfrm>
            <a:prstGeom prst="roundRect">
              <a:avLst/>
            </a:prstGeom>
            <a:solidFill>
              <a:srgbClr val="00206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28" name="圆角矩形 27"/>
            <p:cNvSpPr/>
            <p:nvPr>
              <p:custDataLst>
                <p:tags r:id="rId44"/>
              </p:custDataLst>
            </p:nvPr>
          </p:nvSpPr>
          <p:spPr bwMode="auto">
            <a:xfrm>
              <a:off x="656335" y="5930528"/>
              <a:ext cx="360000" cy="288000"/>
            </a:xfrm>
            <a:prstGeom prst="roundRect">
              <a:avLst/>
            </a:prstGeom>
            <a:solidFill>
              <a:srgbClr val="00B0F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200" b="1" dirty="0">
                <a:solidFill>
                  <a:schemeClr val="tx1">
                    <a:lumMod val="95000"/>
                    <a:lumOff val="5000"/>
                  </a:schemeClr>
                </a:solidFill>
                <a:latin typeface="Arial" panose="020B0604020202020204" pitchFamily="34" charset="0"/>
                <a:ea typeface="Arial" panose="020B0604020202020204" pitchFamily="34" charset="0"/>
                <a:cs typeface="Arial" panose="020B0604020202020204" pitchFamily="34" charset="0"/>
              </a:endParaRPr>
            </a:p>
          </p:txBody>
        </p:sp>
        <p:sp>
          <p:nvSpPr>
            <p:cNvPr id="98" name="圆角矩形 97"/>
            <p:cNvSpPr/>
            <p:nvPr>
              <p:custDataLst>
                <p:tags r:id="rId45"/>
              </p:custDataLst>
            </p:nvPr>
          </p:nvSpPr>
          <p:spPr bwMode="auto">
            <a:xfrm>
              <a:off x="1115483" y="5930528"/>
              <a:ext cx="360000" cy="288000"/>
            </a:xfrm>
            <a:prstGeom prst="roundRect">
              <a:avLst/>
            </a:prstGeom>
            <a:solidFill>
              <a:schemeClr val="accent5">
                <a:lumMod val="40000"/>
                <a:lumOff val="6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0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29" name="圆角矩形 28"/>
            <p:cNvSpPr/>
            <p:nvPr>
              <p:custDataLst>
                <p:tags r:id="rId46"/>
              </p:custDataLst>
            </p:nvPr>
          </p:nvSpPr>
          <p:spPr bwMode="auto">
            <a:xfrm>
              <a:off x="1577591" y="5930528"/>
              <a:ext cx="360000" cy="288000"/>
            </a:xfrm>
            <a:prstGeom prst="roundRect">
              <a:avLst/>
            </a:prstGeom>
            <a:solidFill>
              <a:srgbClr val="CF1786"/>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0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31" name="圆角矩形 30"/>
            <p:cNvSpPr/>
            <p:nvPr>
              <p:custDataLst>
                <p:tags r:id="rId47"/>
              </p:custDataLst>
            </p:nvPr>
          </p:nvSpPr>
          <p:spPr bwMode="auto">
            <a:xfrm>
              <a:off x="2030779" y="5930528"/>
              <a:ext cx="360000" cy="288000"/>
            </a:xfrm>
            <a:prstGeom prst="roundRect">
              <a:avLst/>
            </a:prstGeom>
            <a:solidFill>
              <a:schemeClr val="accent5">
                <a:lumMod val="40000"/>
                <a:lumOff val="6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200" b="1" dirty="0">
                <a:latin typeface="Arial" panose="020B0604020202020204" pitchFamily="34" charset="0"/>
                <a:ea typeface="Arial" panose="020B0604020202020204" pitchFamily="34" charset="0"/>
                <a:cs typeface="Arial" panose="020B0604020202020204" pitchFamily="34" charset="0"/>
              </a:endParaRPr>
            </a:p>
          </p:txBody>
        </p:sp>
        <p:sp>
          <p:nvSpPr>
            <p:cNvPr id="47" name="TextBox 1"/>
            <p:cNvSpPr txBox="1"/>
            <p:nvPr>
              <p:custDataLst>
                <p:tags r:id="rId48"/>
              </p:custDataLst>
            </p:nvPr>
          </p:nvSpPr>
          <p:spPr>
            <a:xfrm>
              <a:off x="1592019" y="5989991"/>
              <a:ext cx="323807"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a:t>
              </a:r>
              <a:r>
                <a:rPr lang="en-US" altLang="zh-CN" sz="1200" b="1" dirty="0">
                  <a:solidFill>
                    <a:prstClr val="white"/>
                  </a:solidFill>
                  <a:latin typeface="Arial" panose="020B0604020202020204" pitchFamily="34" charset="0"/>
                  <a:ea typeface="Arial" panose="020B0604020202020204" pitchFamily="34" charset="0"/>
                  <a:cs typeface="Arial" panose="020B0604020202020204" pitchFamily="34" charset="0"/>
                </a:rPr>
                <a:t>19</a:t>
              </a:r>
              <a:r>
                <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48" name="TextBox 1"/>
            <p:cNvSpPr txBox="1"/>
            <p:nvPr>
              <p:custDataLst>
                <p:tags r:id="rId49"/>
              </p:custDataLst>
            </p:nvPr>
          </p:nvSpPr>
          <p:spPr>
            <a:xfrm>
              <a:off x="2052883" y="5986974"/>
              <a:ext cx="315792" cy="230832"/>
            </a:xfrm>
            <a:prstGeom prst="rect">
              <a:avLst/>
            </a:prstGeom>
            <a:noFill/>
          </p:spPr>
          <p:txBody>
            <a:bodyPr wrap="none" lIns="0" tIns="0" rIns="0" rtlCol="0" anchor="ctr">
              <a:spAutoFit/>
            </a:bodyPr>
            <a:lstStyle/>
            <a:p>
              <a:pPr algn="ctr">
                <a:buClr>
                  <a:srgbClr val="CC9900"/>
                </a:buClr>
              </a:pPr>
              <a:r>
                <a:rPr lang="en-US" altLang="zh-CN" sz="1200" b="1" dirty="0">
                  <a:latin typeface="Arial" panose="020B0604020202020204" pitchFamily="34" charset="0"/>
                  <a:ea typeface="Arial" panose="020B0604020202020204" pitchFamily="34" charset="0"/>
                  <a:cs typeface="Arial" panose="020B0604020202020204" pitchFamily="34" charset="0"/>
                </a:rPr>
                <a:t>P23</a:t>
              </a:r>
              <a:r>
                <a:rPr lang="zh-CN" altLang="en-US" sz="1200" b="1" dirty="0">
                  <a:latin typeface="Arial" panose="020B0604020202020204" pitchFamily="34" charset="0"/>
                  <a:ea typeface="Arial" panose="020B0604020202020204" pitchFamily="34" charset="0"/>
                  <a:cs typeface="Arial" panose="020B0604020202020204" pitchFamily="34" charset="0"/>
                </a:rPr>
                <a:t>’</a:t>
              </a:r>
              <a:endParaRPr lang="zh-CN" altLang="en-US" sz="1200" b="1" dirty="0">
                <a:latin typeface="Arial" panose="020B0604020202020204" pitchFamily="34" charset="0"/>
                <a:ea typeface="Arial" panose="020B0604020202020204" pitchFamily="34" charset="0"/>
                <a:cs typeface="Arial" panose="020B0604020202020204" pitchFamily="34" charset="0"/>
              </a:endParaRPr>
            </a:p>
          </p:txBody>
        </p:sp>
        <p:sp>
          <p:nvSpPr>
            <p:cNvPr id="49" name="TextBox 1"/>
            <p:cNvSpPr txBox="1"/>
            <p:nvPr>
              <p:custDataLst>
                <p:tags r:id="rId50"/>
              </p:custDataLst>
            </p:nvPr>
          </p:nvSpPr>
          <p:spPr>
            <a:xfrm>
              <a:off x="716911" y="5984990"/>
              <a:ext cx="238848"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7</a:t>
              </a:r>
              <a:r>
                <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125" name="TextBox 1"/>
            <p:cNvSpPr txBox="1"/>
            <p:nvPr>
              <p:custDataLst>
                <p:tags r:id="rId51"/>
              </p:custDataLst>
            </p:nvPr>
          </p:nvSpPr>
          <p:spPr>
            <a:xfrm>
              <a:off x="1137812" y="5989991"/>
              <a:ext cx="315343" cy="230832"/>
            </a:xfrm>
            <a:prstGeom prst="rect">
              <a:avLst/>
            </a:prstGeom>
            <a:noFill/>
          </p:spPr>
          <p:txBody>
            <a:bodyPr wrap="none" lIns="0" tIns="0" rIns="0" rtlCol="0" anchor="ctr">
              <a:spAutoFit/>
            </a:bodyPr>
            <a:lstStyle/>
            <a:p>
              <a:pPr algn="ctr">
                <a:buClr>
                  <a:srgbClr val="CC9900"/>
                </a:buClr>
              </a:pPr>
              <a:r>
                <a:rPr lang="en-US" altLang="zh-CN" sz="1200" b="1" dirty="0">
                  <a:latin typeface="Arial" panose="020B0604020202020204" pitchFamily="34" charset="0"/>
                  <a:ea typeface="Arial" panose="020B0604020202020204" pitchFamily="34" charset="0"/>
                  <a:cs typeface="Arial" panose="020B0604020202020204" pitchFamily="34" charset="0"/>
                </a:rPr>
                <a:t>D11</a:t>
              </a:r>
              <a:r>
                <a:rPr lang="zh-CN" altLang="en-US" sz="1200" b="1" dirty="0">
                  <a:latin typeface="Arial" panose="020B0604020202020204" pitchFamily="34" charset="0"/>
                  <a:ea typeface="Arial" panose="020B0604020202020204" pitchFamily="34" charset="0"/>
                  <a:cs typeface="Arial" panose="020B0604020202020204" pitchFamily="34" charset="0"/>
                </a:rPr>
                <a:t>’</a:t>
              </a:r>
              <a:endParaRPr lang="zh-CN" altLang="en-US" sz="1200" b="1" dirty="0">
                <a:latin typeface="Arial" panose="020B0604020202020204" pitchFamily="34" charset="0"/>
                <a:ea typeface="Arial" panose="020B0604020202020204" pitchFamily="34" charset="0"/>
                <a:cs typeface="Arial" panose="020B0604020202020204" pitchFamily="34" charset="0"/>
              </a:endParaRPr>
            </a:p>
          </p:txBody>
        </p:sp>
        <p:sp>
          <p:nvSpPr>
            <p:cNvPr id="126" name="TextBox 1"/>
            <p:cNvSpPr txBox="1"/>
            <p:nvPr>
              <p:custDataLst>
                <p:tags r:id="rId52"/>
              </p:custDataLst>
            </p:nvPr>
          </p:nvSpPr>
          <p:spPr>
            <a:xfrm>
              <a:off x="682213" y="5502702"/>
              <a:ext cx="30102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13</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127" name="TextBox 1"/>
            <p:cNvSpPr txBox="1"/>
            <p:nvPr>
              <p:custDataLst>
                <p:tags r:id="rId53"/>
              </p:custDataLst>
            </p:nvPr>
          </p:nvSpPr>
          <p:spPr>
            <a:xfrm>
              <a:off x="1144971" y="5502702"/>
              <a:ext cx="30102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14</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128" name="TextBox 1"/>
            <p:cNvSpPr txBox="1"/>
            <p:nvPr>
              <p:custDataLst>
                <p:tags r:id="rId54"/>
              </p:custDataLst>
            </p:nvPr>
          </p:nvSpPr>
          <p:spPr>
            <a:xfrm>
              <a:off x="1607079" y="5502702"/>
              <a:ext cx="30102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15</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129" name="TextBox 1"/>
            <p:cNvSpPr txBox="1"/>
            <p:nvPr>
              <p:custDataLst>
                <p:tags r:id="rId55"/>
              </p:custDataLst>
            </p:nvPr>
          </p:nvSpPr>
          <p:spPr>
            <a:xfrm>
              <a:off x="2060503" y="5508965"/>
              <a:ext cx="30102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16</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grpSp>
      <p:grpSp>
        <p:nvGrpSpPr>
          <p:cNvPr id="50" name="组合 49"/>
          <p:cNvGrpSpPr/>
          <p:nvPr/>
        </p:nvGrpSpPr>
        <p:grpSpPr>
          <a:xfrm>
            <a:off x="3147993" y="4223965"/>
            <a:ext cx="2046885" cy="2304774"/>
            <a:chOff x="3130741" y="4121095"/>
            <a:chExt cx="2046885" cy="2304774"/>
          </a:xfrm>
        </p:grpSpPr>
        <p:sp>
          <p:nvSpPr>
            <p:cNvPr id="51" name="圆角矩形 50"/>
            <p:cNvSpPr/>
            <p:nvPr>
              <p:custDataLst>
                <p:tags r:id="rId56"/>
              </p:custDataLst>
            </p:nvPr>
          </p:nvSpPr>
          <p:spPr bwMode="auto">
            <a:xfrm>
              <a:off x="3130741" y="4121095"/>
              <a:ext cx="2046885" cy="2304774"/>
            </a:xfrm>
            <a:prstGeom prst="roundRect">
              <a:avLst>
                <a:gd name="adj" fmla="val 8528"/>
              </a:avLst>
            </a:prstGeom>
            <a:solidFill>
              <a:schemeClr val="bg1">
                <a:lumMod val="85000"/>
              </a:schemeClr>
            </a:solidFill>
            <a:ln w="6350">
              <a:noFill/>
              <a:round/>
            </a:ln>
            <a:effectLst>
              <a:outerShdw blurRad="63500" algn="ctr" rotWithShape="0">
                <a:prstClr val="black">
                  <a:alpha val="40000"/>
                </a:prstClr>
              </a:outerShdw>
            </a:effectLst>
          </p:spPr>
          <p:txBody>
            <a:bodyPr/>
            <a:lstStyle/>
            <a:p>
              <a:endParaRPr lang="zh-CN" altLang="en-US" kern="0" dirty="0">
                <a:solidFill>
                  <a:sysClr val="windowText" lastClr="000000"/>
                </a:solidFill>
                <a:latin typeface="Arial" panose="020B0604020202020204" pitchFamily="34" charset="0"/>
                <a:ea typeface="Arial" panose="020B0604020202020204" pitchFamily="34" charset="0"/>
                <a:cs typeface="Arial" panose="020B0604020202020204" pitchFamily="34" charset="0"/>
              </a:endParaRPr>
            </a:p>
          </p:txBody>
        </p:sp>
        <p:sp>
          <p:nvSpPr>
            <p:cNvPr id="52" name="TextBox 1"/>
            <p:cNvSpPr txBox="1"/>
            <p:nvPr>
              <p:custDataLst>
                <p:tags r:id="rId57"/>
              </p:custDataLst>
            </p:nvPr>
          </p:nvSpPr>
          <p:spPr>
            <a:xfrm>
              <a:off x="3265238" y="4144845"/>
              <a:ext cx="577081" cy="217880"/>
            </a:xfrm>
            <a:prstGeom prst="rect">
              <a:avLst/>
            </a:prstGeom>
            <a:noFill/>
          </p:spPr>
          <p:txBody>
            <a:bodyPr wrap="none" lIns="0" tIns="0" rIns="0" rtlCol="0">
              <a:spAutoFit/>
            </a:bodyPr>
            <a:lstStyle/>
            <a:p>
              <a:pPr>
                <a:lnSpc>
                  <a:spcPts val="1500"/>
                </a:lnSpc>
                <a:tabLst>
                  <a:tab pos="190500" algn="l"/>
                </a:tabLst>
              </a:pPr>
              <a:r>
                <a:rPr lang="zh-CN" altLang="en-US" sz="900" b="1" dirty="0">
                  <a:solidFill>
                    <a:schemeClr val="tx1">
                      <a:lumMod val="95000"/>
                      <a:lumOff val="5000"/>
                    </a:schemeClr>
                  </a:solidFill>
                  <a:latin typeface="微软雅黑" panose="020B0503020204020204" pitchFamily="34" charset="-122"/>
                  <a:ea typeface="微软雅黑" panose="020B0503020204020204" pitchFamily="34" charset="-122"/>
                  <a:cs typeface="Arial Black" panose="020B0A04020102020204" pitchFamily="34" charset="0"/>
                </a:rPr>
                <a:t>存储硬盘池</a:t>
              </a:r>
              <a:endParaRPr lang="en-US" altLang="zh-CN" sz="900" b="1" dirty="0">
                <a:solidFill>
                  <a:schemeClr val="tx1">
                    <a:lumMod val="95000"/>
                    <a:lumOff val="5000"/>
                  </a:schemeClr>
                </a:solidFill>
                <a:latin typeface="微软雅黑" panose="020B0503020204020204" pitchFamily="34" charset="-122"/>
                <a:ea typeface="微软雅黑" panose="020B0503020204020204" pitchFamily="34" charset="-122"/>
                <a:cs typeface="Arial Black" panose="020B0A04020102020204" pitchFamily="34" charset="0"/>
              </a:endParaRPr>
            </a:p>
          </p:txBody>
        </p:sp>
        <p:sp>
          <p:nvSpPr>
            <p:cNvPr id="53" name="圆角矩形 52"/>
            <p:cNvSpPr/>
            <p:nvPr>
              <p:custDataLst>
                <p:tags r:id="rId58"/>
              </p:custDataLst>
            </p:nvPr>
          </p:nvSpPr>
          <p:spPr>
            <a:xfrm>
              <a:off x="3196538" y="4383370"/>
              <a:ext cx="1920548" cy="1981107"/>
            </a:xfrm>
            <a:prstGeom prst="roundRect">
              <a:avLst>
                <a:gd name="adj" fmla="val 59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a:solidFill>
                  <a:srgbClr val="242438"/>
                </a:solidFill>
                <a:latin typeface="Arial" panose="020B0604020202020204" pitchFamily="34" charset="0"/>
                <a:ea typeface="Arial" panose="020B0604020202020204" pitchFamily="34" charset="0"/>
                <a:cs typeface="Arial" panose="020B0604020202020204" pitchFamily="34" charset="0"/>
              </a:endParaRPr>
            </a:p>
          </p:txBody>
        </p:sp>
        <p:sp>
          <p:nvSpPr>
            <p:cNvPr id="54" name="圆角矩形 53"/>
            <p:cNvSpPr/>
            <p:nvPr>
              <p:custDataLst>
                <p:tags r:id="rId59"/>
              </p:custDataLst>
            </p:nvPr>
          </p:nvSpPr>
          <p:spPr bwMode="auto">
            <a:xfrm>
              <a:off x="3290997" y="4475356"/>
              <a:ext cx="360000" cy="288000"/>
            </a:xfrm>
            <a:prstGeom prst="roundRect">
              <a:avLst/>
            </a:prstGeom>
            <a:solidFill>
              <a:srgbClr val="FFFF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schemeClr val="tx1">
                    <a:lumMod val="95000"/>
                    <a:lumOff val="5000"/>
                  </a:schemeClr>
                </a:solidFill>
                <a:latin typeface="Arial" panose="020B0604020202020204" pitchFamily="34" charset="0"/>
                <a:ea typeface="Arial" panose="020B0604020202020204" pitchFamily="34" charset="0"/>
                <a:cs typeface="Arial" panose="020B0604020202020204" pitchFamily="34" charset="0"/>
              </a:endParaRPr>
            </a:p>
          </p:txBody>
        </p:sp>
        <p:sp>
          <p:nvSpPr>
            <p:cNvPr id="55" name="圆角矩形 54"/>
            <p:cNvSpPr/>
            <p:nvPr>
              <p:custDataLst>
                <p:tags r:id="rId60"/>
              </p:custDataLst>
            </p:nvPr>
          </p:nvSpPr>
          <p:spPr bwMode="auto">
            <a:xfrm>
              <a:off x="3750145" y="4475356"/>
              <a:ext cx="360000" cy="288000"/>
            </a:xfrm>
            <a:prstGeom prst="roundRect">
              <a:avLst/>
            </a:prstGeom>
            <a:solidFill>
              <a:srgbClr val="00B05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56" name="圆角矩形 55"/>
            <p:cNvSpPr/>
            <p:nvPr>
              <p:custDataLst>
                <p:tags r:id="rId61"/>
              </p:custDataLst>
            </p:nvPr>
          </p:nvSpPr>
          <p:spPr bwMode="auto">
            <a:xfrm>
              <a:off x="4212253" y="4475356"/>
              <a:ext cx="360000" cy="288000"/>
            </a:xfrm>
            <a:prstGeom prst="roundRect">
              <a:avLst/>
            </a:prstGeom>
            <a:solidFill>
              <a:srgbClr val="00B0F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57" name="圆角矩形 56"/>
            <p:cNvSpPr/>
            <p:nvPr>
              <p:custDataLst>
                <p:tags r:id="rId62"/>
              </p:custDataLst>
            </p:nvPr>
          </p:nvSpPr>
          <p:spPr bwMode="auto">
            <a:xfrm>
              <a:off x="4665441" y="4475356"/>
              <a:ext cx="360000" cy="288000"/>
            </a:xfrm>
            <a:prstGeom prst="roundRect">
              <a:avLst/>
            </a:prstGeom>
            <a:solidFill>
              <a:srgbClr val="0070C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58" name="圆角矩形 57"/>
            <p:cNvSpPr/>
            <p:nvPr>
              <p:custDataLst>
                <p:tags r:id="rId63"/>
              </p:custDataLst>
            </p:nvPr>
          </p:nvSpPr>
          <p:spPr bwMode="auto">
            <a:xfrm>
              <a:off x="3290997" y="4963256"/>
              <a:ext cx="360000" cy="288000"/>
            </a:xfrm>
            <a:prstGeom prst="roundRect">
              <a:avLst/>
            </a:prstGeom>
            <a:solidFill>
              <a:schemeClr val="accent6"/>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59" name="圆角矩形 58"/>
            <p:cNvSpPr/>
            <p:nvPr>
              <p:custDataLst>
                <p:tags r:id="rId64"/>
              </p:custDataLst>
            </p:nvPr>
          </p:nvSpPr>
          <p:spPr bwMode="auto">
            <a:xfrm>
              <a:off x="3750145" y="4963256"/>
              <a:ext cx="360000" cy="288000"/>
            </a:xfrm>
            <a:prstGeom prst="roundRect">
              <a:avLst/>
            </a:prstGeom>
            <a:solidFill>
              <a:srgbClr val="FF0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0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60" name="圆角矩形 59"/>
            <p:cNvSpPr/>
            <p:nvPr>
              <p:custDataLst>
                <p:tags r:id="rId65"/>
              </p:custDataLst>
            </p:nvPr>
          </p:nvSpPr>
          <p:spPr bwMode="auto">
            <a:xfrm>
              <a:off x="4212253" y="4963256"/>
              <a:ext cx="360000" cy="288000"/>
            </a:xfrm>
            <a:prstGeom prst="roundRect">
              <a:avLst/>
            </a:prstGeom>
            <a:solidFill>
              <a:schemeClr val="bg1">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0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63" name="圆角矩形 62"/>
            <p:cNvSpPr/>
            <p:nvPr>
              <p:custDataLst>
                <p:tags r:id="rId66"/>
              </p:custDataLst>
            </p:nvPr>
          </p:nvSpPr>
          <p:spPr bwMode="auto">
            <a:xfrm>
              <a:off x="4665441" y="4963256"/>
              <a:ext cx="360000" cy="288000"/>
            </a:xfrm>
            <a:prstGeom prst="roundRect">
              <a:avLst/>
            </a:prstGeom>
            <a:solidFill>
              <a:srgbClr val="800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64" name="TextBox 1"/>
            <p:cNvSpPr txBox="1"/>
            <p:nvPr>
              <p:custDataLst>
                <p:tags r:id="rId67"/>
              </p:custDataLst>
            </p:nvPr>
          </p:nvSpPr>
          <p:spPr>
            <a:xfrm>
              <a:off x="4226681" y="5014093"/>
              <a:ext cx="323807"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a:t>
              </a:r>
              <a:r>
                <a:rPr lang="en-US" altLang="zh-CN" sz="1200" b="1" dirty="0">
                  <a:solidFill>
                    <a:prstClr val="white"/>
                  </a:solidFill>
                  <a:latin typeface="Arial" panose="020B0604020202020204" pitchFamily="34" charset="0"/>
                  <a:ea typeface="Arial" panose="020B0604020202020204" pitchFamily="34" charset="0"/>
                  <a:cs typeface="Arial" panose="020B0604020202020204" pitchFamily="34" charset="0"/>
                </a:rPr>
                <a:t>13</a:t>
              </a:r>
              <a:r>
                <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65" name="TextBox 1"/>
            <p:cNvSpPr txBox="1"/>
            <p:nvPr>
              <p:custDataLst>
                <p:tags r:id="rId68"/>
              </p:custDataLst>
            </p:nvPr>
          </p:nvSpPr>
          <p:spPr>
            <a:xfrm>
              <a:off x="4683538" y="5011076"/>
              <a:ext cx="323807"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a:t>
              </a:r>
              <a:r>
                <a:rPr lang="en-US" altLang="zh-CN" sz="1200" b="1" dirty="0">
                  <a:solidFill>
                    <a:prstClr val="white"/>
                  </a:solidFill>
                  <a:latin typeface="Arial" panose="020B0604020202020204" pitchFamily="34" charset="0"/>
                  <a:ea typeface="Arial" panose="020B0604020202020204" pitchFamily="34" charset="0"/>
                  <a:cs typeface="Arial" panose="020B0604020202020204" pitchFamily="34" charset="0"/>
                </a:rPr>
                <a:t>22</a:t>
              </a:r>
              <a:r>
                <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66" name="TextBox 1"/>
            <p:cNvSpPr txBox="1"/>
            <p:nvPr>
              <p:custDataLst>
                <p:tags r:id="rId69"/>
              </p:custDataLst>
            </p:nvPr>
          </p:nvSpPr>
          <p:spPr>
            <a:xfrm>
              <a:off x="3311203" y="4529818"/>
              <a:ext cx="339794" cy="230832"/>
            </a:xfrm>
            <a:prstGeom prst="rect">
              <a:avLst/>
            </a:prstGeom>
            <a:noFill/>
          </p:spPr>
          <p:txBody>
            <a:bodyPr wrap="square" lIns="0" tIns="0" rIns="0" rtlCol="0" anchor="ctr">
              <a:spAutoFit/>
            </a:bodyPr>
            <a:lstStyle/>
            <a:p>
              <a:pPr algn="ctr">
                <a:buClr>
                  <a:srgbClr val="CC9900"/>
                </a:buClr>
              </a:pPr>
              <a:r>
                <a:rPr lang="en-US" altLang="zh-CN" sz="1200" b="1" dirty="0">
                  <a:latin typeface="Arial" panose="020B0604020202020204" pitchFamily="34" charset="0"/>
                  <a:ea typeface="Arial" panose="020B0604020202020204" pitchFamily="34" charset="0"/>
                  <a:cs typeface="Arial" panose="020B0604020202020204" pitchFamily="34" charset="0"/>
                </a:rPr>
                <a:t>D</a:t>
              </a:r>
              <a:r>
                <a:rPr lang="en-US" altLang="zh-CN" sz="1200" b="1" dirty="0">
                  <a:solidFill>
                    <a:schemeClr val="tx1">
                      <a:lumMod val="95000"/>
                      <a:lumOff val="5000"/>
                    </a:schemeClr>
                  </a:solidFill>
                  <a:latin typeface="Arial" panose="020B0604020202020204" pitchFamily="34" charset="0"/>
                  <a:ea typeface="Arial" panose="020B0604020202020204" pitchFamily="34" charset="0"/>
                  <a:cs typeface="Arial" panose="020B0604020202020204" pitchFamily="34" charset="0"/>
                </a:rPr>
                <a:t>5</a:t>
              </a:r>
              <a:endParaRPr lang="zh-CN" altLang="en-US" sz="1200" b="1" dirty="0">
                <a:solidFill>
                  <a:schemeClr val="tx1">
                    <a:lumMod val="95000"/>
                    <a:lumOff val="5000"/>
                  </a:schemeClr>
                </a:solidFill>
                <a:latin typeface="Arial" panose="020B0604020202020204" pitchFamily="34" charset="0"/>
                <a:ea typeface="Arial" panose="020B0604020202020204" pitchFamily="34" charset="0"/>
                <a:cs typeface="Arial" panose="020B0604020202020204" pitchFamily="34" charset="0"/>
              </a:endParaRPr>
            </a:p>
          </p:txBody>
        </p:sp>
        <p:sp>
          <p:nvSpPr>
            <p:cNvPr id="81" name="TextBox 1"/>
            <p:cNvSpPr txBox="1"/>
            <p:nvPr>
              <p:custDataLst>
                <p:tags r:id="rId70"/>
              </p:custDataLst>
            </p:nvPr>
          </p:nvSpPr>
          <p:spPr>
            <a:xfrm>
              <a:off x="3783105" y="4514929"/>
              <a:ext cx="30102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6</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82" name="TextBox 1"/>
            <p:cNvSpPr txBox="1"/>
            <p:nvPr>
              <p:custDataLst>
                <p:tags r:id="rId71"/>
              </p:custDataLst>
            </p:nvPr>
          </p:nvSpPr>
          <p:spPr>
            <a:xfrm>
              <a:off x="4245213" y="4514929"/>
              <a:ext cx="30102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7</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67" name="TextBox 1"/>
            <p:cNvSpPr txBox="1"/>
            <p:nvPr>
              <p:custDataLst>
                <p:tags r:id="rId72"/>
              </p:custDataLst>
            </p:nvPr>
          </p:nvSpPr>
          <p:spPr>
            <a:xfrm>
              <a:off x="4698637" y="4521192"/>
              <a:ext cx="30102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8</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68" name="TextBox 1"/>
            <p:cNvSpPr txBox="1"/>
            <p:nvPr>
              <p:custDataLst>
                <p:tags r:id="rId73"/>
              </p:custDataLst>
            </p:nvPr>
          </p:nvSpPr>
          <p:spPr>
            <a:xfrm>
              <a:off x="3361676" y="5000466"/>
              <a:ext cx="238848"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1</a:t>
              </a:r>
              <a:r>
                <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69" name="TextBox 1"/>
            <p:cNvSpPr txBox="1"/>
            <p:nvPr>
              <p:custDataLst>
                <p:tags r:id="rId74"/>
              </p:custDataLst>
            </p:nvPr>
          </p:nvSpPr>
          <p:spPr>
            <a:xfrm>
              <a:off x="3764330" y="5000466"/>
              <a:ext cx="323807"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a:t>
              </a:r>
              <a:r>
                <a:rPr lang="en-US" altLang="zh-CN" sz="1200" b="1" dirty="0">
                  <a:solidFill>
                    <a:prstClr val="white"/>
                  </a:solidFill>
                  <a:latin typeface="Arial" panose="020B0604020202020204" pitchFamily="34" charset="0"/>
                  <a:ea typeface="Arial" panose="020B0604020202020204" pitchFamily="34" charset="0"/>
                  <a:cs typeface="Arial" panose="020B0604020202020204" pitchFamily="34" charset="0"/>
                </a:rPr>
                <a:t>10</a:t>
              </a:r>
              <a:r>
                <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70" name="圆角矩形 69"/>
            <p:cNvSpPr/>
            <p:nvPr>
              <p:custDataLst>
                <p:tags r:id="rId75"/>
              </p:custDataLst>
            </p:nvPr>
          </p:nvSpPr>
          <p:spPr bwMode="auto">
            <a:xfrm>
              <a:off x="3288129" y="5454503"/>
              <a:ext cx="360000" cy="288000"/>
            </a:xfrm>
            <a:prstGeom prst="roundRect">
              <a:avLst/>
            </a:prstGeom>
            <a:solidFill>
              <a:schemeClr val="accent2">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schemeClr val="tx1">
                    <a:lumMod val="95000"/>
                    <a:lumOff val="5000"/>
                  </a:schemeClr>
                </a:solidFill>
                <a:latin typeface="Arial" panose="020B0604020202020204" pitchFamily="34" charset="0"/>
                <a:ea typeface="Arial" panose="020B0604020202020204" pitchFamily="34" charset="0"/>
                <a:cs typeface="Arial" panose="020B0604020202020204" pitchFamily="34" charset="0"/>
              </a:endParaRPr>
            </a:p>
          </p:txBody>
        </p:sp>
        <p:sp>
          <p:nvSpPr>
            <p:cNvPr id="71" name="圆角矩形 70"/>
            <p:cNvSpPr/>
            <p:nvPr>
              <p:custDataLst>
                <p:tags r:id="rId76"/>
              </p:custDataLst>
            </p:nvPr>
          </p:nvSpPr>
          <p:spPr bwMode="auto">
            <a:xfrm>
              <a:off x="3747277" y="5454503"/>
              <a:ext cx="360000" cy="288000"/>
            </a:xfrm>
            <a:prstGeom prst="roundRect">
              <a:avLst/>
            </a:prstGeom>
            <a:solidFill>
              <a:srgbClr val="00B05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72" name="圆角矩形 71"/>
            <p:cNvSpPr/>
            <p:nvPr>
              <p:custDataLst>
                <p:tags r:id="rId77"/>
              </p:custDataLst>
            </p:nvPr>
          </p:nvSpPr>
          <p:spPr bwMode="auto">
            <a:xfrm>
              <a:off x="4209385" y="5454503"/>
              <a:ext cx="360000" cy="288000"/>
            </a:xfrm>
            <a:prstGeom prst="roundRect">
              <a:avLst/>
            </a:prstGeom>
            <a:solidFill>
              <a:srgbClr val="CF1786"/>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73" name="圆角矩形 72"/>
            <p:cNvSpPr/>
            <p:nvPr>
              <p:custDataLst>
                <p:tags r:id="rId78"/>
              </p:custDataLst>
            </p:nvPr>
          </p:nvSpPr>
          <p:spPr bwMode="auto">
            <a:xfrm>
              <a:off x="4662573" y="5454503"/>
              <a:ext cx="360000" cy="288000"/>
            </a:xfrm>
            <a:prstGeom prst="roundRect">
              <a:avLst/>
            </a:prstGeom>
            <a:solidFill>
              <a:srgbClr val="FF793D"/>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91" name="圆角矩形 90"/>
            <p:cNvSpPr/>
            <p:nvPr>
              <p:custDataLst>
                <p:tags r:id="rId79"/>
              </p:custDataLst>
            </p:nvPr>
          </p:nvSpPr>
          <p:spPr bwMode="auto">
            <a:xfrm>
              <a:off x="3288129" y="5930528"/>
              <a:ext cx="360000" cy="288000"/>
            </a:xfrm>
            <a:prstGeom prst="roundRect">
              <a:avLst/>
            </a:prstGeom>
            <a:solidFill>
              <a:srgbClr val="C0504D"/>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11" name="圆角矩形 110"/>
            <p:cNvSpPr/>
            <p:nvPr>
              <p:custDataLst>
                <p:tags r:id="rId80"/>
              </p:custDataLst>
            </p:nvPr>
          </p:nvSpPr>
          <p:spPr bwMode="auto">
            <a:xfrm>
              <a:off x="3747277" y="5930528"/>
              <a:ext cx="360000" cy="288000"/>
            </a:xfrm>
            <a:prstGeom prst="roundRect">
              <a:avLst/>
            </a:prstGeom>
            <a:solidFill>
              <a:schemeClr val="accent4">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0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13" name="圆角矩形 112"/>
            <p:cNvSpPr/>
            <p:nvPr>
              <p:custDataLst>
                <p:tags r:id="rId81"/>
              </p:custDataLst>
            </p:nvPr>
          </p:nvSpPr>
          <p:spPr bwMode="auto">
            <a:xfrm>
              <a:off x="4209385" y="5930528"/>
              <a:ext cx="360000" cy="288000"/>
            </a:xfrm>
            <a:prstGeom prst="roundRect">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0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14" name="圆角矩形 113"/>
            <p:cNvSpPr/>
            <p:nvPr>
              <p:custDataLst>
                <p:tags r:id="rId82"/>
              </p:custDataLst>
            </p:nvPr>
          </p:nvSpPr>
          <p:spPr bwMode="auto">
            <a:xfrm>
              <a:off x="4662573" y="5930528"/>
              <a:ext cx="360000" cy="288000"/>
            </a:xfrm>
            <a:prstGeom prst="roundRect">
              <a:avLst/>
            </a:prstGeom>
            <a:solidFill>
              <a:srgbClr val="FF0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17" name="TextBox 1"/>
            <p:cNvSpPr txBox="1"/>
            <p:nvPr>
              <p:custDataLst>
                <p:tags r:id="rId83"/>
              </p:custDataLst>
            </p:nvPr>
          </p:nvSpPr>
          <p:spPr>
            <a:xfrm>
              <a:off x="4223813" y="5981365"/>
              <a:ext cx="323807"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a:t>
              </a:r>
              <a:r>
                <a:rPr lang="en-US" altLang="zh-CN" sz="1200" b="1" dirty="0">
                  <a:solidFill>
                    <a:prstClr val="white"/>
                  </a:solidFill>
                  <a:latin typeface="Arial" panose="020B0604020202020204" pitchFamily="34" charset="0"/>
                  <a:ea typeface="Arial" panose="020B0604020202020204" pitchFamily="34" charset="0"/>
                  <a:cs typeface="Arial" panose="020B0604020202020204" pitchFamily="34" charset="0"/>
                </a:rPr>
                <a:t>15</a:t>
              </a:r>
              <a:r>
                <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22" name="TextBox 1"/>
            <p:cNvSpPr txBox="1"/>
            <p:nvPr>
              <p:custDataLst>
                <p:tags r:id="rId84"/>
              </p:custDataLst>
            </p:nvPr>
          </p:nvSpPr>
          <p:spPr>
            <a:xfrm>
              <a:off x="4680670" y="5978348"/>
              <a:ext cx="323807"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a:t>
              </a:r>
              <a:r>
                <a:rPr lang="en-US" altLang="zh-CN" sz="1200" b="1" dirty="0">
                  <a:solidFill>
                    <a:prstClr val="white"/>
                  </a:solidFill>
                  <a:latin typeface="Arial" panose="020B0604020202020204" pitchFamily="34" charset="0"/>
                  <a:ea typeface="Arial" panose="020B0604020202020204" pitchFamily="34" charset="0"/>
                  <a:cs typeface="Arial" panose="020B0604020202020204" pitchFamily="34" charset="0"/>
                </a:rPr>
                <a:t>24</a:t>
              </a:r>
              <a:r>
                <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24" name="TextBox 1"/>
            <p:cNvSpPr txBox="1"/>
            <p:nvPr>
              <p:custDataLst>
                <p:tags r:id="rId85"/>
              </p:custDataLst>
            </p:nvPr>
          </p:nvSpPr>
          <p:spPr>
            <a:xfrm>
              <a:off x="3308335" y="5508965"/>
              <a:ext cx="33979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17</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130" name="TextBox 1"/>
            <p:cNvSpPr txBox="1"/>
            <p:nvPr>
              <p:custDataLst>
                <p:tags r:id="rId86"/>
              </p:custDataLst>
            </p:nvPr>
          </p:nvSpPr>
          <p:spPr>
            <a:xfrm>
              <a:off x="3780237" y="5494076"/>
              <a:ext cx="30102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18</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131" name="TextBox 1"/>
            <p:cNvSpPr txBox="1"/>
            <p:nvPr>
              <p:custDataLst>
                <p:tags r:id="rId87"/>
              </p:custDataLst>
            </p:nvPr>
          </p:nvSpPr>
          <p:spPr>
            <a:xfrm>
              <a:off x="4242345" y="5494076"/>
              <a:ext cx="30102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19</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132" name="TextBox 1"/>
            <p:cNvSpPr txBox="1"/>
            <p:nvPr>
              <p:custDataLst>
                <p:tags r:id="rId88"/>
              </p:custDataLst>
            </p:nvPr>
          </p:nvSpPr>
          <p:spPr>
            <a:xfrm>
              <a:off x="4695769" y="5500339"/>
              <a:ext cx="30102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20</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161" name="TextBox 1"/>
            <p:cNvSpPr txBox="1"/>
            <p:nvPr>
              <p:custDataLst>
                <p:tags r:id="rId89"/>
              </p:custDataLst>
            </p:nvPr>
          </p:nvSpPr>
          <p:spPr>
            <a:xfrm>
              <a:off x="3358808" y="5967738"/>
              <a:ext cx="238848"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3</a:t>
              </a:r>
              <a:r>
                <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162" name="TextBox 1"/>
            <p:cNvSpPr txBox="1"/>
            <p:nvPr>
              <p:custDataLst>
                <p:tags r:id="rId90"/>
              </p:custDataLst>
            </p:nvPr>
          </p:nvSpPr>
          <p:spPr>
            <a:xfrm>
              <a:off x="3761462" y="5967738"/>
              <a:ext cx="323807"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a:t>
              </a:r>
              <a:r>
                <a:rPr lang="en-US" altLang="zh-CN" sz="1200" b="1" dirty="0">
                  <a:solidFill>
                    <a:prstClr val="white"/>
                  </a:solidFill>
                  <a:latin typeface="Arial" panose="020B0604020202020204" pitchFamily="34" charset="0"/>
                  <a:ea typeface="Arial" panose="020B0604020202020204" pitchFamily="34" charset="0"/>
                  <a:cs typeface="Arial" panose="020B0604020202020204" pitchFamily="34" charset="0"/>
                </a:rPr>
                <a:t>12</a:t>
              </a:r>
              <a:r>
                <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grpSp>
      <p:grpSp>
        <p:nvGrpSpPr>
          <p:cNvPr id="163" name="组合 162"/>
          <p:cNvGrpSpPr/>
          <p:nvPr/>
        </p:nvGrpSpPr>
        <p:grpSpPr>
          <a:xfrm>
            <a:off x="5695603" y="4223965"/>
            <a:ext cx="2046885" cy="2304774"/>
            <a:chOff x="5764611" y="4121095"/>
            <a:chExt cx="2046885" cy="2304774"/>
          </a:xfrm>
        </p:grpSpPr>
        <p:sp>
          <p:nvSpPr>
            <p:cNvPr id="164" name="圆角矩形 163"/>
            <p:cNvSpPr/>
            <p:nvPr>
              <p:custDataLst>
                <p:tags r:id="rId91"/>
              </p:custDataLst>
            </p:nvPr>
          </p:nvSpPr>
          <p:spPr bwMode="auto">
            <a:xfrm>
              <a:off x="5764611" y="4121095"/>
              <a:ext cx="2046885" cy="2304774"/>
            </a:xfrm>
            <a:prstGeom prst="roundRect">
              <a:avLst>
                <a:gd name="adj" fmla="val 8528"/>
              </a:avLst>
            </a:prstGeom>
            <a:solidFill>
              <a:schemeClr val="bg1">
                <a:lumMod val="85000"/>
              </a:schemeClr>
            </a:solidFill>
            <a:ln w="6350">
              <a:noFill/>
              <a:round/>
            </a:ln>
            <a:effectLst>
              <a:outerShdw blurRad="63500" algn="ctr" rotWithShape="0">
                <a:prstClr val="black">
                  <a:alpha val="40000"/>
                </a:prstClr>
              </a:outerShdw>
            </a:effectLst>
          </p:spPr>
          <p:txBody>
            <a:bodyPr/>
            <a:lstStyle/>
            <a:p>
              <a:endParaRPr lang="zh-CN" altLang="en-US" kern="0" dirty="0">
                <a:solidFill>
                  <a:sysClr val="windowText" lastClr="000000"/>
                </a:solidFill>
                <a:latin typeface="Arial" panose="020B0604020202020204" pitchFamily="34" charset="0"/>
                <a:ea typeface="Arial" panose="020B0604020202020204" pitchFamily="34" charset="0"/>
                <a:cs typeface="Arial" panose="020B0604020202020204" pitchFamily="34" charset="0"/>
              </a:endParaRPr>
            </a:p>
          </p:txBody>
        </p:sp>
        <p:sp>
          <p:nvSpPr>
            <p:cNvPr id="165" name="TextBox 1"/>
            <p:cNvSpPr txBox="1"/>
            <p:nvPr>
              <p:custDataLst>
                <p:tags r:id="rId92"/>
              </p:custDataLst>
            </p:nvPr>
          </p:nvSpPr>
          <p:spPr>
            <a:xfrm>
              <a:off x="5892138" y="4144845"/>
              <a:ext cx="577081" cy="217880"/>
            </a:xfrm>
            <a:prstGeom prst="rect">
              <a:avLst/>
            </a:prstGeom>
            <a:noFill/>
          </p:spPr>
          <p:txBody>
            <a:bodyPr wrap="none" lIns="0" tIns="0" rIns="0" rtlCol="0">
              <a:spAutoFit/>
            </a:bodyPr>
            <a:lstStyle/>
            <a:p>
              <a:pPr>
                <a:lnSpc>
                  <a:spcPts val="1500"/>
                </a:lnSpc>
                <a:tabLst>
                  <a:tab pos="190500" algn="l"/>
                </a:tabLst>
              </a:pPr>
              <a:r>
                <a:rPr lang="zh-CN" altLang="en-US" sz="900" b="1" dirty="0">
                  <a:solidFill>
                    <a:schemeClr val="tx1">
                      <a:lumMod val="95000"/>
                      <a:lumOff val="5000"/>
                    </a:schemeClr>
                  </a:solidFill>
                  <a:latin typeface="微软雅黑" panose="020B0503020204020204" pitchFamily="34" charset="-122"/>
                  <a:ea typeface="微软雅黑" panose="020B0503020204020204" pitchFamily="34" charset="-122"/>
                  <a:cs typeface="Arial Black" panose="020B0A04020102020204" pitchFamily="34" charset="0"/>
                </a:rPr>
                <a:t>存储硬盘池</a:t>
              </a:r>
              <a:endParaRPr lang="en-US" altLang="zh-CN" sz="900" b="1" dirty="0">
                <a:solidFill>
                  <a:schemeClr val="tx1">
                    <a:lumMod val="95000"/>
                    <a:lumOff val="5000"/>
                  </a:schemeClr>
                </a:solidFill>
                <a:latin typeface="微软雅黑" panose="020B0503020204020204" pitchFamily="34" charset="-122"/>
                <a:ea typeface="微软雅黑" panose="020B0503020204020204" pitchFamily="34" charset="-122"/>
                <a:cs typeface="Arial Black" panose="020B0A04020102020204" pitchFamily="34" charset="0"/>
              </a:endParaRPr>
            </a:p>
          </p:txBody>
        </p:sp>
        <p:sp>
          <p:nvSpPr>
            <p:cNvPr id="166" name="圆角矩形 165"/>
            <p:cNvSpPr/>
            <p:nvPr>
              <p:custDataLst>
                <p:tags r:id="rId93"/>
              </p:custDataLst>
            </p:nvPr>
          </p:nvSpPr>
          <p:spPr>
            <a:xfrm>
              <a:off x="5823438" y="4383370"/>
              <a:ext cx="1920548" cy="1981108"/>
            </a:xfrm>
            <a:prstGeom prst="roundRect">
              <a:avLst>
                <a:gd name="adj" fmla="val 59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a:solidFill>
                  <a:srgbClr val="242438"/>
                </a:solidFill>
                <a:latin typeface="Arial" panose="020B0604020202020204" pitchFamily="34" charset="0"/>
                <a:ea typeface="Arial" panose="020B0604020202020204" pitchFamily="34" charset="0"/>
                <a:cs typeface="Arial" panose="020B0604020202020204" pitchFamily="34" charset="0"/>
              </a:endParaRPr>
            </a:p>
          </p:txBody>
        </p:sp>
        <p:sp>
          <p:nvSpPr>
            <p:cNvPr id="167" name="圆角矩形 166"/>
            <p:cNvSpPr/>
            <p:nvPr>
              <p:custDataLst>
                <p:tags r:id="rId94"/>
              </p:custDataLst>
            </p:nvPr>
          </p:nvSpPr>
          <p:spPr bwMode="auto">
            <a:xfrm>
              <a:off x="5917897" y="4475356"/>
              <a:ext cx="360000" cy="288000"/>
            </a:xfrm>
            <a:prstGeom prst="roundRect">
              <a:avLst/>
            </a:prstGeom>
            <a:solidFill>
              <a:srgbClr val="7030A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68" name="圆角矩形 167"/>
            <p:cNvSpPr/>
            <p:nvPr>
              <p:custDataLst>
                <p:tags r:id="rId95"/>
              </p:custDataLst>
            </p:nvPr>
          </p:nvSpPr>
          <p:spPr bwMode="auto">
            <a:xfrm>
              <a:off x="6377045" y="4475356"/>
              <a:ext cx="360000" cy="288000"/>
            </a:xfrm>
            <a:prstGeom prst="roundRect">
              <a:avLst/>
            </a:prstGeom>
            <a:solidFill>
              <a:srgbClr val="FF0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69" name="圆角矩形 168"/>
            <p:cNvSpPr/>
            <p:nvPr>
              <p:custDataLst>
                <p:tags r:id="rId96"/>
              </p:custDataLst>
            </p:nvPr>
          </p:nvSpPr>
          <p:spPr bwMode="auto">
            <a:xfrm>
              <a:off x="6839153" y="4475356"/>
              <a:ext cx="360000" cy="288000"/>
            </a:xfrm>
            <a:prstGeom prst="roundRect">
              <a:avLst/>
            </a:prstGeom>
            <a:solidFill>
              <a:schemeClr val="accent5">
                <a:lumMod val="40000"/>
                <a:lumOff val="6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70" name="圆角矩形 169"/>
            <p:cNvSpPr/>
            <p:nvPr>
              <p:custDataLst>
                <p:tags r:id="rId97"/>
              </p:custDataLst>
            </p:nvPr>
          </p:nvSpPr>
          <p:spPr bwMode="auto">
            <a:xfrm>
              <a:off x="7292341" y="4475356"/>
              <a:ext cx="360000" cy="288000"/>
            </a:xfrm>
            <a:prstGeom prst="roundRect">
              <a:avLst/>
            </a:prstGeom>
            <a:solidFill>
              <a:schemeClr val="accent4">
                <a:lumMod val="7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71" name="圆角矩形 170"/>
            <p:cNvSpPr/>
            <p:nvPr>
              <p:custDataLst>
                <p:tags r:id="rId98"/>
              </p:custDataLst>
            </p:nvPr>
          </p:nvSpPr>
          <p:spPr bwMode="auto">
            <a:xfrm>
              <a:off x="5917897" y="4963256"/>
              <a:ext cx="360000" cy="288000"/>
            </a:xfrm>
            <a:prstGeom prst="roundRect">
              <a:avLst/>
            </a:prstGeom>
            <a:solidFill>
              <a:schemeClr val="accent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72" name="圆角矩形 171"/>
            <p:cNvSpPr/>
            <p:nvPr>
              <p:custDataLst>
                <p:tags r:id="rId99"/>
              </p:custDataLst>
            </p:nvPr>
          </p:nvSpPr>
          <p:spPr bwMode="auto">
            <a:xfrm>
              <a:off x="6377045" y="4963256"/>
              <a:ext cx="360000" cy="288000"/>
            </a:xfrm>
            <a:prstGeom prst="roundRect">
              <a:avLst/>
            </a:prstGeom>
            <a:solidFill>
              <a:srgbClr val="00B05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0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73" name="圆角矩形 172"/>
            <p:cNvSpPr/>
            <p:nvPr>
              <p:custDataLst>
                <p:tags r:id="rId100"/>
              </p:custDataLst>
            </p:nvPr>
          </p:nvSpPr>
          <p:spPr bwMode="auto">
            <a:xfrm>
              <a:off x="6839153" y="4963256"/>
              <a:ext cx="360000" cy="288000"/>
            </a:xfrm>
            <a:prstGeom prst="roundRect">
              <a:avLst/>
            </a:prstGeom>
            <a:solidFill>
              <a:schemeClr val="accent4">
                <a:lumMod val="60000"/>
                <a:lumOff val="4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0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74" name="圆角矩形 173"/>
            <p:cNvSpPr/>
            <p:nvPr>
              <p:custDataLst>
                <p:tags r:id="rId101"/>
              </p:custDataLst>
            </p:nvPr>
          </p:nvSpPr>
          <p:spPr bwMode="auto">
            <a:xfrm>
              <a:off x="7292341" y="4963256"/>
              <a:ext cx="360000" cy="288000"/>
            </a:xfrm>
            <a:prstGeom prst="roundRect">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75" name="TextBox 1"/>
            <p:cNvSpPr txBox="1"/>
            <p:nvPr>
              <p:custDataLst>
                <p:tags r:id="rId102"/>
              </p:custDataLst>
            </p:nvPr>
          </p:nvSpPr>
          <p:spPr>
            <a:xfrm>
              <a:off x="6853581" y="5014093"/>
              <a:ext cx="323807"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a:t>
              </a:r>
              <a:r>
                <a:rPr lang="en-US" altLang="zh-CN" sz="1200" b="1" dirty="0">
                  <a:solidFill>
                    <a:prstClr val="white"/>
                  </a:solidFill>
                  <a:latin typeface="Arial" panose="020B0604020202020204" pitchFamily="34" charset="0"/>
                  <a:ea typeface="Arial" panose="020B0604020202020204" pitchFamily="34" charset="0"/>
                  <a:cs typeface="Arial" panose="020B0604020202020204" pitchFamily="34" charset="0"/>
                </a:rPr>
                <a:t>14</a:t>
              </a:r>
              <a:r>
                <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76" name="TextBox 1"/>
            <p:cNvSpPr txBox="1"/>
            <p:nvPr>
              <p:custDataLst>
                <p:tags r:id="rId103"/>
              </p:custDataLst>
            </p:nvPr>
          </p:nvSpPr>
          <p:spPr>
            <a:xfrm>
              <a:off x="7310438" y="5011076"/>
              <a:ext cx="323807"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a:t>
              </a:r>
              <a:r>
                <a:rPr lang="en-US" altLang="zh-CN" sz="1200" b="1" dirty="0">
                  <a:solidFill>
                    <a:prstClr val="white"/>
                  </a:solidFill>
                  <a:latin typeface="Arial" panose="020B0604020202020204" pitchFamily="34" charset="0"/>
                  <a:ea typeface="Arial" panose="020B0604020202020204" pitchFamily="34" charset="0"/>
                  <a:cs typeface="Arial" panose="020B0604020202020204" pitchFamily="34" charset="0"/>
                </a:rPr>
                <a:t>21</a:t>
              </a:r>
              <a:r>
                <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77" name="TextBox 1"/>
            <p:cNvSpPr txBox="1"/>
            <p:nvPr>
              <p:custDataLst>
                <p:tags r:id="rId104"/>
              </p:custDataLst>
            </p:nvPr>
          </p:nvSpPr>
          <p:spPr>
            <a:xfrm>
              <a:off x="5947779" y="4526433"/>
              <a:ext cx="33979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9</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178" name="TextBox 1"/>
            <p:cNvSpPr txBox="1"/>
            <p:nvPr>
              <p:custDataLst>
                <p:tags r:id="rId105"/>
              </p:custDataLst>
            </p:nvPr>
          </p:nvSpPr>
          <p:spPr>
            <a:xfrm>
              <a:off x="6419681" y="4511544"/>
              <a:ext cx="30102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10</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179" name="TextBox 1"/>
            <p:cNvSpPr txBox="1"/>
            <p:nvPr>
              <p:custDataLst>
                <p:tags r:id="rId106"/>
              </p:custDataLst>
            </p:nvPr>
          </p:nvSpPr>
          <p:spPr>
            <a:xfrm>
              <a:off x="6881789" y="4511544"/>
              <a:ext cx="301024" cy="230832"/>
            </a:xfrm>
            <a:prstGeom prst="rect">
              <a:avLst/>
            </a:prstGeom>
            <a:noFill/>
          </p:spPr>
          <p:txBody>
            <a:bodyPr wrap="square" lIns="0" tIns="0" rIns="0" rtlCol="0" anchor="ctr">
              <a:spAutoFit/>
            </a:bodyPr>
            <a:lstStyle/>
            <a:p>
              <a:pPr algn="ctr">
                <a:buClr>
                  <a:srgbClr val="CC9900"/>
                </a:buClr>
              </a:pPr>
              <a:r>
                <a:rPr lang="en-US" altLang="zh-CN" sz="1200" b="1" dirty="0">
                  <a:latin typeface="Arial" panose="020B0604020202020204" pitchFamily="34" charset="0"/>
                  <a:ea typeface="Arial" panose="020B0604020202020204" pitchFamily="34" charset="0"/>
                  <a:cs typeface="Arial" panose="020B0604020202020204" pitchFamily="34" charset="0"/>
                </a:rPr>
                <a:t>D11</a:t>
              </a:r>
              <a:endParaRPr lang="zh-CN" altLang="en-US" sz="1200" b="1" dirty="0">
                <a:latin typeface="Arial" panose="020B0604020202020204" pitchFamily="34" charset="0"/>
                <a:ea typeface="Arial" panose="020B0604020202020204" pitchFamily="34" charset="0"/>
                <a:cs typeface="Arial" panose="020B0604020202020204" pitchFamily="34" charset="0"/>
              </a:endParaRPr>
            </a:p>
          </p:txBody>
        </p:sp>
        <p:sp>
          <p:nvSpPr>
            <p:cNvPr id="180" name="TextBox 1"/>
            <p:cNvSpPr txBox="1"/>
            <p:nvPr>
              <p:custDataLst>
                <p:tags r:id="rId107"/>
              </p:custDataLst>
            </p:nvPr>
          </p:nvSpPr>
          <p:spPr>
            <a:xfrm>
              <a:off x="7335213" y="4517807"/>
              <a:ext cx="30102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12</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181" name="TextBox 1"/>
            <p:cNvSpPr txBox="1"/>
            <p:nvPr>
              <p:custDataLst>
                <p:tags r:id="rId108"/>
              </p:custDataLst>
            </p:nvPr>
          </p:nvSpPr>
          <p:spPr>
            <a:xfrm>
              <a:off x="5986528" y="5002732"/>
              <a:ext cx="238848"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a:t>
              </a:r>
              <a:r>
                <a:rPr lang="en-US" altLang="zh-CN" sz="1200" b="1" dirty="0">
                  <a:solidFill>
                    <a:prstClr val="white"/>
                  </a:solidFill>
                  <a:latin typeface="Arial" panose="020B0604020202020204" pitchFamily="34" charset="0"/>
                  <a:ea typeface="Arial" panose="020B0604020202020204" pitchFamily="34" charset="0"/>
                  <a:cs typeface="Arial" panose="020B0604020202020204" pitchFamily="34" charset="0"/>
                </a:rPr>
                <a:t>2</a:t>
              </a:r>
              <a:r>
                <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82" name="TextBox 1"/>
            <p:cNvSpPr txBox="1"/>
            <p:nvPr>
              <p:custDataLst>
                <p:tags r:id="rId109"/>
              </p:custDataLst>
            </p:nvPr>
          </p:nvSpPr>
          <p:spPr>
            <a:xfrm>
              <a:off x="6443385" y="4999715"/>
              <a:ext cx="238848"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a:t>
              </a:r>
              <a:r>
                <a:rPr lang="en-US" altLang="zh-CN" sz="1200" b="1" dirty="0">
                  <a:solidFill>
                    <a:prstClr val="white"/>
                  </a:solidFill>
                  <a:latin typeface="Arial" panose="020B0604020202020204" pitchFamily="34" charset="0"/>
                  <a:ea typeface="Arial" panose="020B0604020202020204" pitchFamily="34" charset="0"/>
                  <a:cs typeface="Arial" panose="020B0604020202020204" pitchFamily="34" charset="0"/>
                </a:rPr>
                <a:t>6</a:t>
              </a:r>
              <a:r>
                <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83" name="圆角矩形 182"/>
            <p:cNvSpPr/>
            <p:nvPr>
              <p:custDataLst>
                <p:tags r:id="rId110"/>
              </p:custDataLst>
            </p:nvPr>
          </p:nvSpPr>
          <p:spPr bwMode="auto">
            <a:xfrm>
              <a:off x="5915029" y="5454503"/>
              <a:ext cx="360000" cy="288000"/>
            </a:xfrm>
            <a:prstGeom prst="roundRect">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84" name="圆角矩形 183"/>
            <p:cNvSpPr/>
            <p:nvPr>
              <p:custDataLst>
                <p:tags r:id="rId111"/>
              </p:custDataLst>
            </p:nvPr>
          </p:nvSpPr>
          <p:spPr bwMode="auto">
            <a:xfrm>
              <a:off x="6374177" y="5454503"/>
              <a:ext cx="360000" cy="288000"/>
            </a:xfrm>
            <a:prstGeom prst="roundRect">
              <a:avLst/>
            </a:prstGeom>
            <a:solidFill>
              <a:srgbClr val="800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85" name="圆角矩形 184"/>
            <p:cNvSpPr/>
            <p:nvPr>
              <p:custDataLst>
                <p:tags r:id="rId112"/>
              </p:custDataLst>
            </p:nvPr>
          </p:nvSpPr>
          <p:spPr bwMode="auto">
            <a:xfrm>
              <a:off x="6836285" y="5454503"/>
              <a:ext cx="360000" cy="288000"/>
            </a:xfrm>
            <a:prstGeom prst="roundRect">
              <a:avLst/>
            </a:prstGeom>
            <a:solidFill>
              <a:schemeClr val="accent5">
                <a:lumMod val="40000"/>
                <a:lumOff val="6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86" name="圆角矩形 185"/>
            <p:cNvSpPr/>
            <p:nvPr>
              <p:custDataLst>
                <p:tags r:id="rId113"/>
              </p:custDataLst>
            </p:nvPr>
          </p:nvSpPr>
          <p:spPr bwMode="auto">
            <a:xfrm>
              <a:off x="7289473" y="5454503"/>
              <a:ext cx="360000" cy="288000"/>
            </a:xfrm>
            <a:prstGeom prst="roundRect">
              <a:avLst/>
            </a:prstGeom>
            <a:solidFill>
              <a:srgbClr val="FF0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87" name="圆角矩形 186"/>
            <p:cNvSpPr/>
            <p:nvPr>
              <p:custDataLst>
                <p:tags r:id="rId114"/>
              </p:custDataLst>
            </p:nvPr>
          </p:nvSpPr>
          <p:spPr bwMode="auto">
            <a:xfrm>
              <a:off x="5915029" y="5930528"/>
              <a:ext cx="360000" cy="288000"/>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88" name="圆角矩形 187"/>
            <p:cNvSpPr/>
            <p:nvPr>
              <p:custDataLst>
                <p:tags r:id="rId115"/>
              </p:custDataLst>
            </p:nvPr>
          </p:nvSpPr>
          <p:spPr bwMode="auto">
            <a:xfrm>
              <a:off x="6374177" y="5930528"/>
              <a:ext cx="360000" cy="288000"/>
            </a:xfrm>
            <a:prstGeom prst="roundRect">
              <a:avLst/>
            </a:prstGeom>
            <a:solidFill>
              <a:srgbClr val="0070C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0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89" name="圆角矩形 188"/>
            <p:cNvSpPr/>
            <p:nvPr>
              <p:custDataLst>
                <p:tags r:id="rId116"/>
              </p:custDataLst>
            </p:nvPr>
          </p:nvSpPr>
          <p:spPr bwMode="auto">
            <a:xfrm>
              <a:off x="6836285" y="5930528"/>
              <a:ext cx="360000" cy="288000"/>
            </a:xfrm>
            <a:prstGeom prst="roundRect">
              <a:avLst/>
            </a:prstGeom>
            <a:solidFill>
              <a:srgbClr val="00206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0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90" name="圆角矩形 189"/>
            <p:cNvSpPr/>
            <p:nvPr>
              <p:custDataLst>
                <p:tags r:id="rId117"/>
              </p:custDataLst>
            </p:nvPr>
          </p:nvSpPr>
          <p:spPr bwMode="auto">
            <a:xfrm>
              <a:off x="7289473" y="5930528"/>
              <a:ext cx="360000" cy="288000"/>
            </a:xfrm>
            <a:prstGeom prst="roundRect">
              <a:avLst/>
            </a:prstGeom>
            <a:solidFill>
              <a:srgbClr val="FF793D"/>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91" name="TextBox 1"/>
            <p:cNvSpPr txBox="1"/>
            <p:nvPr>
              <p:custDataLst>
                <p:tags r:id="rId118"/>
              </p:custDataLst>
            </p:nvPr>
          </p:nvSpPr>
          <p:spPr>
            <a:xfrm>
              <a:off x="6850713" y="5981365"/>
              <a:ext cx="323807"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a:t>
              </a:r>
              <a:r>
                <a:rPr lang="en-US" altLang="zh-CN" sz="1200" b="1" dirty="0">
                  <a:solidFill>
                    <a:prstClr val="white"/>
                  </a:solidFill>
                  <a:latin typeface="Arial" panose="020B0604020202020204" pitchFamily="34" charset="0"/>
                  <a:ea typeface="Arial" panose="020B0604020202020204" pitchFamily="34" charset="0"/>
                  <a:cs typeface="Arial" panose="020B0604020202020204" pitchFamily="34" charset="0"/>
                </a:rPr>
                <a:t>16</a:t>
              </a:r>
              <a:r>
                <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92" name="TextBox 1"/>
            <p:cNvSpPr txBox="1"/>
            <p:nvPr>
              <p:custDataLst>
                <p:tags r:id="rId119"/>
              </p:custDataLst>
            </p:nvPr>
          </p:nvSpPr>
          <p:spPr>
            <a:xfrm>
              <a:off x="7307570" y="5978348"/>
              <a:ext cx="323807"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a:t>
              </a:r>
              <a:r>
                <a:rPr lang="en-US" altLang="zh-CN" sz="1200" b="1" dirty="0">
                  <a:solidFill>
                    <a:prstClr val="white"/>
                  </a:solidFill>
                  <a:latin typeface="Arial" panose="020B0604020202020204" pitchFamily="34" charset="0"/>
                  <a:ea typeface="Arial" panose="020B0604020202020204" pitchFamily="34" charset="0"/>
                  <a:cs typeface="Arial" panose="020B0604020202020204" pitchFamily="34" charset="0"/>
                </a:rPr>
                <a:t>20</a:t>
              </a:r>
              <a:r>
                <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93" name="TextBox 1"/>
            <p:cNvSpPr txBox="1"/>
            <p:nvPr>
              <p:custDataLst>
                <p:tags r:id="rId120"/>
              </p:custDataLst>
            </p:nvPr>
          </p:nvSpPr>
          <p:spPr>
            <a:xfrm>
              <a:off x="5944911" y="5505580"/>
              <a:ext cx="33979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21</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194" name="TextBox 1"/>
            <p:cNvSpPr txBox="1"/>
            <p:nvPr>
              <p:custDataLst>
                <p:tags r:id="rId121"/>
              </p:custDataLst>
            </p:nvPr>
          </p:nvSpPr>
          <p:spPr>
            <a:xfrm>
              <a:off x="6416813" y="5490691"/>
              <a:ext cx="30102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22</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195" name="TextBox 1"/>
            <p:cNvSpPr txBox="1"/>
            <p:nvPr>
              <p:custDataLst>
                <p:tags r:id="rId122"/>
              </p:custDataLst>
            </p:nvPr>
          </p:nvSpPr>
          <p:spPr>
            <a:xfrm>
              <a:off x="6878921" y="5490691"/>
              <a:ext cx="301024" cy="230832"/>
            </a:xfrm>
            <a:prstGeom prst="rect">
              <a:avLst/>
            </a:prstGeom>
            <a:noFill/>
          </p:spPr>
          <p:txBody>
            <a:bodyPr wrap="square" lIns="0" tIns="0" rIns="0" rtlCol="0" anchor="ctr">
              <a:spAutoFit/>
            </a:bodyPr>
            <a:lstStyle/>
            <a:p>
              <a:pPr algn="ctr">
                <a:buClr>
                  <a:srgbClr val="CC9900"/>
                </a:buClr>
              </a:pPr>
              <a:r>
                <a:rPr lang="en-US" altLang="zh-CN" sz="1200" b="1" dirty="0">
                  <a:latin typeface="Arial" panose="020B0604020202020204" pitchFamily="34" charset="0"/>
                  <a:ea typeface="Arial" panose="020B0604020202020204" pitchFamily="34" charset="0"/>
                  <a:cs typeface="Arial" panose="020B0604020202020204" pitchFamily="34" charset="0"/>
                </a:rPr>
                <a:t>D23</a:t>
              </a:r>
              <a:endParaRPr lang="zh-CN" altLang="en-US" sz="1200" b="1" dirty="0">
                <a:latin typeface="Arial" panose="020B0604020202020204" pitchFamily="34" charset="0"/>
                <a:ea typeface="Arial" panose="020B0604020202020204" pitchFamily="34" charset="0"/>
                <a:cs typeface="Arial" panose="020B0604020202020204" pitchFamily="34" charset="0"/>
              </a:endParaRPr>
            </a:p>
          </p:txBody>
        </p:sp>
        <p:sp>
          <p:nvSpPr>
            <p:cNvPr id="196" name="TextBox 1"/>
            <p:cNvSpPr txBox="1"/>
            <p:nvPr>
              <p:custDataLst>
                <p:tags r:id="rId123"/>
              </p:custDataLst>
            </p:nvPr>
          </p:nvSpPr>
          <p:spPr>
            <a:xfrm>
              <a:off x="7332345" y="5496954"/>
              <a:ext cx="301024" cy="230832"/>
            </a:xfrm>
            <a:prstGeom prst="rect">
              <a:avLst/>
            </a:prstGeom>
            <a:noFill/>
          </p:spPr>
          <p:txBody>
            <a:bodyPr wrap="squar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24</a:t>
              </a:r>
              <a:endParaRPr lang="zh-CN" altLang="en-US" sz="12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
          <p:nvSpPr>
            <p:cNvPr id="197" name="TextBox 1"/>
            <p:cNvSpPr txBox="1"/>
            <p:nvPr>
              <p:custDataLst>
                <p:tags r:id="rId124"/>
              </p:custDataLst>
            </p:nvPr>
          </p:nvSpPr>
          <p:spPr>
            <a:xfrm>
              <a:off x="5983660" y="5970004"/>
              <a:ext cx="238848"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a:t>
              </a:r>
              <a:r>
                <a:rPr lang="en-US" altLang="zh-CN" sz="1200" b="1" dirty="0">
                  <a:solidFill>
                    <a:prstClr val="white"/>
                  </a:solidFill>
                  <a:latin typeface="Arial" panose="020B0604020202020204" pitchFamily="34" charset="0"/>
                  <a:ea typeface="Arial" panose="020B0604020202020204" pitchFamily="34" charset="0"/>
                  <a:cs typeface="Arial" panose="020B0604020202020204" pitchFamily="34" charset="0"/>
                </a:rPr>
                <a:t>4</a:t>
              </a:r>
              <a:r>
                <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98" name="TextBox 1"/>
            <p:cNvSpPr txBox="1"/>
            <p:nvPr>
              <p:custDataLst>
                <p:tags r:id="rId125"/>
              </p:custDataLst>
            </p:nvPr>
          </p:nvSpPr>
          <p:spPr>
            <a:xfrm>
              <a:off x="6440517" y="5966987"/>
              <a:ext cx="238848" cy="230832"/>
            </a:xfrm>
            <a:prstGeom prst="rect">
              <a:avLst/>
            </a:prstGeom>
            <a:noFill/>
          </p:spPr>
          <p:txBody>
            <a:bodyPr wrap="none" lIns="0" tIns="0" rIns="0" rtlCol="0" anchor="ctr">
              <a:spAutoFit/>
            </a:bodyPr>
            <a:lstStyle/>
            <a:p>
              <a:pPr algn="ctr">
                <a:buClr>
                  <a:srgbClr val="CC9900"/>
                </a:buClr>
              </a:pPr>
              <a:r>
                <a:rPr lang="en-US" altLang="zh-CN" sz="1200" b="1" dirty="0">
                  <a:solidFill>
                    <a:schemeClr val="bg1"/>
                  </a:solidFill>
                  <a:latin typeface="Arial" panose="020B0604020202020204" pitchFamily="34" charset="0"/>
                  <a:ea typeface="Arial" panose="020B0604020202020204" pitchFamily="34" charset="0"/>
                  <a:cs typeface="Arial" panose="020B0604020202020204" pitchFamily="34" charset="0"/>
                </a:rPr>
                <a:t>D</a:t>
              </a:r>
              <a:r>
                <a:rPr lang="en-US" altLang="zh-CN" sz="1200" b="1" dirty="0">
                  <a:solidFill>
                    <a:prstClr val="white"/>
                  </a:solidFill>
                  <a:latin typeface="Arial" panose="020B0604020202020204" pitchFamily="34" charset="0"/>
                  <a:ea typeface="Arial" panose="020B0604020202020204" pitchFamily="34" charset="0"/>
                  <a:cs typeface="Arial" panose="020B0604020202020204" pitchFamily="34" charset="0"/>
                </a:rPr>
                <a:t>8</a:t>
              </a:r>
              <a:r>
                <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rPr>
                <a:t>’</a:t>
              </a:r>
              <a:endParaRPr lang="zh-CN" altLang="en-US" sz="120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grpSp>
      <p:sp>
        <p:nvSpPr>
          <p:cNvPr id="199" name="TextBox 1"/>
          <p:cNvSpPr txBox="1"/>
          <p:nvPr>
            <p:custDataLst>
              <p:tags r:id="rId126"/>
            </p:custDataLst>
          </p:nvPr>
        </p:nvSpPr>
        <p:spPr>
          <a:xfrm>
            <a:off x="8087174" y="1247660"/>
            <a:ext cx="3970148" cy="4893310"/>
          </a:xfrm>
          <a:prstGeom prst="rect">
            <a:avLst/>
          </a:prstGeom>
          <a:noFill/>
        </p:spPr>
        <p:txBody>
          <a:bodyPr wrap="square" lIns="0" tIns="0" rIns="0" rtlCol="0">
            <a:spAutoFit/>
          </a:bodyPr>
          <a:lstStyle/>
          <a:p>
            <a:pPr marL="285750" indent="-285750">
              <a:lnSpc>
                <a:spcPct val="150000"/>
              </a:lnSpc>
              <a:buClr>
                <a:schemeClr val="accent2"/>
              </a:buClr>
              <a:buFont typeface="Wingdings" panose="05000000000000000000" pitchFamily="2" charset="2"/>
              <a:buChar char="n"/>
              <a:tabLst>
                <a:tab pos="139700" algn="l"/>
                <a:tab pos="2425700" algn="l"/>
              </a:tabLst>
            </a:pPr>
            <a:r>
              <a:rPr lang="zh-CN" altLang="en-US" sz="1400" dirty="0">
                <a:solidFill>
                  <a:schemeClr val="tx2"/>
                </a:solidFill>
                <a:latin typeface="微软雅黑" panose="020B0503020204020204" pitchFamily="34" charset="-122"/>
                <a:ea typeface="微软雅黑" panose="020B0503020204020204" pitchFamily="34" charset="-122"/>
              </a:rPr>
              <a:t>整体架构（标准服务器，</a:t>
            </a:r>
            <a:r>
              <a:rPr lang="en-US" altLang="zh-CN" sz="1400" dirty="0">
                <a:solidFill>
                  <a:schemeClr val="tx2"/>
                </a:solidFill>
                <a:latin typeface="微软雅黑" panose="020B0503020204020204" pitchFamily="34" charset="-122"/>
                <a:ea typeface="微软雅黑" panose="020B0503020204020204" pitchFamily="34" charset="-122"/>
              </a:rPr>
              <a:t>RDMA</a:t>
            </a:r>
            <a:r>
              <a:rPr lang="zh-CN" altLang="en-US" sz="1400" dirty="0">
                <a:solidFill>
                  <a:schemeClr val="tx2"/>
                </a:solidFill>
                <a:latin typeface="微软雅黑" panose="020B0503020204020204" pitchFamily="34" charset="-122"/>
                <a:ea typeface="微软雅黑" panose="020B0503020204020204" pitchFamily="34" charset="-122"/>
              </a:rPr>
              <a:t>交换机，</a:t>
            </a:r>
            <a:r>
              <a:rPr lang="en-US" altLang="zh-CN" sz="1400" dirty="0">
                <a:solidFill>
                  <a:schemeClr val="tx2"/>
                </a:solidFill>
                <a:latin typeface="微软雅黑" panose="020B0503020204020204" pitchFamily="34" charset="-122"/>
                <a:ea typeface="微软雅黑" panose="020B0503020204020204" pitchFamily="34" charset="-122"/>
              </a:rPr>
              <a:t>HCA</a:t>
            </a:r>
            <a:r>
              <a:rPr lang="zh-CN" altLang="en-US" sz="1400" dirty="0">
                <a:solidFill>
                  <a:schemeClr val="tx2"/>
                </a:solidFill>
                <a:latin typeface="微软雅黑" panose="020B0503020204020204" pitchFamily="34" charset="-122"/>
                <a:ea typeface="微软雅黑" panose="020B0503020204020204" pitchFamily="34" charset="-122"/>
              </a:rPr>
              <a:t>卡及</a:t>
            </a:r>
            <a:r>
              <a:rPr lang="en-US" altLang="zh-CN" sz="1400" dirty="0" err="1">
                <a:solidFill>
                  <a:schemeClr val="tx2"/>
                </a:solidFill>
                <a:latin typeface="微软雅黑" panose="020B0503020204020204" pitchFamily="34" charset="-122"/>
                <a:ea typeface="微软雅黑" panose="020B0503020204020204" pitchFamily="34" charset="-122"/>
              </a:rPr>
              <a:t>PCIe</a:t>
            </a:r>
            <a:r>
              <a:rPr lang="zh-CN" altLang="en-US" sz="1400" dirty="0">
                <a:solidFill>
                  <a:schemeClr val="tx2"/>
                </a:solidFill>
                <a:latin typeface="微软雅黑" panose="020B0503020204020204" pitchFamily="34" charset="-122"/>
                <a:ea typeface="微软雅黑" panose="020B0503020204020204" pitchFamily="34" charset="-122"/>
              </a:rPr>
              <a:t>闪存卡等）采用全冗余架构设计，完全消除单点故障风险</a:t>
            </a:r>
            <a:endParaRPr lang="en-US" altLang="zh-CN" sz="1400" dirty="0">
              <a:solidFill>
                <a:schemeClr val="tx2"/>
              </a:solidFill>
              <a:latin typeface="微软雅黑" panose="020B0503020204020204" pitchFamily="34" charset="-122"/>
              <a:ea typeface="微软雅黑" panose="020B0503020204020204" pitchFamily="34" charset="-122"/>
            </a:endParaRPr>
          </a:p>
          <a:p>
            <a:pPr>
              <a:lnSpc>
                <a:spcPct val="150000"/>
              </a:lnSpc>
              <a:buClr>
                <a:schemeClr val="accent2"/>
              </a:buClr>
              <a:tabLst>
                <a:tab pos="139700" algn="l"/>
                <a:tab pos="2425700" algn="l"/>
              </a:tabLst>
            </a:pPr>
            <a:endParaRPr lang="en-US" altLang="zh-CN" sz="1400" dirty="0">
              <a:solidFill>
                <a:schemeClr val="tx2"/>
              </a:solidFill>
              <a:latin typeface="微软雅黑" panose="020B0503020204020204" pitchFamily="34" charset="-122"/>
              <a:ea typeface="微软雅黑" panose="020B0503020204020204" pitchFamily="34" charset="-122"/>
            </a:endParaRPr>
          </a:p>
          <a:p>
            <a:pPr marL="285750" indent="-285750">
              <a:lnSpc>
                <a:spcPct val="150000"/>
              </a:lnSpc>
              <a:buClr>
                <a:schemeClr val="accent2"/>
              </a:buClr>
              <a:buFont typeface="Wingdings" panose="05000000000000000000" pitchFamily="2" charset="2"/>
              <a:buChar char="n"/>
              <a:tabLst>
                <a:tab pos="139700" algn="l"/>
                <a:tab pos="2425700" algn="l"/>
              </a:tabLst>
            </a:pPr>
            <a:r>
              <a:rPr lang="en-US" altLang="zh-CN" sz="1400" dirty="0">
                <a:solidFill>
                  <a:schemeClr val="tx2"/>
                </a:solidFill>
                <a:latin typeface="微软雅黑" panose="020B0503020204020204" pitchFamily="34" charset="-122"/>
                <a:ea typeface="微软雅黑" panose="020B0503020204020204" pitchFamily="34" charset="-122"/>
              </a:rPr>
              <a:t>数据分布可以跨服务器或跨机柜，不会因某个服务器、机柜故障导致数据不可访问</a:t>
            </a:r>
            <a:endParaRPr lang="en-US" altLang="zh-CN" sz="1400" dirty="0">
              <a:solidFill>
                <a:schemeClr val="tx2"/>
              </a:solidFill>
              <a:latin typeface="微软雅黑" panose="020B0503020204020204" pitchFamily="34" charset="-122"/>
              <a:ea typeface="微软雅黑" panose="020B0503020204020204" pitchFamily="34" charset="-122"/>
            </a:endParaRPr>
          </a:p>
          <a:p>
            <a:pPr marL="285750" indent="-285750">
              <a:lnSpc>
                <a:spcPct val="150000"/>
              </a:lnSpc>
              <a:buClr>
                <a:schemeClr val="accent2"/>
              </a:buClr>
              <a:buFont typeface="Wingdings" panose="05000000000000000000" pitchFamily="2" charset="2"/>
              <a:buChar char="n"/>
              <a:tabLst>
                <a:tab pos="139700" algn="l"/>
                <a:tab pos="2425700" algn="l"/>
              </a:tabLst>
            </a:pPr>
            <a:endParaRPr lang="en-US" altLang="zh-CN" sz="1400" dirty="0">
              <a:solidFill>
                <a:schemeClr val="tx2"/>
              </a:solidFill>
              <a:latin typeface="微软雅黑" panose="020B0503020204020204" pitchFamily="34" charset="-122"/>
              <a:ea typeface="微软雅黑" panose="020B0503020204020204" pitchFamily="34" charset="-122"/>
            </a:endParaRPr>
          </a:p>
          <a:p>
            <a:pPr marL="285750" indent="-285750">
              <a:lnSpc>
                <a:spcPct val="150000"/>
              </a:lnSpc>
              <a:buClr>
                <a:schemeClr val="accent2"/>
              </a:buClr>
              <a:buFont typeface="Wingdings" panose="05000000000000000000" pitchFamily="2" charset="2"/>
              <a:buChar char="n"/>
            </a:pPr>
            <a:r>
              <a:rPr lang="zh-CN" altLang="en-US" sz="1400" dirty="0">
                <a:solidFill>
                  <a:schemeClr val="tx2"/>
                </a:solidFill>
                <a:latin typeface="微软雅黑" panose="020B0503020204020204" pitchFamily="34" charset="-122"/>
                <a:ea typeface="微软雅黑" panose="020B0503020204020204" pitchFamily="34" charset="-122"/>
              </a:rPr>
              <a:t>数据盘可以做跨机器的两副本或三副本，从而保证数据高可靠</a:t>
            </a:r>
            <a:endParaRPr lang="en-US" altLang="zh-CN" sz="1400" dirty="0">
              <a:solidFill>
                <a:schemeClr val="tx2"/>
              </a:solidFill>
              <a:latin typeface="微软雅黑" panose="020B0503020204020204" pitchFamily="34" charset="-122"/>
              <a:ea typeface="微软雅黑" panose="020B0503020204020204" pitchFamily="34" charset="-122"/>
            </a:endParaRPr>
          </a:p>
          <a:p>
            <a:pPr marL="285750" indent="-285750">
              <a:lnSpc>
                <a:spcPct val="150000"/>
              </a:lnSpc>
              <a:buClr>
                <a:schemeClr val="accent2"/>
              </a:buClr>
              <a:buFont typeface="Wingdings" panose="05000000000000000000" pitchFamily="2" charset="2"/>
              <a:buChar char="n"/>
            </a:pPr>
            <a:endParaRPr lang="en-US" altLang="zh-CN" sz="1400" dirty="0">
              <a:solidFill>
                <a:schemeClr val="tx2"/>
              </a:solidFill>
              <a:latin typeface="微软雅黑" panose="020B0503020204020204" pitchFamily="34" charset="-122"/>
              <a:ea typeface="微软雅黑" panose="020B0503020204020204" pitchFamily="34" charset="-122"/>
            </a:endParaRPr>
          </a:p>
          <a:p>
            <a:pPr marL="285750" indent="-285750">
              <a:lnSpc>
                <a:spcPct val="150000"/>
              </a:lnSpc>
              <a:buClr>
                <a:schemeClr val="accent2"/>
              </a:buClr>
              <a:buFont typeface="Wingdings" panose="05000000000000000000" pitchFamily="2" charset="2"/>
              <a:buChar char="n"/>
            </a:pPr>
            <a:r>
              <a:rPr lang="zh-CN" altLang="en-US" sz="1400" dirty="0">
                <a:solidFill>
                  <a:schemeClr val="tx2"/>
                </a:solidFill>
                <a:latin typeface="微软雅黑" panose="020B0503020204020204" pitchFamily="34" charset="-122"/>
                <a:ea typeface="微软雅黑" panose="020B0503020204020204" pitchFamily="34" charset="-122"/>
              </a:rPr>
              <a:t>存储节点的临时故障，导致两副本或三副本的降级，可以做到增量的数据同步，而不需要全量数据同步。</a:t>
            </a:r>
            <a:endParaRPr lang="en-US" altLang="zh-CN" sz="1400" dirty="0">
              <a:solidFill>
                <a:schemeClr val="tx2"/>
              </a:solidFill>
              <a:latin typeface="微软雅黑" panose="020B0503020204020204" pitchFamily="34" charset="-122"/>
              <a:ea typeface="微软雅黑" panose="020B0503020204020204" pitchFamily="34" charset="-122"/>
            </a:endParaRPr>
          </a:p>
          <a:p>
            <a:pPr marL="285750" indent="-285750">
              <a:lnSpc>
                <a:spcPct val="150000"/>
              </a:lnSpc>
              <a:buClr>
                <a:schemeClr val="accent2"/>
              </a:buClr>
              <a:buFont typeface="Wingdings" panose="05000000000000000000" pitchFamily="2" charset="2"/>
              <a:buChar char="n"/>
            </a:pPr>
            <a:endParaRPr lang="en-US" altLang="zh-CN" sz="1400" dirty="0">
              <a:solidFill>
                <a:schemeClr val="tx2"/>
              </a:solidFill>
              <a:latin typeface="微软雅黑" panose="020B0503020204020204" pitchFamily="34" charset="-122"/>
              <a:ea typeface="微软雅黑" panose="020B0503020204020204" pitchFamily="34" charset="-122"/>
            </a:endParaRPr>
          </a:p>
          <a:p>
            <a:pPr marL="285750" indent="-285750">
              <a:lnSpc>
                <a:spcPct val="150000"/>
              </a:lnSpc>
              <a:buClr>
                <a:schemeClr val="accent2"/>
              </a:buClr>
              <a:buFont typeface="Wingdings" panose="05000000000000000000" pitchFamily="2" charset="2"/>
              <a:buChar char="n"/>
            </a:pPr>
            <a:r>
              <a:rPr lang="zh-CN" altLang="zh-CN" sz="1400" dirty="0">
                <a:solidFill>
                  <a:schemeClr val="tx2"/>
                </a:solidFill>
                <a:latin typeface="微软雅黑" panose="020B0503020204020204" pitchFamily="34" charset="-122"/>
                <a:ea typeface="微软雅黑" panose="020B0503020204020204" pitchFamily="34" charset="-122"/>
              </a:rPr>
              <a:t>对应用访问透明，</a:t>
            </a:r>
            <a:r>
              <a:rPr lang="zh-CN" altLang="en-US" sz="1400" dirty="0">
                <a:solidFill>
                  <a:schemeClr val="tx2"/>
                </a:solidFill>
                <a:latin typeface="微软雅黑" panose="020B0503020204020204" pitchFamily="34" charset="-122"/>
                <a:ea typeface="微软雅黑" panose="020B0503020204020204" pitchFamily="34" charset="-122"/>
              </a:rPr>
              <a:t>保障</a:t>
            </a:r>
            <a:r>
              <a:rPr lang="zh-CN" altLang="zh-CN" sz="1400" dirty="0">
                <a:solidFill>
                  <a:schemeClr val="tx2"/>
                </a:solidFill>
                <a:latin typeface="微软雅黑" panose="020B0503020204020204" pitchFamily="34" charset="-122"/>
                <a:ea typeface="微软雅黑" panose="020B0503020204020204" pitchFamily="34" charset="-122"/>
              </a:rPr>
              <a:t>业务</a:t>
            </a:r>
            <a:r>
              <a:rPr lang="zh-CN" altLang="en-US" sz="1400" dirty="0">
                <a:solidFill>
                  <a:schemeClr val="tx2"/>
                </a:solidFill>
                <a:latin typeface="微软雅黑" panose="020B0503020204020204" pitchFamily="34" charset="-122"/>
                <a:ea typeface="微软雅黑" panose="020B0503020204020204" pitchFamily="34" charset="-122"/>
              </a:rPr>
              <a:t>连续性。</a:t>
            </a:r>
            <a:endParaRPr lang="en-US" altLang="zh-CN" sz="1400" dirty="0">
              <a:solidFill>
                <a:schemeClr val="tx2"/>
              </a:solidFill>
              <a:latin typeface="微软雅黑" panose="020B0503020204020204" pitchFamily="34" charset="-122"/>
              <a:ea typeface="微软雅黑" panose="020B0503020204020204" pitchFamily="34" charset="-122"/>
            </a:endParaRPr>
          </a:p>
        </p:txBody>
      </p:sp>
      <p:sp>
        <p:nvSpPr>
          <p:cNvPr id="201" name="灯片编号占位符 200"/>
          <p:cNvSpPr>
            <a:spLocks noGrp="1"/>
          </p:cNvSpPr>
          <p:nvPr>
            <p:ph type="sldNum" sz="quarter" idx="12"/>
            <p:custDataLst>
              <p:tags r:id="rId127"/>
            </p:custDataLst>
          </p:nvPr>
        </p:nvSpPr>
        <p:spPr>
          <a:xfrm>
            <a:off x="8610599" y="6651943"/>
            <a:ext cx="2909888" cy="206381"/>
          </a:xfrm>
        </p:spPr>
        <p:txBody>
          <a:bodyPr/>
          <a:lstStyle/>
          <a:p>
            <a:fld id="{5DD3DB80-B894-403A-B48E-6FDC1A72010E}" type="slidenum">
              <a:rPr lang="zh-CN" altLang="en-US" smtClean="0"/>
            </a:fld>
            <a:endParaRPr lang="zh-CN" alt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kern="0" dirty="0">
                <a:solidFill>
                  <a:srgbClr val="0070C0"/>
                </a:solidFill>
                <a:latin typeface="微软雅黑" panose="020B0503020204020204" pitchFamily="34" charset="-122"/>
                <a:ea typeface="微软雅黑" panose="020B0503020204020204" pitchFamily="34" charset="-122"/>
                <a:sym typeface="+mn-ea"/>
              </a:rPr>
              <a:t>高新能</a:t>
            </a:r>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一体机：</a:t>
            </a:r>
            <a:r>
              <a:rPr lang="en-US" altLang="zh-CN" kern="0" dirty="0">
                <a:solidFill>
                  <a:srgbClr val="0070C0"/>
                </a:solidFill>
                <a:latin typeface="微软雅黑" panose="020B0503020204020204" pitchFamily="34" charset="-122"/>
                <a:ea typeface="微软雅黑" panose="020B0503020204020204" pitchFamily="34" charset="-122"/>
                <a:sym typeface="+mn-ea"/>
              </a:rPr>
              <a:t>CData</a:t>
            </a:r>
            <a:r>
              <a:rPr lang="zh-CN" altLang="en-US" kern="0" dirty="0">
                <a:solidFill>
                  <a:srgbClr val="0070C0"/>
                </a:solidFill>
                <a:latin typeface="微软雅黑" panose="020B0503020204020204" pitchFamily="34" charset="-122"/>
                <a:ea typeface="微软雅黑" panose="020B0503020204020204" pitchFamily="34" charset="-122"/>
                <a:sym typeface="+mn-ea"/>
              </a:rPr>
              <a:t>的水平扩展</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pic>
        <p:nvPicPr>
          <p:cNvPr id="93" name="image36.png"/>
          <p:cNvPicPr/>
          <p:nvPr>
            <p:custDataLst>
              <p:tags r:id="rId1"/>
            </p:custDataLst>
          </p:nvPr>
        </p:nvPicPr>
        <p:blipFill>
          <a:blip r:embed="rId2" cstate="print"/>
          <a:stretch>
            <a:fillRect/>
          </a:stretch>
        </p:blipFill>
        <p:spPr>
          <a:xfrm rot="10800000">
            <a:off x="2192898" y="5680433"/>
            <a:ext cx="1784229" cy="252659"/>
          </a:xfrm>
          <a:prstGeom prst="rect">
            <a:avLst/>
          </a:prstGeom>
          <a:ln w="12700" cap="flat">
            <a:noFill/>
            <a:miter lim="400000"/>
            <a:headEnd/>
            <a:tailEnd/>
          </a:ln>
          <a:effectLst/>
        </p:spPr>
      </p:pic>
      <p:pic>
        <p:nvPicPr>
          <p:cNvPr id="96" name="image36.png"/>
          <p:cNvPicPr/>
          <p:nvPr>
            <p:custDataLst>
              <p:tags r:id="rId3"/>
            </p:custDataLst>
          </p:nvPr>
        </p:nvPicPr>
        <p:blipFill>
          <a:blip r:embed="rId2" cstate="print"/>
          <a:stretch>
            <a:fillRect/>
          </a:stretch>
        </p:blipFill>
        <p:spPr>
          <a:xfrm rot="10800000">
            <a:off x="4274778" y="5680433"/>
            <a:ext cx="1784229" cy="252659"/>
          </a:xfrm>
          <a:prstGeom prst="rect">
            <a:avLst/>
          </a:prstGeom>
          <a:ln w="12700" cap="flat">
            <a:noFill/>
            <a:miter lim="400000"/>
            <a:headEnd/>
            <a:tailEnd/>
          </a:ln>
          <a:effectLst/>
        </p:spPr>
      </p:pic>
      <p:pic>
        <p:nvPicPr>
          <p:cNvPr id="98" name="image37.png"/>
          <p:cNvPicPr/>
          <p:nvPr>
            <p:custDataLst>
              <p:tags r:id="rId4"/>
            </p:custDataLst>
          </p:nvPr>
        </p:nvPicPr>
        <p:blipFill>
          <a:blip r:embed="rId5" cstate="print"/>
          <a:stretch>
            <a:fillRect/>
          </a:stretch>
        </p:blipFill>
        <p:spPr>
          <a:xfrm rot="10800000" flipH="1">
            <a:off x="857249" y="5680433"/>
            <a:ext cx="1154502" cy="252926"/>
          </a:xfrm>
          <a:prstGeom prst="rect">
            <a:avLst/>
          </a:prstGeom>
          <a:ln w="12700" cap="flat">
            <a:noFill/>
            <a:miter lim="400000"/>
            <a:headEnd/>
            <a:tailEnd/>
          </a:ln>
          <a:effectLst/>
        </p:spPr>
      </p:pic>
      <p:pic>
        <p:nvPicPr>
          <p:cNvPr id="64" name="Picture 3"/>
          <p:cNvPicPr>
            <a:picLocks noChangeAspect="1" noChangeArrowheads="1"/>
          </p:cNvPicPr>
          <p:nvPr>
            <p:custDataLst>
              <p:tags r:id="rId6"/>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335408" y="3748812"/>
            <a:ext cx="1564200" cy="414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 name="Picture 3"/>
          <p:cNvPicPr>
            <a:picLocks noChangeAspect="1" noChangeArrowheads="1"/>
          </p:cNvPicPr>
          <p:nvPr>
            <p:custDataLst>
              <p:tags r:id="rId8"/>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335408" y="4185886"/>
            <a:ext cx="1564200" cy="414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 name="Picture 2"/>
          <p:cNvPicPr>
            <a:picLocks noChangeAspect="1" noChangeArrowheads="1"/>
          </p:cNvPicPr>
          <p:nvPr>
            <p:custDataLst>
              <p:tags r:id="rId9"/>
            </p:custDataLst>
          </p:nvPr>
        </p:nvPicPr>
        <p:blipFill>
          <a:blip r:embed="rId10">
            <a:extLst>
              <a:ext uri="{28A0092B-C50C-407E-A947-70E740481C1C}">
                <a14:useLocalDpi xmlns:a14="http://schemas.microsoft.com/office/drawing/2010/main" val="0"/>
              </a:ext>
            </a:extLst>
          </a:blip>
          <a:srcRect/>
          <a:stretch>
            <a:fillRect/>
          </a:stretch>
        </p:blipFill>
        <p:spPr bwMode="auto">
          <a:xfrm>
            <a:off x="335408" y="4746409"/>
            <a:ext cx="1564200" cy="275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 name="Picture 2"/>
          <p:cNvPicPr>
            <a:picLocks noChangeAspect="1" noChangeArrowheads="1"/>
          </p:cNvPicPr>
          <p:nvPr>
            <p:custDataLst>
              <p:tags r:id="rId11"/>
            </p:custDataLst>
          </p:nvPr>
        </p:nvPicPr>
        <p:blipFill>
          <a:blip r:embed="rId10">
            <a:extLst>
              <a:ext uri="{28A0092B-C50C-407E-A947-70E740481C1C}">
                <a14:useLocalDpi xmlns:a14="http://schemas.microsoft.com/office/drawing/2010/main" val="0"/>
              </a:ext>
            </a:extLst>
          </a:blip>
          <a:srcRect/>
          <a:stretch>
            <a:fillRect/>
          </a:stretch>
        </p:blipFill>
        <p:spPr bwMode="auto">
          <a:xfrm>
            <a:off x="335408" y="5037645"/>
            <a:ext cx="1564200" cy="275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9" name="Picture 2"/>
          <p:cNvPicPr>
            <a:picLocks noChangeAspect="1" noChangeArrowheads="1"/>
          </p:cNvPicPr>
          <p:nvPr>
            <p:custDataLst>
              <p:tags r:id="rId12"/>
            </p:custDataLst>
          </p:nvPr>
        </p:nvPicPr>
        <p:blipFill>
          <a:blip r:embed="rId10">
            <a:extLst>
              <a:ext uri="{28A0092B-C50C-407E-A947-70E740481C1C}">
                <a14:useLocalDpi xmlns:a14="http://schemas.microsoft.com/office/drawing/2010/main" val="0"/>
              </a:ext>
            </a:extLst>
          </a:blip>
          <a:srcRect/>
          <a:stretch>
            <a:fillRect/>
          </a:stretch>
        </p:blipFill>
        <p:spPr bwMode="auto">
          <a:xfrm>
            <a:off x="335408" y="5336183"/>
            <a:ext cx="1564200" cy="275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0" name="TextBox 69"/>
          <p:cNvSpPr txBox="1"/>
          <p:nvPr>
            <p:custDataLst>
              <p:tags r:id="rId13"/>
            </p:custDataLst>
          </p:nvPr>
        </p:nvSpPr>
        <p:spPr>
          <a:xfrm>
            <a:off x="335408" y="3262718"/>
            <a:ext cx="1564200" cy="376844"/>
          </a:xfrm>
          <a:prstGeom prst="rect">
            <a:avLst/>
          </a:prstGeom>
          <a:noFill/>
        </p:spPr>
        <p:txBody>
          <a:bodyPr wrap="square" lIns="0" rIns="0" rtlCol="0" anchor="ctr">
            <a:noAutofit/>
          </a:bodyPr>
          <a:lstStyle/>
          <a:p>
            <a:pPr algn="ctr">
              <a:lnSpc>
                <a:spcPct val="95000"/>
              </a:lnSpc>
              <a:buClr>
                <a:srgbClr val="84BD00"/>
              </a:buClr>
            </a:pPr>
            <a:r>
              <a:rPr lang="zh-CN" altLang="en-US" sz="1200" b="1" dirty="0">
                <a:solidFill>
                  <a:srgbClr val="0099CC"/>
                </a:solidFill>
                <a:latin typeface="微软雅黑" panose="020B0503020204020204" pitchFamily="34" charset="-122"/>
                <a:ea typeface="微软雅黑" panose="020B0503020204020204" pitchFamily="34" charset="-122"/>
              </a:rPr>
              <a:t>初始配置：</a:t>
            </a:r>
            <a:r>
              <a:rPr lang="en-US" altLang="zh-CN" sz="1200" b="1" dirty="0">
                <a:solidFill>
                  <a:srgbClr val="0099CC"/>
                </a:solidFill>
                <a:latin typeface="微软雅黑" panose="020B0503020204020204" pitchFamily="34" charset="-122"/>
                <a:ea typeface="微软雅黑" panose="020B0503020204020204" pitchFamily="34" charset="-122"/>
              </a:rPr>
              <a:t>2+3</a:t>
            </a:r>
            <a:endParaRPr lang="en-US" altLang="zh-CN" sz="1200" b="1" dirty="0">
              <a:solidFill>
                <a:srgbClr val="0099CC"/>
              </a:solidFill>
              <a:latin typeface="微软雅黑" panose="020B0503020204020204" pitchFamily="34" charset="-122"/>
              <a:ea typeface="微软雅黑" panose="020B0503020204020204" pitchFamily="34" charset="-122"/>
            </a:endParaRPr>
          </a:p>
        </p:txBody>
      </p:sp>
      <p:pic>
        <p:nvPicPr>
          <p:cNvPr id="71" name="Picture 3"/>
          <p:cNvPicPr>
            <a:picLocks noChangeAspect="1" noChangeArrowheads="1"/>
          </p:cNvPicPr>
          <p:nvPr>
            <p:custDataLst>
              <p:tags r:id="rId14"/>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2313781" y="3007241"/>
            <a:ext cx="1564200" cy="414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2" name="Picture 3"/>
          <p:cNvPicPr>
            <a:picLocks noChangeAspect="1" noChangeArrowheads="1"/>
          </p:cNvPicPr>
          <p:nvPr>
            <p:custDataLst>
              <p:tags r:id="rId15"/>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2313781" y="3444315"/>
            <a:ext cx="1564200" cy="414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2"/>
          <p:cNvPicPr>
            <a:picLocks noChangeAspect="1" noChangeArrowheads="1"/>
          </p:cNvPicPr>
          <p:nvPr>
            <p:custDataLst>
              <p:tags r:id="rId16"/>
            </p:custDataLst>
          </p:nvPr>
        </p:nvPicPr>
        <p:blipFill>
          <a:blip r:embed="rId10">
            <a:extLst>
              <a:ext uri="{28A0092B-C50C-407E-A947-70E740481C1C}">
                <a14:useLocalDpi xmlns:a14="http://schemas.microsoft.com/office/drawing/2010/main" val="0"/>
              </a:ext>
            </a:extLst>
          </a:blip>
          <a:srcRect/>
          <a:stretch>
            <a:fillRect/>
          </a:stretch>
        </p:blipFill>
        <p:spPr bwMode="auto">
          <a:xfrm>
            <a:off x="2313781" y="4748408"/>
            <a:ext cx="1564200" cy="275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 name="Picture 2"/>
          <p:cNvPicPr>
            <a:picLocks noChangeAspect="1" noChangeArrowheads="1"/>
          </p:cNvPicPr>
          <p:nvPr>
            <p:custDataLst>
              <p:tags r:id="rId17"/>
            </p:custDataLst>
          </p:nvPr>
        </p:nvPicPr>
        <p:blipFill>
          <a:blip r:embed="rId10">
            <a:extLst>
              <a:ext uri="{28A0092B-C50C-407E-A947-70E740481C1C}">
                <a14:useLocalDpi xmlns:a14="http://schemas.microsoft.com/office/drawing/2010/main" val="0"/>
              </a:ext>
            </a:extLst>
          </a:blip>
          <a:srcRect/>
          <a:stretch>
            <a:fillRect/>
          </a:stretch>
        </p:blipFill>
        <p:spPr bwMode="auto">
          <a:xfrm>
            <a:off x="2313781" y="5039644"/>
            <a:ext cx="1564200" cy="275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 name="Picture 2"/>
          <p:cNvPicPr>
            <a:picLocks noChangeAspect="1" noChangeArrowheads="1"/>
          </p:cNvPicPr>
          <p:nvPr>
            <p:custDataLst>
              <p:tags r:id="rId18"/>
            </p:custDataLst>
          </p:nvPr>
        </p:nvPicPr>
        <p:blipFill>
          <a:blip r:embed="rId10">
            <a:extLst>
              <a:ext uri="{28A0092B-C50C-407E-A947-70E740481C1C}">
                <a14:useLocalDpi xmlns:a14="http://schemas.microsoft.com/office/drawing/2010/main" val="0"/>
              </a:ext>
            </a:extLst>
          </a:blip>
          <a:srcRect/>
          <a:stretch>
            <a:fillRect/>
          </a:stretch>
        </p:blipFill>
        <p:spPr bwMode="auto">
          <a:xfrm>
            <a:off x="2313781" y="5338182"/>
            <a:ext cx="1564200" cy="275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2"/>
          <p:cNvPicPr>
            <a:picLocks noChangeAspect="1" noChangeArrowheads="1"/>
          </p:cNvPicPr>
          <p:nvPr>
            <p:custDataLst>
              <p:tags r:id="rId19"/>
            </p:custDataLst>
          </p:nvPr>
        </p:nvPicPr>
        <p:blipFill>
          <a:blip r:embed="rId10">
            <a:extLst>
              <a:ext uri="{28A0092B-C50C-407E-A947-70E740481C1C}">
                <a14:useLocalDpi xmlns:a14="http://schemas.microsoft.com/office/drawing/2010/main" val="0"/>
              </a:ext>
            </a:extLst>
          </a:blip>
          <a:srcRect/>
          <a:stretch>
            <a:fillRect/>
          </a:stretch>
        </p:blipFill>
        <p:spPr bwMode="auto">
          <a:xfrm>
            <a:off x="2313781" y="4453983"/>
            <a:ext cx="1564200" cy="275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7" name="Picture 3"/>
          <p:cNvPicPr>
            <a:picLocks noChangeAspect="1" noChangeArrowheads="1"/>
          </p:cNvPicPr>
          <p:nvPr>
            <p:custDataLst>
              <p:tags r:id="rId20"/>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2313781" y="3885032"/>
            <a:ext cx="1564200" cy="414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8" name="TextBox 77"/>
          <p:cNvSpPr txBox="1"/>
          <p:nvPr>
            <p:custDataLst>
              <p:tags r:id="rId21"/>
            </p:custDataLst>
          </p:nvPr>
        </p:nvSpPr>
        <p:spPr>
          <a:xfrm>
            <a:off x="2313781" y="2543850"/>
            <a:ext cx="1564200" cy="376844"/>
          </a:xfrm>
          <a:prstGeom prst="rect">
            <a:avLst/>
          </a:prstGeom>
          <a:noFill/>
        </p:spPr>
        <p:txBody>
          <a:bodyPr wrap="square" lIns="0" rIns="0" rtlCol="0" anchor="ctr">
            <a:noAutofit/>
          </a:bodyPr>
          <a:lstStyle/>
          <a:p>
            <a:pPr algn="ctr">
              <a:lnSpc>
                <a:spcPct val="95000"/>
              </a:lnSpc>
              <a:buClr>
                <a:srgbClr val="84BD00"/>
              </a:buClr>
            </a:pPr>
            <a:r>
              <a:rPr lang="zh-CN" altLang="en-US" sz="1200" b="1" dirty="0">
                <a:solidFill>
                  <a:srgbClr val="0099CC"/>
                </a:solidFill>
                <a:latin typeface="微软雅黑" panose="020B0503020204020204" pitchFamily="34" charset="-122"/>
                <a:ea typeface="微软雅黑" panose="020B0503020204020204" pitchFamily="34" charset="-122"/>
              </a:rPr>
              <a:t>线性扩展</a:t>
            </a:r>
            <a:endParaRPr lang="en-US" altLang="zh-CN" sz="1200" b="1" dirty="0">
              <a:solidFill>
                <a:srgbClr val="0099CC"/>
              </a:solidFill>
              <a:latin typeface="微软雅黑" panose="020B0503020204020204" pitchFamily="34" charset="-122"/>
              <a:ea typeface="微软雅黑" panose="020B0503020204020204" pitchFamily="34" charset="-122"/>
            </a:endParaRPr>
          </a:p>
        </p:txBody>
      </p:sp>
      <p:pic>
        <p:nvPicPr>
          <p:cNvPr id="79" name="Picture 3"/>
          <p:cNvPicPr>
            <a:picLocks noChangeAspect="1" noChangeArrowheads="1"/>
          </p:cNvPicPr>
          <p:nvPr>
            <p:custDataLst>
              <p:tags r:id="rId22"/>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4330913" y="2337452"/>
            <a:ext cx="1564200" cy="414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 name="Picture 3"/>
          <p:cNvPicPr>
            <a:picLocks noChangeAspect="1" noChangeArrowheads="1"/>
          </p:cNvPicPr>
          <p:nvPr>
            <p:custDataLst>
              <p:tags r:id="rId23"/>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4330913" y="2774526"/>
            <a:ext cx="1564200" cy="414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 name="Picture 2"/>
          <p:cNvPicPr>
            <a:picLocks noChangeAspect="1" noChangeArrowheads="1"/>
          </p:cNvPicPr>
          <p:nvPr>
            <p:custDataLst>
              <p:tags r:id="rId24"/>
            </p:custDataLst>
          </p:nvPr>
        </p:nvPicPr>
        <p:blipFill>
          <a:blip r:embed="rId10">
            <a:extLst>
              <a:ext uri="{28A0092B-C50C-407E-A947-70E740481C1C}">
                <a14:useLocalDpi xmlns:a14="http://schemas.microsoft.com/office/drawing/2010/main" val="0"/>
              </a:ext>
            </a:extLst>
          </a:blip>
          <a:srcRect/>
          <a:stretch>
            <a:fillRect/>
          </a:stretch>
        </p:blipFill>
        <p:spPr bwMode="auto">
          <a:xfrm>
            <a:off x="4330913" y="4725569"/>
            <a:ext cx="1564200" cy="275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 name="Picture 2"/>
          <p:cNvPicPr>
            <a:picLocks noChangeAspect="1" noChangeArrowheads="1"/>
          </p:cNvPicPr>
          <p:nvPr>
            <p:custDataLst>
              <p:tags r:id="rId25"/>
            </p:custDataLst>
          </p:nvPr>
        </p:nvPicPr>
        <p:blipFill>
          <a:blip r:embed="rId10">
            <a:extLst>
              <a:ext uri="{28A0092B-C50C-407E-A947-70E740481C1C}">
                <a14:useLocalDpi xmlns:a14="http://schemas.microsoft.com/office/drawing/2010/main" val="0"/>
              </a:ext>
            </a:extLst>
          </a:blip>
          <a:srcRect/>
          <a:stretch>
            <a:fillRect/>
          </a:stretch>
        </p:blipFill>
        <p:spPr bwMode="auto">
          <a:xfrm>
            <a:off x="4330913" y="5016805"/>
            <a:ext cx="1564200" cy="275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 name="Picture 2"/>
          <p:cNvPicPr>
            <a:picLocks noChangeAspect="1" noChangeArrowheads="1"/>
          </p:cNvPicPr>
          <p:nvPr>
            <p:custDataLst>
              <p:tags r:id="rId26"/>
            </p:custDataLst>
          </p:nvPr>
        </p:nvPicPr>
        <p:blipFill>
          <a:blip r:embed="rId10">
            <a:extLst>
              <a:ext uri="{28A0092B-C50C-407E-A947-70E740481C1C}">
                <a14:useLocalDpi xmlns:a14="http://schemas.microsoft.com/office/drawing/2010/main" val="0"/>
              </a:ext>
            </a:extLst>
          </a:blip>
          <a:srcRect/>
          <a:stretch>
            <a:fillRect/>
          </a:stretch>
        </p:blipFill>
        <p:spPr bwMode="auto">
          <a:xfrm>
            <a:off x="4330913" y="5315343"/>
            <a:ext cx="1564200" cy="275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4" name="Picture 2"/>
          <p:cNvPicPr>
            <a:picLocks noChangeAspect="1" noChangeArrowheads="1"/>
          </p:cNvPicPr>
          <p:nvPr>
            <p:custDataLst>
              <p:tags r:id="rId27"/>
            </p:custDataLst>
          </p:nvPr>
        </p:nvPicPr>
        <p:blipFill>
          <a:blip r:embed="rId10">
            <a:extLst>
              <a:ext uri="{28A0092B-C50C-407E-A947-70E740481C1C}">
                <a14:useLocalDpi xmlns:a14="http://schemas.microsoft.com/office/drawing/2010/main" val="0"/>
              </a:ext>
            </a:extLst>
          </a:blip>
          <a:srcRect/>
          <a:stretch>
            <a:fillRect/>
          </a:stretch>
        </p:blipFill>
        <p:spPr bwMode="auto">
          <a:xfrm>
            <a:off x="4330913" y="4431144"/>
            <a:ext cx="1564200" cy="275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5" name="Picture 3"/>
          <p:cNvPicPr>
            <a:picLocks noChangeAspect="1" noChangeArrowheads="1"/>
          </p:cNvPicPr>
          <p:nvPr>
            <p:custDataLst>
              <p:tags r:id="rId28"/>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4330913" y="3215243"/>
            <a:ext cx="1564200" cy="414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6" name="TextBox 85"/>
          <p:cNvSpPr txBox="1"/>
          <p:nvPr>
            <p:custDataLst>
              <p:tags r:id="rId29"/>
            </p:custDataLst>
          </p:nvPr>
        </p:nvSpPr>
        <p:spPr>
          <a:xfrm>
            <a:off x="4330913" y="1874061"/>
            <a:ext cx="1564200" cy="376844"/>
          </a:xfrm>
          <a:prstGeom prst="rect">
            <a:avLst/>
          </a:prstGeom>
          <a:noFill/>
        </p:spPr>
        <p:txBody>
          <a:bodyPr wrap="square" lIns="0" rIns="0" rtlCol="0" anchor="ctr">
            <a:noAutofit/>
          </a:bodyPr>
          <a:lstStyle/>
          <a:p>
            <a:pPr algn="ctr">
              <a:lnSpc>
                <a:spcPct val="95000"/>
              </a:lnSpc>
              <a:buClr>
                <a:srgbClr val="84BD00"/>
              </a:buClr>
            </a:pPr>
            <a:r>
              <a:rPr lang="zh-CN" altLang="en-US" sz="1200" b="1" dirty="0">
                <a:solidFill>
                  <a:schemeClr val="accent2"/>
                </a:solidFill>
                <a:latin typeface="微软雅黑" panose="020B0503020204020204" pitchFamily="34" charset="-122"/>
                <a:ea typeface="微软雅黑" panose="020B0503020204020204" pitchFamily="34" charset="-122"/>
              </a:rPr>
              <a:t>按需定义</a:t>
            </a:r>
            <a:endParaRPr lang="en-US" altLang="zh-CN" sz="1200" b="1" dirty="0">
              <a:solidFill>
                <a:schemeClr val="accent2"/>
              </a:solidFill>
              <a:latin typeface="微软雅黑" panose="020B0503020204020204" pitchFamily="34" charset="-122"/>
              <a:ea typeface="微软雅黑" panose="020B0503020204020204" pitchFamily="34" charset="-122"/>
            </a:endParaRPr>
          </a:p>
          <a:p>
            <a:pPr algn="ctr">
              <a:lnSpc>
                <a:spcPct val="95000"/>
              </a:lnSpc>
              <a:buClr>
                <a:srgbClr val="84BD00"/>
              </a:buClr>
            </a:pPr>
            <a:r>
              <a:rPr lang="zh-CN" altLang="en-US" sz="1200" b="1" dirty="0">
                <a:solidFill>
                  <a:srgbClr val="0099CC"/>
                </a:solidFill>
                <a:latin typeface="微软雅黑" panose="020B0503020204020204" pitchFamily="34" charset="-122"/>
                <a:ea typeface="微软雅黑" panose="020B0503020204020204" pitchFamily="34" charset="-122"/>
              </a:rPr>
              <a:t>计算和存储的扩展</a:t>
            </a:r>
            <a:endParaRPr lang="en-US" altLang="zh-CN" sz="1200" b="1" dirty="0">
              <a:solidFill>
                <a:srgbClr val="0099CC"/>
              </a:solidFill>
              <a:latin typeface="微软雅黑" panose="020B0503020204020204" pitchFamily="34" charset="-122"/>
              <a:ea typeface="微软雅黑" panose="020B0503020204020204" pitchFamily="34" charset="-122"/>
            </a:endParaRPr>
          </a:p>
        </p:txBody>
      </p:sp>
      <p:pic>
        <p:nvPicPr>
          <p:cNvPr id="87" name="Picture 2"/>
          <p:cNvPicPr>
            <a:picLocks noChangeAspect="1" noChangeArrowheads="1"/>
          </p:cNvPicPr>
          <p:nvPr>
            <p:custDataLst>
              <p:tags r:id="rId30"/>
            </p:custDataLst>
          </p:nvPr>
        </p:nvPicPr>
        <p:blipFill>
          <a:blip r:embed="rId10">
            <a:extLst>
              <a:ext uri="{28A0092B-C50C-407E-A947-70E740481C1C}">
                <a14:useLocalDpi xmlns:a14="http://schemas.microsoft.com/office/drawing/2010/main" val="0"/>
              </a:ext>
            </a:extLst>
          </a:blip>
          <a:srcRect/>
          <a:stretch>
            <a:fillRect/>
          </a:stretch>
        </p:blipFill>
        <p:spPr bwMode="auto">
          <a:xfrm>
            <a:off x="4330913" y="4135231"/>
            <a:ext cx="1564200" cy="275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 name="Picture 2"/>
          <p:cNvPicPr>
            <a:picLocks noChangeAspect="1" noChangeArrowheads="1"/>
          </p:cNvPicPr>
          <p:nvPr>
            <p:custDataLst>
              <p:tags r:id="rId31"/>
            </p:custDataLst>
          </p:nvPr>
        </p:nvPicPr>
        <p:blipFill>
          <a:blip r:embed="rId10">
            <a:extLst>
              <a:ext uri="{28A0092B-C50C-407E-A947-70E740481C1C}">
                <a14:useLocalDpi xmlns:a14="http://schemas.microsoft.com/office/drawing/2010/main" val="0"/>
              </a:ext>
            </a:extLst>
          </a:blip>
          <a:srcRect/>
          <a:stretch>
            <a:fillRect/>
          </a:stretch>
        </p:blipFill>
        <p:spPr bwMode="auto">
          <a:xfrm>
            <a:off x="4330913" y="3840806"/>
            <a:ext cx="1564200" cy="275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0" name="矩形 89"/>
          <p:cNvSpPr/>
          <p:nvPr>
            <p:custDataLst>
              <p:tags r:id="rId32"/>
            </p:custDataLst>
          </p:nvPr>
        </p:nvSpPr>
        <p:spPr>
          <a:xfrm>
            <a:off x="1944532" y="3748812"/>
            <a:ext cx="69011" cy="82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矩形 90"/>
          <p:cNvSpPr/>
          <p:nvPr>
            <p:custDataLst>
              <p:tags r:id="rId33"/>
            </p:custDataLst>
          </p:nvPr>
        </p:nvSpPr>
        <p:spPr>
          <a:xfrm>
            <a:off x="1942741" y="4746409"/>
            <a:ext cx="69011" cy="864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2" name="矩形 91"/>
          <p:cNvSpPr/>
          <p:nvPr>
            <p:custDataLst>
              <p:tags r:id="rId34"/>
            </p:custDataLst>
          </p:nvPr>
        </p:nvSpPr>
        <p:spPr>
          <a:xfrm>
            <a:off x="3917454" y="3007241"/>
            <a:ext cx="69011" cy="129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矩形 93"/>
          <p:cNvSpPr/>
          <p:nvPr>
            <p:custDataLst>
              <p:tags r:id="rId35"/>
            </p:custDataLst>
          </p:nvPr>
        </p:nvSpPr>
        <p:spPr>
          <a:xfrm>
            <a:off x="3915663" y="4453390"/>
            <a:ext cx="69011" cy="1152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矩形 96"/>
          <p:cNvSpPr/>
          <p:nvPr>
            <p:custDataLst>
              <p:tags r:id="rId36"/>
            </p:custDataLst>
          </p:nvPr>
        </p:nvSpPr>
        <p:spPr>
          <a:xfrm>
            <a:off x="5936430" y="2343562"/>
            <a:ext cx="69011" cy="129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矩形 98"/>
          <p:cNvSpPr/>
          <p:nvPr>
            <p:custDataLst>
              <p:tags r:id="rId37"/>
            </p:custDataLst>
          </p:nvPr>
        </p:nvSpPr>
        <p:spPr>
          <a:xfrm>
            <a:off x="5934639" y="3841467"/>
            <a:ext cx="69011" cy="172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0" name="左中括号 99"/>
          <p:cNvSpPr/>
          <p:nvPr>
            <p:custDataLst>
              <p:tags r:id="rId38"/>
            </p:custDataLst>
          </p:nvPr>
        </p:nvSpPr>
        <p:spPr>
          <a:xfrm>
            <a:off x="6027379" y="3840806"/>
            <a:ext cx="45719" cy="1728000"/>
          </a:xfrm>
          <a:prstGeom prst="leftBracket">
            <a:avLst/>
          </a:prstGeom>
          <a:ln w="19050">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1" name="TextBox 100"/>
          <p:cNvSpPr txBox="1"/>
          <p:nvPr>
            <p:custDataLst>
              <p:tags r:id="rId39"/>
            </p:custDataLst>
          </p:nvPr>
        </p:nvSpPr>
        <p:spPr>
          <a:xfrm>
            <a:off x="6102250" y="3840806"/>
            <a:ext cx="229540" cy="1728000"/>
          </a:xfrm>
          <a:prstGeom prst="rect">
            <a:avLst/>
          </a:prstGeom>
          <a:noFill/>
        </p:spPr>
        <p:txBody>
          <a:bodyPr wrap="square" lIns="0" rIns="0" rtlCol="0" anchor="ctr">
            <a:noAutofit/>
          </a:bodyPr>
          <a:lstStyle/>
          <a:p>
            <a:pPr algn="ctr">
              <a:lnSpc>
                <a:spcPct val="95000"/>
              </a:lnSpc>
              <a:buClr>
                <a:srgbClr val="84BD00"/>
              </a:buClr>
            </a:pPr>
            <a:r>
              <a:rPr lang="zh-CN" altLang="en-US" sz="1200" b="1" dirty="0">
                <a:solidFill>
                  <a:srgbClr val="0070C0"/>
                </a:solidFill>
                <a:latin typeface="微软雅黑" panose="020B0503020204020204" pitchFamily="34" charset="-122"/>
                <a:ea typeface="微软雅黑" panose="020B0503020204020204" pitchFamily="34" charset="-122"/>
              </a:rPr>
              <a:t>对</a:t>
            </a:r>
            <a:endParaRPr lang="en-US" altLang="zh-CN" sz="1200" b="1" dirty="0">
              <a:solidFill>
                <a:srgbClr val="0070C0"/>
              </a:solidFill>
              <a:latin typeface="微软雅黑" panose="020B0503020204020204" pitchFamily="34" charset="-122"/>
              <a:ea typeface="微软雅黑" panose="020B0503020204020204" pitchFamily="34" charset="-122"/>
            </a:endParaRPr>
          </a:p>
          <a:p>
            <a:pPr algn="ctr">
              <a:lnSpc>
                <a:spcPct val="95000"/>
              </a:lnSpc>
              <a:buClr>
                <a:srgbClr val="84BD00"/>
              </a:buClr>
            </a:pPr>
            <a:r>
              <a:rPr lang="zh-CN" altLang="en-US" sz="1200" b="1" dirty="0">
                <a:solidFill>
                  <a:srgbClr val="0070C0"/>
                </a:solidFill>
                <a:latin typeface="微软雅黑" panose="020B0503020204020204" pitchFamily="34" charset="-122"/>
                <a:ea typeface="微软雅黑" panose="020B0503020204020204" pitchFamily="34" charset="-122"/>
              </a:rPr>
              <a:t>存</a:t>
            </a:r>
            <a:endParaRPr lang="en-US" altLang="zh-CN" sz="1200" b="1" dirty="0">
              <a:solidFill>
                <a:srgbClr val="0070C0"/>
              </a:solidFill>
              <a:latin typeface="微软雅黑" panose="020B0503020204020204" pitchFamily="34" charset="-122"/>
              <a:ea typeface="微软雅黑" panose="020B0503020204020204" pitchFamily="34" charset="-122"/>
            </a:endParaRPr>
          </a:p>
          <a:p>
            <a:pPr algn="ctr">
              <a:lnSpc>
                <a:spcPct val="95000"/>
              </a:lnSpc>
              <a:buClr>
                <a:srgbClr val="84BD00"/>
              </a:buClr>
            </a:pPr>
            <a:r>
              <a:rPr lang="zh-CN" altLang="en-US" sz="1200" b="1" dirty="0">
                <a:solidFill>
                  <a:srgbClr val="0070C0"/>
                </a:solidFill>
                <a:latin typeface="微软雅黑" panose="020B0503020204020204" pitchFamily="34" charset="-122"/>
                <a:ea typeface="微软雅黑" panose="020B0503020204020204" pitchFamily="34" charset="-122"/>
              </a:rPr>
              <a:t>储容量需求更大</a:t>
            </a:r>
            <a:endParaRPr lang="en-US" altLang="zh-CN" sz="1200" b="1" dirty="0">
              <a:solidFill>
                <a:srgbClr val="0070C0"/>
              </a:solidFill>
              <a:latin typeface="微软雅黑" panose="020B0503020204020204" pitchFamily="34" charset="-122"/>
              <a:ea typeface="微软雅黑" panose="020B0503020204020204" pitchFamily="34" charset="-122"/>
            </a:endParaRPr>
          </a:p>
        </p:txBody>
      </p:sp>
      <p:pic>
        <p:nvPicPr>
          <p:cNvPr id="102" name="image36.png"/>
          <p:cNvPicPr/>
          <p:nvPr>
            <p:custDataLst>
              <p:tags r:id="rId40"/>
            </p:custDataLst>
          </p:nvPr>
        </p:nvPicPr>
        <p:blipFill>
          <a:blip r:embed="rId2" cstate="print"/>
          <a:stretch>
            <a:fillRect/>
          </a:stretch>
        </p:blipFill>
        <p:spPr>
          <a:xfrm rot="10800000">
            <a:off x="6557912" y="5678284"/>
            <a:ext cx="1784229" cy="252659"/>
          </a:xfrm>
          <a:prstGeom prst="rect">
            <a:avLst/>
          </a:prstGeom>
          <a:ln w="12700" cap="flat">
            <a:noFill/>
            <a:miter lim="400000"/>
            <a:headEnd/>
            <a:tailEnd/>
          </a:ln>
          <a:effectLst/>
        </p:spPr>
      </p:pic>
      <p:pic>
        <p:nvPicPr>
          <p:cNvPr id="103" name="Picture 3"/>
          <p:cNvPicPr>
            <a:picLocks noChangeAspect="1" noChangeArrowheads="1"/>
          </p:cNvPicPr>
          <p:nvPr>
            <p:custDataLst>
              <p:tags r:id="rId41"/>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6614047" y="1636597"/>
            <a:ext cx="1564200" cy="414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4" name="Picture 3"/>
          <p:cNvPicPr>
            <a:picLocks noChangeAspect="1" noChangeArrowheads="1"/>
          </p:cNvPicPr>
          <p:nvPr>
            <p:custDataLst>
              <p:tags r:id="rId42"/>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6614047" y="2073671"/>
            <a:ext cx="1564200" cy="414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 name="Picture 2"/>
          <p:cNvPicPr>
            <a:picLocks noChangeAspect="1" noChangeArrowheads="1"/>
          </p:cNvPicPr>
          <p:nvPr>
            <p:custDataLst>
              <p:tags r:id="rId43"/>
            </p:custDataLst>
          </p:nvPr>
        </p:nvPicPr>
        <p:blipFill>
          <a:blip r:embed="rId10">
            <a:extLst>
              <a:ext uri="{28A0092B-C50C-407E-A947-70E740481C1C}">
                <a14:useLocalDpi xmlns:a14="http://schemas.microsoft.com/office/drawing/2010/main" val="0"/>
              </a:ext>
            </a:extLst>
          </a:blip>
          <a:srcRect/>
          <a:stretch>
            <a:fillRect/>
          </a:stretch>
        </p:blipFill>
        <p:spPr bwMode="auto">
          <a:xfrm>
            <a:off x="6614047" y="4723420"/>
            <a:ext cx="1564200" cy="275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 name="Picture 2"/>
          <p:cNvPicPr>
            <a:picLocks noChangeAspect="1" noChangeArrowheads="1"/>
          </p:cNvPicPr>
          <p:nvPr>
            <p:custDataLst>
              <p:tags r:id="rId44"/>
            </p:custDataLst>
          </p:nvPr>
        </p:nvPicPr>
        <p:blipFill>
          <a:blip r:embed="rId10">
            <a:extLst>
              <a:ext uri="{28A0092B-C50C-407E-A947-70E740481C1C}">
                <a14:useLocalDpi xmlns:a14="http://schemas.microsoft.com/office/drawing/2010/main" val="0"/>
              </a:ext>
            </a:extLst>
          </a:blip>
          <a:srcRect/>
          <a:stretch>
            <a:fillRect/>
          </a:stretch>
        </p:blipFill>
        <p:spPr bwMode="auto">
          <a:xfrm>
            <a:off x="6614047" y="5014656"/>
            <a:ext cx="1564200" cy="275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 name="Picture 2"/>
          <p:cNvPicPr>
            <a:picLocks noChangeAspect="1" noChangeArrowheads="1"/>
          </p:cNvPicPr>
          <p:nvPr>
            <p:custDataLst>
              <p:tags r:id="rId45"/>
            </p:custDataLst>
          </p:nvPr>
        </p:nvPicPr>
        <p:blipFill>
          <a:blip r:embed="rId10">
            <a:extLst>
              <a:ext uri="{28A0092B-C50C-407E-A947-70E740481C1C}">
                <a14:useLocalDpi xmlns:a14="http://schemas.microsoft.com/office/drawing/2010/main" val="0"/>
              </a:ext>
            </a:extLst>
          </a:blip>
          <a:srcRect/>
          <a:stretch>
            <a:fillRect/>
          </a:stretch>
        </p:blipFill>
        <p:spPr bwMode="auto">
          <a:xfrm>
            <a:off x="6614047" y="5313194"/>
            <a:ext cx="1564200" cy="275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 name="Picture 2"/>
          <p:cNvPicPr>
            <a:picLocks noChangeAspect="1" noChangeArrowheads="1"/>
          </p:cNvPicPr>
          <p:nvPr>
            <p:custDataLst>
              <p:tags r:id="rId46"/>
            </p:custDataLst>
          </p:nvPr>
        </p:nvPicPr>
        <p:blipFill>
          <a:blip r:embed="rId10">
            <a:extLst>
              <a:ext uri="{28A0092B-C50C-407E-A947-70E740481C1C}">
                <a14:useLocalDpi xmlns:a14="http://schemas.microsoft.com/office/drawing/2010/main" val="0"/>
              </a:ext>
            </a:extLst>
          </a:blip>
          <a:srcRect/>
          <a:stretch>
            <a:fillRect/>
          </a:stretch>
        </p:blipFill>
        <p:spPr bwMode="auto">
          <a:xfrm>
            <a:off x="6614047" y="4428995"/>
            <a:ext cx="1564200" cy="275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 name="Picture 3"/>
          <p:cNvPicPr>
            <a:picLocks noChangeAspect="1" noChangeArrowheads="1"/>
          </p:cNvPicPr>
          <p:nvPr>
            <p:custDataLst>
              <p:tags r:id="rId47"/>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6614047" y="2514388"/>
            <a:ext cx="1564200" cy="414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0" name="TextBox 109"/>
          <p:cNvSpPr txBox="1"/>
          <p:nvPr>
            <p:custDataLst>
              <p:tags r:id="rId48"/>
            </p:custDataLst>
          </p:nvPr>
        </p:nvSpPr>
        <p:spPr>
          <a:xfrm>
            <a:off x="6614047" y="1138702"/>
            <a:ext cx="1564200" cy="376844"/>
          </a:xfrm>
          <a:prstGeom prst="rect">
            <a:avLst/>
          </a:prstGeom>
          <a:noFill/>
        </p:spPr>
        <p:txBody>
          <a:bodyPr wrap="square" lIns="0" rIns="0" rtlCol="0" anchor="ctr">
            <a:noAutofit/>
          </a:bodyPr>
          <a:lstStyle/>
          <a:p>
            <a:pPr algn="ctr">
              <a:lnSpc>
                <a:spcPct val="95000"/>
              </a:lnSpc>
              <a:buClr>
                <a:srgbClr val="84BD00"/>
              </a:buClr>
            </a:pPr>
            <a:r>
              <a:rPr lang="zh-CN" altLang="en-US" sz="1200" b="1" dirty="0">
                <a:solidFill>
                  <a:schemeClr val="accent2"/>
                </a:solidFill>
                <a:latin typeface="微软雅黑" panose="020B0503020204020204" pitchFamily="34" charset="-122"/>
                <a:ea typeface="微软雅黑" panose="020B0503020204020204" pitchFamily="34" charset="-122"/>
              </a:rPr>
              <a:t>按需定义</a:t>
            </a:r>
            <a:endParaRPr lang="en-US" altLang="zh-CN" sz="1200" b="1" dirty="0">
              <a:solidFill>
                <a:schemeClr val="accent2"/>
              </a:solidFill>
              <a:latin typeface="微软雅黑" panose="020B0503020204020204" pitchFamily="34" charset="-122"/>
              <a:ea typeface="微软雅黑" panose="020B0503020204020204" pitchFamily="34" charset="-122"/>
            </a:endParaRPr>
          </a:p>
          <a:p>
            <a:pPr algn="ctr">
              <a:lnSpc>
                <a:spcPct val="95000"/>
              </a:lnSpc>
              <a:buClr>
                <a:srgbClr val="84BD00"/>
              </a:buClr>
            </a:pPr>
            <a:r>
              <a:rPr lang="zh-CN" altLang="en-US" sz="1200" b="1" dirty="0">
                <a:solidFill>
                  <a:srgbClr val="0099CC"/>
                </a:solidFill>
                <a:latin typeface="微软雅黑" panose="020B0503020204020204" pitchFamily="34" charset="-122"/>
                <a:ea typeface="微软雅黑" panose="020B0503020204020204" pitchFamily="34" charset="-122"/>
              </a:rPr>
              <a:t>计算和存储的扩展</a:t>
            </a:r>
            <a:endParaRPr lang="en-US" altLang="zh-CN" sz="1200" b="1" dirty="0">
              <a:solidFill>
                <a:srgbClr val="0099CC"/>
              </a:solidFill>
              <a:latin typeface="微软雅黑" panose="020B0503020204020204" pitchFamily="34" charset="-122"/>
              <a:ea typeface="微软雅黑" panose="020B0503020204020204" pitchFamily="34" charset="-122"/>
            </a:endParaRPr>
          </a:p>
          <a:p>
            <a:pPr algn="ctr">
              <a:lnSpc>
                <a:spcPct val="95000"/>
              </a:lnSpc>
              <a:buClr>
                <a:srgbClr val="84BD00"/>
              </a:buClr>
            </a:pPr>
            <a:r>
              <a:rPr lang="zh-CN" altLang="en-US" sz="1200" b="1" dirty="0">
                <a:solidFill>
                  <a:srgbClr val="0099CC"/>
                </a:solidFill>
                <a:latin typeface="微软雅黑" panose="020B0503020204020204" pitchFamily="34" charset="-122"/>
                <a:ea typeface="微软雅黑" panose="020B0503020204020204" pitchFamily="34" charset="-122"/>
              </a:rPr>
              <a:t>跨机柜扩展</a:t>
            </a:r>
            <a:endParaRPr lang="en-US" altLang="zh-CN" sz="1200" b="1" dirty="0">
              <a:solidFill>
                <a:srgbClr val="0099CC"/>
              </a:solidFill>
              <a:latin typeface="微软雅黑" panose="020B0503020204020204" pitchFamily="34" charset="-122"/>
              <a:ea typeface="微软雅黑" panose="020B0503020204020204" pitchFamily="34" charset="-122"/>
            </a:endParaRPr>
          </a:p>
        </p:txBody>
      </p:sp>
      <p:sp>
        <p:nvSpPr>
          <p:cNvPr id="113" name="矩形 112"/>
          <p:cNvSpPr/>
          <p:nvPr>
            <p:custDataLst>
              <p:tags r:id="rId49"/>
            </p:custDataLst>
          </p:nvPr>
        </p:nvSpPr>
        <p:spPr>
          <a:xfrm>
            <a:off x="8219564" y="1642707"/>
            <a:ext cx="69011" cy="259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矩形 113"/>
          <p:cNvSpPr/>
          <p:nvPr>
            <p:custDataLst>
              <p:tags r:id="rId50"/>
            </p:custDataLst>
          </p:nvPr>
        </p:nvSpPr>
        <p:spPr>
          <a:xfrm>
            <a:off x="8217773" y="4434512"/>
            <a:ext cx="69011" cy="1152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17" name="Picture 3"/>
          <p:cNvPicPr>
            <a:picLocks noChangeAspect="1" noChangeArrowheads="1"/>
          </p:cNvPicPr>
          <p:nvPr>
            <p:custDataLst>
              <p:tags r:id="rId51"/>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6614047" y="2954389"/>
            <a:ext cx="1564200" cy="414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8" name="Picture 3"/>
          <p:cNvPicPr>
            <a:picLocks noChangeAspect="1" noChangeArrowheads="1"/>
          </p:cNvPicPr>
          <p:nvPr>
            <p:custDataLst>
              <p:tags r:id="rId52"/>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6614047" y="3391463"/>
            <a:ext cx="1564200" cy="414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9" name="Picture 3"/>
          <p:cNvPicPr>
            <a:picLocks noChangeAspect="1" noChangeArrowheads="1"/>
          </p:cNvPicPr>
          <p:nvPr>
            <p:custDataLst>
              <p:tags r:id="rId53"/>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6614047" y="3832180"/>
            <a:ext cx="1564200" cy="414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1" name="左中括号 120"/>
          <p:cNvSpPr/>
          <p:nvPr>
            <p:custDataLst>
              <p:tags r:id="rId54"/>
            </p:custDataLst>
          </p:nvPr>
        </p:nvSpPr>
        <p:spPr>
          <a:xfrm>
            <a:off x="8313388" y="1651534"/>
            <a:ext cx="45719" cy="2592000"/>
          </a:xfrm>
          <a:prstGeom prst="leftBracket">
            <a:avLst/>
          </a:prstGeom>
          <a:ln w="1905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22" name="TextBox 121"/>
          <p:cNvSpPr txBox="1"/>
          <p:nvPr>
            <p:custDataLst>
              <p:tags r:id="rId55"/>
            </p:custDataLst>
          </p:nvPr>
        </p:nvSpPr>
        <p:spPr>
          <a:xfrm>
            <a:off x="8388259" y="1651533"/>
            <a:ext cx="229540" cy="2594881"/>
          </a:xfrm>
          <a:prstGeom prst="rect">
            <a:avLst/>
          </a:prstGeom>
          <a:noFill/>
        </p:spPr>
        <p:txBody>
          <a:bodyPr wrap="square" lIns="0" rIns="0" rtlCol="0" anchor="ctr">
            <a:noAutofit/>
          </a:bodyPr>
          <a:lstStyle/>
          <a:p>
            <a:pPr algn="ctr">
              <a:lnSpc>
                <a:spcPct val="95000"/>
              </a:lnSpc>
              <a:buClr>
                <a:srgbClr val="84BD00"/>
              </a:buClr>
            </a:pPr>
            <a:r>
              <a:rPr lang="zh-CN" altLang="en-US" sz="1200" b="1" dirty="0">
                <a:solidFill>
                  <a:schemeClr val="accent6"/>
                </a:solidFill>
                <a:latin typeface="微软雅黑" panose="020B0503020204020204" pitchFamily="34" charset="-122"/>
                <a:ea typeface="微软雅黑" panose="020B0503020204020204" pitchFamily="34" charset="-122"/>
              </a:rPr>
              <a:t>对</a:t>
            </a:r>
            <a:endParaRPr lang="en-US" altLang="zh-CN" sz="1200" b="1" dirty="0">
              <a:solidFill>
                <a:schemeClr val="accent6"/>
              </a:solidFill>
              <a:latin typeface="微软雅黑" panose="020B0503020204020204" pitchFamily="34" charset="-122"/>
              <a:ea typeface="微软雅黑" panose="020B0503020204020204" pitchFamily="34" charset="-122"/>
            </a:endParaRPr>
          </a:p>
          <a:p>
            <a:pPr algn="ctr">
              <a:lnSpc>
                <a:spcPct val="95000"/>
              </a:lnSpc>
              <a:buClr>
                <a:srgbClr val="84BD00"/>
              </a:buClr>
            </a:pPr>
            <a:r>
              <a:rPr lang="zh-CN" altLang="en-US" sz="1200" b="1" dirty="0">
                <a:solidFill>
                  <a:schemeClr val="accent6"/>
                </a:solidFill>
                <a:latin typeface="微软雅黑" panose="020B0503020204020204" pitchFamily="34" charset="-122"/>
                <a:ea typeface="微软雅黑" panose="020B0503020204020204" pitchFamily="34" charset="-122"/>
              </a:rPr>
              <a:t>计算性能需求更大</a:t>
            </a:r>
            <a:endParaRPr lang="en-US" altLang="zh-CN" sz="1200" b="1" dirty="0">
              <a:solidFill>
                <a:schemeClr val="accent6"/>
              </a:solidFill>
              <a:latin typeface="微软雅黑" panose="020B0503020204020204" pitchFamily="34" charset="-122"/>
              <a:ea typeface="微软雅黑" panose="020B0503020204020204" pitchFamily="34" charset="-122"/>
            </a:endParaRPr>
          </a:p>
        </p:txBody>
      </p:sp>
      <p:grpSp>
        <p:nvGrpSpPr>
          <p:cNvPr id="123" name="组合 122"/>
          <p:cNvGrpSpPr/>
          <p:nvPr/>
        </p:nvGrpSpPr>
        <p:grpSpPr>
          <a:xfrm>
            <a:off x="9154399" y="926025"/>
            <a:ext cx="2939817" cy="2159224"/>
            <a:chOff x="322503" y="4317257"/>
            <a:chExt cx="2939817" cy="2159224"/>
          </a:xfrm>
        </p:grpSpPr>
        <p:sp>
          <p:nvSpPr>
            <p:cNvPr id="124" name="TextBox 123"/>
            <p:cNvSpPr txBox="1"/>
            <p:nvPr>
              <p:custDataLst>
                <p:tags r:id="rId56"/>
              </p:custDataLst>
            </p:nvPr>
          </p:nvSpPr>
          <p:spPr>
            <a:xfrm>
              <a:off x="322503" y="4317257"/>
              <a:ext cx="2939817" cy="452867"/>
            </a:xfrm>
            <a:prstGeom prst="rect">
              <a:avLst/>
            </a:prstGeom>
            <a:noFill/>
          </p:spPr>
          <p:txBody>
            <a:bodyPr wrap="square" lIns="0" rIns="0" rtlCol="0" anchor="ctr">
              <a:noAutofit/>
            </a:bodyPr>
            <a:lstStyle/>
            <a:p>
              <a:pPr>
                <a:lnSpc>
                  <a:spcPct val="95000"/>
                </a:lnSpc>
                <a:buClr>
                  <a:srgbClr val="84BD00"/>
                </a:buClr>
              </a:pPr>
              <a:r>
                <a:rPr lang="zh-CN" altLang="en-US" sz="1400" b="1" dirty="0">
                  <a:solidFill>
                    <a:srgbClr val="FF793D"/>
                  </a:solidFill>
                  <a:latin typeface="微软雅黑" panose="020B0503020204020204" pitchFamily="34" charset="-122"/>
                  <a:ea typeface="微软雅黑" panose="020B0503020204020204" pitchFamily="34" charset="-122"/>
                </a:rPr>
                <a:t>计算层扩容：</a:t>
              </a:r>
              <a:endParaRPr lang="en-US" altLang="zh-CN" sz="1400" b="1" dirty="0">
                <a:solidFill>
                  <a:srgbClr val="FF793D"/>
                </a:solidFill>
                <a:latin typeface="微软雅黑" panose="020B0503020204020204" pitchFamily="34" charset="-122"/>
                <a:ea typeface="微软雅黑" panose="020B0503020204020204" pitchFamily="34" charset="-122"/>
              </a:endParaRPr>
            </a:p>
          </p:txBody>
        </p:sp>
        <p:sp>
          <p:nvSpPr>
            <p:cNvPr id="125" name="TextBox 124"/>
            <p:cNvSpPr txBox="1"/>
            <p:nvPr>
              <p:custDataLst>
                <p:tags r:id="rId57"/>
              </p:custDataLst>
            </p:nvPr>
          </p:nvSpPr>
          <p:spPr>
            <a:xfrm>
              <a:off x="322503" y="4783945"/>
              <a:ext cx="2939817" cy="1692536"/>
            </a:xfrm>
            <a:prstGeom prst="rect">
              <a:avLst/>
            </a:prstGeom>
            <a:noFill/>
          </p:spPr>
          <p:txBody>
            <a:bodyPr wrap="square" lIns="0" rIns="0" rtlCol="0" anchor="t">
              <a:noAutofit/>
            </a:bodyPr>
            <a:lstStyle/>
            <a:p>
              <a:pPr marL="171450" lvl="1" indent="-171450">
                <a:lnSpc>
                  <a:spcPct val="120000"/>
                </a:lnSpc>
                <a:buClr>
                  <a:schemeClr val="accent2"/>
                </a:buClr>
                <a:buSzPct val="80000"/>
                <a:buFont typeface="Wingdings" panose="05000000000000000000" pitchFamily="2" charset="2"/>
                <a:buChar char="ü"/>
              </a:pPr>
              <a:r>
                <a:rPr lang="zh-CN" altLang="en-US" sz="1200" dirty="0">
                  <a:solidFill>
                    <a:schemeClr val="tx2"/>
                  </a:solidFill>
                  <a:latin typeface="微软雅黑" panose="020B0503020204020204" pitchFamily="34" charset="-122"/>
                  <a:ea typeface="微软雅黑" panose="020B0503020204020204" pitchFamily="34" charset="-122"/>
                </a:rPr>
                <a:t>横向扩展</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lvl="1" indent="-171450">
                <a:lnSpc>
                  <a:spcPct val="120000"/>
                </a:lnSpc>
                <a:buClr>
                  <a:schemeClr val="accent2"/>
                </a:buClr>
                <a:buSzPct val="80000"/>
                <a:buFont typeface="Wingdings" panose="05000000000000000000" pitchFamily="2" charset="2"/>
                <a:buChar char="ü"/>
              </a:pPr>
              <a:r>
                <a:rPr lang="zh-CN" altLang="en-US" sz="1200" dirty="0">
                  <a:solidFill>
                    <a:schemeClr val="tx2"/>
                  </a:solidFill>
                  <a:latin typeface="微软雅黑" panose="020B0503020204020204" pitchFamily="34" charset="-122"/>
                  <a:ea typeface="微软雅黑" panose="020B0503020204020204" pitchFamily="34" charset="-122"/>
                </a:rPr>
                <a:t>提升计算性能</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lvl="1" indent="-171450">
                <a:lnSpc>
                  <a:spcPct val="120000"/>
                </a:lnSpc>
                <a:buClr>
                  <a:schemeClr val="accent2"/>
                </a:buClr>
                <a:buSzPct val="80000"/>
                <a:buFont typeface="Wingdings" panose="05000000000000000000" pitchFamily="2" charset="2"/>
                <a:buChar char="ü"/>
              </a:pPr>
              <a:r>
                <a:rPr lang="zh-CN" altLang="zh-CN" sz="1200" dirty="0">
                  <a:solidFill>
                    <a:schemeClr val="tx2"/>
                  </a:solidFill>
                  <a:latin typeface="微软雅黑" panose="020B0503020204020204" pitchFamily="34" charset="-122"/>
                  <a:ea typeface="微软雅黑" panose="020B0503020204020204" pitchFamily="34" charset="-122"/>
                </a:rPr>
                <a:t>在线增加节点</a:t>
              </a:r>
              <a:r>
                <a:rPr lang="zh-CN" altLang="en-US" sz="1200" dirty="0">
                  <a:solidFill>
                    <a:schemeClr val="tx2"/>
                  </a:solidFill>
                  <a:latin typeface="微软雅黑" panose="020B0503020204020204" pitchFamily="34" charset="-122"/>
                  <a:ea typeface="微软雅黑" panose="020B0503020204020204" pitchFamily="34" charset="-122"/>
                </a:rPr>
                <a:t>，连续扩展</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lvl="1" indent="-171450">
                <a:lnSpc>
                  <a:spcPct val="120000"/>
                </a:lnSpc>
                <a:buClr>
                  <a:schemeClr val="accent2"/>
                </a:buClr>
                <a:buSzPct val="80000"/>
                <a:buFont typeface="Wingdings" panose="05000000000000000000" pitchFamily="2" charset="2"/>
                <a:buChar char="ü"/>
              </a:pPr>
              <a:r>
                <a:rPr lang="zh-CN" altLang="en-US" sz="1200" dirty="0">
                  <a:solidFill>
                    <a:schemeClr val="tx2"/>
                  </a:solidFill>
                  <a:latin typeface="微软雅黑" panose="020B0503020204020204" pitchFamily="34" charset="-122"/>
                  <a:ea typeface="微软雅黑" panose="020B0503020204020204" pitchFamily="34" charset="-122"/>
                </a:rPr>
                <a:t>支持数据库集群扩展，亦支持多库整合</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lvl="1" indent="-171450">
                <a:lnSpc>
                  <a:spcPct val="120000"/>
                </a:lnSpc>
                <a:buClr>
                  <a:schemeClr val="accent2"/>
                </a:buClr>
                <a:buSzPct val="80000"/>
                <a:buFont typeface="Wingdings" panose="05000000000000000000" pitchFamily="2" charset="2"/>
                <a:buChar char="ü"/>
              </a:pPr>
              <a:r>
                <a:rPr lang="zh-CN" altLang="zh-CN" sz="1200" dirty="0">
                  <a:solidFill>
                    <a:schemeClr val="tx2"/>
                  </a:solidFill>
                  <a:latin typeface="微软雅黑" panose="020B0503020204020204" pitchFamily="34" charset="-122"/>
                  <a:ea typeface="微软雅黑" panose="020B0503020204020204" pitchFamily="34" charset="-122"/>
                </a:rPr>
                <a:t>单数据库集群可扩展至</a:t>
              </a:r>
              <a:r>
                <a:rPr lang="en-US" altLang="zh-CN" sz="1200" dirty="0">
                  <a:solidFill>
                    <a:schemeClr val="tx2"/>
                  </a:solidFill>
                  <a:latin typeface="微软雅黑" panose="020B0503020204020204" pitchFamily="34" charset="-122"/>
                  <a:ea typeface="微软雅黑" panose="020B0503020204020204" pitchFamily="34" charset="-122"/>
                </a:rPr>
                <a:t>16</a:t>
              </a:r>
              <a:r>
                <a:rPr lang="zh-CN" altLang="zh-CN" sz="1200" dirty="0">
                  <a:solidFill>
                    <a:schemeClr val="tx2"/>
                  </a:solidFill>
                  <a:latin typeface="微软雅黑" panose="020B0503020204020204" pitchFamily="34" charset="-122"/>
                  <a:ea typeface="微软雅黑" panose="020B0503020204020204" pitchFamily="34" charset="-122"/>
                </a:rPr>
                <a:t>个节点</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indent="-171450">
                <a:lnSpc>
                  <a:spcPct val="120000"/>
                </a:lnSpc>
                <a:buClr>
                  <a:schemeClr val="accent2"/>
                </a:buClr>
                <a:buSzPct val="80000"/>
                <a:buFont typeface="Wingdings" panose="05000000000000000000" pitchFamily="2" charset="2"/>
                <a:buChar char="ü"/>
              </a:pPr>
              <a:endParaRPr lang="en-US" altLang="zh-CN" sz="1200" dirty="0">
                <a:solidFill>
                  <a:schemeClr val="accent2"/>
                </a:solidFill>
                <a:latin typeface="微软雅黑" panose="020B0503020204020204" pitchFamily="34" charset="-122"/>
                <a:ea typeface="微软雅黑" panose="020B0503020204020204" pitchFamily="34" charset="-122"/>
              </a:endParaRPr>
            </a:p>
          </p:txBody>
        </p:sp>
      </p:grpSp>
      <p:grpSp>
        <p:nvGrpSpPr>
          <p:cNvPr id="126" name="组合 125"/>
          <p:cNvGrpSpPr/>
          <p:nvPr/>
        </p:nvGrpSpPr>
        <p:grpSpPr>
          <a:xfrm>
            <a:off x="9154399" y="2854361"/>
            <a:ext cx="2939817" cy="1746146"/>
            <a:chOff x="4273957" y="4317257"/>
            <a:chExt cx="2939817" cy="1746146"/>
          </a:xfrm>
        </p:grpSpPr>
        <p:sp>
          <p:nvSpPr>
            <p:cNvPr id="127" name="TextBox 126"/>
            <p:cNvSpPr txBox="1"/>
            <p:nvPr>
              <p:custDataLst>
                <p:tags r:id="rId58"/>
              </p:custDataLst>
            </p:nvPr>
          </p:nvSpPr>
          <p:spPr>
            <a:xfrm>
              <a:off x="4273957" y="4317257"/>
              <a:ext cx="2939817" cy="452867"/>
            </a:xfrm>
            <a:prstGeom prst="rect">
              <a:avLst/>
            </a:prstGeom>
            <a:noFill/>
          </p:spPr>
          <p:txBody>
            <a:bodyPr wrap="square" lIns="0" rIns="0" rtlCol="0" anchor="ctr">
              <a:noAutofit/>
            </a:bodyPr>
            <a:lstStyle/>
            <a:p>
              <a:pPr>
                <a:lnSpc>
                  <a:spcPct val="95000"/>
                </a:lnSpc>
                <a:buClr>
                  <a:srgbClr val="84BD00"/>
                </a:buClr>
              </a:pPr>
              <a:r>
                <a:rPr lang="zh-CN" altLang="en-US" sz="1400" b="1" dirty="0">
                  <a:solidFill>
                    <a:srgbClr val="FF793D"/>
                  </a:solidFill>
                  <a:latin typeface="微软雅黑" panose="020B0503020204020204" pitchFamily="34" charset="-122"/>
                  <a:ea typeface="微软雅黑" panose="020B0503020204020204" pitchFamily="34" charset="-122"/>
                </a:rPr>
                <a:t>存储层扩容：</a:t>
              </a:r>
              <a:endParaRPr lang="en-US" altLang="zh-CN" sz="1400" b="1" dirty="0">
                <a:solidFill>
                  <a:srgbClr val="FF793D"/>
                </a:solidFill>
                <a:latin typeface="微软雅黑" panose="020B0503020204020204" pitchFamily="34" charset="-122"/>
                <a:ea typeface="微软雅黑" panose="020B0503020204020204" pitchFamily="34" charset="-122"/>
              </a:endParaRPr>
            </a:p>
          </p:txBody>
        </p:sp>
        <p:sp>
          <p:nvSpPr>
            <p:cNvPr id="128" name="TextBox 127"/>
            <p:cNvSpPr txBox="1"/>
            <p:nvPr>
              <p:custDataLst>
                <p:tags r:id="rId59"/>
              </p:custDataLst>
            </p:nvPr>
          </p:nvSpPr>
          <p:spPr>
            <a:xfrm>
              <a:off x="4273957" y="4783945"/>
              <a:ext cx="2939817" cy="1279458"/>
            </a:xfrm>
            <a:prstGeom prst="rect">
              <a:avLst/>
            </a:prstGeom>
            <a:noFill/>
          </p:spPr>
          <p:txBody>
            <a:bodyPr wrap="square" lIns="0" rIns="0" rtlCol="0" anchor="t">
              <a:noAutofit/>
            </a:bodyPr>
            <a:lstStyle/>
            <a:p>
              <a:pPr marL="171450" lvl="1" indent="-171450">
                <a:lnSpc>
                  <a:spcPct val="120000"/>
                </a:lnSpc>
                <a:buClr>
                  <a:schemeClr val="accent2"/>
                </a:buClr>
                <a:buSzPct val="80000"/>
                <a:buFont typeface="Wingdings" panose="05000000000000000000" pitchFamily="2" charset="2"/>
                <a:buChar char="ü"/>
              </a:pPr>
              <a:r>
                <a:rPr lang="zh-CN" altLang="en-US" sz="1200" dirty="0">
                  <a:solidFill>
                    <a:schemeClr val="tx2"/>
                  </a:solidFill>
                  <a:latin typeface="微软雅黑" panose="020B0503020204020204" pitchFamily="34" charset="-122"/>
                  <a:ea typeface="微软雅黑" panose="020B0503020204020204" pitchFamily="34" charset="-122"/>
                </a:rPr>
                <a:t>横向扩展</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lvl="1" indent="-171450">
                <a:lnSpc>
                  <a:spcPct val="120000"/>
                </a:lnSpc>
                <a:buClr>
                  <a:schemeClr val="accent2"/>
                </a:buClr>
                <a:buSzPct val="80000"/>
                <a:buFont typeface="Wingdings" panose="05000000000000000000" pitchFamily="2" charset="2"/>
                <a:buChar char="ü"/>
              </a:pPr>
              <a:r>
                <a:rPr lang="zh-CN" altLang="en-US" sz="1200" dirty="0">
                  <a:solidFill>
                    <a:schemeClr val="tx2"/>
                  </a:solidFill>
                  <a:latin typeface="微软雅黑" panose="020B0503020204020204" pitchFamily="34" charset="-122"/>
                  <a:ea typeface="微软雅黑" panose="020B0503020204020204" pitchFamily="34" charset="-122"/>
                </a:rPr>
                <a:t>扩展数据存储容量</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lvl="1" indent="-171450">
                <a:lnSpc>
                  <a:spcPct val="120000"/>
                </a:lnSpc>
                <a:buClr>
                  <a:schemeClr val="accent2"/>
                </a:buClr>
                <a:buSzPct val="80000"/>
                <a:buFont typeface="Wingdings" panose="05000000000000000000" pitchFamily="2" charset="2"/>
                <a:buChar char="ü"/>
              </a:pPr>
              <a:r>
                <a:rPr lang="zh-CN" altLang="zh-CN" sz="1200" dirty="0">
                  <a:solidFill>
                    <a:schemeClr val="tx2"/>
                  </a:solidFill>
                  <a:latin typeface="微软雅黑" panose="020B0503020204020204" pitchFamily="34" charset="-122"/>
                  <a:ea typeface="微软雅黑" panose="020B0503020204020204" pitchFamily="34" charset="-122"/>
                </a:rPr>
                <a:t>在线的增加节点</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lvl="1" indent="-171450">
                <a:lnSpc>
                  <a:spcPct val="120000"/>
                </a:lnSpc>
                <a:buClr>
                  <a:schemeClr val="accent2"/>
                </a:buClr>
                <a:buSzPct val="80000"/>
                <a:buFont typeface="Wingdings" panose="05000000000000000000" pitchFamily="2" charset="2"/>
                <a:buChar char="ü"/>
              </a:pPr>
              <a:r>
                <a:rPr lang="zh-CN" altLang="en-US" sz="1200" dirty="0">
                  <a:solidFill>
                    <a:schemeClr val="tx2"/>
                  </a:solidFill>
                  <a:latin typeface="微软雅黑" panose="020B0503020204020204" pitchFamily="34" charset="-122"/>
                  <a:ea typeface="微软雅黑" panose="020B0503020204020204" pitchFamily="34" charset="-122"/>
                </a:rPr>
                <a:t>支持加入磁盘组池，亦支持新建磁盘组</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lvl="1" indent="-171450">
                <a:lnSpc>
                  <a:spcPct val="120000"/>
                </a:lnSpc>
                <a:buClr>
                  <a:schemeClr val="accent2"/>
                </a:buClr>
                <a:buSzPct val="80000"/>
                <a:buFont typeface="Wingdings" panose="05000000000000000000" pitchFamily="2" charset="2"/>
                <a:buChar char="ü"/>
              </a:pPr>
              <a:r>
                <a:rPr lang="zh-CN" altLang="zh-CN" sz="1200" dirty="0">
                  <a:solidFill>
                    <a:schemeClr val="tx2"/>
                  </a:solidFill>
                  <a:latin typeface="微软雅黑" panose="020B0503020204020204" pitchFamily="34" charset="-122"/>
                  <a:ea typeface="微软雅黑" panose="020B0503020204020204" pitchFamily="34" charset="-122"/>
                </a:rPr>
                <a:t>最高可扩展至</a:t>
              </a:r>
              <a:r>
                <a:rPr lang="en-US" altLang="zh-CN" sz="1200" dirty="0">
                  <a:solidFill>
                    <a:schemeClr val="tx2"/>
                  </a:solidFill>
                  <a:latin typeface="微软雅黑" panose="020B0503020204020204" pitchFamily="34" charset="-122"/>
                  <a:ea typeface="微软雅黑" panose="020B0503020204020204" pitchFamily="34" charset="-122"/>
                </a:rPr>
                <a:t>128</a:t>
              </a:r>
              <a:r>
                <a:rPr lang="zh-CN" altLang="zh-CN" sz="1200" dirty="0">
                  <a:solidFill>
                    <a:schemeClr val="tx2"/>
                  </a:solidFill>
                  <a:latin typeface="微软雅黑" panose="020B0503020204020204" pitchFamily="34" charset="-122"/>
                  <a:ea typeface="微软雅黑" panose="020B0503020204020204" pitchFamily="34" charset="-122"/>
                </a:rPr>
                <a:t>个节点</a:t>
              </a:r>
              <a:endParaRPr lang="en-US" altLang="zh-CN" sz="1200" dirty="0">
                <a:solidFill>
                  <a:schemeClr val="tx2"/>
                </a:solidFill>
                <a:latin typeface="微软雅黑" panose="020B0503020204020204" pitchFamily="34" charset="-122"/>
                <a:ea typeface="微软雅黑" panose="020B0503020204020204" pitchFamily="34" charset="-122"/>
              </a:endParaRPr>
            </a:p>
          </p:txBody>
        </p:sp>
      </p:grpSp>
      <p:grpSp>
        <p:nvGrpSpPr>
          <p:cNvPr id="132" name="组合 131"/>
          <p:cNvGrpSpPr/>
          <p:nvPr/>
        </p:nvGrpSpPr>
        <p:grpSpPr>
          <a:xfrm rot="16200000">
            <a:off x="4326133" y="2044272"/>
            <a:ext cx="461665" cy="8604734"/>
            <a:chOff x="11652144" y="829933"/>
            <a:chExt cx="461665" cy="5682568"/>
          </a:xfrm>
        </p:grpSpPr>
        <p:sp>
          <p:nvSpPr>
            <p:cNvPr id="133" name="Line 3"/>
            <p:cNvSpPr>
              <a:spLocks noChangeShapeType="1"/>
            </p:cNvSpPr>
            <p:nvPr>
              <p:custDataLst>
                <p:tags r:id="rId60"/>
              </p:custDataLst>
            </p:nvPr>
          </p:nvSpPr>
          <p:spPr bwMode="auto">
            <a:xfrm>
              <a:off x="11855301" y="829933"/>
              <a:ext cx="0" cy="5682568"/>
            </a:xfrm>
            <a:prstGeom prst="line">
              <a:avLst/>
            </a:prstGeom>
            <a:noFill/>
            <a:ln w="63500">
              <a:solidFill>
                <a:schemeClr val="accent3">
                  <a:lumMod val="75000"/>
                </a:schemeClr>
              </a:solidFill>
              <a:round/>
              <a:headEnd type="triangle" w="med" len="med"/>
              <a:tailEnd type="triangle" w="med" len="me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34" name="Text Box 15"/>
            <p:cNvSpPr txBox="1">
              <a:spLocks noChangeArrowheads="1"/>
            </p:cNvSpPr>
            <p:nvPr>
              <p:custDataLst>
                <p:tags r:id="rId61"/>
              </p:custDataLst>
            </p:nvPr>
          </p:nvSpPr>
          <p:spPr bwMode="auto">
            <a:xfrm rot="5400000">
              <a:off x="11082083" y="3550490"/>
              <a:ext cx="1601787" cy="4616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type="none" w="sm" len="sm"/>
                  <a:tailEnd type="none" w="med" len="lg"/>
                </a14:hiddenLine>
              </a:ext>
            </a:extLst>
          </p:spPr>
          <p:txBody>
            <a:bodyPr wrap="square">
              <a:spAutoFit/>
            </a:bodyPr>
            <a:lstStyle>
              <a:lvl1pPr>
                <a:defRPr sz="1200">
                  <a:solidFill>
                    <a:schemeClr val="tx1"/>
                  </a:solidFill>
                  <a:latin typeface="Verdana" panose="020B0604030504040204" pitchFamily="34" charset="0"/>
                </a:defRPr>
              </a:lvl1pPr>
              <a:lvl2pPr marL="742950" indent="-285750">
                <a:defRPr sz="1200">
                  <a:solidFill>
                    <a:schemeClr val="tx1"/>
                  </a:solidFill>
                  <a:latin typeface="Verdana" panose="020B0604030504040204" pitchFamily="34" charset="0"/>
                </a:defRPr>
              </a:lvl2pPr>
              <a:lvl3pPr marL="1143000" indent="-228600">
                <a:defRPr sz="1200">
                  <a:solidFill>
                    <a:schemeClr val="tx1"/>
                  </a:solidFill>
                  <a:latin typeface="Verdana" panose="020B0604030504040204" pitchFamily="34" charset="0"/>
                </a:defRPr>
              </a:lvl3pPr>
              <a:lvl4pPr marL="1600200" indent="-228600">
                <a:defRPr sz="1200">
                  <a:solidFill>
                    <a:schemeClr val="tx1"/>
                  </a:solidFill>
                  <a:latin typeface="Verdana" panose="020B0604030504040204" pitchFamily="34" charset="0"/>
                </a:defRPr>
              </a:lvl4pPr>
              <a:lvl5pPr marL="2057400" indent="-228600">
                <a:defRPr sz="1200">
                  <a:solidFill>
                    <a:schemeClr val="tx1"/>
                  </a:solidFill>
                  <a:latin typeface="Verdana" panose="020B0604030504040204" pitchFamily="34" charset="0"/>
                </a:defRPr>
              </a:lvl5pPr>
              <a:lvl6pPr marL="2514600" indent="-228600" algn="ctr" eaLnBrk="0" fontAlgn="base" hangingPunct="0">
                <a:spcBef>
                  <a:spcPct val="0"/>
                </a:spcBef>
                <a:spcAft>
                  <a:spcPct val="0"/>
                </a:spcAft>
                <a:defRPr sz="1200">
                  <a:solidFill>
                    <a:schemeClr val="tx1"/>
                  </a:solidFill>
                  <a:latin typeface="Verdana" panose="020B0604030504040204" pitchFamily="34" charset="0"/>
                </a:defRPr>
              </a:lvl6pPr>
              <a:lvl7pPr marL="2971800" indent="-228600" algn="ctr" eaLnBrk="0" fontAlgn="base" hangingPunct="0">
                <a:spcBef>
                  <a:spcPct val="0"/>
                </a:spcBef>
                <a:spcAft>
                  <a:spcPct val="0"/>
                </a:spcAft>
                <a:defRPr sz="1200">
                  <a:solidFill>
                    <a:schemeClr val="tx1"/>
                  </a:solidFill>
                  <a:latin typeface="Verdana" panose="020B0604030504040204" pitchFamily="34" charset="0"/>
                </a:defRPr>
              </a:lvl7pPr>
              <a:lvl8pPr marL="3429000" indent="-228600" algn="ctr" eaLnBrk="0" fontAlgn="base" hangingPunct="0">
                <a:spcBef>
                  <a:spcPct val="0"/>
                </a:spcBef>
                <a:spcAft>
                  <a:spcPct val="0"/>
                </a:spcAft>
                <a:defRPr sz="1200">
                  <a:solidFill>
                    <a:schemeClr val="tx1"/>
                  </a:solidFill>
                  <a:latin typeface="Verdana" panose="020B0604030504040204" pitchFamily="34" charset="0"/>
                </a:defRPr>
              </a:lvl8pPr>
              <a:lvl9pPr marL="3886200" indent="-228600" algn="ctr" eaLnBrk="0" fontAlgn="base" hangingPunct="0">
                <a:spcBef>
                  <a:spcPct val="0"/>
                </a:spcBef>
                <a:spcAft>
                  <a:spcPct val="0"/>
                </a:spcAft>
                <a:defRPr sz="1200">
                  <a:solidFill>
                    <a:schemeClr val="tx1"/>
                  </a:solidFill>
                  <a:latin typeface="Verdana" panose="020B0604030504040204" pitchFamily="34" charset="0"/>
                </a:defRPr>
              </a:lvl9pPr>
            </a:lstStyle>
            <a:p>
              <a:pPr algn="ctr"/>
              <a:r>
                <a:rPr lang="zh-CN" altLang="en-US" b="1" dirty="0">
                  <a:solidFill>
                    <a:schemeClr val="tx2"/>
                  </a:solidFill>
                  <a:latin typeface="微软雅黑" panose="020B0503020204020204" pitchFamily="34" charset="-122"/>
                  <a:ea typeface="微软雅黑" panose="020B0503020204020204" pitchFamily="34" charset="-122"/>
                </a:rPr>
                <a:t>计算和存储节点按业务需求</a:t>
              </a:r>
              <a:endParaRPr lang="en-US" altLang="zh-CN" b="1" dirty="0">
                <a:solidFill>
                  <a:schemeClr val="tx2"/>
                </a:solidFill>
                <a:latin typeface="微软雅黑" panose="020B0503020204020204" pitchFamily="34" charset="-122"/>
                <a:ea typeface="微软雅黑" panose="020B0503020204020204" pitchFamily="34" charset="-122"/>
              </a:endParaRPr>
            </a:p>
            <a:p>
              <a:pPr algn="ctr"/>
              <a:r>
                <a:rPr lang="zh-CN" altLang="en-US" b="1" dirty="0">
                  <a:solidFill>
                    <a:schemeClr val="tx2"/>
                  </a:solidFill>
                  <a:latin typeface="微软雅黑" panose="020B0503020204020204" pitchFamily="34" charset="-122"/>
                  <a:ea typeface="微软雅黑" panose="020B0503020204020204" pitchFamily="34" charset="-122"/>
                </a:rPr>
                <a:t>单独扩容且性能线性增长</a:t>
              </a:r>
              <a:endParaRPr lang="en-GB" altLang="zh-CN" b="1" dirty="0">
                <a:solidFill>
                  <a:schemeClr val="tx2"/>
                </a:solidFill>
                <a:latin typeface="微软雅黑" panose="020B0503020204020204" pitchFamily="34" charset="-122"/>
                <a:ea typeface="微软雅黑" panose="020B0503020204020204" pitchFamily="34" charset="-122"/>
              </a:endParaRPr>
            </a:p>
          </p:txBody>
        </p:sp>
      </p:grpSp>
      <p:grpSp>
        <p:nvGrpSpPr>
          <p:cNvPr id="10" name="组合 9"/>
          <p:cNvGrpSpPr/>
          <p:nvPr/>
        </p:nvGrpSpPr>
        <p:grpSpPr>
          <a:xfrm>
            <a:off x="9154399" y="4692280"/>
            <a:ext cx="2939817" cy="1701835"/>
            <a:chOff x="8200914" y="4317257"/>
            <a:chExt cx="2939817" cy="1701835"/>
          </a:xfrm>
        </p:grpSpPr>
        <p:sp>
          <p:nvSpPr>
            <p:cNvPr id="11" name="TextBox 129"/>
            <p:cNvSpPr txBox="1"/>
            <p:nvPr>
              <p:custDataLst>
                <p:tags r:id="rId62"/>
              </p:custDataLst>
            </p:nvPr>
          </p:nvSpPr>
          <p:spPr>
            <a:xfrm>
              <a:off x="8200914" y="4317257"/>
              <a:ext cx="2939817" cy="452867"/>
            </a:xfrm>
            <a:prstGeom prst="rect">
              <a:avLst/>
            </a:prstGeom>
            <a:noFill/>
          </p:spPr>
          <p:txBody>
            <a:bodyPr wrap="square" lIns="0" rIns="0" rtlCol="0" anchor="ctr">
              <a:noAutofit/>
            </a:bodyPr>
            <a:lstStyle/>
            <a:p>
              <a:pPr>
                <a:lnSpc>
                  <a:spcPct val="95000"/>
                </a:lnSpc>
                <a:buClr>
                  <a:srgbClr val="84BD00"/>
                </a:buClr>
              </a:pPr>
              <a:r>
                <a:rPr lang="zh-CN" altLang="en-US" sz="1400" b="1" dirty="0">
                  <a:solidFill>
                    <a:srgbClr val="FF793D"/>
                  </a:solidFill>
                  <a:latin typeface="微软雅黑" panose="020B0503020204020204" pitchFamily="34" charset="-122"/>
                  <a:ea typeface="微软雅黑" panose="020B0503020204020204" pitchFamily="34" charset="-122"/>
                </a:rPr>
                <a:t>网络层扩容：</a:t>
              </a:r>
              <a:endParaRPr lang="en-US" altLang="zh-CN" sz="1400" b="1" dirty="0">
                <a:solidFill>
                  <a:srgbClr val="FF793D"/>
                </a:solidFill>
                <a:latin typeface="微软雅黑" panose="020B0503020204020204" pitchFamily="34" charset="-122"/>
                <a:ea typeface="微软雅黑" panose="020B0503020204020204" pitchFamily="34" charset="-122"/>
              </a:endParaRPr>
            </a:p>
          </p:txBody>
        </p:sp>
        <p:sp>
          <p:nvSpPr>
            <p:cNvPr id="12" name="TextBox 130"/>
            <p:cNvSpPr txBox="1"/>
            <p:nvPr>
              <p:custDataLst>
                <p:tags r:id="rId63"/>
              </p:custDataLst>
            </p:nvPr>
          </p:nvSpPr>
          <p:spPr>
            <a:xfrm>
              <a:off x="8200914" y="4783945"/>
              <a:ext cx="2939817" cy="1235147"/>
            </a:xfrm>
            <a:prstGeom prst="rect">
              <a:avLst/>
            </a:prstGeom>
            <a:noFill/>
          </p:spPr>
          <p:txBody>
            <a:bodyPr wrap="square" lIns="0" rIns="0" rtlCol="0" anchor="t">
              <a:noAutofit/>
            </a:bodyPr>
            <a:lstStyle/>
            <a:p>
              <a:pPr marL="171450" lvl="1" indent="-171450">
                <a:lnSpc>
                  <a:spcPct val="120000"/>
                </a:lnSpc>
                <a:buClr>
                  <a:schemeClr val="accent2"/>
                </a:buClr>
                <a:buSzPct val="80000"/>
                <a:buFont typeface="Wingdings" panose="05000000000000000000" pitchFamily="2" charset="2"/>
                <a:buChar char="ü"/>
              </a:pPr>
              <a:r>
                <a:rPr lang="zh-CN" altLang="en-US" sz="1200" dirty="0">
                  <a:solidFill>
                    <a:schemeClr val="tx2"/>
                  </a:solidFill>
                  <a:latin typeface="微软雅黑" panose="020B0503020204020204" pitchFamily="34" charset="-122"/>
                  <a:ea typeface="微软雅黑" panose="020B0503020204020204" pitchFamily="34" charset="-122"/>
                </a:rPr>
                <a:t>横向扩展</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lvl="1" indent="-171450">
                <a:lnSpc>
                  <a:spcPct val="120000"/>
                </a:lnSpc>
                <a:buClr>
                  <a:schemeClr val="accent2"/>
                </a:buClr>
                <a:buSzPct val="80000"/>
                <a:buFont typeface="Wingdings" panose="05000000000000000000" pitchFamily="2" charset="2"/>
                <a:buChar char="ü"/>
              </a:pPr>
              <a:r>
                <a:rPr lang="zh-CN" altLang="en-US" sz="1200" dirty="0">
                  <a:solidFill>
                    <a:schemeClr val="tx2"/>
                  </a:solidFill>
                  <a:latin typeface="微软雅黑" panose="020B0503020204020204" pitchFamily="34" charset="-122"/>
                  <a:ea typeface="微软雅黑" panose="020B0503020204020204" pitchFamily="34" charset="-122"/>
                </a:rPr>
                <a:t>扩展网络接入能力</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lvl="1" indent="-171450">
                <a:lnSpc>
                  <a:spcPct val="120000"/>
                </a:lnSpc>
                <a:buClr>
                  <a:schemeClr val="accent2"/>
                </a:buClr>
                <a:buSzPct val="80000"/>
                <a:buFont typeface="Wingdings" panose="05000000000000000000" pitchFamily="2" charset="2"/>
                <a:buChar char="ü"/>
              </a:pPr>
              <a:r>
                <a:rPr lang="zh-CN" altLang="en-US" sz="1200" dirty="0">
                  <a:solidFill>
                    <a:schemeClr val="tx2"/>
                  </a:solidFill>
                  <a:latin typeface="微软雅黑" panose="020B0503020204020204" pitchFamily="34" charset="-122"/>
                  <a:ea typeface="微软雅黑" panose="020B0503020204020204" pitchFamily="34" charset="-122"/>
                </a:rPr>
                <a:t>双台</a:t>
              </a:r>
              <a:r>
                <a:rPr lang="en-US" altLang="zh-CN" sz="1200" dirty="0">
                  <a:solidFill>
                    <a:schemeClr val="tx2"/>
                  </a:solidFill>
                  <a:latin typeface="微软雅黑" panose="020B0503020204020204" pitchFamily="34" charset="-122"/>
                  <a:ea typeface="微软雅黑" panose="020B0503020204020204" pitchFamily="34" charset="-122"/>
                </a:rPr>
                <a:t>36</a:t>
              </a:r>
              <a:r>
                <a:rPr lang="zh-CN" altLang="en-US" sz="1200" dirty="0">
                  <a:solidFill>
                    <a:schemeClr val="tx2"/>
                  </a:solidFill>
                  <a:latin typeface="微软雅黑" panose="020B0503020204020204" pitchFamily="34" charset="-122"/>
                  <a:ea typeface="微软雅黑" panose="020B0503020204020204" pitchFamily="34" charset="-122"/>
                </a:rPr>
                <a:t>口交换机最大支持一体机</a:t>
              </a:r>
              <a:r>
                <a:rPr lang="en-US" altLang="zh-CN" sz="1200" dirty="0">
                  <a:solidFill>
                    <a:schemeClr val="tx2"/>
                  </a:solidFill>
                  <a:latin typeface="微软雅黑" panose="020B0503020204020204" pitchFamily="34" charset="-122"/>
                  <a:ea typeface="微软雅黑" panose="020B0503020204020204" pitchFamily="34" charset="-122"/>
                </a:rPr>
                <a:t>8+20</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lvl="1" indent="-171450">
                <a:lnSpc>
                  <a:spcPct val="120000"/>
                </a:lnSpc>
                <a:buClr>
                  <a:schemeClr val="accent2"/>
                </a:buClr>
                <a:buSzPct val="80000"/>
                <a:buFont typeface="Wingdings" panose="05000000000000000000" pitchFamily="2" charset="2"/>
                <a:buChar char="ü"/>
              </a:pPr>
              <a:r>
                <a:rPr lang="zh-CN" altLang="en-US" sz="1200" dirty="0">
                  <a:solidFill>
                    <a:schemeClr val="tx2"/>
                  </a:solidFill>
                  <a:latin typeface="微软雅黑" panose="020B0503020204020204" pitchFamily="34" charset="-122"/>
                  <a:ea typeface="微软雅黑" panose="020B0503020204020204" pitchFamily="34" charset="-122"/>
                </a:rPr>
                <a:t>支持</a:t>
              </a:r>
              <a:r>
                <a:rPr lang="zh-CN" altLang="zh-CN" sz="1200" dirty="0">
                  <a:solidFill>
                    <a:schemeClr val="tx2"/>
                  </a:solidFill>
                  <a:latin typeface="微软雅黑" panose="020B0503020204020204" pitchFamily="34" charset="-122"/>
                  <a:ea typeface="微软雅黑" panose="020B0503020204020204" pitchFamily="34" charset="-122"/>
                </a:rPr>
                <a:t>聚合</a:t>
              </a:r>
              <a:r>
                <a:rPr lang="en-US" altLang="zh-CN" sz="1200" dirty="0">
                  <a:solidFill>
                    <a:schemeClr val="tx2"/>
                  </a:solidFill>
                  <a:latin typeface="微软雅黑" panose="020B0503020204020204" pitchFamily="34" charset="-122"/>
                  <a:ea typeface="微软雅黑" panose="020B0503020204020204" pitchFamily="34" charset="-122"/>
                </a:rPr>
                <a:t>IB</a:t>
              </a:r>
              <a:r>
                <a:rPr lang="zh-CN" altLang="zh-CN" sz="1200" dirty="0">
                  <a:solidFill>
                    <a:schemeClr val="tx2"/>
                  </a:solidFill>
                  <a:latin typeface="微软雅黑" panose="020B0503020204020204" pitchFamily="34" charset="-122"/>
                  <a:ea typeface="微软雅黑" panose="020B0503020204020204" pitchFamily="34" charset="-122"/>
                </a:rPr>
                <a:t>交换机设备</a:t>
              </a:r>
              <a:endParaRPr lang="en-US" altLang="zh-CN" sz="1200" dirty="0">
                <a:solidFill>
                  <a:schemeClr val="tx2"/>
                </a:solidFill>
                <a:latin typeface="微软雅黑" panose="020B0503020204020204" pitchFamily="34" charset="-122"/>
                <a:ea typeface="微软雅黑" panose="020B0503020204020204" pitchFamily="34" charset="-122"/>
              </a:endParaRPr>
            </a:p>
            <a:p>
              <a:pPr marL="171450" lvl="1" indent="-171450">
                <a:lnSpc>
                  <a:spcPct val="120000"/>
                </a:lnSpc>
                <a:buClr>
                  <a:schemeClr val="accent2"/>
                </a:buClr>
                <a:buSzPct val="80000"/>
                <a:buFont typeface="Wingdings" panose="05000000000000000000" pitchFamily="2" charset="2"/>
                <a:buChar char="ü"/>
              </a:pPr>
              <a:r>
                <a:rPr lang="zh-CN" altLang="zh-CN" sz="1200" dirty="0">
                  <a:solidFill>
                    <a:schemeClr val="tx2"/>
                  </a:solidFill>
                  <a:latin typeface="微软雅黑" panose="020B0503020204020204" pitchFamily="34" charset="-122"/>
                  <a:ea typeface="微软雅黑" panose="020B0503020204020204" pitchFamily="34" charset="-122"/>
                </a:rPr>
                <a:t>最大支持端口数</a:t>
              </a:r>
              <a:r>
                <a:rPr lang="en-US" altLang="zh-CN" sz="1200" dirty="0">
                  <a:solidFill>
                    <a:schemeClr val="tx2"/>
                  </a:solidFill>
                  <a:latin typeface="微软雅黑" panose="020B0503020204020204" pitchFamily="34" charset="-122"/>
                  <a:ea typeface="微软雅黑" panose="020B0503020204020204" pitchFamily="34" charset="-122"/>
                </a:rPr>
                <a:t>648</a:t>
              </a:r>
              <a:r>
                <a:rPr lang="zh-CN" altLang="zh-CN" sz="1200" dirty="0">
                  <a:solidFill>
                    <a:schemeClr val="tx2"/>
                  </a:solidFill>
                  <a:latin typeface="微软雅黑" panose="020B0503020204020204" pitchFamily="34" charset="-122"/>
                  <a:ea typeface="微软雅黑" panose="020B0503020204020204" pitchFamily="34" charset="-122"/>
                </a:rPr>
                <a:t>个</a:t>
              </a:r>
              <a:endParaRPr lang="en-US" altLang="zh-CN" sz="1200" dirty="0">
                <a:solidFill>
                  <a:schemeClr val="tx2"/>
                </a:solidFill>
                <a:latin typeface="微软雅黑" panose="020B0503020204020204" pitchFamily="34" charset="-122"/>
                <a:ea typeface="微软雅黑" panose="020B0503020204020204" pitchFamily="34" charset="-122"/>
              </a:endParaRPr>
            </a:p>
          </p:txBody>
        </p:sp>
      </p:grpSp>
      <p:sp>
        <p:nvSpPr>
          <p:cNvPr id="201" name="灯片编号占位符 200"/>
          <p:cNvSpPr>
            <a:spLocks noGrp="1"/>
          </p:cNvSpPr>
          <p:nvPr>
            <p:ph type="sldNum" sz="quarter" idx="12"/>
            <p:custDataLst>
              <p:tags r:id="rId64"/>
            </p:custDataLst>
          </p:nvPr>
        </p:nvSpPr>
        <p:spPr>
          <a:xfrm>
            <a:off x="8610599" y="6651943"/>
            <a:ext cx="2909888" cy="206381"/>
          </a:xfrm>
        </p:spPr>
        <p:txBody>
          <a:bodyPr/>
          <a:lstStyle/>
          <a:p>
            <a:fld id="{5DD3DB80-B894-403A-B48E-6FDC1A72010E}" type="slidenum">
              <a:rPr lang="zh-CN" altLang="en-US" smtClean="0"/>
            </a:fld>
            <a:endParaRPr lang="zh-CN" altLang="en-US"/>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kern="0" dirty="0">
                <a:solidFill>
                  <a:srgbClr val="0070C0"/>
                </a:solidFill>
                <a:latin typeface="微软雅黑" panose="020B0503020204020204" pitchFamily="34" charset="-122"/>
                <a:ea typeface="微软雅黑" panose="020B0503020204020204" pitchFamily="34" charset="-122"/>
                <a:sym typeface="+mn-ea"/>
              </a:rPr>
              <a:t>高新能</a:t>
            </a:r>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一体机：</a:t>
            </a:r>
            <a:r>
              <a:rPr lang="en-US" altLang="zh-CN" kern="0" dirty="0">
                <a:solidFill>
                  <a:srgbClr val="0070C0"/>
                </a:solidFill>
                <a:latin typeface="微软雅黑" panose="020B0503020204020204" pitchFamily="34" charset="-122"/>
                <a:ea typeface="微软雅黑" panose="020B0503020204020204" pitchFamily="34" charset="-122"/>
                <a:sym typeface="+mn-ea"/>
              </a:rPr>
              <a:t>CData</a:t>
            </a:r>
            <a:r>
              <a:rPr lang="zh-CN" altLang="en-US" kern="0" dirty="0">
                <a:solidFill>
                  <a:srgbClr val="0070C0"/>
                </a:solidFill>
                <a:latin typeface="微软雅黑" panose="020B0503020204020204" pitchFamily="34" charset="-122"/>
                <a:ea typeface="微软雅黑" panose="020B0503020204020204" pitchFamily="34" charset="-122"/>
                <a:sym typeface="+mn-ea"/>
              </a:rPr>
              <a:t>核心软件</a:t>
            </a:r>
            <a:r>
              <a:rPr lang="en-US" altLang="zh-CN" kern="0" dirty="0">
                <a:solidFill>
                  <a:srgbClr val="0070C0"/>
                </a:solidFill>
                <a:latin typeface="微软雅黑" panose="020B0503020204020204" pitchFamily="34" charset="-122"/>
                <a:ea typeface="微软雅黑" panose="020B0503020204020204" pitchFamily="34" charset="-122"/>
                <a:sym typeface="+mn-ea"/>
              </a:rPr>
              <a:t>CFabric</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grpSp>
        <p:nvGrpSpPr>
          <p:cNvPr id="8" name="组合 7"/>
          <p:cNvGrpSpPr/>
          <p:nvPr/>
        </p:nvGrpSpPr>
        <p:grpSpPr>
          <a:xfrm>
            <a:off x="5070475" y="2665095"/>
            <a:ext cx="1978660" cy="1042670"/>
            <a:chOff x="5134326" y="1677668"/>
            <a:chExt cx="1978559" cy="1042788"/>
          </a:xfrm>
        </p:grpSpPr>
        <p:sp>
          <p:nvSpPr>
            <p:cNvPr id="54" name="圆角矩形 53"/>
            <p:cNvSpPr/>
            <p:nvPr>
              <p:custDataLst>
                <p:tags r:id="rId1"/>
              </p:custDataLst>
            </p:nvPr>
          </p:nvSpPr>
          <p:spPr bwMode="auto">
            <a:xfrm>
              <a:off x="5134326" y="1677668"/>
              <a:ext cx="1978559" cy="1042788"/>
            </a:xfrm>
            <a:prstGeom prst="roundRect">
              <a:avLst>
                <a:gd name="adj" fmla="val 8528"/>
              </a:avLst>
            </a:prstGeom>
            <a:solidFill>
              <a:srgbClr val="0099CC"/>
            </a:solidFill>
            <a:ln w="6350">
              <a:noFill/>
              <a:round/>
            </a:ln>
            <a:effectLst>
              <a:outerShdw blurRad="63500" algn="ctr" rotWithShape="0">
                <a:prstClr val="black">
                  <a:alpha val="40000"/>
                </a:prstClr>
              </a:outerShdw>
            </a:effectLst>
          </p:spPr>
          <p:txBody>
            <a:bodyPr/>
            <a:lstStyle/>
            <a:p>
              <a:pPr algn="ctr"/>
              <a:r>
                <a:rPr lang="en-US" altLang="zh-CN" sz="1400" b="1" dirty="0">
                  <a:solidFill>
                    <a:schemeClr val="bg1"/>
                  </a:solidFill>
                  <a:latin typeface="微软雅黑" panose="020B0503020204020204" pitchFamily="34" charset="-122"/>
                  <a:ea typeface="微软雅黑" panose="020B0503020204020204" pitchFamily="34" charset="-122"/>
                </a:rPr>
                <a:t>CFabric Client</a:t>
              </a:r>
              <a:endParaRPr lang="en-US" altLang="zh-CN" sz="1400" b="1" dirty="0">
                <a:solidFill>
                  <a:schemeClr val="bg1"/>
                </a:solidFill>
                <a:latin typeface="微软雅黑" panose="020B0503020204020204" pitchFamily="34" charset="-122"/>
                <a:ea typeface="微软雅黑" panose="020B0503020204020204" pitchFamily="34" charset="-122"/>
              </a:endParaRPr>
            </a:p>
          </p:txBody>
        </p:sp>
        <p:sp>
          <p:nvSpPr>
            <p:cNvPr id="53" name="圆角矩形 52"/>
            <p:cNvSpPr/>
            <p:nvPr>
              <p:custDataLst>
                <p:tags r:id="rId2"/>
              </p:custDataLst>
            </p:nvPr>
          </p:nvSpPr>
          <p:spPr bwMode="auto">
            <a:xfrm>
              <a:off x="5331700" y="2055395"/>
              <a:ext cx="1614294" cy="278724"/>
            </a:xfrm>
            <a:prstGeom prst="roundRect">
              <a:avLst>
                <a:gd name="adj" fmla="val 8528"/>
              </a:avLst>
            </a:prstGeom>
            <a:solidFill>
              <a:schemeClr val="bg1">
                <a:lumMod val="95000"/>
              </a:schemeClr>
            </a:solidFill>
            <a:ln w="6350">
              <a:solidFill>
                <a:schemeClr val="bg1"/>
              </a:solidFill>
              <a:round/>
            </a:ln>
            <a:effectLst>
              <a:outerShdw blurRad="63500" algn="ctr" rotWithShape="0">
                <a:prstClr val="black">
                  <a:alpha val="40000"/>
                </a:prstClr>
              </a:outerShdw>
            </a:effectLst>
          </p:spPr>
          <p:txBody>
            <a:bodyPr/>
            <a:lstStyle/>
            <a:p>
              <a:pPr algn="ctr"/>
              <a:r>
                <a:rPr lang="zh-CN" altLang="en-US" sz="1200" b="1" dirty="0">
                  <a:solidFill>
                    <a:schemeClr val="tx2"/>
                  </a:solidFill>
                  <a:latin typeface="微软雅黑" panose="020B0503020204020204" pitchFamily="34" charset="-122"/>
                  <a:ea typeface="微软雅黑" panose="020B0503020204020204" pitchFamily="34" charset="-122"/>
                </a:rPr>
                <a:t>设备统一命名管理</a:t>
              </a:r>
              <a:endParaRPr lang="zh-CN" altLang="en-US" sz="1200" b="1" dirty="0">
                <a:solidFill>
                  <a:schemeClr val="tx2"/>
                </a:solidFill>
                <a:latin typeface="微软雅黑" panose="020B0503020204020204" pitchFamily="34" charset="-122"/>
                <a:ea typeface="微软雅黑" panose="020B0503020204020204" pitchFamily="34" charset="-122"/>
              </a:endParaRPr>
            </a:p>
          </p:txBody>
        </p:sp>
        <p:sp>
          <p:nvSpPr>
            <p:cNvPr id="52" name="圆角矩形 51"/>
            <p:cNvSpPr/>
            <p:nvPr>
              <p:custDataLst>
                <p:tags r:id="rId3"/>
              </p:custDataLst>
            </p:nvPr>
          </p:nvSpPr>
          <p:spPr bwMode="auto">
            <a:xfrm>
              <a:off x="5331700" y="2334118"/>
              <a:ext cx="1614294" cy="288633"/>
            </a:xfrm>
            <a:prstGeom prst="roundRect">
              <a:avLst/>
            </a:prstGeom>
            <a:solidFill>
              <a:srgbClr val="53B18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r>
                <a:rPr lang="zh-CN" altLang="en-US" sz="1200" b="1" dirty="0">
                  <a:solidFill>
                    <a:schemeClr val="bg1"/>
                  </a:solidFill>
                  <a:latin typeface="微软雅黑" panose="020B0503020204020204" pitchFamily="34" charset="-122"/>
                  <a:ea typeface="微软雅黑" panose="020B0503020204020204" pitchFamily="34" charset="-122"/>
                </a:rPr>
                <a:t>多路径管理</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grpSp>
      <p:grpSp>
        <p:nvGrpSpPr>
          <p:cNvPr id="24" name="组合 23"/>
          <p:cNvGrpSpPr/>
          <p:nvPr/>
        </p:nvGrpSpPr>
        <p:grpSpPr>
          <a:xfrm>
            <a:off x="7383780" y="2673350"/>
            <a:ext cx="1978660" cy="1042670"/>
            <a:chOff x="7447874" y="1686401"/>
            <a:chExt cx="1978559" cy="1042788"/>
          </a:xfrm>
        </p:grpSpPr>
        <p:sp>
          <p:nvSpPr>
            <p:cNvPr id="55" name="圆角矩形 54"/>
            <p:cNvSpPr/>
            <p:nvPr>
              <p:custDataLst>
                <p:tags r:id="rId4"/>
              </p:custDataLst>
            </p:nvPr>
          </p:nvSpPr>
          <p:spPr bwMode="auto">
            <a:xfrm>
              <a:off x="7447874" y="1686401"/>
              <a:ext cx="1978559" cy="1042788"/>
            </a:xfrm>
            <a:prstGeom prst="roundRect">
              <a:avLst>
                <a:gd name="adj" fmla="val 8528"/>
              </a:avLst>
            </a:prstGeom>
            <a:solidFill>
              <a:srgbClr val="0099CC"/>
            </a:solidFill>
            <a:ln w="6350">
              <a:noFill/>
              <a:round/>
            </a:ln>
            <a:effectLst>
              <a:outerShdw blurRad="63500" algn="ctr" rotWithShape="0">
                <a:prstClr val="black">
                  <a:alpha val="40000"/>
                </a:prstClr>
              </a:outerShdw>
            </a:effectLst>
          </p:spPr>
          <p:txBody>
            <a:bodyPr/>
            <a:lstStyle/>
            <a:p>
              <a:pPr algn="ctr"/>
              <a:r>
                <a:rPr lang="en-US" altLang="zh-CN" sz="1400" b="1" dirty="0">
                  <a:solidFill>
                    <a:schemeClr val="bg1"/>
                  </a:solidFill>
                  <a:latin typeface="微软雅黑" panose="020B0503020204020204" pitchFamily="34" charset="-122"/>
                  <a:ea typeface="微软雅黑" panose="020B0503020204020204" pitchFamily="34" charset="-122"/>
                </a:rPr>
                <a:t>CFabric Client</a:t>
              </a:r>
              <a:endParaRPr lang="en-US" altLang="zh-CN" sz="1400" b="1" dirty="0">
                <a:solidFill>
                  <a:schemeClr val="bg1"/>
                </a:solidFill>
                <a:latin typeface="微软雅黑" panose="020B0503020204020204" pitchFamily="34" charset="-122"/>
                <a:ea typeface="微软雅黑" panose="020B0503020204020204" pitchFamily="34" charset="-122"/>
              </a:endParaRPr>
            </a:p>
          </p:txBody>
        </p:sp>
        <p:sp>
          <p:nvSpPr>
            <p:cNvPr id="56" name="圆角矩形 55"/>
            <p:cNvSpPr/>
            <p:nvPr>
              <p:custDataLst>
                <p:tags r:id="rId5"/>
              </p:custDataLst>
            </p:nvPr>
          </p:nvSpPr>
          <p:spPr bwMode="auto">
            <a:xfrm>
              <a:off x="7645248" y="2064128"/>
              <a:ext cx="1614294" cy="278724"/>
            </a:xfrm>
            <a:prstGeom prst="roundRect">
              <a:avLst>
                <a:gd name="adj" fmla="val 8528"/>
              </a:avLst>
            </a:prstGeom>
            <a:solidFill>
              <a:schemeClr val="bg1">
                <a:lumMod val="95000"/>
              </a:schemeClr>
            </a:solidFill>
            <a:ln w="6350">
              <a:solidFill>
                <a:schemeClr val="bg1"/>
              </a:solidFill>
              <a:round/>
            </a:ln>
            <a:effectLst>
              <a:outerShdw blurRad="63500" algn="ctr" rotWithShape="0">
                <a:prstClr val="black">
                  <a:alpha val="40000"/>
                </a:prstClr>
              </a:outerShdw>
            </a:effectLst>
          </p:spPr>
          <p:txBody>
            <a:bodyPr/>
            <a:lstStyle/>
            <a:p>
              <a:pPr algn="ctr"/>
              <a:r>
                <a:rPr lang="zh-CN" altLang="en-US" sz="1200" b="1" dirty="0">
                  <a:solidFill>
                    <a:schemeClr val="tx2"/>
                  </a:solidFill>
                  <a:latin typeface="微软雅黑" panose="020B0503020204020204" pitchFamily="34" charset="-122"/>
                  <a:ea typeface="微软雅黑" panose="020B0503020204020204" pitchFamily="34" charset="-122"/>
                </a:rPr>
                <a:t>设备统一命名管理</a:t>
              </a:r>
              <a:endParaRPr lang="zh-CN" altLang="en-US" sz="1200" b="1" dirty="0">
                <a:solidFill>
                  <a:schemeClr val="tx2"/>
                </a:solidFill>
                <a:latin typeface="微软雅黑" panose="020B0503020204020204" pitchFamily="34" charset="-122"/>
                <a:ea typeface="微软雅黑" panose="020B0503020204020204" pitchFamily="34" charset="-122"/>
              </a:endParaRPr>
            </a:p>
          </p:txBody>
        </p:sp>
        <p:sp>
          <p:nvSpPr>
            <p:cNvPr id="57" name="圆角矩形 56"/>
            <p:cNvSpPr/>
            <p:nvPr>
              <p:custDataLst>
                <p:tags r:id="rId6"/>
              </p:custDataLst>
            </p:nvPr>
          </p:nvSpPr>
          <p:spPr bwMode="auto">
            <a:xfrm>
              <a:off x="7645248" y="2342851"/>
              <a:ext cx="1614294" cy="288633"/>
            </a:xfrm>
            <a:prstGeom prst="roundRect">
              <a:avLst/>
            </a:prstGeom>
            <a:solidFill>
              <a:srgbClr val="53B18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r>
                <a:rPr lang="zh-CN" altLang="en-US" sz="1200" b="1" dirty="0">
                  <a:solidFill>
                    <a:schemeClr val="bg1"/>
                  </a:solidFill>
                  <a:latin typeface="微软雅黑" panose="020B0503020204020204" pitchFamily="34" charset="-122"/>
                  <a:ea typeface="微软雅黑" panose="020B0503020204020204" pitchFamily="34" charset="-122"/>
                </a:rPr>
                <a:t>多路径管理</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10046970" y="2665095"/>
            <a:ext cx="1978660" cy="1042670"/>
            <a:chOff x="10110483" y="1677668"/>
            <a:chExt cx="1978559" cy="1042788"/>
          </a:xfrm>
        </p:grpSpPr>
        <p:sp>
          <p:nvSpPr>
            <p:cNvPr id="58" name="圆角矩形 57"/>
            <p:cNvSpPr/>
            <p:nvPr>
              <p:custDataLst>
                <p:tags r:id="rId7"/>
              </p:custDataLst>
            </p:nvPr>
          </p:nvSpPr>
          <p:spPr bwMode="auto">
            <a:xfrm>
              <a:off x="10110483" y="1677668"/>
              <a:ext cx="1978559" cy="1042788"/>
            </a:xfrm>
            <a:prstGeom prst="roundRect">
              <a:avLst>
                <a:gd name="adj" fmla="val 8528"/>
              </a:avLst>
            </a:prstGeom>
            <a:solidFill>
              <a:srgbClr val="0099CC"/>
            </a:solidFill>
            <a:ln w="6350">
              <a:noFill/>
              <a:round/>
            </a:ln>
            <a:effectLst>
              <a:outerShdw blurRad="63500" algn="ctr" rotWithShape="0">
                <a:prstClr val="black">
                  <a:alpha val="40000"/>
                </a:prstClr>
              </a:outerShdw>
            </a:effectLst>
          </p:spPr>
          <p:txBody>
            <a:bodyPr/>
            <a:lstStyle/>
            <a:p>
              <a:pPr algn="ctr"/>
              <a:r>
                <a:rPr lang="en-US" altLang="zh-CN" sz="1400" b="1" dirty="0">
                  <a:solidFill>
                    <a:schemeClr val="bg1"/>
                  </a:solidFill>
                  <a:latin typeface="微软雅黑" panose="020B0503020204020204" pitchFamily="34" charset="-122"/>
                  <a:ea typeface="微软雅黑" panose="020B0503020204020204" pitchFamily="34" charset="-122"/>
                </a:rPr>
                <a:t>CFabric Client</a:t>
              </a:r>
              <a:endParaRPr lang="en-US" altLang="zh-CN" sz="1400" b="1" dirty="0">
                <a:solidFill>
                  <a:schemeClr val="bg1"/>
                </a:solidFill>
                <a:latin typeface="微软雅黑" panose="020B0503020204020204" pitchFamily="34" charset="-122"/>
                <a:ea typeface="微软雅黑" panose="020B0503020204020204" pitchFamily="34" charset="-122"/>
              </a:endParaRPr>
            </a:p>
          </p:txBody>
        </p:sp>
        <p:sp>
          <p:nvSpPr>
            <p:cNvPr id="59" name="圆角矩形 58"/>
            <p:cNvSpPr/>
            <p:nvPr>
              <p:custDataLst>
                <p:tags r:id="rId8"/>
              </p:custDataLst>
            </p:nvPr>
          </p:nvSpPr>
          <p:spPr bwMode="auto">
            <a:xfrm>
              <a:off x="10307857" y="2055395"/>
              <a:ext cx="1614294" cy="278724"/>
            </a:xfrm>
            <a:prstGeom prst="roundRect">
              <a:avLst>
                <a:gd name="adj" fmla="val 8528"/>
              </a:avLst>
            </a:prstGeom>
            <a:solidFill>
              <a:schemeClr val="bg1">
                <a:lumMod val="95000"/>
              </a:schemeClr>
            </a:solidFill>
            <a:ln w="6350">
              <a:solidFill>
                <a:schemeClr val="bg1"/>
              </a:solidFill>
              <a:round/>
            </a:ln>
            <a:effectLst>
              <a:outerShdw blurRad="63500" algn="ctr" rotWithShape="0">
                <a:prstClr val="black">
                  <a:alpha val="40000"/>
                </a:prstClr>
              </a:outerShdw>
            </a:effectLst>
          </p:spPr>
          <p:txBody>
            <a:bodyPr/>
            <a:lstStyle/>
            <a:p>
              <a:pPr algn="ctr"/>
              <a:r>
                <a:rPr lang="zh-CN" altLang="en-US" sz="1200" b="1" dirty="0">
                  <a:solidFill>
                    <a:schemeClr val="tx2"/>
                  </a:solidFill>
                  <a:latin typeface="微软雅黑" panose="020B0503020204020204" pitchFamily="34" charset="-122"/>
                  <a:ea typeface="微软雅黑" panose="020B0503020204020204" pitchFamily="34" charset="-122"/>
                </a:rPr>
                <a:t>设备统一命名管理</a:t>
              </a:r>
              <a:endParaRPr lang="zh-CN" altLang="en-US" sz="1200" b="1" dirty="0">
                <a:solidFill>
                  <a:schemeClr val="tx2"/>
                </a:solidFill>
                <a:latin typeface="微软雅黑" panose="020B0503020204020204" pitchFamily="34" charset="-122"/>
                <a:ea typeface="微软雅黑" panose="020B0503020204020204" pitchFamily="34" charset="-122"/>
              </a:endParaRPr>
            </a:p>
          </p:txBody>
        </p:sp>
        <p:sp>
          <p:nvSpPr>
            <p:cNvPr id="60" name="圆角矩形 59"/>
            <p:cNvSpPr/>
            <p:nvPr>
              <p:custDataLst>
                <p:tags r:id="rId9"/>
              </p:custDataLst>
            </p:nvPr>
          </p:nvSpPr>
          <p:spPr bwMode="auto">
            <a:xfrm>
              <a:off x="10307857" y="2334118"/>
              <a:ext cx="1614294" cy="288633"/>
            </a:xfrm>
            <a:prstGeom prst="roundRect">
              <a:avLst/>
            </a:prstGeom>
            <a:solidFill>
              <a:srgbClr val="53B18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r>
                <a:rPr lang="zh-CN" altLang="en-US" sz="1200" b="1" dirty="0">
                  <a:solidFill>
                    <a:schemeClr val="bg1"/>
                  </a:solidFill>
                  <a:latin typeface="微软雅黑" panose="020B0503020204020204" pitchFamily="34" charset="-122"/>
                  <a:ea typeface="微软雅黑" panose="020B0503020204020204" pitchFamily="34" charset="-122"/>
                </a:rPr>
                <a:t>多路径管理</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grpSp>
      <p:sp>
        <p:nvSpPr>
          <p:cNvPr id="61" name="圆角矩形 60"/>
          <p:cNvSpPr/>
          <p:nvPr>
            <p:custDataLst>
              <p:tags r:id="rId10"/>
            </p:custDataLst>
          </p:nvPr>
        </p:nvSpPr>
        <p:spPr>
          <a:xfrm>
            <a:off x="5070475" y="4297680"/>
            <a:ext cx="6954520" cy="460375"/>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万兆交换机</a:t>
            </a:r>
            <a:r>
              <a:rPr lang="en-US" altLang="zh-CN" sz="1200" b="1" dirty="0">
                <a:solidFill>
                  <a:schemeClr val="tx1"/>
                </a:solidFill>
                <a:latin typeface="微软雅黑" panose="020B0503020204020204" pitchFamily="34" charset="-122"/>
                <a:ea typeface="微软雅黑" panose="020B0503020204020204" pitchFamily="34" charset="-122"/>
              </a:rPr>
              <a:t>/Infiniband</a:t>
            </a:r>
            <a:r>
              <a:rPr lang="zh-CN" altLang="en-US" sz="1200" b="1" dirty="0">
                <a:solidFill>
                  <a:schemeClr val="tx1"/>
                </a:solidFill>
                <a:latin typeface="微软雅黑" panose="020B0503020204020204" pitchFamily="34" charset="-122"/>
                <a:ea typeface="微软雅黑" panose="020B0503020204020204" pitchFamily="34" charset="-122"/>
              </a:rPr>
              <a:t>交换机网络</a:t>
            </a:r>
            <a:endParaRPr lang="en-US" altLang="zh-CN" sz="1200" b="1" dirty="0">
              <a:solidFill>
                <a:schemeClr val="tx1"/>
              </a:solidFill>
              <a:latin typeface="微软雅黑" panose="020B0503020204020204" pitchFamily="34" charset="-122"/>
              <a:ea typeface="微软雅黑" panose="020B0503020204020204" pitchFamily="34" charset="-122"/>
            </a:endParaRPr>
          </a:p>
        </p:txBody>
      </p:sp>
      <p:grpSp>
        <p:nvGrpSpPr>
          <p:cNvPr id="7" name="组合 6"/>
          <p:cNvGrpSpPr/>
          <p:nvPr/>
        </p:nvGrpSpPr>
        <p:grpSpPr>
          <a:xfrm>
            <a:off x="5070475" y="5572125"/>
            <a:ext cx="1978660" cy="1042670"/>
            <a:chOff x="5134327" y="4861626"/>
            <a:chExt cx="1978559" cy="1042788"/>
          </a:xfrm>
        </p:grpSpPr>
        <p:sp>
          <p:nvSpPr>
            <p:cNvPr id="62" name="圆角矩形 61"/>
            <p:cNvSpPr/>
            <p:nvPr>
              <p:custDataLst>
                <p:tags r:id="rId11"/>
              </p:custDataLst>
            </p:nvPr>
          </p:nvSpPr>
          <p:spPr bwMode="auto">
            <a:xfrm>
              <a:off x="5134327" y="4861626"/>
              <a:ext cx="1978559" cy="1042788"/>
            </a:xfrm>
            <a:prstGeom prst="roundRect">
              <a:avLst>
                <a:gd name="adj" fmla="val 8528"/>
              </a:avLst>
            </a:prstGeom>
            <a:solidFill>
              <a:srgbClr val="0099CC"/>
            </a:solidFill>
            <a:ln w="6350">
              <a:noFill/>
              <a:round/>
            </a:ln>
            <a:effectLst>
              <a:outerShdw blurRad="63500" algn="ctr" rotWithShape="0">
                <a:prstClr val="black">
                  <a:alpha val="40000"/>
                </a:prstClr>
              </a:outerShdw>
            </a:effectLst>
          </p:spPr>
          <p:txBody>
            <a:bodyPr/>
            <a:lstStyle/>
            <a:p>
              <a:pPr algn="ctr"/>
              <a:r>
                <a:rPr lang="en-US" altLang="zh-CN" sz="1400" b="1" dirty="0">
                  <a:solidFill>
                    <a:schemeClr val="bg1"/>
                  </a:solidFill>
                  <a:latin typeface="微软雅黑" panose="020B0503020204020204" pitchFamily="34" charset="-122"/>
                  <a:ea typeface="微软雅黑" panose="020B0503020204020204" pitchFamily="34" charset="-122"/>
                </a:rPr>
                <a:t>CFabric Server</a:t>
              </a:r>
              <a:endParaRPr lang="en-US" altLang="zh-CN" sz="1400" b="1" dirty="0">
                <a:solidFill>
                  <a:schemeClr val="bg1"/>
                </a:solidFill>
                <a:latin typeface="微软雅黑" panose="020B0503020204020204" pitchFamily="34" charset="-122"/>
                <a:ea typeface="微软雅黑" panose="020B0503020204020204" pitchFamily="34" charset="-122"/>
              </a:endParaRPr>
            </a:p>
          </p:txBody>
        </p:sp>
        <p:sp>
          <p:nvSpPr>
            <p:cNvPr id="63" name="圆角矩形 62"/>
            <p:cNvSpPr/>
            <p:nvPr>
              <p:custDataLst>
                <p:tags r:id="rId12"/>
              </p:custDataLst>
            </p:nvPr>
          </p:nvSpPr>
          <p:spPr bwMode="auto">
            <a:xfrm>
              <a:off x="5331701" y="5218087"/>
              <a:ext cx="536120" cy="278724"/>
            </a:xfrm>
            <a:prstGeom prst="roundRect">
              <a:avLst>
                <a:gd name="adj" fmla="val 8528"/>
              </a:avLst>
            </a:prstGeom>
            <a:solidFill>
              <a:schemeClr val="accent2"/>
            </a:solidFill>
            <a:ln w="6350">
              <a:solidFill>
                <a:schemeClr val="bg1"/>
              </a:solidFill>
              <a:round/>
            </a:ln>
            <a:effectLst>
              <a:outerShdw blurRad="63500" algn="ctr" rotWithShape="0">
                <a:prstClr val="black">
                  <a:alpha val="40000"/>
                </a:prstClr>
              </a:outerShdw>
            </a:effectLst>
          </p:spPr>
          <p:txBody>
            <a:bodyPr/>
            <a:lstStyle/>
            <a:p>
              <a:pPr algn="ctr"/>
              <a:r>
                <a:rPr lang="en-US" altLang="zh-CN" sz="1200" b="1" dirty="0">
                  <a:solidFill>
                    <a:schemeClr val="bg1"/>
                  </a:solidFill>
                  <a:latin typeface="微软雅黑" panose="020B0503020204020204" pitchFamily="34" charset="-122"/>
                  <a:ea typeface="微软雅黑" panose="020B0503020204020204" pitchFamily="34" charset="-122"/>
                </a:rPr>
                <a:t>iSER</a:t>
              </a:r>
              <a:endParaRPr lang="en-US" altLang="zh-CN" sz="1200" b="1" dirty="0">
                <a:solidFill>
                  <a:schemeClr val="bg1"/>
                </a:solidFill>
                <a:latin typeface="微软雅黑" panose="020B0503020204020204" pitchFamily="34" charset="-122"/>
                <a:ea typeface="微软雅黑" panose="020B0503020204020204" pitchFamily="34" charset="-122"/>
              </a:endParaRPr>
            </a:p>
          </p:txBody>
        </p:sp>
        <p:sp>
          <p:nvSpPr>
            <p:cNvPr id="64" name="圆角矩形 63"/>
            <p:cNvSpPr/>
            <p:nvPr>
              <p:custDataLst>
                <p:tags r:id="rId13"/>
              </p:custDataLst>
            </p:nvPr>
          </p:nvSpPr>
          <p:spPr bwMode="auto">
            <a:xfrm>
              <a:off x="5331701" y="5518076"/>
              <a:ext cx="1614294" cy="288633"/>
            </a:xfrm>
            <a:prstGeom prst="roundRect">
              <a:avLst/>
            </a:prstGeom>
            <a:solidFill>
              <a:schemeClr val="bg1">
                <a:lumMod val="9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zh-CN" altLang="en-US" sz="1200" b="1" dirty="0">
                  <a:solidFill>
                    <a:schemeClr val="tx2"/>
                  </a:solidFill>
                  <a:latin typeface="微软雅黑" panose="020B0503020204020204" pitchFamily="34" charset="-122"/>
                  <a:ea typeface="微软雅黑" panose="020B0503020204020204" pitchFamily="34" charset="-122"/>
                </a:rPr>
                <a:t>设备统一命名管理</a:t>
              </a:r>
              <a:endParaRPr lang="zh-CN" altLang="en-US" sz="1200" b="1" dirty="0">
                <a:solidFill>
                  <a:schemeClr val="tx2"/>
                </a:solidFill>
                <a:latin typeface="微软雅黑" panose="020B0503020204020204" pitchFamily="34" charset="-122"/>
                <a:ea typeface="微软雅黑" panose="020B0503020204020204" pitchFamily="34" charset="-122"/>
              </a:endParaRPr>
            </a:p>
          </p:txBody>
        </p:sp>
        <p:grpSp>
          <p:nvGrpSpPr>
            <p:cNvPr id="3" name="组合 2"/>
            <p:cNvGrpSpPr/>
            <p:nvPr/>
          </p:nvGrpSpPr>
          <p:grpSpPr>
            <a:xfrm>
              <a:off x="5835923" y="5220492"/>
              <a:ext cx="591982" cy="286089"/>
              <a:chOff x="5835923" y="5220492"/>
              <a:chExt cx="591982" cy="286089"/>
            </a:xfrm>
          </p:grpSpPr>
          <p:sp>
            <p:nvSpPr>
              <p:cNvPr id="71" name="圆角矩形 70"/>
              <p:cNvSpPr/>
              <p:nvPr>
                <p:custDataLst>
                  <p:tags r:id="rId14"/>
                </p:custDataLst>
              </p:nvPr>
            </p:nvSpPr>
            <p:spPr bwMode="auto">
              <a:xfrm>
                <a:off x="5869170" y="5220492"/>
                <a:ext cx="536120" cy="278724"/>
              </a:xfrm>
              <a:prstGeom prst="roundRect">
                <a:avLst>
                  <a:gd name="adj" fmla="val 8528"/>
                </a:avLst>
              </a:prstGeom>
              <a:solidFill>
                <a:schemeClr val="accent2"/>
              </a:solidFill>
              <a:ln w="6350">
                <a:solidFill>
                  <a:schemeClr val="bg1"/>
                </a:solidFill>
                <a:round/>
              </a:ln>
              <a:effectLst>
                <a:outerShdw blurRad="63500" algn="ctr" rotWithShape="0">
                  <a:prstClr val="black">
                    <a:alpha val="40000"/>
                  </a:prstClr>
                </a:outerShdw>
              </a:effectLst>
            </p:spPr>
            <p:txBody>
              <a:bodyPr/>
              <a:lstStyle/>
              <a:p>
                <a:pPr algn="ctr"/>
                <a:endParaRPr lang="en-US" altLang="zh-CN" sz="1200" b="1" dirty="0">
                  <a:solidFill>
                    <a:schemeClr val="tx2"/>
                  </a:solidFill>
                  <a:latin typeface="微软雅黑" panose="020B0503020204020204" pitchFamily="34" charset="-122"/>
                  <a:ea typeface="微软雅黑" panose="020B0503020204020204" pitchFamily="34" charset="-122"/>
                </a:endParaRPr>
              </a:p>
            </p:txBody>
          </p:sp>
          <p:sp>
            <p:nvSpPr>
              <p:cNvPr id="73" name="TextBox 72"/>
              <p:cNvSpPr txBox="1"/>
              <p:nvPr>
                <p:custDataLst>
                  <p:tags r:id="rId15"/>
                </p:custDataLst>
              </p:nvPr>
            </p:nvSpPr>
            <p:spPr>
              <a:xfrm>
                <a:off x="5835923" y="5229582"/>
                <a:ext cx="591982" cy="276999"/>
              </a:xfrm>
              <a:prstGeom prst="rect">
                <a:avLst/>
              </a:prstGeom>
              <a:noFill/>
            </p:spPr>
            <p:txBody>
              <a:bodyPr wrap="square" rtlCol="0">
                <a:spAutoFit/>
              </a:bodyPr>
              <a:lstStyle/>
              <a:p>
                <a:pPr algn="ctr"/>
                <a:r>
                  <a:rPr lang="en-US" altLang="zh-CN" sz="1200" b="1" dirty="0">
                    <a:solidFill>
                      <a:schemeClr val="bg1"/>
                    </a:solidFill>
                    <a:latin typeface="微软雅黑" panose="020B0503020204020204" pitchFamily="34" charset="-122"/>
                    <a:ea typeface="微软雅黑" panose="020B0503020204020204" pitchFamily="34" charset="-122"/>
                  </a:rPr>
                  <a:t>iSCSI</a:t>
                </a:r>
                <a:endParaRPr lang="en-US" altLang="zh-CN" sz="1200" b="1" dirty="0">
                  <a:solidFill>
                    <a:schemeClr val="bg1"/>
                  </a:solidFill>
                  <a:latin typeface="微软雅黑" panose="020B0503020204020204" pitchFamily="34" charset="-122"/>
                  <a:ea typeface="微软雅黑" panose="020B0503020204020204" pitchFamily="34" charset="-122"/>
                </a:endParaRPr>
              </a:p>
            </p:txBody>
          </p:sp>
        </p:grpSp>
        <p:grpSp>
          <p:nvGrpSpPr>
            <p:cNvPr id="5" name="组合 4"/>
            <p:cNvGrpSpPr/>
            <p:nvPr/>
          </p:nvGrpSpPr>
          <p:grpSpPr>
            <a:xfrm>
              <a:off x="6341492" y="5218949"/>
              <a:ext cx="691864" cy="284474"/>
              <a:chOff x="6341492" y="5218949"/>
              <a:chExt cx="691864" cy="284474"/>
            </a:xfrm>
          </p:grpSpPr>
          <p:sp>
            <p:nvSpPr>
              <p:cNvPr id="72" name="圆角矩形 71"/>
              <p:cNvSpPr/>
              <p:nvPr>
                <p:custDataLst>
                  <p:tags r:id="rId16"/>
                </p:custDataLst>
              </p:nvPr>
            </p:nvSpPr>
            <p:spPr bwMode="auto">
              <a:xfrm>
                <a:off x="6406638" y="5224699"/>
                <a:ext cx="536120" cy="278724"/>
              </a:xfrm>
              <a:prstGeom prst="roundRect">
                <a:avLst>
                  <a:gd name="adj" fmla="val 8528"/>
                </a:avLst>
              </a:prstGeom>
              <a:solidFill>
                <a:schemeClr val="accent2"/>
              </a:solidFill>
              <a:ln w="6350">
                <a:solidFill>
                  <a:schemeClr val="bg1"/>
                </a:solidFill>
                <a:round/>
              </a:ln>
              <a:effectLst>
                <a:outerShdw blurRad="63500" algn="ctr" rotWithShape="0">
                  <a:prstClr val="black">
                    <a:alpha val="40000"/>
                  </a:prstClr>
                </a:outerShdw>
              </a:effectLst>
            </p:spPr>
            <p:txBody>
              <a:bodyPr/>
              <a:lstStyle/>
              <a:p>
                <a:pPr algn="ctr"/>
                <a:endParaRPr lang="en-US" altLang="zh-CN" sz="1200" b="1" dirty="0">
                  <a:solidFill>
                    <a:schemeClr val="tx2"/>
                  </a:solidFill>
                  <a:latin typeface="微软雅黑" panose="020B0503020204020204" pitchFamily="34" charset="-122"/>
                  <a:ea typeface="微软雅黑" panose="020B0503020204020204" pitchFamily="34" charset="-122"/>
                </a:endParaRPr>
              </a:p>
            </p:txBody>
          </p:sp>
          <p:sp>
            <p:nvSpPr>
              <p:cNvPr id="74" name="TextBox 73"/>
              <p:cNvSpPr txBox="1"/>
              <p:nvPr>
                <p:custDataLst>
                  <p:tags r:id="rId17"/>
                </p:custDataLst>
              </p:nvPr>
            </p:nvSpPr>
            <p:spPr>
              <a:xfrm>
                <a:off x="6341492" y="5218949"/>
                <a:ext cx="691864" cy="276999"/>
              </a:xfrm>
              <a:prstGeom prst="rect">
                <a:avLst/>
              </a:prstGeom>
              <a:noFill/>
            </p:spPr>
            <p:txBody>
              <a:bodyPr wrap="square" rtlCol="0">
                <a:spAutoFit/>
              </a:bodyPr>
              <a:lstStyle/>
              <a:p>
                <a:pPr algn="ctr"/>
                <a:r>
                  <a:rPr lang="en-US" altLang="zh-CN" sz="1200" b="1" dirty="0">
                    <a:solidFill>
                      <a:schemeClr val="bg1"/>
                    </a:solidFill>
                    <a:latin typeface="微软雅黑" panose="020B0503020204020204" pitchFamily="34" charset="-122"/>
                    <a:ea typeface="微软雅黑" panose="020B0503020204020204" pitchFamily="34" charset="-122"/>
                  </a:rPr>
                  <a:t>NVMe</a:t>
                </a:r>
                <a:endParaRPr lang="en-US" altLang="zh-CN" sz="1200" b="1" dirty="0">
                  <a:solidFill>
                    <a:schemeClr val="bg1"/>
                  </a:solidFill>
                  <a:latin typeface="微软雅黑" panose="020B0503020204020204" pitchFamily="34" charset="-122"/>
                  <a:ea typeface="微软雅黑" panose="020B0503020204020204" pitchFamily="34" charset="-122"/>
                </a:endParaRPr>
              </a:p>
            </p:txBody>
          </p:sp>
        </p:grpSp>
      </p:grpSp>
      <p:grpSp>
        <p:nvGrpSpPr>
          <p:cNvPr id="75" name="组合 74"/>
          <p:cNvGrpSpPr/>
          <p:nvPr/>
        </p:nvGrpSpPr>
        <p:grpSpPr>
          <a:xfrm>
            <a:off x="7399020" y="5568315"/>
            <a:ext cx="1978660" cy="1042670"/>
            <a:chOff x="5134327" y="4861626"/>
            <a:chExt cx="1978559" cy="1042788"/>
          </a:xfrm>
        </p:grpSpPr>
        <p:sp>
          <p:nvSpPr>
            <p:cNvPr id="76" name="圆角矩形 75"/>
            <p:cNvSpPr/>
            <p:nvPr>
              <p:custDataLst>
                <p:tags r:id="rId18"/>
              </p:custDataLst>
            </p:nvPr>
          </p:nvSpPr>
          <p:spPr bwMode="auto">
            <a:xfrm>
              <a:off x="5134327" y="4861626"/>
              <a:ext cx="1978559" cy="1042788"/>
            </a:xfrm>
            <a:prstGeom prst="roundRect">
              <a:avLst>
                <a:gd name="adj" fmla="val 8528"/>
              </a:avLst>
            </a:prstGeom>
            <a:solidFill>
              <a:srgbClr val="0099CC"/>
            </a:solidFill>
            <a:ln w="6350">
              <a:noFill/>
              <a:round/>
            </a:ln>
            <a:effectLst>
              <a:outerShdw blurRad="63500" algn="ctr" rotWithShape="0">
                <a:prstClr val="black">
                  <a:alpha val="40000"/>
                </a:prstClr>
              </a:outerShdw>
            </a:effectLst>
          </p:spPr>
          <p:txBody>
            <a:bodyPr/>
            <a:lstStyle/>
            <a:p>
              <a:pPr algn="ctr"/>
              <a:r>
                <a:rPr lang="en-US" altLang="zh-CN" sz="1400" b="1" dirty="0">
                  <a:solidFill>
                    <a:schemeClr val="bg1"/>
                  </a:solidFill>
                  <a:latin typeface="微软雅黑" panose="020B0503020204020204" pitchFamily="34" charset="-122"/>
                  <a:ea typeface="微软雅黑" panose="020B0503020204020204" pitchFamily="34" charset="-122"/>
                </a:rPr>
                <a:t>CFabric Server</a:t>
              </a:r>
              <a:endParaRPr lang="en-US" altLang="zh-CN" sz="1400" b="1" dirty="0">
                <a:solidFill>
                  <a:schemeClr val="bg1"/>
                </a:solidFill>
                <a:latin typeface="微软雅黑" panose="020B0503020204020204" pitchFamily="34" charset="-122"/>
                <a:ea typeface="微软雅黑" panose="020B0503020204020204" pitchFamily="34" charset="-122"/>
              </a:endParaRPr>
            </a:p>
          </p:txBody>
        </p:sp>
        <p:sp>
          <p:nvSpPr>
            <p:cNvPr id="77" name="圆角矩形 76"/>
            <p:cNvSpPr/>
            <p:nvPr>
              <p:custDataLst>
                <p:tags r:id="rId19"/>
              </p:custDataLst>
            </p:nvPr>
          </p:nvSpPr>
          <p:spPr bwMode="auto">
            <a:xfrm>
              <a:off x="5331701" y="5218087"/>
              <a:ext cx="536120" cy="278724"/>
            </a:xfrm>
            <a:prstGeom prst="roundRect">
              <a:avLst>
                <a:gd name="adj" fmla="val 8528"/>
              </a:avLst>
            </a:prstGeom>
            <a:solidFill>
              <a:schemeClr val="accent2"/>
            </a:solidFill>
            <a:ln w="6350">
              <a:solidFill>
                <a:schemeClr val="bg1"/>
              </a:solidFill>
              <a:round/>
            </a:ln>
            <a:effectLst>
              <a:outerShdw blurRad="63500" algn="ctr" rotWithShape="0">
                <a:prstClr val="black">
                  <a:alpha val="40000"/>
                </a:prstClr>
              </a:outerShdw>
            </a:effectLst>
          </p:spPr>
          <p:txBody>
            <a:bodyPr/>
            <a:lstStyle/>
            <a:p>
              <a:pPr algn="ctr"/>
              <a:r>
                <a:rPr lang="en-US" altLang="zh-CN" sz="1200" b="1" dirty="0">
                  <a:solidFill>
                    <a:schemeClr val="bg1"/>
                  </a:solidFill>
                  <a:latin typeface="微软雅黑" panose="020B0503020204020204" pitchFamily="34" charset="-122"/>
                  <a:ea typeface="微软雅黑" panose="020B0503020204020204" pitchFamily="34" charset="-122"/>
                </a:rPr>
                <a:t>iSER</a:t>
              </a:r>
              <a:endParaRPr lang="en-US" altLang="zh-CN" sz="1200" b="1" dirty="0">
                <a:solidFill>
                  <a:schemeClr val="bg1"/>
                </a:solidFill>
                <a:latin typeface="微软雅黑" panose="020B0503020204020204" pitchFamily="34" charset="-122"/>
                <a:ea typeface="微软雅黑" panose="020B0503020204020204" pitchFamily="34" charset="-122"/>
              </a:endParaRPr>
            </a:p>
          </p:txBody>
        </p:sp>
        <p:sp>
          <p:nvSpPr>
            <p:cNvPr id="78" name="圆角矩形 77"/>
            <p:cNvSpPr/>
            <p:nvPr>
              <p:custDataLst>
                <p:tags r:id="rId20"/>
              </p:custDataLst>
            </p:nvPr>
          </p:nvSpPr>
          <p:spPr bwMode="auto">
            <a:xfrm>
              <a:off x="5331701" y="5518076"/>
              <a:ext cx="1614294" cy="288633"/>
            </a:xfrm>
            <a:prstGeom prst="roundRect">
              <a:avLst/>
            </a:prstGeom>
            <a:solidFill>
              <a:schemeClr val="bg1">
                <a:lumMod val="9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zh-CN" altLang="en-US" sz="1200" b="1" dirty="0">
                  <a:solidFill>
                    <a:schemeClr val="tx2"/>
                  </a:solidFill>
                  <a:latin typeface="微软雅黑" panose="020B0503020204020204" pitchFamily="34" charset="-122"/>
                  <a:ea typeface="微软雅黑" panose="020B0503020204020204" pitchFamily="34" charset="-122"/>
                </a:rPr>
                <a:t>设备统一命名管理</a:t>
              </a:r>
              <a:endParaRPr lang="zh-CN" altLang="en-US" sz="1200" b="1" dirty="0">
                <a:solidFill>
                  <a:schemeClr val="tx2"/>
                </a:solidFill>
                <a:latin typeface="微软雅黑" panose="020B0503020204020204" pitchFamily="34" charset="-122"/>
                <a:ea typeface="微软雅黑" panose="020B0503020204020204" pitchFamily="34" charset="-122"/>
              </a:endParaRPr>
            </a:p>
          </p:txBody>
        </p:sp>
        <p:grpSp>
          <p:nvGrpSpPr>
            <p:cNvPr id="79" name="组合 78"/>
            <p:cNvGrpSpPr/>
            <p:nvPr/>
          </p:nvGrpSpPr>
          <p:grpSpPr>
            <a:xfrm>
              <a:off x="5835923" y="5220492"/>
              <a:ext cx="591982" cy="286089"/>
              <a:chOff x="5835923" y="5220492"/>
              <a:chExt cx="591982" cy="286089"/>
            </a:xfrm>
          </p:grpSpPr>
          <p:sp>
            <p:nvSpPr>
              <p:cNvPr id="83" name="圆角矩形 82"/>
              <p:cNvSpPr/>
              <p:nvPr>
                <p:custDataLst>
                  <p:tags r:id="rId21"/>
                </p:custDataLst>
              </p:nvPr>
            </p:nvSpPr>
            <p:spPr bwMode="auto">
              <a:xfrm>
                <a:off x="5869170" y="5220492"/>
                <a:ext cx="536120" cy="278724"/>
              </a:xfrm>
              <a:prstGeom prst="roundRect">
                <a:avLst>
                  <a:gd name="adj" fmla="val 8528"/>
                </a:avLst>
              </a:prstGeom>
              <a:solidFill>
                <a:schemeClr val="accent2"/>
              </a:solidFill>
              <a:ln w="6350">
                <a:solidFill>
                  <a:schemeClr val="bg1"/>
                </a:solidFill>
                <a:round/>
              </a:ln>
              <a:effectLst>
                <a:outerShdw blurRad="63500" algn="ctr" rotWithShape="0">
                  <a:prstClr val="black">
                    <a:alpha val="40000"/>
                  </a:prstClr>
                </a:outerShdw>
              </a:effectLst>
            </p:spPr>
            <p:txBody>
              <a:bodyPr/>
              <a:lstStyle/>
              <a:p>
                <a:pPr algn="ctr"/>
                <a:endParaRPr lang="en-US" altLang="zh-CN" sz="1200" b="1" dirty="0">
                  <a:solidFill>
                    <a:schemeClr val="tx2"/>
                  </a:solidFill>
                  <a:latin typeface="微软雅黑" panose="020B0503020204020204" pitchFamily="34" charset="-122"/>
                  <a:ea typeface="微软雅黑" panose="020B0503020204020204" pitchFamily="34" charset="-122"/>
                </a:endParaRPr>
              </a:p>
            </p:txBody>
          </p:sp>
          <p:sp>
            <p:nvSpPr>
              <p:cNvPr id="84" name="TextBox 83"/>
              <p:cNvSpPr txBox="1"/>
              <p:nvPr>
                <p:custDataLst>
                  <p:tags r:id="rId22"/>
                </p:custDataLst>
              </p:nvPr>
            </p:nvSpPr>
            <p:spPr>
              <a:xfrm>
                <a:off x="5835923" y="5229582"/>
                <a:ext cx="591982" cy="276999"/>
              </a:xfrm>
              <a:prstGeom prst="rect">
                <a:avLst/>
              </a:prstGeom>
              <a:noFill/>
            </p:spPr>
            <p:txBody>
              <a:bodyPr wrap="square" rtlCol="0">
                <a:spAutoFit/>
              </a:bodyPr>
              <a:lstStyle/>
              <a:p>
                <a:pPr algn="ctr"/>
                <a:r>
                  <a:rPr lang="en-US" altLang="zh-CN" sz="1200" b="1" dirty="0">
                    <a:solidFill>
                      <a:schemeClr val="bg1"/>
                    </a:solidFill>
                    <a:latin typeface="微软雅黑" panose="020B0503020204020204" pitchFamily="34" charset="-122"/>
                    <a:ea typeface="微软雅黑" panose="020B0503020204020204" pitchFamily="34" charset="-122"/>
                  </a:rPr>
                  <a:t>iSCSI</a:t>
                </a:r>
                <a:endParaRPr lang="en-US" altLang="zh-CN" sz="1200" b="1" dirty="0">
                  <a:solidFill>
                    <a:schemeClr val="bg1"/>
                  </a:solidFill>
                  <a:latin typeface="微软雅黑" panose="020B0503020204020204" pitchFamily="34" charset="-122"/>
                  <a:ea typeface="微软雅黑" panose="020B0503020204020204" pitchFamily="34" charset="-122"/>
                </a:endParaRPr>
              </a:p>
            </p:txBody>
          </p:sp>
        </p:grpSp>
        <p:grpSp>
          <p:nvGrpSpPr>
            <p:cNvPr id="80" name="组合 79"/>
            <p:cNvGrpSpPr/>
            <p:nvPr/>
          </p:nvGrpSpPr>
          <p:grpSpPr>
            <a:xfrm>
              <a:off x="6341492" y="5218949"/>
              <a:ext cx="691864" cy="284474"/>
              <a:chOff x="6341492" y="5218949"/>
              <a:chExt cx="691864" cy="284474"/>
            </a:xfrm>
          </p:grpSpPr>
          <p:sp>
            <p:nvSpPr>
              <p:cNvPr id="81" name="圆角矩形 80"/>
              <p:cNvSpPr/>
              <p:nvPr>
                <p:custDataLst>
                  <p:tags r:id="rId23"/>
                </p:custDataLst>
              </p:nvPr>
            </p:nvSpPr>
            <p:spPr bwMode="auto">
              <a:xfrm>
                <a:off x="6406638" y="5224699"/>
                <a:ext cx="536120" cy="278724"/>
              </a:xfrm>
              <a:prstGeom prst="roundRect">
                <a:avLst>
                  <a:gd name="adj" fmla="val 8528"/>
                </a:avLst>
              </a:prstGeom>
              <a:solidFill>
                <a:schemeClr val="accent2"/>
              </a:solidFill>
              <a:ln w="6350">
                <a:solidFill>
                  <a:schemeClr val="bg1"/>
                </a:solidFill>
                <a:round/>
              </a:ln>
              <a:effectLst>
                <a:outerShdw blurRad="63500" algn="ctr" rotWithShape="0">
                  <a:prstClr val="black">
                    <a:alpha val="40000"/>
                  </a:prstClr>
                </a:outerShdw>
              </a:effectLst>
            </p:spPr>
            <p:txBody>
              <a:bodyPr/>
              <a:lstStyle/>
              <a:p>
                <a:pPr algn="ctr"/>
                <a:endParaRPr lang="en-US" altLang="zh-CN" sz="1200" b="1" dirty="0">
                  <a:solidFill>
                    <a:schemeClr val="tx2"/>
                  </a:solidFill>
                  <a:latin typeface="微软雅黑" panose="020B0503020204020204" pitchFamily="34" charset="-122"/>
                  <a:ea typeface="微软雅黑" panose="020B0503020204020204" pitchFamily="34" charset="-122"/>
                </a:endParaRPr>
              </a:p>
            </p:txBody>
          </p:sp>
          <p:sp>
            <p:nvSpPr>
              <p:cNvPr id="82" name="TextBox 81"/>
              <p:cNvSpPr txBox="1"/>
              <p:nvPr>
                <p:custDataLst>
                  <p:tags r:id="rId24"/>
                </p:custDataLst>
              </p:nvPr>
            </p:nvSpPr>
            <p:spPr>
              <a:xfrm>
                <a:off x="6341492" y="5218949"/>
                <a:ext cx="691864" cy="276999"/>
              </a:xfrm>
              <a:prstGeom prst="rect">
                <a:avLst/>
              </a:prstGeom>
              <a:noFill/>
            </p:spPr>
            <p:txBody>
              <a:bodyPr wrap="square" rtlCol="0">
                <a:spAutoFit/>
              </a:bodyPr>
              <a:lstStyle/>
              <a:p>
                <a:pPr algn="ctr"/>
                <a:r>
                  <a:rPr lang="en-US" altLang="zh-CN" sz="1200" b="1" dirty="0">
                    <a:solidFill>
                      <a:schemeClr val="bg1"/>
                    </a:solidFill>
                    <a:latin typeface="微软雅黑" panose="020B0503020204020204" pitchFamily="34" charset="-122"/>
                    <a:ea typeface="微软雅黑" panose="020B0503020204020204" pitchFamily="34" charset="-122"/>
                  </a:rPr>
                  <a:t>NVMe</a:t>
                </a:r>
                <a:endParaRPr lang="en-US" altLang="zh-CN" sz="1200" b="1" dirty="0">
                  <a:solidFill>
                    <a:schemeClr val="bg1"/>
                  </a:solidFill>
                  <a:latin typeface="微软雅黑" panose="020B0503020204020204" pitchFamily="34" charset="-122"/>
                  <a:ea typeface="微软雅黑" panose="020B0503020204020204" pitchFamily="34" charset="-122"/>
                </a:endParaRPr>
              </a:p>
            </p:txBody>
          </p:sp>
        </p:grpSp>
      </p:grpSp>
      <p:grpSp>
        <p:nvGrpSpPr>
          <p:cNvPr id="85" name="组合 84"/>
          <p:cNvGrpSpPr/>
          <p:nvPr/>
        </p:nvGrpSpPr>
        <p:grpSpPr>
          <a:xfrm>
            <a:off x="10051415" y="5581015"/>
            <a:ext cx="1978660" cy="1042670"/>
            <a:chOff x="5134327" y="4861626"/>
            <a:chExt cx="1978559" cy="1042788"/>
          </a:xfrm>
        </p:grpSpPr>
        <p:sp>
          <p:nvSpPr>
            <p:cNvPr id="86" name="圆角矩形 85"/>
            <p:cNvSpPr/>
            <p:nvPr>
              <p:custDataLst>
                <p:tags r:id="rId25"/>
              </p:custDataLst>
            </p:nvPr>
          </p:nvSpPr>
          <p:spPr bwMode="auto">
            <a:xfrm>
              <a:off x="5134327" y="4861626"/>
              <a:ext cx="1978559" cy="1042788"/>
            </a:xfrm>
            <a:prstGeom prst="roundRect">
              <a:avLst>
                <a:gd name="adj" fmla="val 8528"/>
              </a:avLst>
            </a:prstGeom>
            <a:solidFill>
              <a:srgbClr val="0099CC"/>
            </a:solidFill>
            <a:ln w="6350">
              <a:noFill/>
              <a:round/>
            </a:ln>
            <a:effectLst>
              <a:outerShdw blurRad="63500" algn="ctr" rotWithShape="0">
                <a:prstClr val="black">
                  <a:alpha val="40000"/>
                </a:prstClr>
              </a:outerShdw>
            </a:effectLst>
          </p:spPr>
          <p:txBody>
            <a:bodyPr/>
            <a:lstStyle/>
            <a:p>
              <a:pPr algn="ctr"/>
              <a:r>
                <a:rPr lang="en-US" altLang="zh-CN" sz="1400" b="1" dirty="0">
                  <a:solidFill>
                    <a:schemeClr val="bg1"/>
                  </a:solidFill>
                  <a:latin typeface="微软雅黑" panose="020B0503020204020204" pitchFamily="34" charset="-122"/>
                  <a:ea typeface="微软雅黑" panose="020B0503020204020204" pitchFamily="34" charset="-122"/>
                </a:rPr>
                <a:t>CFabric Server</a:t>
              </a:r>
              <a:endParaRPr lang="en-US" altLang="zh-CN" sz="1400" b="1" dirty="0">
                <a:solidFill>
                  <a:schemeClr val="bg1"/>
                </a:solidFill>
                <a:latin typeface="微软雅黑" panose="020B0503020204020204" pitchFamily="34" charset="-122"/>
                <a:ea typeface="微软雅黑" panose="020B0503020204020204" pitchFamily="34" charset="-122"/>
              </a:endParaRPr>
            </a:p>
          </p:txBody>
        </p:sp>
        <p:sp>
          <p:nvSpPr>
            <p:cNvPr id="87" name="圆角矩形 86"/>
            <p:cNvSpPr/>
            <p:nvPr>
              <p:custDataLst>
                <p:tags r:id="rId26"/>
              </p:custDataLst>
            </p:nvPr>
          </p:nvSpPr>
          <p:spPr bwMode="auto">
            <a:xfrm>
              <a:off x="5331701" y="5218087"/>
              <a:ext cx="536120" cy="278724"/>
            </a:xfrm>
            <a:prstGeom prst="roundRect">
              <a:avLst>
                <a:gd name="adj" fmla="val 8528"/>
              </a:avLst>
            </a:prstGeom>
            <a:solidFill>
              <a:schemeClr val="accent2"/>
            </a:solidFill>
            <a:ln w="6350">
              <a:solidFill>
                <a:schemeClr val="bg1"/>
              </a:solidFill>
              <a:round/>
            </a:ln>
            <a:effectLst>
              <a:outerShdw blurRad="63500" algn="ctr" rotWithShape="0">
                <a:prstClr val="black">
                  <a:alpha val="40000"/>
                </a:prstClr>
              </a:outerShdw>
            </a:effectLst>
          </p:spPr>
          <p:txBody>
            <a:bodyPr/>
            <a:lstStyle/>
            <a:p>
              <a:pPr algn="ctr"/>
              <a:r>
                <a:rPr lang="en-US" altLang="zh-CN" sz="1200" b="1" dirty="0">
                  <a:solidFill>
                    <a:schemeClr val="bg1"/>
                  </a:solidFill>
                  <a:latin typeface="微软雅黑" panose="020B0503020204020204" pitchFamily="34" charset="-122"/>
                  <a:ea typeface="微软雅黑" panose="020B0503020204020204" pitchFamily="34" charset="-122"/>
                </a:rPr>
                <a:t>iSER</a:t>
              </a:r>
              <a:endParaRPr lang="en-US" altLang="zh-CN" sz="1200" b="1" dirty="0">
                <a:solidFill>
                  <a:schemeClr val="bg1"/>
                </a:solidFill>
                <a:latin typeface="微软雅黑" panose="020B0503020204020204" pitchFamily="34" charset="-122"/>
                <a:ea typeface="微软雅黑" panose="020B0503020204020204" pitchFamily="34" charset="-122"/>
              </a:endParaRPr>
            </a:p>
          </p:txBody>
        </p:sp>
        <p:sp>
          <p:nvSpPr>
            <p:cNvPr id="88" name="圆角矩形 87"/>
            <p:cNvSpPr/>
            <p:nvPr>
              <p:custDataLst>
                <p:tags r:id="rId27"/>
              </p:custDataLst>
            </p:nvPr>
          </p:nvSpPr>
          <p:spPr bwMode="auto">
            <a:xfrm>
              <a:off x="5331701" y="5518076"/>
              <a:ext cx="1614294" cy="288633"/>
            </a:xfrm>
            <a:prstGeom prst="roundRect">
              <a:avLst/>
            </a:prstGeom>
            <a:solidFill>
              <a:schemeClr val="bg1">
                <a:lumMod val="9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zh-CN" altLang="en-US" sz="1200" b="1" dirty="0">
                  <a:solidFill>
                    <a:schemeClr val="tx2"/>
                  </a:solidFill>
                  <a:latin typeface="微软雅黑" panose="020B0503020204020204" pitchFamily="34" charset="-122"/>
                  <a:ea typeface="微软雅黑" panose="020B0503020204020204" pitchFamily="34" charset="-122"/>
                </a:rPr>
                <a:t>设备统一命名管理</a:t>
              </a:r>
              <a:endParaRPr lang="zh-CN" altLang="en-US" sz="1200" b="1" dirty="0">
                <a:solidFill>
                  <a:schemeClr val="tx2"/>
                </a:solidFill>
                <a:latin typeface="微软雅黑" panose="020B0503020204020204" pitchFamily="34" charset="-122"/>
                <a:ea typeface="微软雅黑" panose="020B0503020204020204" pitchFamily="34" charset="-122"/>
              </a:endParaRPr>
            </a:p>
          </p:txBody>
        </p:sp>
        <p:grpSp>
          <p:nvGrpSpPr>
            <p:cNvPr id="89" name="组合 88"/>
            <p:cNvGrpSpPr/>
            <p:nvPr/>
          </p:nvGrpSpPr>
          <p:grpSpPr>
            <a:xfrm>
              <a:off x="5835923" y="5220492"/>
              <a:ext cx="591982" cy="286089"/>
              <a:chOff x="5835923" y="5220492"/>
              <a:chExt cx="591982" cy="286089"/>
            </a:xfrm>
          </p:grpSpPr>
          <p:sp>
            <p:nvSpPr>
              <p:cNvPr id="93" name="圆角矩形 92"/>
              <p:cNvSpPr/>
              <p:nvPr>
                <p:custDataLst>
                  <p:tags r:id="rId28"/>
                </p:custDataLst>
              </p:nvPr>
            </p:nvSpPr>
            <p:spPr bwMode="auto">
              <a:xfrm>
                <a:off x="5869170" y="5220492"/>
                <a:ext cx="536120" cy="278724"/>
              </a:xfrm>
              <a:prstGeom prst="roundRect">
                <a:avLst>
                  <a:gd name="adj" fmla="val 8528"/>
                </a:avLst>
              </a:prstGeom>
              <a:solidFill>
                <a:schemeClr val="accent2"/>
              </a:solidFill>
              <a:ln w="6350">
                <a:solidFill>
                  <a:schemeClr val="bg1"/>
                </a:solidFill>
                <a:round/>
              </a:ln>
              <a:effectLst>
                <a:outerShdw blurRad="63500" algn="ctr" rotWithShape="0">
                  <a:prstClr val="black">
                    <a:alpha val="40000"/>
                  </a:prstClr>
                </a:outerShdw>
              </a:effectLst>
            </p:spPr>
            <p:txBody>
              <a:bodyPr/>
              <a:lstStyle/>
              <a:p>
                <a:pPr algn="ctr"/>
                <a:endParaRPr lang="en-US" altLang="zh-CN" sz="1200" b="1" dirty="0">
                  <a:solidFill>
                    <a:schemeClr val="tx2"/>
                  </a:solidFill>
                  <a:latin typeface="微软雅黑" panose="020B0503020204020204" pitchFamily="34" charset="-122"/>
                  <a:ea typeface="微软雅黑" panose="020B0503020204020204" pitchFamily="34" charset="-122"/>
                </a:endParaRPr>
              </a:p>
            </p:txBody>
          </p:sp>
          <p:sp>
            <p:nvSpPr>
              <p:cNvPr id="94" name="TextBox 93"/>
              <p:cNvSpPr txBox="1"/>
              <p:nvPr>
                <p:custDataLst>
                  <p:tags r:id="rId29"/>
                </p:custDataLst>
              </p:nvPr>
            </p:nvSpPr>
            <p:spPr>
              <a:xfrm>
                <a:off x="5835923" y="5229582"/>
                <a:ext cx="591982" cy="276999"/>
              </a:xfrm>
              <a:prstGeom prst="rect">
                <a:avLst/>
              </a:prstGeom>
              <a:noFill/>
            </p:spPr>
            <p:txBody>
              <a:bodyPr wrap="square" rtlCol="0">
                <a:spAutoFit/>
              </a:bodyPr>
              <a:lstStyle/>
              <a:p>
                <a:pPr algn="ctr"/>
                <a:r>
                  <a:rPr lang="en-US" altLang="zh-CN" sz="1200" b="1" dirty="0">
                    <a:solidFill>
                      <a:schemeClr val="bg1"/>
                    </a:solidFill>
                    <a:latin typeface="微软雅黑" panose="020B0503020204020204" pitchFamily="34" charset="-122"/>
                    <a:ea typeface="微软雅黑" panose="020B0503020204020204" pitchFamily="34" charset="-122"/>
                  </a:rPr>
                  <a:t>iSCSI</a:t>
                </a:r>
                <a:endParaRPr lang="en-US" altLang="zh-CN" sz="1200" b="1" dirty="0">
                  <a:solidFill>
                    <a:schemeClr val="bg1"/>
                  </a:solidFill>
                  <a:latin typeface="微软雅黑" panose="020B0503020204020204" pitchFamily="34" charset="-122"/>
                  <a:ea typeface="微软雅黑" panose="020B0503020204020204" pitchFamily="34" charset="-122"/>
                </a:endParaRPr>
              </a:p>
            </p:txBody>
          </p:sp>
        </p:grpSp>
        <p:grpSp>
          <p:nvGrpSpPr>
            <p:cNvPr id="90" name="组合 89"/>
            <p:cNvGrpSpPr/>
            <p:nvPr/>
          </p:nvGrpSpPr>
          <p:grpSpPr>
            <a:xfrm>
              <a:off x="6341492" y="5218949"/>
              <a:ext cx="691864" cy="284474"/>
              <a:chOff x="6341492" y="5218949"/>
              <a:chExt cx="691864" cy="284474"/>
            </a:xfrm>
          </p:grpSpPr>
          <p:sp>
            <p:nvSpPr>
              <p:cNvPr id="91" name="圆角矩形 90"/>
              <p:cNvSpPr/>
              <p:nvPr>
                <p:custDataLst>
                  <p:tags r:id="rId30"/>
                </p:custDataLst>
              </p:nvPr>
            </p:nvSpPr>
            <p:spPr bwMode="auto">
              <a:xfrm>
                <a:off x="6406638" y="5224699"/>
                <a:ext cx="536120" cy="278724"/>
              </a:xfrm>
              <a:prstGeom prst="roundRect">
                <a:avLst>
                  <a:gd name="adj" fmla="val 8528"/>
                </a:avLst>
              </a:prstGeom>
              <a:solidFill>
                <a:schemeClr val="accent2"/>
              </a:solidFill>
              <a:ln w="6350">
                <a:solidFill>
                  <a:schemeClr val="bg1"/>
                </a:solidFill>
                <a:round/>
              </a:ln>
              <a:effectLst>
                <a:outerShdw blurRad="63500" algn="ctr" rotWithShape="0">
                  <a:prstClr val="black">
                    <a:alpha val="40000"/>
                  </a:prstClr>
                </a:outerShdw>
              </a:effectLst>
            </p:spPr>
            <p:txBody>
              <a:bodyPr/>
              <a:lstStyle/>
              <a:p>
                <a:pPr algn="ctr"/>
                <a:endParaRPr lang="en-US" altLang="zh-CN" sz="1200" b="1" dirty="0">
                  <a:solidFill>
                    <a:schemeClr val="tx2"/>
                  </a:solidFill>
                  <a:latin typeface="微软雅黑" panose="020B0503020204020204" pitchFamily="34" charset="-122"/>
                  <a:ea typeface="微软雅黑" panose="020B0503020204020204" pitchFamily="34" charset="-122"/>
                </a:endParaRPr>
              </a:p>
            </p:txBody>
          </p:sp>
          <p:sp>
            <p:nvSpPr>
              <p:cNvPr id="92" name="TextBox 91"/>
              <p:cNvSpPr txBox="1"/>
              <p:nvPr>
                <p:custDataLst>
                  <p:tags r:id="rId31"/>
                </p:custDataLst>
              </p:nvPr>
            </p:nvSpPr>
            <p:spPr>
              <a:xfrm>
                <a:off x="6341492" y="5218949"/>
                <a:ext cx="691864" cy="276999"/>
              </a:xfrm>
              <a:prstGeom prst="rect">
                <a:avLst/>
              </a:prstGeom>
              <a:noFill/>
            </p:spPr>
            <p:txBody>
              <a:bodyPr wrap="square" rtlCol="0">
                <a:spAutoFit/>
              </a:bodyPr>
              <a:lstStyle/>
              <a:p>
                <a:pPr algn="ctr"/>
                <a:r>
                  <a:rPr lang="en-US" altLang="zh-CN" sz="1200" b="1" dirty="0">
                    <a:solidFill>
                      <a:schemeClr val="bg1"/>
                    </a:solidFill>
                    <a:latin typeface="微软雅黑" panose="020B0503020204020204" pitchFamily="34" charset="-122"/>
                    <a:ea typeface="微软雅黑" panose="020B0503020204020204" pitchFamily="34" charset="-122"/>
                  </a:rPr>
                  <a:t>NVMe</a:t>
                </a:r>
                <a:endParaRPr lang="en-US" altLang="zh-CN" sz="1200" b="1" dirty="0">
                  <a:solidFill>
                    <a:schemeClr val="bg1"/>
                  </a:solidFill>
                  <a:latin typeface="微软雅黑" panose="020B0503020204020204" pitchFamily="34" charset="-122"/>
                  <a:ea typeface="微软雅黑" panose="020B0503020204020204" pitchFamily="34" charset="-122"/>
                </a:endParaRPr>
              </a:p>
            </p:txBody>
          </p:sp>
        </p:grpSp>
      </p:grpSp>
      <p:cxnSp>
        <p:nvCxnSpPr>
          <p:cNvPr id="95" name="直接箭头连接符 94"/>
          <p:cNvCxnSpPr/>
          <p:nvPr>
            <p:custDataLst>
              <p:tags r:id="rId32"/>
            </p:custDataLst>
          </p:nvPr>
        </p:nvCxnSpPr>
        <p:spPr bwMode="auto">
          <a:xfrm>
            <a:off x="5904230" y="3702685"/>
            <a:ext cx="0" cy="593725"/>
          </a:xfrm>
          <a:prstGeom prst="straightConnector1">
            <a:avLst/>
          </a:prstGeom>
          <a:noFill/>
          <a:ln w="12700">
            <a:solidFill>
              <a:schemeClr val="tx2"/>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6" name="直接箭头连接符 95"/>
          <p:cNvCxnSpPr/>
          <p:nvPr>
            <p:custDataLst>
              <p:tags r:id="rId33"/>
            </p:custDataLst>
          </p:nvPr>
        </p:nvCxnSpPr>
        <p:spPr bwMode="auto">
          <a:xfrm>
            <a:off x="6155690" y="3702685"/>
            <a:ext cx="0" cy="593725"/>
          </a:xfrm>
          <a:prstGeom prst="straightConnector1">
            <a:avLst/>
          </a:prstGeom>
          <a:noFill/>
          <a:ln w="12700">
            <a:solidFill>
              <a:schemeClr val="tx2"/>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8" name="直接箭头连接符 97"/>
          <p:cNvCxnSpPr/>
          <p:nvPr>
            <p:custDataLst>
              <p:tags r:id="rId34"/>
            </p:custDataLst>
          </p:nvPr>
        </p:nvCxnSpPr>
        <p:spPr bwMode="auto">
          <a:xfrm>
            <a:off x="8267065" y="3703320"/>
            <a:ext cx="0" cy="593725"/>
          </a:xfrm>
          <a:prstGeom prst="straightConnector1">
            <a:avLst/>
          </a:prstGeom>
          <a:noFill/>
          <a:ln w="12700">
            <a:solidFill>
              <a:schemeClr val="tx2"/>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9" name="直接箭头连接符 98"/>
          <p:cNvCxnSpPr/>
          <p:nvPr>
            <p:custDataLst>
              <p:tags r:id="rId35"/>
            </p:custDataLst>
          </p:nvPr>
        </p:nvCxnSpPr>
        <p:spPr bwMode="auto">
          <a:xfrm>
            <a:off x="8518525" y="3703320"/>
            <a:ext cx="0" cy="593725"/>
          </a:xfrm>
          <a:prstGeom prst="straightConnector1">
            <a:avLst/>
          </a:prstGeom>
          <a:noFill/>
          <a:ln w="12700">
            <a:solidFill>
              <a:schemeClr val="tx2"/>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0" name="直接箭头连接符 99"/>
          <p:cNvCxnSpPr/>
          <p:nvPr>
            <p:custDataLst>
              <p:tags r:id="rId36"/>
            </p:custDataLst>
          </p:nvPr>
        </p:nvCxnSpPr>
        <p:spPr bwMode="auto">
          <a:xfrm>
            <a:off x="10897235" y="3684270"/>
            <a:ext cx="0" cy="593725"/>
          </a:xfrm>
          <a:prstGeom prst="straightConnector1">
            <a:avLst/>
          </a:prstGeom>
          <a:noFill/>
          <a:ln w="12700">
            <a:solidFill>
              <a:schemeClr val="tx2"/>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1" name="直接箭头连接符 100"/>
          <p:cNvCxnSpPr/>
          <p:nvPr>
            <p:custDataLst>
              <p:tags r:id="rId37"/>
            </p:custDataLst>
          </p:nvPr>
        </p:nvCxnSpPr>
        <p:spPr bwMode="auto">
          <a:xfrm>
            <a:off x="11148695" y="3684270"/>
            <a:ext cx="0" cy="593725"/>
          </a:xfrm>
          <a:prstGeom prst="straightConnector1">
            <a:avLst/>
          </a:prstGeom>
          <a:noFill/>
          <a:ln w="12700">
            <a:solidFill>
              <a:schemeClr val="tx2"/>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2" name="直接箭头连接符 101"/>
          <p:cNvCxnSpPr/>
          <p:nvPr>
            <p:custDataLst>
              <p:tags r:id="rId38"/>
            </p:custDataLst>
          </p:nvPr>
        </p:nvCxnSpPr>
        <p:spPr bwMode="auto">
          <a:xfrm>
            <a:off x="5904230" y="4747260"/>
            <a:ext cx="0" cy="828040"/>
          </a:xfrm>
          <a:prstGeom prst="straightConnector1">
            <a:avLst/>
          </a:prstGeom>
          <a:noFill/>
          <a:ln w="12700">
            <a:solidFill>
              <a:schemeClr val="tx2"/>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3" name="直接箭头连接符 102"/>
          <p:cNvCxnSpPr/>
          <p:nvPr>
            <p:custDataLst>
              <p:tags r:id="rId39"/>
            </p:custDataLst>
          </p:nvPr>
        </p:nvCxnSpPr>
        <p:spPr bwMode="auto">
          <a:xfrm>
            <a:off x="6155690" y="4747260"/>
            <a:ext cx="0" cy="828040"/>
          </a:xfrm>
          <a:prstGeom prst="straightConnector1">
            <a:avLst/>
          </a:prstGeom>
          <a:noFill/>
          <a:ln w="12700">
            <a:solidFill>
              <a:schemeClr val="tx2"/>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4" name="直接箭头连接符 103"/>
          <p:cNvCxnSpPr/>
          <p:nvPr>
            <p:custDataLst>
              <p:tags r:id="rId40"/>
            </p:custDataLst>
          </p:nvPr>
        </p:nvCxnSpPr>
        <p:spPr bwMode="auto">
          <a:xfrm>
            <a:off x="8267065" y="4748530"/>
            <a:ext cx="0" cy="828040"/>
          </a:xfrm>
          <a:prstGeom prst="straightConnector1">
            <a:avLst/>
          </a:prstGeom>
          <a:noFill/>
          <a:ln w="12700">
            <a:solidFill>
              <a:schemeClr val="tx2"/>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5" name="直接箭头连接符 104"/>
          <p:cNvCxnSpPr/>
          <p:nvPr>
            <p:custDataLst>
              <p:tags r:id="rId41"/>
            </p:custDataLst>
          </p:nvPr>
        </p:nvCxnSpPr>
        <p:spPr bwMode="auto">
          <a:xfrm>
            <a:off x="8518525" y="4748530"/>
            <a:ext cx="0" cy="828040"/>
          </a:xfrm>
          <a:prstGeom prst="straightConnector1">
            <a:avLst/>
          </a:prstGeom>
          <a:noFill/>
          <a:ln w="12700">
            <a:solidFill>
              <a:schemeClr val="tx2"/>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6" name="直接箭头连接符 105"/>
          <p:cNvCxnSpPr/>
          <p:nvPr>
            <p:custDataLst>
              <p:tags r:id="rId42"/>
            </p:custDataLst>
          </p:nvPr>
        </p:nvCxnSpPr>
        <p:spPr bwMode="auto">
          <a:xfrm>
            <a:off x="10897235" y="4729480"/>
            <a:ext cx="0" cy="828040"/>
          </a:xfrm>
          <a:prstGeom prst="straightConnector1">
            <a:avLst/>
          </a:prstGeom>
          <a:noFill/>
          <a:ln w="12700">
            <a:solidFill>
              <a:schemeClr val="tx2"/>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7" name="直接箭头连接符 106"/>
          <p:cNvCxnSpPr/>
          <p:nvPr>
            <p:custDataLst>
              <p:tags r:id="rId43"/>
            </p:custDataLst>
          </p:nvPr>
        </p:nvCxnSpPr>
        <p:spPr bwMode="auto">
          <a:xfrm>
            <a:off x="11148695" y="4729480"/>
            <a:ext cx="0" cy="828040"/>
          </a:xfrm>
          <a:prstGeom prst="straightConnector1">
            <a:avLst/>
          </a:prstGeom>
          <a:noFill/>
          <a:ln w="12700">
            <a:solidFill>
              <a:schemeClr val="tx2"/>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08" name="组合 107"/>
          <p:cNvGrpSpPr/>
          <p:nvPr/>
        </p:nvGrpSpPr>
        <p:grpSpPr>
          <a:xfrm>
            <a:off x="9537700" y="3103245"/>
            <a:ext cx="358775" cy="286385"/>
            <a:chOff x="3124200" y="3733800"/>
            <a:chExt cx="504825" cy="496888"/>
          </a:xfrm>
          <a:effectLst>
            <a:outerShdw blurRad="50800" dist="38100" dir="2700000" algn="tl" rotWithShape="0">
              <a:prstClr val="black">
                <a:alpha val="40000"/>
              </a:prstClr>
            </a:outerShdw>
          </a:effectLst>
        </p:grpSpPr>
        <p:sp>
          <p:nvSpPr>
            <p:cNvPr id="109" name="Oval 18"/>
            <p:cNvSpPr>
              <a:spLocks noChangeArrowheads="1"/>
            </p:cNvSpPr>
            <p:nvPr>
              <p:custDataLst>
                <p:tags r:id="rId44"/>
              </p:custDataLst>
            </p:nvPr>
          </p:nvSpPr>
          <p:spPr bwMode="gray">
            <a:xfrm>
              <a:off x="3326130" y="3733800"/>
              <a:ext cx="100965" cy="99378"/>
            </a:xfrm>
            <a:prstGeom prst="ellipse">
              <a:avLst/>
            </a:prstGeom>
            <a:solidFill>
              <a:srgbClr val="0070C0"/>
            </a:solidFill>
            <a:ln>
              <a:noFill/>
            </a:ln>
          </p:spPr>
          <p:txBody>
            <a:bodyPr wrap="none" anchor="ctr"/>
            <a:lstStyle/>
            <a:p>
              <a:endParaRPr lang="zh-CN" altLang="en-US"/>
            </a:p>
          </p:txBody>
        </p:sp>
        <p:sp>
          <p:nvSpPr>
            <p:cNvPr id="110" name="Oval 19"/>
            <p:cNvSpPr>
              <a:spLocks noChangeArrowheads="1"/>
            </p:cNvSpPr>
            <p:nvPr>
              <p:custDataLst>
                <p:tags r:id="rId45"/>
              </p:custDataLst>
            </p:nvPr>
          </p:nvSpPr>
          <p:spPr bwMode="gray">
            <a:xfrm>
              <a:off x="3427095" y="3833178"/>
              <a:ext cx="100965" cy="99378"/>
            </a:xfrm>
            <a:prstGeom prst="ellipse">
              <a:avLst/>
            </a:prstGeom>
            <a:solidFill>
              <a:srgbClr val="0070C0"/>
            </a:solidFill>
            <a:ln>
              <a:noFill/>
            </a:ln>
          </p:spPr>
          <p:txBody>
            <a:bodyPr wrap="none" anchor="ctr"/>
            <a:lstStyle/>
            <a:p>
              <a:endParaRPr lang="zh-CN" altLang="en-US"/>
            </a:p>
          </p:txBody>
        </p:sp>
        <p:sp>
          <p:nvSpPr>
            <p:cNvPr id="111" name="Oval 20"/>
            <p:cNvSpPr>
              <a:spLocks noChangeArrowheads="1"/>
            </p:cNvSpPr>
            <p:nvPr>
              <p:custDataLst>
                <p:tags r:id="rId46"/>
              </p:custDataLst>
            </p:nvPr>
          </p:nvSpPr>
          <p:spPr bwMode="gray">
            <a:xfrm>
              <a:off x="3528060" y="3932555"/>
              <a:ext cx="100965" cy="99378"/>
            </a:xfrm>
            <a:prstGeom prst="ellipse">
              <a:avLst/>
            </a:prstGeom>
            <a:solidFill>
              <a:srgbClr val="0070C0"/>
            </a:solidFill>
            <a:ln>
              <a:noFill/>
            </a:ln>
          </p:spPr>
          <p:txBody>
            <a:bodyPr wrap="none" anchor="ctr"/>
            <a:lstStyle/>
            <a:p>
              <a:endParaRPr lang="zh-CN" altLang="en-US"/>
            </a:p>
          </p:txBody>
        </p:sp>
        <p:sp>
          <p:nvSpPr>
            <p:cNvPr id="112" name="Oval 21"/>
            <p:cNvSpPr>
              <a:spLocks noChangeArrowheads="1"/>
            </p:cNvSpPr>
            <p:nvPr>
              <p:custDataLst>
                <p:tags r:id="rId47"/>
              </p:custDataLst>
            </p:nvPr>
          </p:nvSpPr>
          <p:spPr bwMode="gray">
            <a:xfrm>
              <a:off x="3427095" y="4031933"/>
              <a:ext cx="100965" cy="99378"/>
            </a:xfrm>
            <a:prstGeom prst="ellipse">
              <a:avLst/>
            </a:prstGeom>
            <a:solidFill>
              <a:srgbClr val="0070C0"/>
            </a:solidFill>
            <a:ln>
              <a:noFill/>
            </a:ln>
          </p:spPr>
          <p:txBody>
            <a:bodyPr wrap="none" anchor="ctr"/>
            <a:lstStyle/>
            <a:p>
              <a:endParaRPr lang="zh-CN" altLang="en-US"/>
            </a:p>
          </p:txBody>
        </p:sp>
        <p:sp>
          <p:nvSpPr>
            <p:cNvPr id="113" name="Oval 22"/>
            <p:cNvSpPr>
              <a:spLocks noChangeArrowheads="1"/>
            </p:cNvSpPr>
            <p:nvPr>
              <p:custDataLst>
                <p:tags r:id="rId48"/>
              </p:custDataLst>
            </p:nvPr>
          </p:nvSpPr>
          <p:spPr bwMode="gray">
            <a:xfrm>
              <a:off x="3326130" y="4131310"/>
              <a:ext cx="100965" cy="99378"/>
            </a:xfrm>
            <a:prstGeom prst="ellipse">
              <a:avLst/>
            </a:prstGeom>
            <a:solidFill>
              <a:srgbClr val="0070C0"/>
            </a:solidFill>
            <a:ln>
              <a:noFill/>
            </a:ln>
          </p:spPr>
          <p:txBody>
            <a:bodyPr wrap="none" anchor="ctr"/>
            <a:lstStyle/>
            <a:p>
              <a:endParaRPr lang="zh-CN" altLang="en-US"/>
            </a:p>
          </p:txBody>
        </p:sp>
        <p:sp>
          <p:nvSpPr>
            <p:cNvPr id="114" name="Oval 24"/>
            <p:cNvSpPr>
              <a:spLocks noChangeArrowheads="1"/>
            </p:cNvSpPr>
            <p:nvPr>
              <p:custDataLst>
                <p:tags r:id="rId49"/>
              </p:custDataLst>
            </p:nvPr>
          </p:nvSpPr>
          <p:spPr bwMode="gray">
            <a:xfrm>
              <a:off x="3124200" y="3773674"/>
              <a:ext cx="100965" cy="99378"/>
            </a:xfrm>
            <a:prstGeom prst="ellipse">
              <a:avLst/>
            </a:prstGeom>
            <a:solidFill>
              <a:srgbClr val="0070C0"/>
            </a:solidFill>
            <a:ln>
              <a:noFill/>
            </a:ln>
          </p:spPr>
          <p:txBody>
            <a:bodyPr wrap="none" anchor="ctr"/>
            <a:lstStyle/>
            <a:p>
              <a:endParaRPr lang="zh-CN" altLang="en-US"/>
            </a:p>
          </p:txBody>
        </p:sp>
        <p:sp>
          <p:nvSpPr>
            <p:cNvPr id="115" name="Oval 25"/>
            <p:cNvSpPr>
              <a:spLocks noChangeArrowheads="1"/>
            </p:cNvSpPr>
            <p:nvPr>
              <p:custDataLst>
                <p:tags r:id="rId50"/>
              </p:custDataLst>
            </p:nvPr>
          </p:nvSpPr>
          <p:spPr bwMode="gray">
            <a:xfrm>
              <a:off x="3225165" y="3859760"/>
              <a:ext cx="100965" cy="99378"/>
            </a:xfrm>
            <a:prstGeom prst="ellipse">
              <a:avLst/>
            </a:prstGeom>
            <a:solidFill>
              <a:srgbClr val="0070C0"/>
            </a:solidFill>
            <a:ln>
              <a:noFill/>
            </a:ln>
          </p:spPr>
          <p:txBody>
            <a:bodyPr wrap="none" anchor="ctr"/>
            <a:lstStyle/>
            <a:p>
              <a:endParaRPr lang="zh-CN" altLang="en-US"/>
            </a:p>
          </p:txBody>
        </p:sp>
        <p:sp>
          <p:nvSpPr>
            <p:cNvPr id="116" name="Oval 26"/>
            <p:cNvSpPr>
              <a:spLocks noChangeArrowheads="1"/>
            </p:cNvSpPr>
            <p:nvPr>
              <p:custDataLst>
                <p:tags r:id="rId51"/>
              </p:custDataLst>
            </p:nvPr>
          </p:nvSpPr>
          <p:spPr bwMode="gray">
            <a:xfrm>
              <a:off x="3326130" y="3932555"/>
              <a:ext cx="100965" cy="99378"/>
            </a:xfrm>
            <a:prstGeom prst="ellipse">
              <a:avLst/>
            </a:prstGeom>
            <a:solidFill>
              <a:srgbClr val="0070C0"/>
            </a:solidFill>
            <a:ln>
              <a:noFill/>
            </a:ln>
          </p:spPr>
          <p:txBody>
            <a:bodyPr wrap="none" anchor="ctr"/>
            <a:lstStyle/>
            <a:p>
              <a:endParaRPr lang="zh-CN" altLang="en-US"/>
            </a:p>
          </p:txBody>
        </p:sp>
        <p:sp>
          <p:nvSpPr>
            <p:cNvPr id="117" name="Oval 27"/>
            <p:cNvSpPr>
              <a:spLocks noChangeArrowheads="1"/>
            </p:cNvSpPr>
            <p:nvPr>
              <p:custDataLst>
                <p:tags r:id="rId52"/>
              </p:custDataLst>
            </p:nvPr>
          </p:nvSpPr>
          <p:spPr bwMode="gray">
            <a:xfrm>
              <a:off x="3225165" y="4018642"/>
              <a:ext cx="100965" cy="99378"/>
            </a:xfrm>
            <a:prstGeom prst="ellipse">
              <a:avLst/>
            </a:prstGeom>
            <a:solidFill>
              <a:srgbClr val="0070C0"/>
            </a:solidFill>
            <a:ln>
              <a:noFill/>
            </a:ln>
          </p:spPr>
          <p:txBody>
            <a:bodyPr wrap="none" anchor="ctr"/>
            <a:lstStyle/>
            <a:p>
              <a:endParaRPr lang="zh-CN" altLang="en-US"/>
            </a:p>
          </p:txBody>
        </p:sp>
        <p:sp>
          <p:nvSpPr>
            <p:cNvPr id="118" name="Oval 28"/>
            <p:cNvSpPr>
              <a:spLocks noChangeArrowheads="1"/>
            </p:cNvSpPr>
            <p:nvPr>
              <p:custDataLst>
                <p:tags r:id="rId53"/>
              </p:custDataLst>
            </p:nvPr>
          </p:nvSpPr>
          <p:spPr bwMode="gray">
            <a:xfrm>
              <a:off x="3124200" y="4104728"/>
              <a:ext cx="100965" cy="99378"/>
            </a:xfrm>
            <a:prstGeom prst="ellipse">
              <a:avLst/>
            </a:prstGeom>
            <a:solidFill>
              <a:srgbClr val="0070C0"/>
            </a:solidFill>
            <a:ln>
              <a:noFill/>
            </a:ln>
          </p:spPr>
          <p:txBody>
            <a:bodyPr wrap="none" anchor="ctr"/>
            <a:lstStyle/>
            <a:p>
              <a:endParaRPr lang="zh-CN" altLang="en-US"/>
            </a:p>
          </p:txBody>
        </p:sp>
      </p:grpSp>
      <p:grpSp>
        <p:nvGrpSpPr>
          <p:cNvPr id="119" name="组合 118"/>
          <p:cNvGrpSpPr/>
          <p:nvPr/>
        </p:nvGrpSpPr>
        <p:grpSpPr>
          <a:xfrm>
            <a:off x="9537700" y="5946140"/>
            <a:ext cx="358775" cy="286385"/>
            <a:chOff x="3124200" y="3733800"/>
            <a:chExt cx="504825" cy="496888"/>
          </a:xfrm>
          <a:effectLst>
            <a:outerShdw blurRad="50800" dist="38100" dir="2700000" algn="tl" rotWithShape="0">
              <a:prstClr val="black">
                <a:alpha val="40000"/>
              </a:prstClr>
            </a:outerShdw>
          </a:effectLst>
        </p:grpSpPr>
        <p:sp>
          <p:nvSpPr>
            <p:cNvPr id="120" name="Oval 18"/>
            <p:cNvSpPr>
              <a:spLocks noChangeArrowheads="1"/>
            </p:cNvSpPr>
            <p:nvPr>
              <p:custDataLst>
                <p:tags r:id="rId54"/>
              </p:custDataLst>
            </p:nvPr>
          </p:nvSpPr>
          <p:spPr bwMode="gray">
            <a:xfrm>
              <a:off x="3326130" y="3733800"/>
              <a:ext cx="100965" cy="99378"/>
            </a:xfrm>
            <a:prstGeom prst="ellipse">
              <a:avLst/>
            </a:prstGeom>
            <a:solidFill>
              <a:srgbClr val="0070C0"/>
            </a:solidFill>
            <a:ln>
              <a:noFill/>
            </a:ln>
          </p:spPr>
          <p:txBody>
            <a:bodyPr wrap="none" anchor="ctr"/>
            <a:lstStyle/>
            <a:p>
              <a:endParaRPr lang="zh-CN" altLang="en-US"/>
            </a:p>
          </p:txBody>
        </p:sp>
        <p:sp>
          <p:nvSpPr>
            <p:cNvPr id="121" name="Oval 19"/>
            <p:cNvSpPr>
              <a:spLocks noChangeArrowheads="1"/>
            </p:cNvSpPr>
            <p:nvPr>
              <p:custDataLst>
                <p:tags r:id="rId55"/>
              </p:custDataLst>
            </p:nvPr>
          </p:nvSpPr>
          <p:spPr bwMode="gray">
            <a:xfrm>
              <a:off x="3427095" y="3833178"/>
              <a:ext cx="100965" cy="99378"/>
            </a:xfrm>
            <a:prstGeom prst="ellipse">
              <a:avLst/>
            </a:prstGeom>
            <a:solidFill>
              <a:srgbClr val="0070C0"/>
            </a:solidFill>
            <a:ln>
              <a:noFill/>
            </a:ln>
          </p:spPr>
          <p:txBody>
            <a:bodyPr wrap="none" anchor="ctr"/>
            <a:lstStyle/>
            <a:p>
              <a:endParaRPr lang="zh-CN" altLang="en-US"/>
            </a:p>
          </p:txBody>
        </p:sp>
        <p:sp>
          <p:nvSpPr>
            <p:cNvPr id="122" name="Oval 20"/>
            <p:cNvSpPr>
              <a:spLocks noChangeArrowheads="1"/>
            </p:cNvSpPr>
            <p:nvPr>
              <p:custDataLst>
                <p:tags r:id="rId56"/>
              </p:custDataLst>
            </p:nvPr>
          </p:nvSpPr>
          <p:spPr bwMode="gray">
            <a:xfrm>
              <a:off x="3528060" y="3932555"/>
              <a:ext cx="100965" cy="99378"/>
            </a:xfrm>
            <a:prstGeom prst="ellipse">
              <a:avLst/>
            </a:prstGeom>
            <a:solidFill>
              <a:srgbClr val="0070C0"/>
            </a:solidFill>
            <a:ln>
              <a:noFill/>
            </a:ln>
          </p:spPr>
          <p:txBody>
            <a:bodyPr wrap="none" anchor="ctr"/>
            <a:lstStyle/>
            <a:p>
              <a:endParaRPr lang="zh-CN" altLang="en-US"/>
            </a:p>
          </p:txBody>
        </p:sp>
        <p:sp>
          <p:nvSpPr>
            <p:cNvPr id="123" name="Oval 21"/>
            <p:cNvSpPr>
              <a:spLocks noChangeArrowheads="1"/>
            </p:cNvSpPr>
            <p:nvPr>
              <p:custDataLst>
                <p:tags r:id="rId57"/>
              </p:custDataLst>
            </p:nvPr>
          </p:nvSpPr>
          <p:spPr bwMode="gray">
            <a:xfrm>
              <a:off x="3427095" y="4031933"/>
              <a:ext cx="100965" cy="99378"/>
            </a:xfrm>
            <a:prstGeom prst="ellipse">
              <a:avLst/>
            </a:prstGeom>
            <a:solidFill>
              <a:srgbClr val="0070C0"/>
            </a:solidFill>
            <a:ln>
              <a:noFill/>
            </a:ln>
          </p:spPr>
          <p:txBody>
            <a:bodyPr wrap="none" anchor="ctr"/>
            <a:lstStyle/>
            <a:p>
              <a:endParaRPr lang="zh-CN" altLang="en-US"/>
            </a:p>
          </p:txBody>
        </p:sp>
        <p:sp>
          <p:nvSpPr>
            <p:cNvPr id="124" name="Oval 22"/>
            <p:cNvSpPr>
              <a:spLocks noChangeArrowheads="1"/>
            </p:cNvSpPr>
            <p:nvPr>
              <p:custDataLst>
                <p:tags r:id="rId58"/>
              </p:custDataLst>
            </p:nvPr>
          </p:nvSpPr>
          <p:spPr bwMode="gray">
            <a:xfrm>
              <a:off x="3326130" y="4131310"/>
              <a:ext cx="100965" cy="99378"/>
            </a:xfrm>
            <a:prstGeom prst="ellipse">
              <a:avLst/>
            </a:prstGeom>
            <a:solidFill>
              <a:srgbClr val="0070C0"/>
            </a:solidFill>
            <a:ln>
              <a:noFill/>
            </a:ln>
          </p:spPr>
          <p:txBody>
            <a:bodyPr wrap="none" anchor="ctr"/>
            <a:lstStyle/>
            <a:p>
              <a:endParaRPr lang="zh-CN" altLang="en-US"/>
            </a:p>
          </p:txBody>
        </p:sp>
        <p:sp>
          <p:nvSpPr>
            <p:cNvPr id="125" name="Oval 24"/>
            <p:cNvSpPr>
              <a:spLocks noChangeArrowheads="1"/>
            </p:cNvSpPr>
            <p:nvPr>
              <p:custDataLst>
                <p:tags r:id="rId59"/>
              </p:custDataLst>
            </p:nvPr>
          </p:nvSpPr>
          <p:spPr bwMode="gray">
            <a:xfrm>
              <a:off x="3124200" y="3773674"/>
              <a:ext cx="100965" cy="99378"/>
            </a:xfrm>
            <a:prstGeom prst="ellipse">
              <a:avLst/>
            </a:prstGeom>
            <a:solidFill>
              <a:srgbClr val="0070C0"/>
            </a:solidFill>
            <a:ln>
              <a:noFill/>
            </a:ln>
          </p:spPr>
          <p:txBody>
            <a:bodyPr wrap="none" anchor="ctr"/>
            <a:lstStyle/>
            <a:p>
              <a:endParaRPr lang="zh-CN" altLang="en-US"/>
            </a:p>
          </p:txBody>
        </p:sp>
        <p:sp>
          <p:nvSpPr>
            <p:cNvPr id="126" name="Oval 25"/>
            <p:cNvSpPr>
              <a:spLocks noChangeArrowheads="1"/>
            </p:cNvSpPr>
            <p:nvPr>
              <p:custDataLst>
                <p:tags r:id="rId60"/>
              </p:custDataLst>
            </p:nvPr>
          </p:nvSpPr>
          <p:spPr bwMode="gray">
            <a:xfrm>
              <a:off x="3225165" y="3859760"/>
              <a:ext cx="100965" cy="99378"/>
            </a:xfrm>
            <a:prstGeom prst="ellipse">
              <a:avLst/>
            </a:prstGeom>
            <a:solidFill>
              <a:srgbClr val="0070C0"/>
            </a:solidFill>
            <a:ln>
              <a:noFill/>
            </a:ln>
          </p:spPr>
          <p:txBody>
            <a:bodyPr wrap="none" anchor="ctr"/>
            <a:lstStyle/>
            <a:p>
              <a:endParaRPr lang="zh-CN" altLang="en-US"/>
            </a:p>
          </p:txBody>
        </p:sp>
        <p:sp>
          <p:nvSpPr>
            <p:cNvPr id="127" name="Oval 26"/>
            <p:cNvSpPr>
              <a:spLocks noChangeArrowheads="1"/>
            </p:cNvSpPr>
            <p:nvPr>
              <p:custDataLst>
                <p:tags r:id="rId61"/>
              </p:custDataLst>
            </p:nvPr>
          </p:nvSpPr>
          <p:spPr bwMode="gray">
            <a:xfrm>
              <a:off x="3326130" y="3932555"/>
              <a:ext cx="100965" cy="99378"/>
            </a:xfrm>
            <a:prstGeom prst="ellipse">
              <a:avLst/>
            </a:prstGeom>
            <a:solidFill>
              <a:srgbClr val="0070C0"/>
            </a:solidFill>
            <a:ln>
              <a:noFill/>
            </a:ln>
          </p:spPr>
          <p:txBody>
            <a:bodyPr wrap="none" anchor="ctr"/>
            <a:lstStyle/>
            <a:p>
              <a:endParaRPr lang="zh-CN" altLang="en-US"/>
            </a:p>
          </p:txBody>
        </p:sp>
        <p:sp>
          <p:nvSpPr>
            <p:cNvPr id="128" name="Oval 27"/>
            <p:cNvSpPr>
              <a:spLocks noChangeArrowheads="1"/>
            </p:cNvSpPr>
            <p:nvPr>
              <p:custDataLst>
                <p:tags r:id="rId62"/>
              </p:custDataLst>
            </p:nvPr>
          </p:nvSpPr>
          <p:spPr bwMode="gray">
            <a:xfrm>
              <a:off x="3225165" y="4018642"/>
              <a:ext cx="100965" cy="99378"/>
            </a:xfrm>
            <a:prstGeom prst="ellipse">
              <a:avLst/>
            </a:prstGeom>
            <a:solidFill>
              <a:srgbClr val="0070C0"/>
            </a:solidFill>
            <a:ln>
              <a:noFill/>
            </a:ln>
          </p:spPr>
          <p:txBody>
            <a:bodyPr wrap="none" anchor="ctr"/>
            <a:lstStyle/>
            <a:p>
              <a:endParaRPr lang="zh-CN" altLang="en-US"/>
            </a:p>
          </p:txBody>
        </p:sp>
        <p:sp>
          <p:nvSpPr>
            <p:cNvPr id="129" name="Oval 28"/>
            <p:cNvSpPr>
              <a:spLocks noChangeArrowheads="1"/>
            </p:cNvSpPr>
            <p:nvPr>
              <p:custDataLst>
                <p:tags r:id="rId63"/>
              </p:custDataLst>
            </p:nvPr>
          </p:nvSpPr>
          <p:spPr bwMode="gray">
            <a:xfrm>
              <a:off x="3124200" y="4104728"/>
              <a:ext cx="100965" cy="99378"/>
            </a:xfrm>
            <a:prstGeom prst="ellipse">
              <a:avLst/>
            </a:prstGeom>
            <a:solidFill>
              <a:srgbClr val="0070C0"/>
            </a:solidFill>
            <a:ln>
              <a:noFill/>
            </a:ln>
          </p:spPr>
          <p:txBody>
            <a:bodyPr wrap="none" anchor="ctr"/>
            <a:lstStyle/>
            <a:p>
              <a:endParaRPr lang="zh-CN" altLang="en-US"/>
            </a:p>
          </p:txBody>
        </p:sp>
      </p:grpSp>
      <p:sp>
        <p:nvSpPr>
          <p:cNvPr id="97" name="TextBox 1"/>
          <p:cNvSpPr txBox="1"/>
          <p:nvPr>
            <p:custDataLst>
              <p:tags r:id="rId64"/>
            </p:custDataLst>
          </p:nvPr>
        </p:nvSpPr>
        <p:spPr>
          <a:xfrm>
            <a:off x="5109845" y="2426335"/>
            <a:ext cx="709930" cy="227330"/>
          </a:xfrm>
          <a:prstGeom prst="rect">
            <a:avLst/>
          </a:prstGeom>
          <a:noFill/>
        </p:spPr>
        <p:txBody>
          <a:bodyPr wrap="none" lIns="0" tIns="0" rIns="0" rtlCol="0">
            <a:spAutoFit/>
          </a:bodyPr>
          <a:lstStyle/>
          <a:p>
            <a:pPr>
              <a:lnSpc>
                <a:spcPts val="1500"/>
              </a:lnSpc>
              <a:tabLst>
                <a:tab pos="190500" algn="l"/>
              </a:tabLst>
            </a:pPr>
            <a:r>
              <a:rPr lang="zh-CN" altLang="en-US" sz="1200" b="1" dirty="0">
                <a:solidFill>
                  <a:srgbClr val="0099CC"/>
                </a:solidFill>
                <a:latin typeface="微软雅黑" panose="020B0503020204020204" pitchFamily="34" charset="-122"/>
                <a:ea typeface="微软雅黑" panose="020B0503020204020204" pitchFamily="34" charset="-122"/>
                <a:cs typeface="Arial Black" panose="020B0A04020102020204" pitchFamily="34" charset="0"/>
              </a:rPr>
              <a:t>计算节点</a:t>
            </a:r>
            <a:r>
              <a:rPr lang="en-US" altLang="zh-CN" sz="1200" b="1" dirty="0">
                <a:solidFill>
                  <a:srgbClr val="0099CC"/>
                </a:solidFill>
                <a:latin typeface="微软雅黑" panose="020B0503020204020204" pitchFamily="34" charset="-122"/>
                <a:ea typeface="微软雅黑" panose="020B0503020204020204" pitchFamily="34" charset="-122"/>
                <a:cs typeface="Arial Black" panose="020B0A04020102020204" pitchFamily="34" charset="0"/>
              </a:rPr>
              <a:t>1</a:t>
            </a:r>
            <a:endParaRPr lang="en-US" altLang="zh-CN" sz="1200" b="1" dirty="0">
              <a:solidFill>
                <a:srgbClr val="0099CC"/>
              </a:solidFill>
              <a:latin typeface="微软雅黑" panose="020B0503020204020204" pitchFamily="34" charset="-122"/>
              <a:ea typeface="微软雅黑" panose="020B0503020204020204" pitchFamily="34" charset="-122"/>
              <a:cs typeface="Arial Black" panose="020B0A04020102020204" pitchFamily="34" charset="0"/>
            </a:endParaRPr>
          </a:p>
        </p:txBody>
      </p:sp>
      <p:sp>
        <p:nvSpPr>
          <p:cNvPr id="130" name="TextBox 1"/>
          <p:cNvSpPr txBox="1"/>
          <p:nvPr>
            <p:custDataLst>
              <p:tags r:id="rId65"/>
            </p:custDataLst>
          </p:nvPr>
        </p:nvSpPr>
        <p:spPr>
          <a:xfrm>
            <a:off x="7382510" y="2444115"/>
            <a:ext cx="709930" cy="227330"/>
          </a:xfrm>
          <a:prstGeom prst="rect">
            <a:avLst/>
          </a:prstGeom>
          <a:noFill/>
        </p:spPr>
        <p:txBody>
          <a:bodyPr wrap="none" lIns="0" tIns="0" rIns="0" rtlCol="0">
            <a:spAutoFit/>
          </a:bodyPr>
          <a:lstStyle/>
          <a:p>
            <a:pPr>
              <a:lnSpc>
                <a:spcPts val="1500"/>
              </a:lnSpc>
              <a:tabLst>
                <a:tab pos="190500" algn="l"/>
              </a:tabLst>
            </a:pPr>
            <a:r>
              <a:rPr lang="zh-CN" altLang="en-US" sz="1200" b="1" dirty="0">
                <a:solidFill>
                  <a:srgbClr val="0099CC"/>
                </a:solidFill>
                <a:latin typeface="微软雅黑" panose="020B0503020204020204" pitchFamily="34" charset="-122"/>
                <a:ea typeface="微软雅黑" panose="020B0503020204020204" pitchFamily="34" charset="-122"/>
                <a:cs typeface="Arial Black" panose="020B0A04020102020204" pitchFamily="34" charset="0"/>
              </a:rPr>
              <a:t>计算节点</a:t>
            </a:r>
            <a:r>
              <a:rPr lang="en-US" altLang="zh-CN" sz="1200" b="1" dirty="0">
                <a:solidFill>
                  <a:srgbClr val="0099CC"/>
                </a:solidFill>
                <a:latin typeface="微软雅黑" panose="020B0503020204020204" pitchFamily="34" charset="-122"/>
                <a:ea typeface="微软雅黑" panose="020B0503020204020204" pitchFamily="34" charset="-122"/>
                <a:cs typeface="Arial Black" panose="020B0A04020102020204" pitchFamily="34" charset="0"/>
              </a:rPr>
              <a:t>2</a:t>
            </a:r>
            <a:endParaRPr lang="en-US" altLang="zh-CN" sz="1200" b="1" dirty="0">
              <a:solidFill>
                <a:srgbClr val="0099CC"/>
              </a:solidFill>
              <a:latin typeface="微软雅黑" panose="020B0503020204020204" pitchFamily="34" charset="-122"/>
              <a:ea typeface="微软雅黑" panose="020B0503020204020204" pitchFamily="34" charset="-122"/>
              <a:cs typeface="Arial Black" panose="020B0A04020102020204" pitchFamily="34" charset="0"/>
            </a:endParaRPr>
          </a:p>
        </p:txBody>
      </p:sp>
      <p:sp>
        <p:nvSpPr>
          <p:cNvPr id="131" name="TextBox 1"/>
          <p:cNvSpPr txBox="1"/>
          <p:nvPr>
            <p:custDataLst>
              <p:tags r:id="rId66"/>
            </p:custDataLst>
          </p:nvPr>
        </p:nvSpPr>
        <p:spPr>
          <a:xfrm>
            <a:off x="10051415" y="2433955"/>
            <a:ext cx="715010" cy="227330"/>
          </a:xfrm>
          <a:prstGeom prst="rect">
            <a:avLst/>
          </a:prstGeom>
          <a:noFill/>
        </p:spPr>
        <p:txBody>
          <a:bodyPr wrap="none" lIns="0" tIns="0" rIns="0" rtlCol="0">
            <a:spAutoFit/>
          </a:bodyPr>
          <a:lstStyle/>
          <a:p>
            <a:pPr>
              <a:lnSpc>
                <a:spcPts val="1500"/>
              </a:lnSpc>
              <a:tabLst>
                <a:tab pos="190500" algn="l"/>
              </a:tabLst>
            </a:pPr>
            <a:r>
              <a:rPr lang="zh-CN" altLang="en-US" sz="1200" b="1" dirty="0">
                <a:solidFill>
                  <a:srgbClr val="0099CC"/>
                </a:solidFill>
                <a:latin typeface="微软雅黑" panose="020B0503020204020204" pitchFamily="34" charset="-122"/>
                <a:ea typeface="微软雅黑" panose="020B0503020204020204" pitchFamily="34" charset="-122"/>
                <a:cs typeface="Arial Black" panose="020B0A04020102020204" pitchFamily="34" charset="0"/>
              </a:rPr>
              <a:t>计算节点</a:t>
            </a:r>
            <a:r>
              <a:rPr lang="en-US" altLang="zh-CN" sz="1200" b="1" dirty="0">
                <a:solidFill>
                  <a:srgbClr val="0099CC"/>
                </a:solidFill>
                <a:latin typeface="微软雅黑" panose="020B0503020204020204" pitchFamily="34" charset="-122"/>
                <a:ea typeface="微软雅黑" panose="020B0503020204020204" pitchFamily="34" charset="-122"/>
                <a:cs typeface="Arial Black" panose="020B0A04020102020204" pitchFamily="34" charset="0"/>
              </a:rPr>
              <a:t>n</a:t>
            </a:r>
            <a:endParaRPr lang="en-US" altLang="zh-CN" sz="1200" b="1" dirty="0">
              <a:solidFill>
                <a:srgbClr val="0099CC"/>
              </a:solidFill>
              <a:latin typeface="微软雅黑" panose="020B0503020204020204" pitchFamily="34" charset="-122"/>
              <a:ea typeface="微软雅黑" panose="020B0503020204020204" pitchFamily="34" charset="-122"/>
              <a:cs typeface="Arial Black" panose="020B0A04020102020204" pitchFamily="34" charset="0"/>
            </a:endParaRPr>
          </a:p>
        </p:txBody>
      </p:sp>
      <p:sp>
        <p:nvSpPr>
          <p:cNvPr id="132" name="TextBox 1"/>
          <p:cNvSpPr txBox="1"/>
          <p:nvPr>
            <p:custDataLst>
              <p:tags r:id="rId67"/>
            </p:custDataLst>
          </p:nvPr>
        </p:nvSpPr>
        <p:spPr>
          <a:xfrm>
            <a:off x="5109845" y="5353685"/>
            <a:ext cx="709930" cy="227330"/>
          </a:xfrm>
          <a:prstGeom prst="rect">
            <a:avLst/>
          </a:prstGeom>
          <a:noFill/>
        </p:spPr>
        <p:txBody>
          <a:bodyPr wrap="none" lIns="0" tIns="0" rIns="0" rtlCol="0">
            <a:spAutoFit/>
          </a:bodyPr>
          <a:lstStyle/>
          <a:p>
            <a:pPr>
              <a:lnSpc>
                <a:spcPts val="1500"/>
              </a:lnSpc>
              <a:tabLst>
                <a:tab pos="190500" algn="l"/>
              </a:tabLst>
            </a:pPr>
            <a:r>
              <a:rPr lang="zh-CN" altLang="en-US" sz="1200" b="1" dirty="0">
                <a:solidFill>
                  <a:srgbClr val="0099CC"/>
                </a:solidFill>
                <a:latin typeface="微软雅黑" panose="020B0503020204020204" pitchFamily="34" charset="-122"/>
                <a:ea typeface="微软雅黑" panose="020B0503020204020204" pitchFamily="34" charset="-122"/>
                <a:cs typeface="Arial Black" panose="020B0A04020102020204" pitchFamily="34" charset="0"/>
              </a:rPr>
              <a:t>存储节点</a:t>
            </a:r>
            <a:r>
              <a:rPr lang="en-US" altLang="zh-CN" sz="1200" b="1" dirty="0">
                <a:solidFill>
                  <a:srgbClr val="0099CC"/>
                </a:solidFill>
                <a:latin typeface="微软雅黑" panose="020B0503020204020204" pitchFamily="34" charset="-122"/>
                <a:ea typeface="微软雅黑" panose="020B0503020204020204" pitchFamily="34" charset="-122"/>
                <a:cs typeface="Arial Black" panose="020B0A04020102020204" pitchFamily="34" charset="0"/>
              </a:rPr>
              <a:t>1</a:t>
            </a:r>
            <a:endParaRPr lang="en-US" altLang="zh-CN" sz="1200" b="1" dirty="0">
              <a:solidFill>
                <a:srgbClr val="0099CC"/>
              </a:solidFill>
              <a:latin typeface="微软雅黑" panose="020B0503020204020204" pitchFamily="34" charset="-122"/>
              <a:ea typeface="微软雅黑" panose="020B0503020204020204" pitchFamily="34" charset="-122"/>
              <a:cs typeface="Arial Black" panose="020B0A04020102020204" pitchFamily="34" charset="0"/>
            </a:endParaRPr>
          </a:p>
        </p:txBody>
      </p:sp>
      <p:sp>
        <p:nvSpPr>
          <p:cNvPr id="133" name="TextBox 1"/>
          <p:cNvSpPr txBox="1"/>
          <p:nvPr>
            <p:custDataLst>
              <p:tags r:id="rId68"/>
            </p:custDataLst>
          </p:nvPr>
        </p:nvSpPr>
        <p:spPr>
          <a:xfrm>
            <a:off x="7509510" y="5353685"/>
            <a:ext cx="709930" cy="227330"/>
          </a:xfrm>
          <a:prstGeom prst="rect">
            <a:avLst/>
          </a:prstGeom>
          <a:noFill/>
        </p:spPr>
        <p:txBody>
          <a:bodyPr wrap="none" lIns="0" tIns="0" rIns="0" rtlCol="0">
            <a:spAutoFit/>
          </a:bodyPr>
          <a:lstStyle/>
          <a:p>
            <a:pPr>
              <a:lnSpc>
                <a:spcPts val="1500"/>
              </a:lnSpc>
              <a:tabLst>
                <a:tab pos="190500" algn="l"/>
              </a:tabLst>
            </a:pPr>
            <a:r>
              <a:rPr lang="zh-CN" altLang="en-US" sz="1200" b="1" dirty="0">
                <a:solidFill>
                  <a:srgbClr val="0099CC"/>
                </a:solidFill>
                <a:latin typeface="微软雅黑" panose="020B0503020204020204" pitchFamily="34" charset="-122"/>
                <a:ea typeface="微软雅黑" panose="020B0503020204020204" pitchFamily="34" charset="-122"/>
                <a:cs typeface="Arial Black" panose="020B0A04020102020204" pitchFamily="34" charset="0"/>
              </a:rPr>
              <a:t>存储节点</a:t>
            </a:r>
            <a:r>
              <a:rPr lang="en-US" altLang="zh-CN" sz="1200" b="1" dirty="0">
                <a:solidFill>
                  <a:srgbClr val="0099CC"/>
                </a:solidFill>
                <a:latin typeface="微软雅黑" panose="020B0503020204020204" pitchFamily="34" charset="-122"/>
                <a:ea typeface="微软雅黑" panose="020B0503020204020204" pitchFamily="34" charset="-122"/>
                <a:cs typeface="Arial Black" panose="020B0A04020102020204" pitchFamily="34" charset="0"/>
              </a:rPr>
              <a:t>2</a:t>
            </a:r>
            <a:endParaRPr lang="en-US" altLang="zh-CN" sz="1200" b="1" dirty="0">
              <a:solidFill>
                <a:srgbClr val="0099CC"/>
              </a:solidFill>
              <a:latin typeface="微软雅黑" panose="020B0503020204020204" pitchFamily="34" charset="-122"/>
              <a:ea typeface="微软雅黑" panose="020B0503020204020204" pitchFamily="34" charset="-122"/>
              <a:cs typeface="Arial Black" panose="020B0A04020102020204" pitchFamily="34" charset="0"/>
            </a:endParaRPr>
          </a:p>
        </p:txBody>
      </p:sp>
      <p:sp>
        <p:nvSpPr>
          <p:cNvPr id="134" name="TextBox 1"/>
          <p:cNvSpPr txBox="1"/>
          <p:nvPr>
            <p:custDataLst>
              <p:tags r:id="rId69"/>
            </p:custDataLst>
          </p:nvPr>
        </p:nvSpPr>
        <p:spPr>
          <a:xfrm>
            <a:off x="10051415" y="5359400"/>
            <a:ext cx="715010" cy="227330"/>
          </a:xfrm>
          <a:prstGeom prst="rect">
            <a:avLst/>
          </a:prstGeom>
          <a:noFill/>
        </p:spPr>
        <p:txBody>
          <a:bodyPr wrap="none" lIns="0" tIns="0" rIns="0" rtlCol="0">
            <a:spAutoFit/>
          </a:bodyPr>
          <a:lstStyle/>
          <a:p>
            <a:pPr>
              <a:lnSpc>
                <a:spcPts val="1500"/>
              </a:lnSpc>
              <a:tabLst>
                <a:tab pos="190500" algn="l"/>
              </a:tabLst>
            </a:pPr>
            <a:r>
              <a:rPr lang="zh-CN" altLang="en-US" sz="1200" b="1" dirty="0">
                <a:solidFill>
                  <a:srgbClr val="0099CC"/>
                </a:solidFill>
                <a:latin typeface="微软雅黑" panose="020B0503020204020204" pitchFamily="34" charset="-122"/>
                <a:ea typeface="微软雅黑" panose="020B0503020204020204" pitchFamily="34" charset="-122"/>
                <a:cs typeface="Arial Black" panose="020B0A04020102020204" pitchFamily="34" charset="0"/>
              </a:rPr>
              <a:t>存储节点</a:t>
            </a:r>
            <a:r>
              <a:rPr lang="en-US" altLang="zh-CN" sz="1200" b="1" dirty="0">
                <a:solidFill>
                  <a:srgbClr val="0099CC"/>
                </a:solidFill>
                <a:latin typeface="微软雅黑" panose="020B0503020204020204" pitchFamily="34" charset="-122"/>
                <a:ea typeface="微软雅黑" panose="020B0503020204020204" pitchFamily="34" charset="-122"/>
                <a:cs typeface="Arial Black" panose="020B0A04020102020204" pitchFamily="34" charset="0"/>
              </a:rPr>
              <a:t>n</a:t>
            </a:r>
            <a:endParaRPr lang="en-US" altLang="zh-CN" sz="1200" b="1" dirty="0">
              <a:solidFill>
                <a:srgbClr val="0099CC"/>
              </a:solidFill>
              <a:latin typeface="微软雅黑" panose="020B0503020204020204" pitchFamily="34" charset="-122"/>
              <a:ea typeface="微软雅黑" panose="020B0503020204020204" pitchFamily="34" charset="-122"/>
              <a:cs typeface="Arial Black" panose="020B0A04020102020204" pitchFamily="34" charset="0"/>
            </a:endParaRPr>
          </a:p>
        </p:txBody>
      </p:sp>
      <p:grpSp>
        <p:nvGrpSpPr>
          <p:cNvPr id="138" name="组合 137"/>
          <p:cNvGrpSpPr>
            <a:grpSpLocks noChangeAspect="1"/>
          </p:cNvGrpSpPr>
          <p:nvPr/>
        </p:nvGrpSpPr>
        <p:grpSpPr>
          <a:xfrm>
            <a:off x="7701280" y="1341120"/>
            <a:ext cx="539750" cy="539750"/>
            <a:chOff x="5828906" y="1254936"/>
            <a:chExt cx="899826" cy="900000"/>
          </a:xfrm>
          <a:effectLst>
            <a:outerShdw blurRad="50800" dist="38100" dir="2700000" algn="tl" rotWithShape="0">
              <a:schemeClr val="accent2">
                <a:alpha val="40000"/>
              </a:schemeClr>
            </a:outerShdw>
          </a:effectLst>
        </p:grpSpPr>
        <p:sp>
          <p:nvSpPr>
            <p:cNvPr id="139" name="椭圆 138"/>
            <p:cNvSpPr>
              <a:spLocks noChangeAspect="1"/>
            </p:cNvSpPr>
            <p:nvPr>
              <p:custDataLst>
                <p:tags r:id="rId70"/>
              </p:custDataLst>
            </p:nvPr>
          </p:nvSpPr>
          <p:spPr>
            <a:xfrm>
              <a:off x="5828906" y="1254936"/>
              <a:ext cx="899826" cy="9000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0" name="Picture 4" descr="\\Mac\Home\office\1-项目跟踪\1.1-沃趣项目跟踪\其他合作伙伴\乘数科技\PNG\postgreSQL2.png"/>
            <p:cNvPicPr>
              <a:picLocks noChangeAspect="1" noChangeArrowheads="1"/>
            </p:cNvPicPr>
            <p:nvPr>
              <p:custDataLst>
                <p:tags r:id="rId71"/>
              </p:custDataLst>
            </p:nvPr>
          </p:nvPicPr>
          <p:blipFill>
            <a:blip r:embed="rId72" cstate="print">
              <a:extLst>
                <a:ext uri="{28A0092B-C50C-407E-A947-70E740481C1C}">
                  <a14:useLocalDpi xmlns:a14="http://schemas.microsoft.com/office/drawing/2010/main" val="0"/>
                </a:ext>
              </a:extLst>
            </a:blip>
            <a:srcRect/>
            <a:stretch>
              <a:fillRect/>
            </a:stretch>
          </p:blipFill>
          <p:spPr bwMode="auto">
            <a:xfrm>
              <a:off x="5906927" y="1429049"/>
              <a:ext cx="795600" cy="526400"/>
            </a:xfrm>
            <a:prstGeom prst="rect">
              <a:avLst/>
            </a:prstGeom>
            <a:noFill/>
            <a:extLst>
              <a:ext uri="{909E8E84-426E-40DD-AFC4-6F175D3DCCD1}">
                <a14:hiddenFill xmlns:a14="http://schemas.microsoft.com/office/drawing/2010/main">
                  <a:solidFill>
                    <a:srgbClr val="FFFFFF"/>
                  </a:solidFill>
                </a14:hiddenFill>
              </a:ext>
            </a:extLst>
          </p:spPr>
        </p:pic>
      </p:grpSp>
      <p:sp>
        <p:nvSpPr>
          <p:cNvPr id="145" name="矩形 144"/>
          <p:cNvSpPr/>
          <p:nvPr>
            <p:custDataLst>
              <p:tags r:id="rId73"/>
            </p:custDataLst>
          </p:nvPr>
        </p:nvSpPr>
        <p:spPr>
          <a:xfrm>
            <a:off x="8325485" y="1498600"/>
            <a:ext cx="1080135" cy="225425"/>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pitchFamily="34" charset="-122"/>
                <a:ea typeface="微软雅黑" panose="020B0503020204020204" pitchFamily="34" charset="-122"/>
              </a:rPr>
              <a:t>filesystem</a:t>
            </a:r>
            <a:endParaRPr lang="en-US" altLang="zh-CN" sz="1200" b="1" dirty="0">
              <a:latin typeface="微软雅黑" panose="020B0503020204020204" pitchFamily="34" charset="-122"/>
              <a:ea typeface="微软雅黑" panose="020B0503020204020204" pitchFamily="34" charset="-122"/>
            </a:endParaRPr>
          </a:p>
        </p:txBody>
      </p:sp>
      <p:sp>
        <p:nvSpPr>
          <p:cNvPr id="6" name="右大括号 5"/>
          <p:cNvSpPr/>
          <p:nvPr>
            <p:custDataLst>
              <p:tags r:id="rId74"/>
            </p:custDataLst>
          </p:nvPr>
        </p:nvSpPr>
        <p:spPr>
          <a:xfrm rot="5400000">
            <a:off x="8291830" y="-1361440"/>
            <a:ext cx="437515" cy="6879590"/>
          </a:xfrm>
          <a:prstGeom prst="rightBrace">
            <a:avLst>
              <a:gd name="adj1" fmla="val 51055"/>
              <a:gd name="adj2" fmla="val 86076"/>
            </a:avLst>
          </a:prstGeom>
          <a:noFill/>
          <a:ln w="25400">
            <a:solidFill>
              <a:schemeClr val="accent2"/>
            </a:solidFill>
          </a:ln>
          <a:effectLst>
            <a:outerShdw blurRad="50800" dist="38100" dir="2700000" algn="tl" rotWithShape="0">
              <a:schemeClr val="accent2">
                <a:alpha val="40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47" name="矩形 146"/>
          <p:cNvSpPr/>
          <p:nvPr>
            <p:custDataLst>
              <p:tags r:id="rId75"/>
            </p:custDataLst>
          </p:nvPr>
        </p:nvSpPr>
        <p:spPr>
          <a:xfrm>
            <a:off x="10753090" y="1504315"/>
            <a:ext cx="1080135" cy="225425"/>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pitchFamily="34" charset="-122"/>
                <a:ea typeface="微软雅黑" panose="020B0503020204020204" pitchFamily="34" charset="-122"/>
              </a:rPr>
              <a:t>pfs</a:t>
            </a:r>
            <a:endParaRPr lang="en-US" altLang="zh-CN" sz="1200" b="1" dirty="0">
              <a:latin typeface="微软雅黑" panose="020B0503020204020204" pitchFamily="34" charset="-122"/>
              <a:ea typeface="微软雅黑" panose="020B0503020204020204" pitchFamily="34" charset="-122"/>
            </a:endParaRPr>
          </a:p>
        </p:txBody>
      </p:sp>
      <p:grpSp>
        <p:nvGrpSpPr>
          <p:cNvPr id="9" name="组合 8"/>
          <p:cNvGrpSpPr/>
          <p:nvPr/>
        </p:nvGrpSpPr>
        <p:grpSpPr>
          <a:xfrm>
            <a:off x="10155555" y="1332865"/>
            <a:ext cx="539750" cy="539750"/>
            <a:chOff x="9735" y="1533"/>
            <a:chExt cx="850" cy="850"/>
          </a:xfrm>
        </p:grpSpPr>
        <p:sp>
          <p:nvSpPr>
            <p:cNvPr id="10" name="椭圆 9"/>
            <p:cNvSpPr>
              <a:spLocks noChangeAspect="1"/>
            </p:cNvSpPr>
            <p:nvPr>
              <p:custDataLst>
                <p:tags r:id="rId76"/>
              </p:custDataLst>
            </p:nvPr>
          </p:nvSpPr>
          <p:spPr>
            <a:xfrm>
              <a:off x="9735" y="1533"/>
              <a:ext cx="850" cy="8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1" name="图片 10" descr="polardb_icon_small"/>
            <p:cNvPicPr>
              <a:picLocks noChangeAspect="1"/>
            </p:cNvPicPr>
            <p:nvPr>
              <p:custDataLst>
                <p:tags r:id="rId77"/>
              </p:custDataLst>
            </p:nvPr>
          </p:nvPicPr>
          <p:blipFill>
            <a:blip r:embed="rId78"/>
            <a:stretch>
              <a:fillRect/>
            </a:stretch>
          </p:blipFill>
          <p:spPr>
            <a:xfrm>
              <a:off x="9882" y="1605"/>
              <a:ext cx="588" cy="603"/>
            </a:xfrm>
            <a:prstGeom prst="rect">
              <a:avLst/>
            </a:prstGeom>
          </p:spPr>
        </p:pic>
      </p:grpSp>
      <p:sp>
        <p:nvSpPr>
          <p:cNvPr id="149" name="TextBox 148"/>
          <p:cNvSpPr txBox="1"/>
          <p:nvPr>
            <p:custDataLst>
              <p:tags r:id="rId79"/>
            </p:custDataLst>
          </p:nvPr>
        </p:nvSpPr>
        <p:spPr>
          <a:xfrm>
            <a:off x="197809" y="1409131"/>
            <a:ext cx="4586842" cy="4843780"/>
          </a:xfrm>
          <a:prstGeom prst="rect">
            <a:avLst/>
          </a:prstGeom>
          <a:noFill/>
        </p:spPr>
        <p:txBody>
          <a:bodyPr wrap="square" rtlCol="0">
            <a:spAutoFit/>
          </a:bodyPr>
          <a:lstStyle/>
          <a:p>
            <a:pPr marL="285750" indent="-285750">
              <a:lnSpc>
                <a:spcPct val="130000"/>
              </a:lnSpc>
              <a:buClr>
                <a:schemeClr val="accent2"/>
              </a:buClr>
              <a:buFont typeface="Wingdings" panose="05000000000000000000" pitchFamily="2" charset="2"/>
              <a:buChar char="n"/>
            </a:pPr>
            <a:r>
              <a:rPr lang="en-US" altLang="zh-CN" sz="1400" dirty="0">
                <a:solidFill>
                  <a:schemeClr val="tx2"/>
                </a:solidFill>
                <a:latin typeface="微软雅黑" panose="020B0503020204020204" pitchFamily="34" charset="-122"/>
                <a:ea typeface="微软雅黑" panose="020B0503020204020204" pitchFamily="34" charset="-122"/>
              </a:rPr>
              <a:t>CFabric</a:t>
            </a:r>
            <a:r>
              <a:rPr lang="zh-CN" altLang="en-US" sz="1400" dirty="0">
                <a:solidFill>
                  <a:schemeClr val="tx2"/>
                </a:solidFill>
                <a:latin typeface="微软雅黑" panose="020B0503020204020204" pitchFamily="34" charset="-122"/>
                <a:ea typeface="微软雅黑" panose="020B0503020204020204" pitchFamily="34" charset="-122"/>
              </a:rPr>
              <a:t>是一款专为数据库分布式存储设计开发的高性能、高可靠企业级软件。</a:t>
            </a:r>
            <a:endParaRPr lang="en-US" altLang="zh-CN" sz="1400" dirty="0">
              <a:solidFill>
                <a:schemeClr val="tx2"/>
              </a:solidFill>
              <a:latin typeface="微软雅黑" panose="020B0503020204020204" pitchFamily="34" charset="-122"/>
              <a:ea typeface="微软雅黑" panose="020B0503020204020204" pitchFamily="34" charset="-122"/>
            </a:endParaRPr>
          </a:p>
          <a:p>
            <a:pPr>
              <a:lnSpc>
                <a:spcPct val="130000"/>
              </a:lnSpc>
            </a:pPr>
            <a:endParaRPr lang="en-US" altLang="zh-CN" sz="1400" dirty="0">
              <a:solidFill>
                <a:srgbClr val="FF0000"/>
              </a:solidFill>
              <a:latin typeface="微软雅黑" panose="020B0503020204020204" pitchFamily="34" charset="-122"/>
              <a:ea typeface="微软雅黑" panose="020B0503020204020204" pitchFamily="34" charset="-122"/>
            </a:endParaRPr>
          </a:p>
          <a:p>
            <a:pPr>
              <a:lnSpc>
                <a:spcPct val="130000"/>
              </a:lnSpc>
            </a:pPr>
            <a:endParaRPr lang="en-US" altLang="zh-CN" sz="1400" dirty="0">
              <a:solidFill>
                <a:srgbClr val="FF0000"/>
              </a:solidFill>
              <a:latin typeface="微软雅黑" panose="020B0503020204020204" pitchFamily="34" charset="-122"/>
              <a:ea typeface="微软雅黑" panose="020B0503020204020204" pitchFamily="34" charset="-122"/>
            </a:endParaRPr>
          </a:p>
          <a:p>
            <a:pPr marL="285750" indent="-285750">
              <a:lnSpc>
                <a:spcPct val="130000"/>
              </a:lnSpc>
              <a:buClr>
                <a:schemeClr val="accent2"/>
              </a:buClr>
              <a:buFont typeface="Wingdings" panose="05000000000000000000" pitchFamily="2" charset="2"/>
              <a:buChar char="n"/>
            </a:pPr>
            <a:r>
              <a:rPr lang="en-US" altLang="zh-CN" sz="1400" dirty="0">
                <a:solidFill>
                  <a:schemeClr val="tx2"/>
                </a:solidFill>
                <a:latin typeface="微软雅黑" panose="020B0503020204020204" pitchFamily="34" charset="-122"/>
                <a:ea typeface="微软雅黑" panose="020B0503020204020204" pitchFamily="34" charset="-122"/>
              </a:rPr>
              <a:t>CFabric</a:t>
            </a:r>
            <a:r>
              <a:rPr lang="zh-CN" altLang="en-US" sz="1400" dirty="0">
                <a:solidFill>
                  <a:schemeClr val="tx2"/>
                </a:solidFill>
                <a:latin typeface="微软雅黑" panose="020B0503020204020204" pitchFamily="34" charset="-122"/>
                <a:ea typeface="微软雅黑" panose="020B0503020204020204" pitchFamily="34" charset="-122"/>
              </a:rPr>
              <a:t>的存储节点之间有高可用，单个存储节点失效不影响上层服务。</a:t>
            </a:r>
            <a:endParaRPr lang="en-US" altLang="zh-CN" sz="1400" dirty="0">
              <a:solidFill>
                <a:schemeClr val="tx2"/>
              </a:solidFill>
              <a:latin typeface="微软雅黑" panose="020B0503020204020204" pitchFamily="34" charset="-122"/>
              <a:ea typeface="微软雅黑" panose="020B0503020204020204" pitchFamily="34" charset="-122"/>
            </a:endParaRPr>
          </a:p>
          <a:p>
            <a:pPr>
              <a:lnSpc>
                <a:spcPct val="130000"/>
              </a:lnSpc>
            </a:pPr>
            <a:endParaRPr lang="en-US" altLang="zh-CN" sz="1400" dirty="0">
              <a:solidFill>
                <a:srgbClr val="FF0000"/>
              </a:solidFill>
              <a:latin typeface="微软雅黑" panose="020B0503020204020204" pitchFamily="34" charset="-122"/>
              <a:ea typeface="微软雅黑" panose="020B0503020204020204" pitchFamily="34" charset="-122"/>
            </a:endParaRPr>
          </a:p>
          <a:p>
            <a:pPr>
              <a:lnSpc>
                <a:spcPct val="130000"/>
              </a:lnSpc>
            </a:pPr>
            <a:endParaRPr lang="en-US" altLang="zh-CN" sz="1400" dirty="0">
              <a:solidFill>
                <a:srgbClr val="FF0000"/>
              </a:solidFill>
              <a:latin typeface="微软雅黑" panose="020B0503020204020204" pitchFamily="34" charset="-122"/>
              <a:ea typeface="微软雅黑" panose="020B0503020204020204" pitchFamily="34" charset="-122"/>
            </a:endParaRPr>
          </a:p>
          <a:p>
            <a:pPr marL="285750" indent="-285750">
              <a:lnSpc>
                <a:spcPct val="130000"/>
              </a:lnSpc>
              <a:buClr>
                <a:schemeClr val="accent2"/>
              </a:buClr>
              <a:buFont typeface="Wingdings" panose="05000000000000000000" pitchFamily="2" charset="2"/>
              <a:buChar char="n"/>
            </a:pPr>
            <a:r>
              <a:rPr lang="en-US" altLang="zh-CN" sz="1400" dirty="0">
                <a:solidFill>
                  <a:schemeClr val="tx2"/>
                </a:solidFill>
                <a:latin typeface="微软雅黑" panose="020B0503020204020204" pitchFamily="34" charset="-122"/>
                <a:ea typeface="微软雅黑" panose="020B0503020204020204" pitchFamily="34" charset="-122"/>
              </a:rPr>
              <a:t>CFabric</a:t>
            </a:r>
            <a:r>
              <a:rPr lang="zh-CN" altLang="en-US" sz="1400" dirty="0">
                <a:solidFill>
                  <a:schemeClr val="tx2"/>
                </a:solidFill>
                <a:latin typeface="微软雅黑" panose="020B0503020204020204" pitchFamily="34" charset="-122"/>
                <a:ea typeface="微软雅黑" panose="020B0503020204020204" pitchFamily="34" charset="-122"/>
              </a:rPr>
              <a:t>集</a:t>
            </a:r>
            <a:r>
              <a:rPr lang="en-US" altLang="zh-CN" sz="1400" dirty="0">
                <a:solidFill>
                  <a:schemeClr val="tx2"/>
                </a:solidFill>
                <a:latin typeface="微软雅黑" panose="020B0503020204020204" pitchFamily="34" charset="-122"/>
                <a:ea typeface="微软雅黑" panose="020B0503020204020204" pitchFamily="34" charset="-122"/>
              </a:rPr>
              <a:t>RDMA</a:t>
            </a:r>
            <a:r>
              <a:rPr lang="zh-CN" altLang="en-US" sz="1400" dirty="0">
                <a:solidFill>
                  <a:schemeClr val="tx2"/>
                </a:solidFill>
                <a:latin typeface="微软雅黑" panose="020B0503020204020204" pitchFamily="34" charset="-122"/>
                <a:ea typeface="微软雅黑" panose="020B0503020204020204" pitchFamily="34" charset="-122"/>
              </a:rPr>
              <a:t>网络管理、</a:t>
            </a:r>
            <a:r>
              <a:rPr lang="en-US" altLang="zh-CN" sz="1400" dirty="0">
                <a:solidFill>
                  <a:schemeClr val="tx2"/>
                </a:solidFill>
                <a:latin typeface="微软雅黑" panose="020B0503020204020204" pitchFamily="34" charset="-122"/>
                <a:ea typeface="微软雅黑" panose="020B0503020204020204" pitchFamily="34" charset="-122"/>
              </a:rPr>
              <a:t>IPSAN</a:t>
            </a:r>
            <a:r>
              <a:rPr lang="zh-CN" altLang="en-US" sz="1400" dirty="0">
                <a:solidFill>
                  <a:schemeClr val="tx2"/>
                </a:solidFill>
                <a:latin typeface="微软雅黑" panose="020B0503020204020204" pitchFamily="34" charset="-122"/>
                <a:ea typeface="微软雅黑" panose="020B0503020204020204" pitchFamily="34" charset="-122"/>
              </a:rPr>
              <a:t>、</a:t>
            </a:r>
            <a:r>
              <a:rPr lang="en-US" altLang="zh-CN" sz="1400" dirty="0">
                <a:solidFill>
                  <a:schemeClr val="tx2"/>
                </a:solidFill>
                <a:latin typeface="微软雅黑" panose="020B0503020204020204" pitchFamily="34" charset="-122"/>
                <a:ea typeface="微软雅黑" panose="020B0503020204020204" pitchFamily="34" charset="-122"/>
              </a:rPr>
              <a:t>ISER</a:t>
            </a:r>
            <a:r>
              <a:rPr lang="zh-CN" altLang="en-US" sz="1400" dirty="0">
                <a:solidFill>
                  <a:schemeClr val="tx2"/>
                </a:solidFill>
                <a:latin typeface="微软雅黑" panose="020B0503020204020204" pitchFamily="34" charset="-122"/>
                <a:ea typeface="微软雅黑" panose="020B0503020204020204" pitchFamily="34" charset="-122"/>
              </a:rPr>
              <a:t>组件、软存储多副本管理、</a:t>
            </a:r>
            <a:r>
              <a:rPr lang="en-US" altLang="zh-CN" sz="1400" dirty="0">
                <a:solidFill>
                  <a:schemeClr val="tx2"/>
                </a:solidFill>
                <a:latin typeface="微软雅黑" panose="020B0503020204020204" pitchFamily="34" charset="-122"/>
                <a:ea typeface="微软雅黑" panose="020B0503020204020204" pitchFamily="34" charset="-122"/>
              </a:rPr>
              <a:t>IO</a:t>
            </a:r>
            <a:r>
              <a:rPr lang="zh-CN" altLang="en-US" sz="1400" dirty="0">
                <a:solidFill>
                  <a:schemeClr val="tx2"/>
                </a:solidFill>
                <a:latin typeface="微软雅黑" panose="020B0503020204020204" pitchFamily="34" charset="-122"/>
                <a:ea typeface="微软雅黑" panose="020B0503020204020204" pitchFamily="34" charset="-122"/>
              </a:rPr>
              <a:t>诊断工具于一身的分布式存储软件，同时能与</a:t>
            </a:r>
            <a:r>
              <a:rPr lang="en-US" altLang="zh-CN" sz="1400" dirty="0">
                <a:solidFill>
                  <a:schemeClr val="tx2"/>
                </a:solidFill>
                <a:latin typeface="微软雅黑" panose="020B0503020204020204" pitchFamily="34" charset="-122"/>
                <a:ea typeface="微软雅黑" panose="020B0503020204020204" pitchFamily="34" charset="-122"/>
              </a:rPr>
              <a:t>PolarDB PFS</a:t>
            </a:r>
            <a:r>
              <a:rPr lang="zh-CN" altLang="en-US" sz="1400" dirty="0">
                <a:solidFill>
                  <a:schemeClr val="tx2"/>
                </a:solidFill>
                <a:latin typeface="微软雅黑" panose="020B0503020204020204" pitchFamily="34" charset="-122"/>
                <a:ea typeface="微软雅黑" panose="020B0503020204020204" pitchFamily="34" charset="-122"/>
              </a:rPr>
              <a:t>软件紧密结合，提供高可用、多副本的高可靠的存储服务。</a:t>
            </a:r>
            <a:endParaRPr lang="en-US" altLang="zh-CN" sz="1400" dirty="0">
              <a:solidFill>
                <a:schemeClr val="tx2"/>
              </a:solidFill>
              <a:latin typeface="微软雅黑" panose="020B0503020204020204" pitchFamily="34" charset="-122"/>
              <a:ea typeface="微软雅黑" panose="020B0503020204020204" pitchFamily="34" charset="-122"/>
            </a:endParaRPr>
          </a:p>
          <a:p>
            <a:pPr marL="285750" indent="-285750">
              <a:lnSpc>
                <a:spcPct val="130000"/>
              </a:lnSpc>
              <a:buClr>
                <a:schemeClr val="accent2"/>
              </a:buClr>
              <a:buFont typeface="Wingdings" panose="05000000000000000000" pitchFamily="2" charset="2"/>
              <a:buChar char="n"/>
            </a:pPr>
            <a:endParaRPr lang="en-US" altLang="zh-CN" sz="1400" dirty="0">
              <a:solidFill>
                <a:schemeClr val="tx2"/>
              </a:solidFill>
              <a:latin typeface="微软雅黑" panose="020B0503020204020204" pitchFamily="34" charset="-122"/>
              <a:ea typeface="微软雅黑" panose="020B0503020204020204" pitchFamily="34" charset="-122"/>
            </a:endParaRPr>
          </a:p>
          <a:p>
            <a:pPr marL="285750" indent="-285750">
              <a:lnSpc>
                <a:spcPct val="130000"/>
              </a:lnSpc>
              <a:buClr>
                <a:schemeClr val="accent2"/>
              </a:buClr>
              <a:buFont typeface="Wingdings" panose="05000000000000000000" pitchFamily="2" charset="2"/>
              <a:buChar char="n"/>
            </a:pPr>
            <a:endParaRPr lang="en-US" altLang="zh-CN" sz="1400" dirty="0">
              <a:solidFill>
                <a:schemeClr val="tx2"/>
              </a:solidFill>
              <a:latin typeface="微软雅黑" panose="020B0503020204020204" pitchFamily="34" charset="-122"/>
              <a:ea typeface="微软雅黑" panose="020B0503020204020204" pitchFamily="34" charset="-122"/>
            </a:endParaRPr>
          </a:p>
          <a:p>
            <a:pPr marL="285750" indent="-285750">
              <a:lnSpc>
                <a:spcPct val="130000"/>
              </a:lnSpc>
              <a:buClr>
                <a:schemeClr val="accent2"/>
              </a:buClr>
              <a:buFont typeface="Wingdings" panose="05000000000000000000" pitchFamily="2" charset="2"/>
              <a:buChar char="n"/>
            </a:pPr>
            <a:r>
              <a:rPr lang="en-US" altLang="zh-CN" sz="1400" dirty="0">
                <a:solidFill>
                  <a:schemeClr val="tx2"/>
                </a:solidFill>
                <a:latin typeface="微软雅黑" panose="020B0503020204020204" pitchFamily="34" charset="-122"/>
                <a:ea typeface="微软雅黑" panose="020B0503020204020204" pitchFamily="34" charset="-122"/>
              </a:rPr>
              <a:t>CFabric</a:t>
            </a:r>
            <a:r>
              <a:rPr lang="zh-CN" altLang="en-US" sz="1400" dirty="0">
                <a:solidFill>
                  <a:schemeClr val="tx2"/>
                </a:solidFill>
                <a:latin typeface="微软雅黑" panose="020B0503020204020204" pitchFamily="34" charset="-122"/>
                <a:ea typeface="微软雅黑" panose="020B0503020204020204" pitchFamily="34" charset="-122"/>
              </a:rPr>
              <a:t>提供</a:t>
            </a:r>
            <a:r>
              <a:rPr lang="en-US" altLang="zh-CN" sz="1400" dirty="0">
                <a:solidFill>
                  <a:schemeClr val="tx2"/>
                </a:solidFill>
                <a:latin typeface="微软雅黑" panose="020B0503020204020204" pitchFamily="34" charset="-122"/>
                <a:ea typeface="微软雅黑" panose="020B0503020204020204" pitchFamily="34" charset="-122"/>
              </a:rPr>
              <a:t>iSCSI</a:t>
            </a:r>
            <a:r>
              <a:rPr lang="zh-CN" altLang="en-US" sz="1400" dirty="0">
                <a:solidFill>
                  <a:schemeClr val="tx2"/>
                </a:solidFill>
                <a:latin typeface="微软雅黑" panose="020B0503020204020204" pitchFamily="34" charset="-122"/>
                <a:ea typeface="微软雅黑" panose="020B0503020204020204" pitchFamily="34" charset="-122"/>
              </a:rPr>
              <a:t>、</a:t>
            </a:r>
            <a:r>
              <a:rPr lang="en-US" altLang="zh-CN" sz="1400" dirty="0">
                <a:solidFill>
                  <a:schemeClr val="tx2"/>
                </a:solidFill>
                <a:latin typeface="微软雅黑" panose="020B0503020204020204" pitchFamily="34" charset="-122"/>
                <a:ea typeface="微软雅黑" panose="020B0503020204020204" pitchFamily="34" charset="-122"/>
              </a:rPr>
              <a:t>iSER</a:t>
            </a:r>
            <a:r>
              <a:rPr lang="zh-CN" altLang="en-US" sz="1400" dirty="0">
                <a:solidFill>
                  <a:schemeClr val="tx2"/>
                </a:solidFill>
                <a:latin typeface="微软雅黑" panose="020B0503020204020204" pitchFamily="34" charset="-122"/>
                <a:ea typeface="微软雅黑" panose="020B0503020204020204" pitchFamily="34" charset="-122"/>
              </a:rPr>
              <a:t>、</a:t>
            </a:r>
            <a:r>
              <a:rPr lang="en-US" altLang="zh-CN" sz="1400" dirty="0">
                <a:solidFill>
                  <a:schemeClr val="tx2"/>
                </a:solidFill>
                <a:latin typeface="微软雅黑" panose="020B0503020204020204" pitchFamily="34" charset="-122"/>
                <a:ea typeface="微软雅黑" panose="020B0503020204020204" pitchFamily="34" charset="-122"/>
              </a:rPr>
              <a:t>Nvme of fabric</a:t>
            </a:r>
            <a:r>
              <a:rPr lang="zh-CN" altLang="en-US" sz="1400" dirty="0">
                <a:solidFill>
                  <a:schemeClr val="tx2"/>
                </a:solidFill>
                <a:latin typeface="微软雅黑" panose="020B0503020204020204" pitchFamily="34" charset="-122"/>
                <a:ea typeface="微软雅黑" panose="020B0503020204020204" pitchFamily="34" charset="-122"/>
              </a:rPr>
              <a:t>等多种协议，为上层数据库提供灵活的存储服务。</a:t>
            </a:r>
            <a:endParaRPr lang="en-US" altLang="zh-CN" sz="1400" dirty="0">
              <a:solidFill>
                <a:schemeClr val="tx2"/>
              </a:solidFill>
              <a:latin typeface="微软雅黑" panose="020B0503020204020204" pitchFamily="34" charset="-122"/>
              <a:ea typeface="微软雅黑" panose="020B0503020204020204" pitchFamily="34" charset="-122"/>
            </a:endParaRPr>
          </a:p>
          <a:p>
            <a:pPr marL="285750" indent="-285750">
              <a:lnSpc>
                <a:spcPct val="130000"/>
              </a:lnSpc>
              <a:buClr>
                <a:schemeClr val="accent2"/>
              </a:buClr>
              <a:buFont typeface="Wingdings" panose="05000000000000000000" pitchFamily="2" charset="2"/>
              <a:buChar char="n"/>
            </a:pPr>
            <a:endParaRPr lang="en-US" altLang="zh-CN" sz="1400" dirty="0">
              <a:solidFill>
                <a:schemeClr val="tx2"/>
              </a:solidFill>
              <a:latin typeface="微软雅黑" panose="020B0503020204020204" pitchFamily="34" charset="-122"/>
              <a:ea typeface="微软雅黑" panose="020B0503020204020204" pitchFamily="34" charset="-122"/>
            </a:endParaRPr>
          </a:p>
        </p:txBody>
      </p:sp>
      <p:sp>
        <p:nvSpPr>
          <p:cNvPr id="12" name="矩形 11"/>
          <p:cNvSpPr/>
          <p:nvPr>
            <p:custDataLst>
              <p:tags r:id="rId80"/>
            </p:custDataLst>
          </p:nvPr>
        </p:nvSpPr>
        <p:spPr>
          <a:xfrm>
            <a:off x="6155690" y="1505585"/>
            <a:ext cx="1080135" cy="225425"/>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pitchFamily="34" charset="-122"/>
                <a:ea typeface="微软雅黑" panose="020B0503020204020204" pitchFamily="34" charset="-122"/>
              </a:rPr>
              <a:t>pfs</a:t>
            </a:r>
            <a:endParaRPr lang="en-US" altLang="zh-CN" sz="1200" b="1" dirty="0">
              <a:latin typeface="微软雅黑" panose="020B0503020204020204" pitchFamily="34" charset="-122"/>
              <a:ea typeface="微软雅黑" panose="020B0503020204020204" pitchFamily="34" charset="-122"/>
            </a:endParaRPr>
          </a:p>
        </p:txBody>
      </p:sp>
      <p:grpSp>
        <p:nvGrpSpPr>
          <p:cNvPr id="13" name="组合 12"/>
          <p:cNvGrpSpPr/>
          <p:nvPr/>
        </p:nvGrpSpPr>
        <p:grpSpPr>
          <a:xfrm>
            <a:off x="5558155" y="1334135"/>
            <a:ext cx="539750" cy="539750"/>
            <a:chOff x="9735" y="1533"/>
            <a:chExt cx="850" cy="850"/>
          </a:xfrm>
        </p:grpSpPr>
        <p:sp>
          <p:nvSpPr>
            <p:cNvPr id="14" name="椭圆 13"/>
            <p:cNvSpPr>
              <a:spLocks noChangeAspect="1"/>
            </p:cNvSpPr>
            <p:nvPr>
              <p:custDataLst>
                <p:tags r:id="rId81"/>
              </p:custDataLst>
            </p:nvPr>
          </p:nvSpPr>
          <p:spPr>
            <a:xfrm>
              <a:off x="9735" y="1533"/>
              <a:ext cx="850" cy="8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4" descr="polardb_icon_small"/>
            <p:cNvPicPr>
              <a:picLocks noChangeAspect="1"/>
            </p:cNvPicPr>
            <p:nvPr>
              <p:custDataLst>
                <p:tags r:id="rId82"/>
              </p:custDataLst>
            </p:nvPr>
          </p:nvPicPr>
          <p:blipFill>
            <a:blip r:embed="rId78"/>
            <a:stretch>
              <a:fillRect/>
            </a:stretch>
          </p:blipFill>
          <p:spPr>
            <a:xfrm>
              <a:off x="9882" y="1605"/>
              <a:ext cx="588" cy="603"/>
            </a:xfrm>
            <a:prstGeom prst="rect">
              <a:avLst/>
            </a:prstGeom>
          </p:spPr>
        </p:pic>
      </p:grpSp>
      <p:sp>
        <p:nvSpPr>
          <p:cNvPr id="201" name="灯片编号占位符 200"/>
          <p:cNvSpPr>
            <a:spLocks noGrp="1"/>
          </p:cNvSpPr>
          <p:nvPr>
            <p:ph type="sldNum" sz="quarter" idx="12"/>
            <p:custDataLst>
              <p:tags r:id="rId83"/>
            </p:custDataLst>
          </p:nvPr>
        </p:nvSpPr>
        <p:spPr>
          <a:xfrm>
            <a:off x="8610599" y="6651943"/>
            <a:ext cx="2909888" cy="206381"/>
          </a:xfrm>
        </p:spPr>
        <p:txBody>
          <a:bodyPr/>
          <a:lstStyle/>
          <a:p>
            <a:fld id="{5DD3DB80-B894-403A-B48E-6FDC1A72010E}" type="slidenum">
              <a:rPr lang="zh-CN" altLang="en-US" smtClean="0"/>
            </a:fld>
            <a:endParaRPr lang="zh-CN" altLang="en-US"/>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kern="0" dirty="0">
                <a:solidFill>
                  <a:srgbClr val="0070C0"/>
                </a:solidFill>
                <a:latin typeface="微软雅黑" panose="020B0503020204020204" pitchFamily="34" charset="-122"/>
                <a:ea typeface="微软雅黑" panose="020B0503020204020204" pitchFamily="34" charset="-122"/>
                <a:sym typeface="+mn-ea"/>
              </a:rPr>
              <a:t>高新能</a:t>
            </a:r>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一体机：</a:t>
            </a:r>
            <a:r>
              <a:rPr lang="en-US" altLang="zh-CN" kern="0" dirty="0">
                <a:solidFill>
                  <a:srgbClr val="0070C0"/>
                </a:solidFill>
                <a:latin typeface="微软雅黑" panose="020B0503020204020204" pitchFamily="34" charset="-122"/>
                <a:ea typeface="微软雅黑" panose="020B0503020204020204" pitchFamily="34" charset="-122"/>
                <a:sym typeface="+mn-ea"/>
              </a:rPr>
              <a:t>CData</a:t>
            </a:r>
            <a:r>
              <a:rPr lang="zh-CN" altLang="en-US" kern="0" dirty="0">
                <a:solidFill>
                  <a:srgbClr val="0070C0"/>
                </a:solidFill>
                <a:latin typeface="微软雅黑" panose="020B0503020204020204" pitchFamily="34" charset="-122"/>
                <a:ea typeface="微软雅黑" panose="020B0503020204020204" pitchFamily="34" charset="-122"/>
                <a:sym typeface="+mn-ea"/>
              </a:rPr>
              <a:t>核心软件</a:t>
            </a:r>
            <a:r>
              <a:rPr lang="en-US" altLang="zh-CN" kern="0" dirty="0">
                <a:solidFill>
                  <a:srgbClr val="0070C0"/>
                </a:solidFill>
                <a:latin typeface="微软雅黑" panose="020B0503020204020204" pitchFamily="34" charset="-122"/>
                <a:ea typeface="微软雅黑" panose="020B0503020204020204" pitchFamily="34" charset="-122"/>
                <a:sym typeface="+mn-ea"/>
              </a:rPr>
              <a:t>CFabric</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sp>
        <p:nvSpPr>
          <p:cNvPr id="201" name="灯片编号占位符 200"/>
          <p:cNvSpPr>
            <a:spLocks noGrp="1"/>
          </p:cNvSpPr>
          <p:nvPr>
            <p:ph type="sldNum" sz="quarter" idx="12"/>
            <p:custDataLst>
              <p:tags r:id="rId1"/>
            </p:custDataLst>
          </p:nvPr>
        </p:nvSpPr>
        <p:spPr>
          <a:xfrm>
            <a:off x="8610599" y="6651943"/>
            <a:ext cx="2909888" cy="206381"/>
          </a:xfrm>
        </p:spPr>
        <p:txBody>
          <a:bodyPr/>
          <a:lstStyle/>
          <a:p>
            <a:fld id="{5DD3DB80-B894-403A-B48E-6FDC1A72010E}" type="slidenum">
              <a:rPr lang="zh-CN" altLang="en-US" smtClean="0"/>
            </a:fld>
            <a:endParaRPr lang="zh-CN" altLang="en-US"/>
          </a:p>
        </p:txBody>
      </p:sp>
      <p:grpSp>
        <p:nvGrpSpPr>
          <p:cNvPr id="5" name="组合 4"/>
          <p:cNvGrpSpPr/>
          <p:nvPr/>
        </p:nvGrpSpPr>
        <p:grpSpPr>
          <a:xfrm>
            <a:off x="3141598" y="2646995"/>
            <a:ext cx="3471165" cy="1121265"/>
            <a:chOff x="1296128" y="2264731"/>
            <a:chExt cx="3031914" cy="1064580"/>
          </a:xfrm>
        </p:grpSpPr>
        <p:sp>
          <p:nvSpPr>
            <p:cNvPr id="13" name="Freeform 20"/>
            <p:cNvSpPr>
              <a:spLocks noEditPoints="1"/>
            </p:cNvSpPr>
            <p:nvPr>
              <p:custDataLst>
                <p:tags r:id="rId2"/>
              </p:custDataLst>
            </p:nvPr>
          </p:nvSpPr>
          <p:spPr bwMode="auto">
            <a:xfrm>
              <a:off x="1296128" y="2264731"/>
              <a:ext cx="3031914" cy="709089"/>
            </a:xfrm>
            <a:custGeom>
              <a:avLst/>
              <a:gdLst/>
              <a:ahLst/>
              <a:cxnLst>
                <a:cxn ang="0">
                  <a:pos x="722" y="224"/>
                </a:cxn>
                <a:cxn ang="0">
                  <a:pos x="734" y="212"/>
                </a:cxn>
                <a:cxn ang="0">
                  <a:pos x="646" y="22"/>
                </a:cxn>
                <a:cxn ang="0">
                  <a:pos x="634" y="6"/>
                </a:cxn>
                <a:cxn ang="0">
                  <a:pos x="132" y="0"/>
                </a:cxn>
                <a:cxn ang="0">
                  <a:pos x="114" y="6"/>
                </a:cxn>
                <a:cxn ang="0">
                  <a:pos x="102" y="22"/>
                </a:cxn>
                <a:cxn ang="0">
                  <a:pos x="14" y="212"/>
                </a:cxn>
                <a:cxn ang="0">
                  <a:pos x="26" y="224"/>
                </a:cxn>
                <a:cxn ang="0">
                  <a:pos x="20" y="250"/>
                </a:cxn>
                <a:cxn ang="0">
                  <a:pos x="6" y="256"/>
                </a:cxn>
                <a:cxn ang="0">
                  <a:pos x="0" y="500"/>
                </a:cxn>
                <a:cxn ang="0">
                  <a:pos x="6" y="514"/>
                </a:cxn>
                <a:cxn ang="0">
                  <a:pos x="728" y="520"/>
                </a:cxn>
                <a:cxn ang="0">
                  <a:pos x="742" y="514"/>
                </a:cxn>
                <a:cxn ang="0">
                  <a:pos x="748" y="272"/>
                </a:cxn>
                <a:cxn ang="0">
                  <a:pos x="742" y="256"/>
                </a:cxn>
                <a:cxn ang="0">
                  <a:pos x="728" y="250"/>
                </a:cxn>
                <a:cxn ang="0">
                  <a:pos x="124" y="436"/>
                </a:cxn>
                <a:cxn ang="0">
                  <a:pos x="108" y="446"/>
                </a:cxn>
                <a:cxn ang="0">
                  <a:pos x="96" y="442"/>
                </a:cxn>
                <a:cxn ang="0">
                  <a:pos x="90" y="336"/>
                </a:cxn>
                <a:cxn ang="0">
                  <a:pos x="96" y="324"/>
                </a:cxn>
                <a:cxn ang="0">
                  <a:pos x="108" y="318"/>
                </a:cxn>
                <a:cxn ang="0">
                  <a:pos x="124" y="328"/>
                </a:cxn>
                <a:cxn ang="0">
                  <a:pos x="198" y="428"/>
                </a:cxn>
                <a:cxn ang="0">
                  <a:pos x="194" y="442"/>
                </a:cxn>
                <a:cxn ang="0">
                  <a:pos x="182" y="446"/>
                </a:cxn>
                <a:cxn ang="0">
                  <a:pos x="166" y="436"/>
                </a:cxn>
                <a:cxn ang="0">
                  <a:pos x="164" y="336"/>
                </a:cxn>
                <a:cxn ang="0">
                  <a:pos x="176" y="320"/>
                </a:cxn>
                <a:cxn ang="0">
                  <a:pos x="188" y="320"/>
                </a:cxn>
                <a:cxn ang="0">
                  <a:pos x="198" y="336"/>
                </a:cxn>
                <a:cxn ang="0">
                  <a:pos x="274" y="428"/>
                </a:cxn>
                <a:cxn ang="0">
                  <a:pos x="262" y="444"/>
                </a:cxn>
                <a:cxn ang="0">
                  <a:pos x="250" y="444"/>
                </a:cxn>
                <a:cxn ang="0">
                  <a:pos x="240" y="428"/>
                </a:cxn>
                <a:cxn ang="0">
                  <a:pos x="240" y="328"/>
                </a:cxn>
                <a:cxn ang="0">
                  <a:pos x="256" y="318"/>
                </a:cxn>
                <a:cxn ang="0">
                  <a:pos x="268" y="324"/>
                </a:cxn>
                <a:cxn ang="0">
                  <a:pos x="274" y="428"/>
                </a:cxn>
                <a:cxn ang="0">
                  <a:pos x="346" y="436"/>
                </a:cxn>
                <a:cxn ang="0">
                  <a:pos x="330" y="446"/>
                </a:cxn>
                <a:cxn ang="0">
                  <a:pos x="318" y="442"/>
                </a:cxn>
                <a:cxn ang="0">
                  <a:pos x="314" y="336"/>
                </a:cxn>
                <a:cxn ang="0">
                  <a:pos x="318" y="324"/>
                </a:cxn>
                <a:cxn ang="0">
                  <a:pos x="330" y="318"/>
                </a:cxn>
                <a:cxn ang="0">
                  <a:pos x="346" y="328"/>
                </a:cxn>
                <a:cxn ang="0">
                  <a:pos x="626" y="390"/>
                </a:cxn>
                <a:cxn ang="0">
                  <a:pos x="610" y="386"/>
                </a:cxn>
                <a:cxn ang="0">
                  <a:pos x="592" y="372"/>
                </a:cxn>
                <a:cxn ang="0">
                  <a:pos x="586" y="350"/>
                </a:cxn>
                <a:cxn ang="0">
                  <a:pos x="588" y="334"/>
                </a:cxn>
                <a:cxn ang="0">
                  <a:pos x="604" y="316"/>
                </a:cxn>
                <a:cxn ang="0">
                  <a:pos x="626" y="308"/>
                </a:cxn>
                <a:cxn ang="0">
                  <a:pos x="642" y="312"/>
                </a:cxn>
                <a:cxn ang="0">
                  <a:pos x="660" y="326"/>
                </a:cxn>
                <a:cxn ang="0">
                  <a:pos x="666" y="350"/>
                </a:cxn>
                <a:cxn ang="0">
                  <a:pos x="664" y="366"/>
                </a:cxn>
                <a:cxn ang="0">
                  <a:pos x="648" y="384"/>
                </a:cxn>
                <a:cxn ang="0">
                  <a:pos x="626" y="390"/>
                </a:cxn>
              </a:cxnLst>
              <a:rect l="0" t="0" r="r" b="b"/>
              <a:pathLst>
                <a:path w="748" h="520">
                  <a:moveTo>
                    <a:pt x="26" y="224"/>
                  </a:moveTo>
                  <a:lnTo>
                    <a:pt x="722" y="224"/>
                  </a:lnTo>
                  <a:lnTo>
                    <a:pt x="722" y="224"/>
                  </a:lnTo>
                  <a:lnTo>
                    <a:pt x="728" y="222"/>
                  </a:lnTo>
                  <a:lnTo>
                    <a:pt x="732" y="218"/>
                  </a:lnTo>
                  <a:lnTo>
                    <a:pt x="734" y="212"/>
                  </a:lnTo>
                  <a:lnTo>
                    <a:pt x="732" y="204"/>
                  </a:lnTo>
                  <a:lnTo>
                    <a:pt x="732" y="204"/>
                  </a:lnTo>
                  <a:lnTo>
                    <a:pt x="646" y="22"/>
                  </a:lnTo>
                  <a:lnTo>
                    <a:pt x="646" y="22"/>
                  </a:lnTo>
                  <a:lnTo>
                    <a:pt x="640" y="14"/>
                  </a:lnTo>
                  <a:lnTo>
                    <a:pt x="634" y="6"/>
                  </a:lnTo>
                  <a:lnTo>
                    <a:pt x="626" y="2"/>
                  </a:lnTo>
                  <a:lnTo>
                    <a:pt x="616" y="0"/>
                  </a:lnTo>
                  <a:lnTo>
                    <a:pt x="132" y="0"/>
                  </a:lnTo>
                  <a:lnTo>
                    <a:pt x="132" y="0"/>
                  </a:lnTo>
                  <a:lnTo>
                    <a:pt x="122" y="2"/>
                  </a:lnTo>
                  <a:lnTo>
                    <a:pt x="114" y="6"/>
                  </a:lnTo>
                  <a:lnTo>
                    <a:pt x="108" y="14"/>
                  </a:lnTo>
                  <a:lnTo>
                    <a:pt x="102" y="22"/>
                  </a:lnTo>
                  <a:lnTo>
                    <a:pt x="102" y="22"/>
                  </a:lnTo>
                  <a:lnTo>
                    <a:pt x="14" y="204"/>
                  </a:lnTo>
                  <a:lnTo>
                    <a:pt x="14" y="204"/>
                  </a:lnTo>
                  <a:lnTo>
                    <a:pt x="14" y="212"/>
                  </a:lnTo>
                  <a:lnTo>
                    <a:pt x="16" y="218"/>
                  </a:lnTo>
                  <a:lnTo>
                    <a:pt x="20" y="222"/>
                  </a:lnTo>
                  <a:lnTo>
                    <a:pt x="26" y="224"/>
                  </a:lnTo>
                  <a:lnTo>
                    <a:pt x="26" y="224"/>
                  </a:lnTo>
                  <a:close/>
                  <a:moveTo>
                    <a:pt x="728" y="250"/>
                  </a:moveTo>
                  <a:lnTo>
                    <a:pt x="20" y="250"/>
                  </a:lnTo>
                  <a:lnTo>
                    <a:pt x="20" y="250"/>
                  </a:lnTo>
                  <a:lnTo>
                    <a:pt x="12" y="252"/>
                  </a:lnTo>
                  <a:lnTo>
                    <a:pt x="6" y="256"/>
                  </a:lnTo>
                  <a:lnTo>
                    <a:pt x="2" y="264"/>
                  </a:lnTo>
                  <a:lnTo>
                    <a:pt x="0" y="272"/>
                  </a:lnTo>
                  <a:lnTo>
                    <a:pt x="0" y="500"/>
                  </a:lnTo>
                  <a:lnTo>
                    <a:pt x="0" y="500"/>
                  </a:lnTo>
                  <a:lnTo>
                    <a:pt x="2" y="508"/>
                  </a:lnTo>
                  <a:lnTo>
                    <a:pt x="6" y="514"/>
                  </a:lnTo>
                  <a:lnTo>
                    <a:pt x="12" y="518"/>
                  </a:lnTo>
                  <a:lnTo>
                    <a:pt x="20" y="520"/>
                  </a:lnTo>
                  <a:lnTo>
                    <a:pt x="728" y="520"/>
                  </a:lnTo>
                  <a:lnTo>
                    <a:pt x="728" y="520"/>
                  </a:lnTo>
                  <a:lnTo>
                    <a:pt x="736" y="518"/>
                  </a:lnTo>
                  <a:lnTo>
                    <a:pt x="742" y="514"/>
                  </a:lnTo>
                  <a:lnTo>
                    <a:pt x="746" y="508"/>
                  </a:lnTo>
                  <a:lnTo>
                    <a:pt x="748" y="500"/>
                  </a:lnTo>
                  <a:lnTo>
                    <a:pt x="748" y="272"/>
                  </a:lnTo>
                  <a:lnTo>
                    <a:pt x="748" y="272"/>
                  </a:lnTo>
                  <a:lnTo>
                    <a:pt x="746" y="264"/>
                  </a:lnTo>
                  <a:lnTo>
                    <a:pt x="742" y="256"/>
                  </a:lnTo>
                  <a:lnTo>
                    <a:pt x="736" y="252"/>
                  </a:lnTo>
                  <a:lnTo>
                    <a:pt x="728" y="250"/>
                  </a:lnTo>
                  <a:lnTo>
                    <a:pt x="728" y="250"/>
                  </a:lnTo>
                  <a:close/>
                  <a:moveTo>
                    <a:pt x="124" y="428"/>
                  </a:moveTo>
                  <a:lnTo>
                    <a:pt x="124" y="428"/>
                  </a:lnTo>
                  <a:lnTo>
                    <a:pt x="124" y="436"/>
                  </a:lnTo>
                  <a:lnTo>
                    <a:pt x="120" y="442"/>
                  </a:lnTo>
                  <a:lnTo>
                    <a:pt x="114" y="444"/>
                  </a:lnTo>
                  <a:lnTo>
                    <a:pt x="108" y="446"/>
                  </a:lnTo>
                  <a:lnTo>
                    <a:pt x="108" y="446"/>
                  </a:lnTo>
                  <a:lnTo>
                    <a:pt x="102" y="444"/>
                  </a:lnTo>
                  <a:lnTo>
                    <a:pt x="96" y="442"/>
                  </a:lnTo>
                  <a:lnTo>
                    <a:pt x="92" y="436"/>
                  </a:lnTo>
                  <a:lnTo>
                    <a:pt x="90" y="428"/>
                  </a:lnTo>
                  <a:lnTo>
                    <a:pt x="90" y="336"/>
                  </a:lnTo>
                  <a:lnTo>
                    <a:pt x="90" y="336"/>
                  </a:lnTo>
                  <a:lnTo>
                    <a:pt x="92" y="328"/>
                  </a:lnTo>
                  <a:lnTo>
                    <a:pt x="96" y="324"/>
                  </a:lnTo>
                  <a:lnTo>
                    <a:pt x="102" y="320"/>
                  </a:lnTo>
                  <a:lnTo>
                    <a:pt x="108" y="318"/>
                  </a:lnTo>
                  <a:lnTo>
                    <a:pt x="108" y="318"/>
                  </a:lnTo>
                  <a:lnTo>
                    <a:pt x="114" y="320"/>
                  </a:lnTo>
                  <a:lnTo>
                    <a:pt x="120" y="324"/>
                  </a:lnTo>
                  <a:lnTo>
                    <a:pt x="124" y="328"/>
                  </a:lnTo>
                  <a:lnTo>
                    <a:pt x="124" y="336"/>
                  </a:lnTo>
                  <a:lnTo>
                    <a:pt x="124" y="428"/>
                  </a:lnTo>
                  <a:close/>
                  <a:moveTo>
                    <a:pt x="198" y="428"/>
                  </a:moveTo>
                  <a:lnTo>
                    <a:pt x="198" y="428"/>
                  </a:lnTo>
                  <a:lnTo>
                    <a:pt x="198" y="436"/>
                  </a:lnTo>
                  <a:lnTo>
                    <a:pt x="194" y="442"/>
                  </a:lnTo>
                  <a:lnTo>
                    <a:pt x="188" y="444"/>
                  </a:lnTo>
                  <a:lnTo>
                    <a:pt x="182" y="446"/>
                  </a:lnTo>
                  <a:lnTo>
                    <a:pt x="182" y="446"/>
                  </a:lnTo>
                  <a:lnTo>
                    <a:pt x="176" y="444"/>
                  </a:lnTo>
                  <a:lnTo>
                    <a:pt x="170" y="442"/>
                  </a:lnTo>
                  <a:lnTo>
                    <a:pt x="166" y="436"/>
                  </a:lnTo>
                  <a:lnTo>
                    <a:pt x="164" y="428"/>
                  </a:lnTo>
                  <a:lnTo>
                    <a:pt x="164" y="336"/>
                  </a:lnTo>
                  <a:lnTo>
                    <a:pt x="164" y="336"/>
                  </a:lnTo>
                  <a:lnTo>
                    <a:pt x="166" y="328"/>
                  </a:lnTo>
                  <a:lnTo>
                    <a:pt x="170" y="324"/>
                  </a:lnTo>
                  <a:lnTo>
                    <a:pt x="176" y="320"/>
                  </a:lnTo>
                  <a:lnTo>
                    <a:pt x="182" y="318"/>
                  </a:lnTo>
                  <a:lnTo>
                    <a:pt x="182" y="318"/>
                  </a:lnTo>
                  <a:lnTo>
                    <a:pt x="188" y="320"/>
                  </a:lnTo>
                  <a:lnTo>
                    <a:pt x="194" y="324"/>
                  </a:lnTo>
                  <a:lnTo>
                    <a:pt x="198" y="328"/>
                  </a:lnTo>
                  <a:lnTo>
                    <a:pt x="198" y="336"/>
                  </a:lnTo>
                  <a:lnTo>
                    <a:pt x="198" y="428"/>
                  </a:lnTo>
                  <a:close/>
                  <a:moveTo>
                    <a:pt x="274" y="428"/>
                  </a:moveTo>
                  <a:lnTo>
                    <a:pt x="274" y="428"/>
                  </a:lnTo>
                  <a:lnTo>
                    <a:pt x="272" y="436"/>
                  </a:lnTo>
                  <a:lnTo>
                    <a:pt x="268" y="442"/>
                  </a:lnTo>
                  <a:lnTo>
                    <a:pt x="262" y="444"/>
                  </a:lnTo>
                  <a:lnTo>
                    <a:pt x="256" y="446"/>
                  </a:lnTo>
                  <a:lnTo>
                    <a:pt x="256" y="446"/>
                  </a:lnTo>
                  <a:lnTo>
                    <a:pt x="250" y="444"/>
                  </a:lnTo>
                  <a:lnTo>
                    <a:pt x="244" y="442"/>
                  </a:lnTo>
                  <a:lnTo>
                    <a:pt x="240" y="436"/>
                  </a:lnTo>
                  <a:lnTo>
                    <a:pt x="240" y="428"/>
                  </a:lnTo>
                  <a:lnTo>
                    <a:pt x="240" y="336"/>
                  </a:lnTo>
                  <a:lnTo>
                    <a:pt x="240" y="336"/>
                  </a:lnTo>
                  <a:lnTo>
                    <a:pt x="240" y="328"/>
                  </a:lnTo>
                  <a:lnTo>
                    <a:pt x="244" y="324"/>
                  </a:lnTo>
                  <a:lnTo>
                    <a:pt x="250" y="320"/>
                  </a:lnTo>
                  <a:lnTo>
                    <a:pt x="256" y="318"/>
                  </a:lnTo>
                  <a:lnTo>
                    <a:pt x="256" y="318"/>
                  </a:lnTo>
                  <a:lnTo>
                    <a:pt x="262" y="320"/>
                  </a:lnTo>
                  <a:lnTo>
                    <a:pt x="268" y="324"/>
                  </a:lnTo>
                  <a:lnTo>
                    <a:pt x="272" y="328"/>
                  </a:lnTo>
                  <a:lnTo>
                    <a:pt x="274" y="336"/>
                  </a:lnTo>
                  <a:lnTo>
                    <a:pt x="274" y="428"/>
                  </a:lnTo>
                  <a:close/>
                  <a:moveTo>
                    <a:pt x="348" y="428"/>
                  </a:moveTo>
                  <a:lnTo>
                    <a:pt x="348" y="428"/>
                  </a:lnTo>
                  <a:lnTo>
                    <a:pt x="346" y="436"/>
                  </a:lnTo>
                  <a:lnTo>
                    <a:pt x="342" y="442"/>
                  </a:lnTo>
                  <a:lnTo>
                    <a:pt x="338" y="444"/>
                  </a:lnTo>
                  <a:lnTo>
                    <a:pt x="330" y="446"/>
                  </a:lnTo>
                  <a:lnTo>
                    <a:pt x="330" y="446"/>
                  </a:lnTo>
                  <a:lnTo>
                    <a:pt x="324" y="444"/>
                  </a:lnTo>
                  <a:lnTo>
                    <a:pt x="318" y="442"/>
                  </a:lnTo>
                  <a:lnTo>
                    <a:pt x="314" y="436"/>
                  </a:lnTo>
                  <a:lnTo>
                    <a:pt x="314" y="428"/>
                  </a:lnTo>
                  <a:lnTo>
                    <a:pt x="314" y="336"/>
                  </a:lnTo>
                  <a:lnTo>
                    <a:pt x="314" y="336"/>
                  </a:lnTo>
                  <a:lnTo>
                    <a:pt x="314" y="328"/>
                  </a:lnTo>
                  <a:lnTo>
                    <a:pt x="318" y="324"/>
                  </a:lnTo>
                  <a:lnTo>
                    <a:pt x="324" y="320"/>
                  </a:lnTo>
                  <a:lnTo>
                    <a:pt x="330" y="318"/>
                  </a:lnTo>
                  <a:lnTo>
                    <a:pt x="330" y="318"/>
                  </a:lnTo>
                  <a:lnTo>
                    <a:pt x="338" y="320"/>
                  </a:lnTo>
                  <a:lnTo>
                    <a:pt x="342" y="324"/>
                  </a:lnTo>
                  <a:lnTo>
                    <a:pt x="346" y="328"/>
                  </a:lnTo>
                  <a:lnTo>
                    <a:pt x="348" y="336"/>
                  </a:lnTo>
                  <a:lnTo>
                    <a:pt x="348" y="428"/>
                  </a:lnTo>
                  <a:close/>
                  <a:moveTo>
                    <a:pt x="626" y="390"/>
                  </a:moveTo>
                  <a:lnTo>
                    <a:pt x="626" y="390"/>
                  </a:lnTo>
                  <a:lnTo>
                    <a:pt x="618" y="390"/>
                  </a:lnTo>
                  <a:lnTo>
                    <a:pt x="610" y="386"/>
                  </a:lnTo>
                  <a:lnTo>
                    <a:pt x="604" y="384"/>
                  </a:lnTo>
                  <a:lnTo>
                    <a:pt x="598" y="378"/>
                  </a:lnTo>
                  <a:lnTo>
                    <a:pt x="592" y="372"/>
                  </a:lnTo>
                  <a:lnTo>
                    <a:pt x="588" y="366"/>
                  </a:lnTo>
                  <a:lnTo>
                    <a:pt x="586" y="358"/>
                  </a:lnTo>
                  <a:lnTo>
                    <a:pt x="586" y="350"/>
                  </a:lnTo>
                  <a:lnTo>
                    <a:pt x="586" y="350"/>
                  </a:lnTo>
                  <a:lnTo>
                    <a:pt x="586" y="342"/>
                  </a:lnTo>
                  <a:lnTo>
                    <a:pt x="588" y="334"/>
                  </a:lnTo>
                  <a:lnTo>
                    <a:pt x="592" y="326"/>
                  </a:lnTo>
                  <a:lnTo>
                    <a:pt x="598" y="320"/>
                  </a:lnTo>
                  <a:lnTo>
                    <a:pt x="604" y="316"/>
                  </a:lnTo>
                  <a:lnTo>
                    <a:pt x="610" y="312"/>
                  </a:lnTo>
                  <a:lnTo>
                    <a:pt x="618" y="310"/>
                  </a:lnTo>
                  <a:lnTo>
                    <a:pt x="626" y="308"/>
                  </a:lnTo>
                  <a:lnTo>
                    <a:pt x="626" y="308"/>
                  </a:lnTo>
                  <a:lnTo>
                    <a:pt x="634" y="310"/>
                  </a:lnTo>
                  <a:lnTo>
                    <a:pt x="642" y="312"/>
                  </a:lnTo>
                  <a:lnTo>
                    <a:pt x="648" y="316"/>
                  </a:lnTo>
                  <a:lnTo>
                    <a:pt x="654" y="320"/>
                  </a:lnTo>
                  <a:lnTo>
                    <a:pt x="660" y="326"/>
                  </a:lnTo>
                  <a:lnTo>
                    <a:pt x="664" y="334"/>
                  </a:lnTo>
                  <a:lnTo>
                    <a:pt x="666" y="342"/>
                  </a:lnTo>
                  <a:lnTo>
                    <a:pt x="666" y="350"/>
                  </a:lnTo>
                  <a:lnTo>
                    <a:pt x="666" y="350"/>
                  </a:lnTo>
                  <a:lnTo>
                    <a:pt x="666" y="358"/>
                  </a:lnTo>
                  <a:lnTo>
                    <a:pt x="664" y="366"/>
                  </a:lnTo>
                  <a:lnTo>
                    <a:pt x="660" y="372"/>
                  </a:lnTo>
                  <a:lnTo>
                    <a:pt x="654" y="378"/>
                  </a:lnTo>
                  <a:lnTo>
                    <a:pt x="648" y="384"/>
                  </a:lnTo>
                  <a:lnTo>
                    <a:pt x="642" y="386"/>
                  </a:lnTo>
                  <a:lnTo>
                    <a:pt x="634" y="390"/>
                  </a:lnTo>
                  <a:lnTo>
                    <a:pt x="626" y="390"/>
                  </a:lnTo>
                  <a:lnTo>
                    <a:pt x="626" y="390"/>
                  </a:lnTo>
                  <a:close/>
                </a:path>
              </a:pathLst>
            </a:custGeom>
            <a:solidFill>
              <a:srgbClr val="0099CC"/>
            </a:solidFill>
            <a:ln w="9525">
              <a:noFill/>
              <a:round/>
            </a:ln>
          </p:spPr>
          <p:txBody>
            <a:bodyPr vert="horz" wrap="square" lIns="68598" tIns="34299" rIns="68598" bIns="34299" numCol="1" anchor="t" anchorCtr="0" compatLnSpc="1"/>
            <a:lstStyle/>
            <a:p>
              <a:endParaRPr lang="zh-CN" altLang="en-US" sz="135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8" name="TextBox 1"/>
            <p:cNvSpPr txBox="1"/>
            <p:nvPr>
              <p:custDataLst>
                <p:tags r:id="rId3"/>
              </p:custDataLst>
            </p:nvPr>
          </p:nvSpPr>
          <p:spPr>
            <a:xfrm>
              <a:off x="1296128" y="3090784"/>
              <a:ext cx="3031914" cy="238527"/>
            </a:xfrm>
            <a:prstGeom prst="rect">
              <a:avLst/>
            </a:prstGeom>
            <a:noFill/>
          </p:spPr>
          <p:txBody>
            <a:bodyPr wrap="square" lIns="0" tIns="0" rIns="0" rtlCol="0">
              <a:spAutoFit/>
            </a:bodyPr>
            <a:lstStyle/>
            <a:p>
              <a:pPr algn="ctr">
                <a:lnSpc>
                  <a:spcPts val="1500"/>
                </a:lnSpc>
                <a:tabLst>
                  <a:tab pos="190500" algn="l"/>
                </a:tabLst>
              </a:pPr>
              <a:r>
                <a:rPr lang="en-US" altLang="zh-CN" sz="1200" dirty="0">
                  <a:solidFill>
                    <a:srgbClr val="0099CC"/>
                  </a:solidFill>
                  <a:latin typeface="Arial Black" panose="020B0A04020102020204" pitchFamily="34" charset="0"/>
                  <a:cs typeface="Arial Black" panose="020B0A04020102020204" pitchFamily="34" charset="0"/>
                </a:rPr>
                <a:t>Server</a:t>
              </a:r>
              <a:r>
                <a:rPr lang="en-US" altLang="zh-CN" sz="1200" dirty="0">
                  <a:solidFill>
                    <a:srgbClr val="0099CC"/>
                  </a:solidFill>
                  <a:latin typeface="Times New Roman" panose="02020603050405020304" pitchFamily="18" charset="0"/>
                  <a:cs typeface="Times New Roman" panose="02020603050405020304" pitchFamily="18" charset="0"/>
                </a:rPr>
                <a:t> </a:t>
              </a:r>
              <a:r>
                <a:rPr lang="en-US" altLang="zh-CN" sz="1200" dirty="0">
                  <a:solidFill>
                    <a:srgbClr val="0099CC"/>
                  </a:solidFill>
                  <a:latin typeface="Arial Black" panose="020B0A04020102020204" pitchFamily="34" charset="0"/>
                  <a:cs typeface="Arial Black" panose="020B0A04020102020204" pitchFamily="34" charset="0"/>
                </a:rPr>
                <a:t>1</a:t>
              </a:r>
              <a:endParaRPr lang="en-US" altLang="zh-CN" sz="1200" dirty="0">
                <a:solidFill>
                  <a:srgbClr val="0099CC"/>
                </a:solidFill>
                <a:latin typeface="Arial Black" panose="020B0A04020102020204" pitchFamily="34" charset="0"/>
                <a:cs typeface="Arial Black" panose="020B0A04020102020204" pitchFamily="34" charset="0"/>
              </a:endParaRPr>
            </a:p>
          </p:txBody>
        </p:sp>
      </p:grpSp>
      <p:grpSp>
        <p:nvGrpSpPr>
          <p:cNvPr id="3" name="组合 2"/>
          <p:cNvGrpSpPr/>
          <p:nvPr/>
        </p:nvGrpSpPr>
        <p:grpSpPr>
          <a:xfrm>
            <a:off x="232828" y="4118461"/>
            <a:ext cx="3031914" cy="2383627"/>
            <a:chOff x="1519421" y="3523557"/>
            <a:chExt cx="3031914" cy="2383627"/>
          </a:xfrm>
        </p:grpSpPr>
        <p:sp>
          <p:nvSpPr>
            <p:cNvPr id="132" name="圆角矩形 131"/>
            <p:cNvSpPr/>
            <p:nvPr>
              <p:custDataLst>
                <p:tags r:id="rId4"/>
              </p:custDataLst>
            </p:nvPr>
          </p:nvSpPr>
          <p:spPr>
            <a:xfrm>
              <a:off x="1519421" y="3523557"/>
              <a:ext cx="3031914" cy="2383627"/>
            </a:xfrm>
            <a:prstGeom prst="roundRect">
              <a:avLst>
                <a:gd name="adj" fmla="val 59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a:solidFill>
                  <a:srgbClr val="242438"/>
                </a:solidFill>
                <a:latin typeface="Arial" panose="020B0604020202020204" pitchFamily="34" charset="0"/>
                <a:ea typeface="Arial" panose="020B0604020202020204" pitchFamily="34" charset="0"/>
                <a:cs typeface="Arial" panose="020B0604020202020204" pitchFamily="34" charset="0"/>
              </a:endParaRPr>
            </a:p>
          </p:txBody>
        </p:sp>
        <p:sp>
          <p:nvSpPr>
            <p:cNvPr id="24" name="圆角矩形 23"/>
            <p:cNvSpPr/>
            <p:nvPr>
              <p:custDataLst>
                <p:tags r:id="rId5"/>
              </p:custDataLst>
            </p:nvPr>
          </p:nvSpPr>
          <p:spPr>
            <a:xfrm>
              <a:off x="1635782" y="4070519"/>
              <a:ext cx="2792409" cy="368653"/>
            </a:xfrm>
            <a:prstGeom prst="roundRect">
              <a:avLst>
                <a:gd name="adj" fmla="val 590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rgbClr val="242438"/>
                  </a:solidFill>
                  <a:latin typeface="微软雅黑" panose="020B0503020204020204" pitchFamily="34" charset="-122"/>
                  <a:ea typeface="微软雅黑" panose="020B0503020204020204" pitchFamily="34" charset="-122"/>
                  <a:cs typeface="Arial" panose="020B0604020202020204" pitchFamily="34" charset="0"/>
                </a:rPr>
                <a:t>软件定义存储</a:t>
              </a:r>
              <a:r>
                <a:rPr lang="en-US" altLang="zh-CN" sz="1200" b="1" dirty="0">
                  <a:solidFill>
                    <a:srgbClr val="242438"/>
                  </a:solidFill>
                  <a:latin typeface="微软雅黑" panose="020B0503020204020204" pitchFamily="34" charset="-122"/>
                  <a:ea typeface="微软雅黑" panose="020B0503020204020204" pitchFamily="34" charset="-122"/>
                  <a:cs typeface="Arial" panose="020B0604020202020204" pitchFamily="34" charset="0"/>
                </a:rPr>
                <a:t>API</a:t>
              </a:r>
              <a:endParaRPr lang="zh-CN" altLang="en-US" sz="1200" b="1" dirty="0">
                <a:solidFill>
                  <a:srgbClr val="242438"/>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6" name="组合 5"/>
            <p:cNvGrpSpPr/>
            <p:nvPr/>
          </p:nvGrpSpPr>
          <p:grpSpPr>
            <a:xfrm>
              <a:off x="1635782" y="4499384"/>
              <a:ext cx="888654" cy="1296000"/>
              <a:chOff x="573567" y="5003630"/>
              <a:chExt cx="888654" cy="1296000"/>
            </a:xfrm>
          </p:grpSpPr>
          <p:sp>
            <p:nvSpPr>
              <p:cNvPr id="134" name="圆角矩形 133"/>
              <p:cNvSpPr/>
              <p:nvPr>
                <p:custDataLst>
                  <p:tags r:id="rId6"/>
                </p:custDataLst>
              </p:nvPr>
            </p:nvSpPr>
            <p:spPr bwMode="auto">
              <a:xfrm>
                <a:off x="573567" y="5003630"/>
                <a:ext cx="888654" cy="1296000"/>
              </a:xfrm>
              <a:prstGeom prst="roundRect">
                <a:avLst/>
              </a:prstGeom>
              <a:solidFill>
                <a:srgbClr val="00B0F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37" name="文本框 12"/>
              <p:cNvSpPr txBox="1"/>
              <p:nvPr>
                <p:custDataLst>
                  <p:tags r:id="rId7"/>
                </p:custDataLst>
              </p:nvPr>
            </p:nvSpPr>
            <p:spPr>
              <a:xfrm>
                <a:off x="656700" y="5025556"/>
                <a:ext cx="734311" cy="246221"/>
              </a:xfrm>
              <a:prstGeom prst="rect">
                <a:avLst/>
              </a:prstGeom>
              <a:noFill/>
            </p:spPr>
            <p:txBody>
              <a:bodyPr wrap="square" rtlCol="0">
                <a:spAutoFit/>
              </a:bodyPr>
              <a:lstStyle/>
              <a:p>
                <a:r>
                  <a:rPr lang="en-US" altLang="zh-CN" sz="1000" b="1" dirty="0">
                    <a:solidFill>
                      <a:schemeClr val="bg1"/>
                    </a:solidFill>
                    <a:latin typeface="微软雅黑" panose="020B0503020204020204" pitchFamily="34" charset="-122"/>
                    <a:ea typeface="微软雅黑" panose="020B0503020204020204" pitchFamily="34" charset="-122"/>
                  </a:rPr>
                  <a:t>Target1</a:t>
                </a:r>
                <a:endParaRPr lang="en-US" sz="1000" b="1" dirty="0">
                  <a:solidFill>
                    <a:schemeClr val="bg1"/>
                  </a:solidFill>
                  <a:latin typeface="微软雅黑" panose="020B0503020204020204" pitchFamily="34" charset="-122"/>
                  <a:ea typeface="微软雅黑" panose="020B0503020204020204" pitchFamily="34" charset="-122"/>
                </a:endParaRPr>
              </a:p>
            </p:txBody>
          </p:sp>
          <p:sp>
            <p:nvSpPr>
              <p:cNvPr id="138" name="圆角矩形 137"/>
              <p:cNvSpPr/>
              <p:nvPr>
                <p:custDataLst>
                  <p:tags r:id="rId8"/>
                </p:custDataLst>
              </p:nvPr>
            </p:nvSpPr>
            <p:spPr bwMode="auto">
              <a:xfrm>
                <a:off x="656700" y="5271777"/>
                <a:ext cx="734311" cy="271560"/>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b="1" dirty="0">
                    <a:latin typeface="微软雅黑" panose="020B0503020204020204" pitchFamily="34" charset="-122"/>
                    <a:ea typeface="微软雅黑" panose="020B0503020204020204" pitchFamily="34" charset="-122"/>
                  </a:rPr>
                  <a:t>ACL</a:t>
                </a:r>
                <a:r>
                  <a:rPr lang="zh-CN" altLang="en-US" sz="1000" b="1" dirty="0">
                    <a:latin typeface="微软雅黑" panose="020B0503020204020204" pitchFamily="34" charset="-122"/>
                    <a:ea typeface="微软雅黑" panose="020B0503020204020204" pitchFamily="34" charset="-122"/>
                  </a:rPr>
                  <a:t>控制</a:t>
                </a:r>
                <a:endParaRPr lang="en-US" altLang="zh-CN" sz="1000" b="1" dirty="0">
                  <a:latin typeface="微软雅黑" panose="020B0503020204020204" pitchFamily="34" charset="-122"/>
                  <a:ea typeface="微软雅黑" panose="020B0503020204020204" pitchFamily="34" charset="-122"/>
                </a:endParaRPr>
              </a:p>
            </p:txBody>
          </p:sp>
          <p:sp>
            <p:nvSpPr>
              <p:cNvPr id="139" name="圆角矩形 138"/>
              <p:cNvSpPr/>
              <p:nvPr>
                <p:custDataLst>
                  <p:tags r:id="rId9"/>
                </p:custDataLst>
              </p:nvPr>
            </p:nvSpPr>
            <p:spPr bwMode="auto">
              <a:xfrm>
                <a:off x="633582" y="5597355"/>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1</a:t>
                </a:r>
                <a:endParaRPr lang="en-US" altLang="zh-CN" sz="1000" dirty="0">
                  <a:latin typeface="微软雅黑" panose="020B0503020204020204" pitchFamily="34" charset="-122"/>
                  <a:ea typeface="微软雅黑" panose="020B0503020204020204" pitchFamily="34" charset="-122"/>
                </a:endParaRPr>
              </a:p>
            </p:txBody>
          </p:sp>
          <p:sp>
            <p:nvSpPr>
              <p:cNvPr id="140" name="圆角矩形 139"/>
              <p:cNvSpPr/>
              <p:nvPr>
                <p:custDataLst>
                  <p:tags r:id="rId10"/>
                </p:custDataLst>
              </p:nvPr>
            </p:nvSpPr>
            <p:spPr bwMode="auto">
              <a:xfrm>
                <a:off x="891775" y="5597354"/>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2</a:t>
                </a:r>
                <a:endParaRPr lang="en-US" altLang="zh-CN" sz="1000" dirty="0">
                  <a:latin typeface="微软雅黑" panose="020B0503020204020204" pitchFamily="34" charset="-122"/>
                  <a:ea typeface="微软雅黑" panose="020B0503020204020204" pitchFamily="34" charset="-122"/>
                </a:endParaRPr>
              </a:p>
            </p:txBody>
          </p:sp>
          <p:sp>
            <p:nvSpPr>
              <p:cNvPr id="141" name="圆角矩形 140"/>
              <p:cNvSpPr/>
              <p:nvPr>
                <p:custDataLst>
                  <p:tags r:id="rId11"/>
                </p:custDataLst>
              </p:nvPr>
            </p:nvSpPr>
            <p:spPr bwMode="auto">
              <a:xfrm>
                <a:off x="1155935" y="5597353"/>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3</a:t>
                </a:r>
                <a:endParaRPr lang="en-US" altLang="zh-CN" sz="1000" dirty="0">
                  <a:latin typeface="微软雅黑" panose="020B0503020204020204" pitchFamily="34" charset="-122"/>
                  <a:ea typeface="微软雅黑" panose="020B0503020204020204" pitchFamily="34" charset="-122"/>
                </a:endParaRPr>
              </a:p>
            </p:txBody>
          </p:sp>
        </p:grpSp>
        <p:grpSp>
          <p:nvGrpSpPr>
            <p:cNvPr id="142" name="组合 141"/>
            <p:cNvGrpSpPr/>
            <p:nvPr/>
          </p:nvGrpSpPr>
          <p:grpSpPr>
            <a:xfrm>
              <a:off x="2597717" y="4500959"/>
              <a:ext cx="888654" cy="1296000"/>
              <a:chOff x="573567" y="5003630"/>
              <a:chExt cx="888654" cy="1296000"/>
            </a:xfrm>
          </p:grpSpPr>
          <p:sp>
            <p:nvSpPr>
              <p:cNvPr id="143" name="圆角矩形 142"/>
              <p:cNvSpPr/>
              <p:nvPr>
                <p:custDataLst>
                  <p:tags r:id="rId12"/>
                </p:custDataLst>
              </p:nvPr>
            </p:nvSpPr>
            <p:spPr bwMode="auto">
              <a:xfrm>
                <a:off x="573567" y="5003630"/>
                <a:ext cx="888654" cy="1296000"/>
              </a:xfrm>
              <a:prstGeom prst="roundRect">
                <a:avLst/>
              </a:prstGeom>
              <a:solidFill>
                <a:srgbClr val="00B0F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44" name="文本框 12"/>
              <p:cNvSpPr txBox="1"/>
              <p:nvPr>
                <p:custDataLst>
                  <p:tags r:id="rId13"/>
                </p:custDataLst>
              </p:nvPr>
            </p:nvSpPr>
            <p:spPr>
              <a:xfrm>
                <a:off x="656700" y="5025556"/>
                <a:ext cx="734311" cy="246221"/>
              </a:xfrm>
              <a:prstGeom prst="rect">
                <a:avLst/>
              </a:prstGeom>
              <a:noFill/>
            </p:spPr>
            <p:txBody>
              <a:bodyPr wrap="square" rtlCol="0">
                <a:spAutoFit/>
              </a:bodyPr>
              <a:lstStyle/>
              <a:p>
                <a:r>
                  <a:rPr lang="en-US" altLang="zh-CN" sz="1000" b="1" dirty="0">
                    <a:solidFill>
                      <a:schemeClr val="bg1"/>
                    </a:solidFill>
                    <a:latin typeface="微软雅黑" panose="020B0503020204020204" pitchFamily="34" charset="-122"/>
                    <a:ea typeface="微软雅黑" panose="020B0503020204020204" pitchFamily="34" charset="-122"/>
                  </a:rPr>
                  <a:t>Target2</a:t>
                </a:r>
                <a:endParaRPr lang="en-US" sz="1000" b="1" dirty="0">
                  <a:solidFill>
                    <a:schemeClr val="bg1"/>
                  </a:solidFill>
                  <a:latin typeface="微软雅黑" panose="020B0503020204020204" pitchFamily="34" charset="-122"/>
                  <a:ea typeface="微软雅黑" panose="020B0503020204020204" pitchFamily="34" charset="-122"/>
                </a:endParaRPr>
              </a:p>
            </p:txBody>
          </p:sp>
          <p:sp>
            <p:nvSpPr>
              <p:cNvPr id="145" name="圆角矩形 144"/>
              <p:cNvSpPr/>
              <p:nvPr>
                <p:custDataLst>
                  <p:tags r:id="rId14"/>
                </p:custDataLst>
              </p:nvPr>
            </p:nvSpPr>
            <p:spPr bwMode="auto">
              <a:xfrm>
                <a:off x="656700" y="5271777"/>
                <a:ext cx="734311" cy="271560"/>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b="1" dirty="0">
                    <a:latin typeface="微软雅黑" panose="020B0503020204020204" pitchFamily="34" charset="-122"/>
                    <a:ea typeface="微软雅黑" panose="020B0503020204020204" pitchFamily="34" charset="-122"/>
                  </a:rPr>
                  <a:t>ACL</a:t>
                </a:r>
                <a:r>
                  <a:rPr lang="zh-CN" altLang="en-US" sz="1000" b="1" dirty="0">
                    <a:latin typeface="微软雅黑" panose="020B0503020204020204" pitchFamily="34" charset="-122"/>
                    <a:ea typeface="微软雅黑" panose="020B0503020204020204" pitchFamily="34" charset="-122"/>
                  </a:rPr>
                  <a:t>控制</a:t>
                </a:r>
                <a:endParaRPr lang="en-US" altLang="zh-CN" sz="1000" b="1" dirty="0">
                  <a:latin typeface="微软雅黑" panose="020B0503020204020204" pitchFamily="34" charset="-122"/>
                  <a:ea typeface="微软雅黑" panose="020B0503020204020204" pitchFamily="34" charset="-122"/>
                </a:endParaRPr>
              </a:p>
            </p:txBody>
          </p:sp>
          <p:sp>
            <p:nvSpPr>
              <p:cNvPr id="146" name="圆角矩形 145"/>
              <p:cNvSpPr/>
              <p:nvPr>
                <p:custDataLst>
                  <p:tags r:id="rId15"/>
                </p:custDataLst>
              </p:nvPr>
            </p:nvSpPr>
            <p:spPr bwMode="auto">
              <a:xfrm>
                <a:off x="633582" y="5597355"/>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1</a:t>
                </a:r>
                <a:endParaRPr lang="en-US" altLang="zh-CN" sz="1000" dirty="0">
                  <a:latin typeface="微软雅黑" panose="020B0503020204020204" pitchFamily="34" charset="-122"/>
                  <a:ea typeface="微软雅黑" panose="020B0503020204020204" pitchFamily="34" charset="-122"/>
                </a:endParaRPr>
              </a:p>
            </p:txBody>
          </p:sp>
          <p:sp>
            <p:nvSpPr>
              <p:cNvPr id="147" name="圆角矩形 146"/>
              <p:cNvSpPr/>
              <p:nvPr>
                <p:custDataLst>
                  <p:tags r:id="rId16"/>
                </p:custDataLst>
              </p:nvPr>
            </p:nvSpPr>
            <p:spPr bwMode="auto">
              <a:xfrm>
                <a:off x="891775" y="5597354"/>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2</a:t>
                </a:r>
                <a:endParaRPr lang="en-US" altLang="zh-CN" sz="1000" dirty="0">
                  <a:latin typeface="微软雅黑" panose="020B0503020204020204" pitchFamily="34" charset="-122"/>
                  <a:ea typeface="微软雅黑" panose="020B0503020204020204" pitchFamily="34" charset="-122"/>
                </a:endParaRPr>
              </a:p>
            </p:txBody>
          </p:sp>
          <p:sp>
            <p:nvSpPr>
              <p:cNvPr id="148" name="圆角矩形 147"/>
              <p:cNvSpPr/>
              <p:nvPr>
                <p:custDataLst>
                  <p:tags r:id="rId17"/>
                </p:custDataLst>
              </p:nvPr>
            </p:nvSpPr>
            <p:spPr bwMode="auto">
              <a:xfrm>
                <a:off x="1155935" y="5597353"/>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3</a:t>
                </a:r>
                <a:endParaRPr lang="en-US" altLang="zh-CN" sz="1000" dirty="0">
                  <a:latin typeface="微软雅黑" panose="020B0503020204020204" pitchFamily="34" charset="-122"/>
                  <a:ea typeface="微软雅黑" panose="020B0503020204020204" pitchFamily="34" charset="-122"/>
                </a:endParaRPr>
              </a:p>
            </p:txBody>
          </p:sp>
        </p:grpSp>
        <p:grpSp>
          <p:nvGrpSpPr>
            <p:cNvPr id="149" name="组合 148"/>
            <p:cNvGrpSpPr/>
            <p:nvPr/>
          </p:nvGrpSpPr>
          <p:grpSpPr>
            <a:xfrm>
              <a:off x="3539537" y="4499384"/>
              <a:ext cx="888654" cy="1296000"/>
              <a:chOff x="573567" y="5003630"/>
              <a:chExt cx="888654" cy="1296000"/>
            </a:xfrm>
          </p:grpSpPr>
          <p:sp>
            <p:nvSpPr>
              <p:cNvPr id="150" name="圆角矩形 149"/>
              <p:cNvSpPr/>
              <p:nvPr>
                <p:custDataLst>
                  <p:tags r:id="rId18"/>
                </p:custDataLst>
              </p:nvPr>
            </p:nvSpPr>
            <p:spPr bwMode="auto">
              <a:xfrm>
                <a:off x="573567" y="5003630"/>
                <a:ext cx="888654" cy="1296000"/>
              </a:xfrm>
              <a:prstGeom prst="roundRect">
                <a:avLst/>
              </a:prstGeom>
              <a:solidFill>
                <a:srgbClr val="00B0F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51" name="文本框 12"/>
              <p:cNvSpPr txBox="1"/>
              <p:nvPr>
                <p:custDataLst>
                  <p:tags r:id="rId19"/>
                </p:custDataLst>
              </p:nvPr>
            </p:nvSpPr>
            <p:spPr>
              <a:xfrm>
                <a:off x="656700" y="5025556"/>
                <a:ext cx="734311" cy="246221"/>
              </a:xfrm>
              <a:prstGeom prst="rect">
                <a:avLst/>
              </a:prstGeom>
              <a:noFill/>
            </p:spPr>
            <p:txBody>
              <a:bodyPr wrap="square" rtlCol="0">
                <a:spAutoFit/>
              </a:bodyPr>
              <a:lstStyle/>
              <a:p>
                <a:r>
                  <a:rPr lang="en-US" altLang="zh-CN" sz="1000" b="1" dirty="0">
                    <a:solidFill>
                      <a:schemeClr val="bg1"/>
                    </a:solidFill>
                    <a:latin typeface="微软雅黑" panose="020B0503020204020204" pitchFamily="34" charset="-122"/>
                    <a:ea typeface="微软雅黑" panose="020B0503020204020204" pitchFamily="34" charset="-122"/>
                  </a:rPr>
                  <a:t>Target3</a:t>
                </a:r>
                <a:endParaRPr lang="en-US" sz="1000" b="1" dirty="0">
                  <a:solidFill>
                    <a:schemeClr val="bg1"/>
                  </a:solidFill>
                  <a:latin typeface="微软雅黑" panose="020B0503020204020204" pitchFamily="34" charset="-122"/>
                  <a:ea typeface="微软雅黑" panose="020B0503020204020204" pitchFamily="34" charset="-122"/>
                </a:endParaRPr>
              </a:p>
            </p:txBody>
          </p:sp>
          <p:sp>
            <p:nvSpPr>
              <p:cNvPr id="152" name="圆角矩形 151"/>
              <p:cNvSpPr/>
              <p:nvPr>
                <p:custDataLst>
                  <p:tags r:id="rId20"/>
                </p:custDataLst>
              </p:nvPr>
            </p:nvSpPr>
            <p:spPr bwMode="auto">
              <a:xfrm>
                <a:off x="656700" y="5271777"/>
                <a:ext cx="734311" cy="271560"/>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b="1" dirty="0">
                    <a:latin typeface="微软雅黑" panose="020B0503020204020204" pitchFamily="34" charset="-122"/>
                    <a:ea typeface="微软雅黑" panose="020B0503020204020204" pitchFamily="34" charset="-122"/>
                  </a:rPr>
                  <a:t>ACL</a:t>
                </a:r>
                <a:r>
                  <a:rPr lang="zh-CN" altLang="en-US" sz="1000" b="1" dirty="0">
                    <a:latin typeface="微软雅黑" panose="020B0503020204020204" pitchFamily="34" charset="-122"/>
                    <a:ea typeface="微软雅黑" panose="020B0503020204020204" pitchFamily="34" charset="-122"/>
                  </a:rPr>
                  <a:t>控制</a:t>
                </a:r>
                <a:endParaRPr lang="en-US" altLang="zh-CN" sz="1000" b="1" dirty="0">
                  <a:latin typeface="微软雅黑" panose="020B0503020204020204" pitchFamily="34" charset="-122"/>
                  <a:ea typeface="微软雅黑" panose="020B0503020204020204" pitchFamily="34" charset="-122"/>
                </a:endParaRPr>
              </a:p>
            </p:txBody>
          </p:sp>
          <p:sp>
            <p:nvSpPr>
              <p:cNvPr id="153" name="圆角矩形 152"/>
              <p:cNvSpPr/>
              <p:nvPr>
                <p:custDataLst>
                  <p:tags r:id="rId21"/>
                </p:custDataLst>
              </p:nvPr>
            </p:nvSpPr>
            <p:spPr bwMode="auto">
              <a:xfrm>
                <a:off x="633582" y="5597355"/>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1</a:t>
                </a:r>
                <a:endParaRPr lang="en-US" altLang="zh-CN" sz="1000" dirty="0">
                  <a:latin typeface="微软雅黑" panose="020B0503020204020204" pitchFamily="34" charset="-122"/>
                  <a:ea typeface="微软雅黑" panose="020B0503020204020204" pitchFamily="34" charset="-122"/>
                </a:endParaRPr>
              </a:p>
            </p:txBody>
          </p:sp>
          <p:sp>
            <p:nvSpPr>
              <p:cNvPr id="154" name="圆角矩形 153"/>
              <p:cNvSpPr/>
              <p:nvPr>
                <p:custDataLst>
                  <p:tags r:id="rId22"/>
                </p:custDataLst>
              </p:nvPr>
            </p:nvSpPr>
            <p:spPr bwMode="auto">
              <a:xfrm>
                <a:off x="891775" y="5597354"/>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2</a:t>
                </a:r>
                <a:endParaRPr lang="en-US" altLang="zh-CN" sz="1000" dirty="0">
                  <a:latin typeface="微软雅黑" panose="020B0503020204020204" pitchFamily="34" charset="-122"/>
                  <a:ea typeface="微软雅黑" panose="020B0503020204020204" pitchFamily="34" charset="-122"/>
                </a:endParaRPr>
              </a:p>
            </p:txBody>
          </p:sp>
          <p:sp>
            <p:nvSpPr>
              <p:cNvPr id="155" name="圆角矩形 154"/>
              <p:cNvSpPr/>
              <p:nvPr>
                <p:custDataLst>
                  <p:tags r:id="rId23"/>
                </p:custDataLst>
              </p:nvPr>
            </p:nvSpPr>
            <p:spPr bwMode="auto">
              <a:xfrm>
                <a:off x="1155935" y="5597353"/>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3</a:t>
                </a:r>
                <a:endParaRPr lang="en-US" altLang="zh-CN" sz="1000" dirty="0">
                  <a:latin typeface="微软雅黑" panose="020B0503020204020204" pitchFamily="34" charset="-122"/>
                  <a:ea typeface="微软雅黑" panose="020B0503020204020204" pitchFamily="34" charset="-122"/>
                </a:endParaRPr>
              </a:p>
            </p:txBody>
          </p:sp>
        </p:grpSp>
        <p:sp>
          <p:nvSpPr>
            <p:cNvPr id="156" name="圆角矩形 155"/>
            <p:cNvSpPr/>
            <p:nvPr>
              <p:custDataLst>
                <p:tags r:id="rId24"/>
              </p:custDataLst>
            </p:nvPr>
          </p:nvSpPr>
          <p:spPr>
            <a:xfrm>
              <a:off x="1651800" y="3672731"/>
              <a:ext cx="2792409" cy="368653"/>
            </a:xfrm>
            <a:prstGeom prst="roundRect">
              <a:avLst>
                <a:gd name="adj" fmla="val 5908"/>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rgbClr val="0070C0"/>
                  </a:solidFill>
                  <a:latin typeface="微软雅黑" panose="020B0503020204020204" pitchFamily="34" charset="-122"/>
                  <a:ea typeface="微软雅黑" panose="020B0503020204020204" pitchFamily="34" charset="-122"/>
                </a:rPr>
                <a:t>cspd:</a:t>
              </a:r>
              <a:r>
                <a:rPr lang="zh-CN" altLang="en-US" sz="1200" b="1" dirty="0">
                  <a:solidFill>
                    <a:srgbClr val="0070C0"/>
                  </a:solidFill>
                  <a:latin typeface="微软雅黑" panose="020B0503020204020204" pitchFamily="34" charset="-122"/>
                  <a:ea typeface="微软雅黑" panose="020B0503020204020204" pitchFamily="34" charset="-122"/>
                </a:rPr>
                <a:t> </a:t>
              </a:r>
              <a:r>
                <a:rPr lang="en-US" altLang="zh-CN" sz="1200" b="1" dirty="0">
                  <a:solidFill>
                    <a:srgbClr val="0070C0"/>
                  </a:solidFill>
                  <a:latin typeface="微软雅黑" panose="020B0503020204020204" pitchFamily="34" charset="-122"/>
                  <a:ea typeface="微软雅黑" panose="020B0503020204020204" pitchFamily="34" charset="-122"/>
                </a:rPr>
                <a:t>3261</a:t>
              </a:r>
              <a:r>
                <a:rPr lang="zh-CN" altLang="en-US" sz="1200" b="1" dirty="0">
                  <a:solidFill>
                    <a:srgbClr val="0070C0"/>
                  </a:solidFill>
                  <a:latin typeface="微软雅黑" panose="020B0503020204020204" pitchFamily="34" charset="-122"/>
                  <a:ea typeface="微软雅黑" panose="020B0503020204020204" pitchFamily="34" charset="-122"/>
                </a:rPr>
                <a:t> 服务</a:t>
              </a:r>
              <a:endParaRPr lang="en-US" altLang="zh-CN" sz="1200" b="1" dirty="0">
                <a:solidFill>
                  <a:srgbClr val="0070C0"/>
                </a:solidFill>
                <a:latin typeface="微软雅黑" panose="020B0503020204020204" pitchFamily="34" charset="-122"/>
                <a:ea typeface="微软雅黑" panose="020B0503020204020204" pitchFamily="34" charset="-122"/>
              </a:endParaRPr>
            </a:p>
          </p:txBody>
        </p:sp>
      </p:grpSp>
      <p:grpSp>
        <p:nvGrpSpPr>
          <p:cNvPr id="157" name="组合 156"/>
          <p:cNvGrpSpPr/>
          <p:nvPr/>
        </p:nvGrpSpPr>
        <p:grpSpPr>
          <a:xfrm>
            <a:off x="3423114" y="4118461"/>
            <a:ext cx="3031914" cy="2383627"/>
            <a:chOff x="1519421" y="3523557"/>
            <a:chExt cx="3031914" cy="2383627"/>
          </a:xfrm>
        </p:grpSpPr>
        <p:sp>
          <p:nvSpPr>
            <p:cNvPr id="158" name="圆角矩形 157"/>
            <p:cNvSpPr/>
            <p:nvPr>
              <p:custDataLst>
                <p:tags r:id="rId25"/>
              </p:custDataLst>
            </p:nvPr>
          </p:nvSpPr>
          <p:spPr>
            <a:xfrm>
              <a:off x="1519421" y="3523557"/>
              <a:ext cx="3031914" cy="2383627"/>
            </a:xfrm>
            <a:prstGeom prst="roundRect">
              <a:avLst>
                <a:gd name="adj" fmla="val 59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a:solidFill>
                  <a:srgbClr val="242438"/>
                </a:solidFill>
                <a:latin typeface="Arial" panose="020B0604020202020204" pitchFamily="34" charset="0"/>
                <a:ea typeface="Arial" panose="020B0604020202020204" pitchFamily="34" charset="0"/>
                <a:cs typeface="Arial" panose="020B0604020202020204" pitchFamily="34" charset="0"/>
              </a:endParaRPr>
            </a:p>
          </p:txBody>
        </p:sp>
        <p:sp>
          <p:nvSpPr>
            <p:cNvPr id="159" name="圆角矩形 158"/>
            <p:cNvSpPr/>
            <p:nvPr>
              <p:custDataLst>
                <p:tags r:id="rId26"/>
              </p:custDataLst>
            </p:nvPr>
          </p:nvSpPr>
          <p:spPr>
            <a:xfrm>
              <a:off x="1635782" y="4070519"/>
              <a:ext cx="2792409" cy="368653"/>
            </a:xfrm>
            <a:prstGeom prst="roundRect">
              <a:avLst>
                <a:gd name="adj" fmla="val 590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rgbClr val="242438"/>
                  </a:solidFill>
                  <a:latin typeface="微软雅黑" panose="020B0503020204020204" pitchFamily="34" charset="-122"/>
                  <a:ea typeface="微软雅黑" panose="020B0503020204020204" pitchFamily="34" charset="-122"/>
                  <a:cs typeface="Arial" panose="020B0604020202020204" pitchFamily="34" charset="0"/>
                </a:rPr>
                <a:t>软件定义存储</a:t>
              </a:r>
              <a:r>
                <a:rPr lang="en-US" altLang="zh-CN" sz="1200" b="1" dirty="0">
                  <a:solidFill>
                    <a:srgbClr val="242438"/>
                  </a:solidFill>
                  <a:latin typeface="微软雅黑" panose="020B0503020204020204" pitchFamily="34" charset="-122"/>
                  <a:ea typeface="微软雅黑" panose="020B0503020204020204" pitchFamily="34" charset="-122"/>
                  <a:cs typeface="Arial" panose="020B0604020202020204" pitchFamily="34" charset="0"/>
                </a:rPr>
                <a:t>API</a:t>
              </a:r>
              <a:endParaRPr lang="zh-CN" altLang="en-US" sz="1200" b="1" dirty="0">
                <a:solidFill>
                  <a:srgbClr val="242438"/>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160" name="组合 159"/>
            <p:cNvGrpSpPr/>
            <p:nvPr/>
          </p:nvGrpSpPr>
          <p:grpSpPr>
            <a:xfrm>
              <a:off x="1635782" y="4499384"/>
              <a:ext cx="888654" cy="1296000"/>
              <a:chOff x="573567" y="5003630"/>
              <a:chExt cx="888654" cy="1296000"/>
            </a:xfrm>
          </p:grpSpPr>
          <p:sp>
            <p:nvSpPr>
              <p:cNvPr id="176" name="圆角矩形 175"/>
              <p:cNvSpPr/>
              <p:nvPr>
                <p:custDataLst>
                  <p:tags r:id="rId27"/>
                </p:custDataLst>
              </p:nvPr>
            </p:nvSpPr>
            <p:spPr bwMode="auto">
              <a:xfrm>
                <a:off x="573567" y="5003630"/>
                <a:ext cx="888654" cy="1296000"/>
              </a:xfrm>
              <a:prstGeom prst="roundRect">
                <a:avLst/>
              </a:prstGeom>
              <a:solidFill>
                <a:srgbClr val="00B0F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77" name="文本框 12"/>
              <p:cNvSpPr txBox="1"/>
              <p:nvPr>
                <p:custDataLst>
                  <p:tags r:id="rId28"/>
                </p:custDataLst>
              </p:nvPr>
            </p:nvSpPr>
            <p:spPr>
              <a:xfrm>
                <a:off x="656700" y="5025556"/>
                <a:ext cx="734311" cy="246221"/>
              </a:xfrm>
              <a:prstGeom prst="rect">
                <a:avLst/>
              </a:prstGeom>
              <a:noFill/>
            </p:spPr>
            <p:txBody>
              <a:bodyPr wrap="square" rtlCol="0">
                <a:spAutoFit/>
              </a:bodyPr>
              <a:lstStyle/>
              <a:p>
                <a:r>
                  <a:rPr lang="en-US" altLang="zh-CN" sz="1000" b="1" dirty="0">
                    <a:solidFill>
                      <a:schemeClr val="bg1"/>
                    </a:solidFill>
                    <a:latin typeface="微软雅黑" panose="020B0503020204020204" pitchFamily="34" charset="-122"/>
                    <a:ea typeface="微软雅黑" panose="020B0503020204020204" pitchFamily="34" charset="-122"/>
                  </a:rPr>
                  <a:t>Target1</a:t>
                </a:r>
                <a:endParaRPr lang="en-US" sz="1000" b="1" dirty="0">
                  <a:solidFill>
                    <a:schemeClr val="bg1"/>
                  </a:solidFill>
                  <a:latin typeface="微软雅黑" panose="020B0503020204020204" pitchFamily="34" charset="-122"/>
                  <a:ea typeface="微软雅黑" panose="020B0503020204020204" pitchFamily="34" charset="-122"/>
                </a:endParaRPr>
              </a:p>
            </p:txBody>
          </p:sp>
          <p:sp>
            <p:nvSpPr>
              <p:cNvPr id="178" name="圆角矩形 177"/>
              <p:cNvSpPr/>
              <p:nvPr>
                <p:custDataLst>
                  <p:tags r:id="rId29"/>
                </p:custDataLst>
              </p:nvPr>
            </p:nvSpPr>
            <p:spPr bwMode="auto">
              <a:xfrm>
                <a:off x="656700" y="5271777"/>
                <a:ext cx="734311" cy="271560"/>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b="1" dirty="0">
                    <a:latin typeface="微软雅黑" panose="020B0503020204020204" pitchFamily="34" charset="-122"/>
                    <a:ea typeface="微软雅黑" panose="020B0503020204020204" pitchFamily="34" charset="-122"/>
                  </a:rPr>
                  <a:t>ACL</a:t>
                </a:r>
                <a:r>
                  <a:rPr lang="zh-CN" altLang="en-US" sz="1000" b="1" dirty="0">
                    <a:latin typeface="微软雅黑" panose="020B0503020204020204" pitchFamily="34" charset="-122"/>
                    <a:ea typeface="微软雅黑" panose="020B0503020204020204" pitchFamily="34" charset="-122"/>
                  </a:rPr>
                  <a:t>控制</a:t>
                </a:r>
                <a:endParaRPr lang="en-US" altLang="zh-CN" sz="1000" b="1" dirty="0">
                  <a:latin typeface="微软雅黑" panose="020B0503020204020204" pitchFamily="34" charset="-122"/>
                  <a:ea typeface="微软雅黑" panose="020B0503020204020204" pitchFamily="34" charset="-122"/>
                </a:endParaRPr>
              </a:p>
            </p:txBody>
          </p:sp>
          <p:sp>
            <p:nvSpPr>
              <p:cNvPr id="179" name="圆角矩形 178"/>
              <p:cNvSpPr/>
              <p:nvPr>
                <p:custDataLst>
                  <p:tags r:id="rId30"/>
                </p:custDataLst>
              </p:nvPr>
            </p:nvSpPr>
            <p:spPr bwMode="auto">
              <a:xfrm>
                <a:off x="633582" y="5597355"/>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1</a:t>
                </a:r>
                <a:endParaRPr lang="en-US" altLang="zh-CN" sz="1000" dirty="0">
                  <a:latin typeface="微软雅黑" panose="020B0503020204020204" pitchFamily="34" charset="-122"/>
                  <a:ea typeface="微软雅黑" panose="020B0503020204020204" pitchFamily="34" charset="-122"/>
                </a:endParaRPr>
              </a:p>
            </p:txBody>
          </p:sp>
          <p:sp>
            <p:nvSpPr>
              <p:cNvPr id="180" name="圆角矩形 179"/>
              <p:cNvSpPr/>
              <p:nvPr>
                <p:custDataLst>
                  <p:tags r:id="rId31"/>
                </p:custDataLst>
              </p:nvPr>
            </p:nvSpPr>
            <p:spPr bwMode="auto">
              <a:xfrm>
                <a:off x="891775" y="5597354"/>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2</a:t>
                </a:r>
                <a:endParaRPr lang="en-US" altLang="zh-CN" sz="1000" dirty="0">
                  <a:latin typeface="微软雅黑" panose="020B0503020204020204" pitchFamily="34" charset="-122"/>
                  <a:ea typeface="微软雅黑" panose="020B0503020204020204" pitchFamily="34" charset="-122"/>
                </a:endParaRPr>
              </a:p>
            </p:txBody>
          </p:sp>
          <p:sp>
            <p:nvSpPr>
              <p:cNvPr id="181" name="圆角矩形 180"/>
              <p:cNvSpPr/>
              <p:nvPr>
                <p:custDataLst>
                  <p:tags r:id="rId32"/>
                </p:custDataLst>
              </p:nvPr>
            </p:nvSpPr>
            <p:spPr bwMode="auto">
              <a:xfrm>
                <a:off x="1155935" y="5597353"/>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3</a:t>
                </a:r>
                <a:endParaRPr lang="en-US" altLang="zh-CN" sz="1000" dirty="0">
                  <a:latin typeface="微软雅黑" panose="020B0503020204020204" pitchFamily="34" charset="-122"/>
                  <a:ea typeface="微软雅黑" panose="020B0503020204020204" pitchFamily="34" charset="-122"/>
                </a:endParaRPr>
              </a:p>
            </p:txBody>
          </p:sp>
        </p:grpSp>
        <p:grpSp>
          <p:nvGrpSpPr>
            <p:cNvPr id="161" name="组合 160"/>
            <p:cNvGrpSpPr/>
            <p:nvPr/>
          </p:nvGrpSpPr>
          <p:grpSpPr>
            <a:xfrm>
              <a:off x="2597717" y="4500959"/>
              <a:ext cx="888654" cy="1296000"/>
              <a:chOff x="573567" y="5003630"/>
              <a:chExt cx="888654" cy="1296000"/>
            </a:xfrm>
          </p:grpSpPr>
          <p:sp>
            <p:nvSpPr>
              <p:cNvPr id="170" name="圆角矩形 169"/>
              <p:cNvSpPr/>
              <p:nvPr>
                <p:custDataLst>
                  <p:tags r:id="rId33"/>
                </p:custDataLst>
              </p:nvPr>
            </p:nvSpPr>
            <p:spPr bwMode="auto">
              <a:xfrm>
                <a:off x="573567" y="5003630"/>
                <a:ext cx="888654" cy="1296000"/>
              </a:xfrm>
              <a:prstGeom prst="roundRect">
                <a:avLst/>
              </a:prstGeom>
              <a:solidFill>
                <a:srgbClr val="00B0F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71" name="文本框 12"/>
              <p:cNvSpPr txBox="1"/>
              <p:nvPr>
                <p:custDataLst>
                  <p:tags r:id="rId34"/>
                </p:custDataLst>
              </p:nvPr>
            </p:nvSpPr>
            <p:spPr>
              <a:xfrm>
                <a:off x="656700" y="5025556"/>
                <a:ext cx="734311" cy="246221"/>
              </a:xfrm>
              <a:prstGeom prst="rect">
                <a:avLst/>
              </a:prstGeom>
              <a:noFill/>
            </p:spPr>
            <p:txBody>
              <a:bodyPr wrap="square" rtlCol="0">
                <a:spAutoFit/>
              </a:bodyPr>
              <a:lstStyle/>
              <a:p>
                <a:r>
                  <a:rPr lang="en-US" altLang="zh-CN" sz="1000" b="1" dirty="0">
                    <a:solidFill>
                      <a:schemeClr val="bg1"/>
                    </a:solidFill>
                    <a:latin typeface="微软雅黑" panose="020B0503020204020204" pitchFamily="34" charset="-122"/>
                    <a:ea typeface="微软雅黑" panose="020B0503020204020204" pitchFamily="34" charset="-122"/>
                  </a:rPr>
                  <a:t>Target2</a:t>
                </a:r>
                <a:endParaRPr lang="en-US" sz="1000" b="1" dirty="0">
                  <a:solidFill>
                    <a:schemeClr val="bg1"/>
                  </a:solidFill>
                  <a:latin typeface="微软雅黑" panose="020B0503020204020204" pitchFamily="34" charset="-122"/>
                  <a:ea typeface="微软雅黑" panose="020B0503020204020204" pitchFamily="34" charset="-122"/>
                </a:endParaRPr>
              </a:p>
            </p:txBody>
          </p:sp>
          <p:sp>
            <p:nvSpPr>
              <p:cNvPr id="172" name="圆角矩形 171"/>
              <p:cNvSpPr/>
              <p:nvPr>
                <p:custDataLst>
                  <p:tags r:id="rId35"/>
                </p:custDataLst>
              </p:nvPr>
            </p:nvSpPr>
            <p:spPr bwMode="auto">
              <a:xfrm>
                <a:off x="656700" y="5271777"/>
                <a:ext cx="734311" cy="271560"/>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b="1" dirty="0">
                    <a:latin typeface="微软雅黑" panose="020B0503020204020204" pitchFamily="34" charset="-122"/>
                    <a:ea typeface="微软雅黑" panose="020B0503020204020204" pitchFamily="34" charset="-122"/>
                  </a:rPr>
                  <a:t>ACL</a:t>
                </a:r>
                <a:r>
                  <a:rPr lang="zh-CN" altLang="en-US" sz="1000" b="1" dirty="0">
                    <a:latin typeface="微软雅黑" panose="020B0503020204020204" pitchFamily="34" charset="-122"/>
                    <a:ea typeface="微软雅黑" panose="020B0503020204020204" pitchFamily="34" charset="-122"/>
                  </a:rPr>
                  <a:t>控制</a:t>
                </a:r>
                <a:endParaRPr lang="en-US" altLang="zh-CN" sz="1000" b="1" dirty="0">
                  <a:latin typeface="微软雅黑" panose="020B0503020204020204" pitchFamily="34" charset="-122"/>
                  <a:ea typeface="微软雅黑" panose="020B0503020204020204" pitchFamily="34" charset="-122"/>
                </a:endParaRPr>
              </a:p>
            </p:txBody>
          </p:sp>
          <p:sp>
            <p:nvSpPr>
              <p:cNvPr id="173" name="圆角矩形 172"/>
              <p:cNvSpPr/>
              <p:nvPr>
                <p:custDataLst>
                  <p:tags r:id="rId36"/>
                </p:custDataLst>
              </p:nvPr>
            </p:nvSpPr>
            <p:spPr bwMode="auto">
              <a:xfrm>
                <a:off x="633582" y="5597355"/>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1</a:t>
                </a:r>
                <a:endParaRPr lang="en-US" altLang="zh-CN" sz="1000" dirty="0">
                  <a:latin typeface="微软雅黑" panose="020B0503020204020204" pitchFamily="34" charset="-122"/>
                  <a:ea typeface="微软雅黑" panose="020B0503020204020204" pitchFamily="34" charset="-122"/>
                </a:endParaRPr>
              </a:p>
            </p:txBody>
          </p:sp>
          <p:sp>
            <p:nvSpPr>
              <p:cNvPr id="174" name="圆角矩形 173"/>
              <p:cNvSpPr/>
              <p:nvPr>
                <p:custDataLst>
                  <p:tags r:id="rId37"/>
                </p:custDataLst>
              </p:nvPr>
            </p:nvSpPr>
            <p:spPr bwMode="auto">
              <a:xfrm>
                <a:off x="891775" y="5597354"/>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2</a:t>
                </a:r>
                <a:endParaRPr lang="en-US" altLang="zh-CN" sz="1000" dirty="0">
                  <a:latin typeface="微软雅黑" panose="020B0503020204020204" pitchFamily="34" charset="-122"/>
                  <a:ea typeface="微软雅黑" panose="020B0503020204020204" pitchFamily="34" charset="-122"/>
                </a:endParaRPr>
              </a:p>
            </p:txBody>
          </p:sp>
          <p:sp>
            <p:nvSpPr>
              <p:cNvPr id="175" name="圆角矩形 174"/>
              <p:cNvSpPr/>
              <p:nvPr>
                <p:custDataLst>
                  <p:tags r:id="rId38"/>
                </p:custDataLst>
              </p:nvPr>
            </p:nvSpPr>
            <p:spPr bwMode="auto">
              <a:xfrm>
                <a:off x="1155935" y="5597353"/>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3</a:t>
                </a:r>
                <a:endParaRPr lang="en-US" altLang="zh-CN" sz="1000" dirty="0">
                  <a:latin typeface="微软雅黑" panose="020B0503020204020204" pitchFamily="34" charset="-122"/>
                  <a:ea typeface="微软雅黑" panose="020B0503020204020204" pitchFamily="34" charset="-122"/>
                </a:endParaRPr>
              </a:p>
            </p:txBody>
          </p:sp>
        </p:grpSp>
        <p:grpSp>
          <p:nvGrpSpPr>
            <p:cNvPr id="162" name="组合 161"/>
            <p:cNvGrpSpPr/>
            <p:nvPr/>
          </p:nvGrpSpPr>
          <p:grpSpPr>
            <a:xfrm>
              <a:off x="3539537" y="4499384"/>
              <a:ext cx="888654" cy="1296000"/>
              <a:chOff x="573567" y="5003630"/>
              <a:chExt cx="888654" cy="1296000"/>
            </a:xfrm>
          </p:grpSpPr>
          <p:sp>
            <p:nvSpPr>
              <p:cNvPr id="164" name="圆角矩形 163"/>
              <p:cNvSpPr/>
              <p:nvPr>
                <p:custDataLst>
                  <p:tags r:id="rId39"/>
                </p:custDataLst>
              </p:nvPr>
            </p:nvSpPr>
            <p:spPr bwMode="auto">
              <a:xfrm>
                <a:off x="573567" y="5003630"/>
                <a:ext cx="888654" cy="1296000"/>
              </a:xfrm>
              <a:prstGeom prst="roundRect">
                <a:avLst/>
              </a:prstGeom>
              <a:solidFill>
                <a:srgbClr val="00B0F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65" name="文本框 12"/>
              <p:cNvSpPr txBox="1"/>
              <p:nvPr>
                <p:custDataLst>
                  <p:tags r:id="rId40"/>
                </p:custDataLst>
              </p:nvPr>
            </p:nvSpPr>
            <p:spPr>
              <a:xfrm>
                <a:off x="656700" y="5025556"/>
                <a:ext cx="734311" cy="246221"/>
              </a:xfrm>
              <a:prstGeom prst="rect">
                <a:avLst/>
              </a:prstGeom>
              <a:noFill/>
            </p:spPr>
            <p:txBody>
              <a:bodyPr wrap="square" rtlCol="0">
                <a:spAutoFit/>
              </a:bodyPr>
              <a:lstStyle/>
              <a:p>
                <a:r>
                  <a:rPr lang="en-US" altLang="zh-CN" sz="1000" b="1" dirty="0">
                    <a:solidFill>
                      <a:schemeClr val="bg1"/>
                    </a:solidFill>
                    <a:latin typeface="微软雅黑" panose="020B0503020204020204" pitchFamily="34" charset="-122"/>
                    <a:ea typeface="微软雅黑" panose="020B0503020204020204" pitchFamily="34" charset="-122"/>
                  </a:rPr>
                  <a:t>Target3</a:t>
                </a:r>
                <a:endParaRPr lang="en-US" sz="1000" b="1" dirty="0">
                  <a:solidFill>
                    <a:schemeClr val="bg1"/>
                  </a:solidFill>
                  <a:latin typeface="微软雅黑" panose="020B0503020204020204" pitchFamily="34" charset="-122"/>
                  <a:ea typeface="微软雅黑" panose="020B0503020204020204" pitchFamily="34" charset="-122"/>
                </a:endParaRPr>
              </a:p>
            </p:txBody>
          </p:sp>
          <p:sp>
            <p:nvSpPr>
              <p:cNvPr id="166" name="圆角矩形 165"/>
              <p:cNvSpPr/>
              <p:nvPr>
                <p:custDataLst>
                  <p:tags r:id="rId41"/>
                </p:custDataLst>
              </p:nvPr>
            </p:nvSpPr>
            <p:spPr bwMode="auto">
              <a:xfrm>
                <a:off x="656700" y="5271777"/>
                <a:ext cx="734311" cy="271560"/>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b="1" dirty="0">
                    <a:latin typeface="微软雅黑" panose="020B0503020204020204" pitchFamily="34" charset="-122"/>
                    <a:ea typeface="微软雅黑" panose="020B0503020204020204" pitchFamily="34" charset="-122"/>
                  </a:rPr>
                  <a:t>ACL</a:t>
                </a:r>
                <a:r>
                  <a:rPr lang="zh-CN" altLang="en-US" sz="1000" b="1" dirty="0">
                    <a:latin typeface="微软雅黑" panose="020B0503020204020204" pitchFamily="34" charset="-122"/>
                    <a:ea typeface="微软雅黑" panose="020B0503020204020204" pitchFamily="34" charset="-122"/>
                  </a:rPr>
                  <a:t>控制</a:t>
                </a:r>
                <a:endParaRPr lang="en-US" altLang="zh-CN" sz="1000" b="1" dirty="0">
                  <a:latin typeface="微软雅黑" panose="020B0503020204020204" pitchFamily="34" charset="-122"/>
                  <a:ea typeface="微软雅黑" panose="020B0503020204020204" pitchFamily="34" charset="-122"/>
                </a:endParaRPr>
              </a:p>
            </p:txBody>
          </p:sp>
          <p:sp>
            <p:nvSpPr>
              <p:cNvPr id="167" name="圆角矩形 166"/>
              <p:cNvSpPr/>
              <p:nvPr>
                <p:custDataLst>
                  <p:tags r:id="rId42"/>
                </p:custDataLst>
              </p:nvPr>
            </p:nvSpPr>
            <p:spPr bwMode="auto">
              <a:xfrm>
                <a:off x="633582" y="5597355"/>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1</a:t>
                </a:r>
                <a:endParaRPr lang="en-US" altLang="zh-CN" sz="1000" dirty="0">
                  <a:latin typeface="微软雅黑" panose="020B0503020204020204" pitchFamily="34" charset="-122"/>
                  <a:ea typeface="微软雅黑" panose="020B0503020204020204" pitchFamily="34" charset="-122"/>
                </a:endParaRPr>
              </a:p>
            </p:txBody>
          </p:sp>
          <p:sp>
            <p:nvSpPr>
              <p:cNvPr id="168" name="圆角矩形 167"/>
              <p:cNvSpPr/>
              <p:nvPr>
                <p:custDataLst>
                  <p:tags r:id="rId43"/>
                </p:custDataLst>
              </p:nvPr>
            </p:nvSpPr>
            <p:spPr bwMode="auto">
              <a:xfrm>
                <a:off x="891775" y="5597354"/>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2</a:t>
                </a:r>
                <a:endParaRPr lang="en-US" altLang="zh-CN" sz="1000" dirty="0">
                  <a:latin typeface="微软雅黑" panose="020B0503020204020204" pitchFamily="34" charset="-122"/>
                  <a:ea typeface="微软雅黑" panose="020B0503020204020204" pitchFamily="34" charset="-122"/>
                </a:endParaRPr>
              </a:p>
            </p:txBody>
          </p:sp>
          <p:sp>
            <p:nvSpPr>
              <p:cNvPr id="169" name="圆角矩形 168"/>
              <p:cNvSpPr/>
              <p:nvPr>
                <p:custDataLst>
                  <p:tags r:id="rId44"/>
                </p:custDataLst>
              </p:nvPr>
            </p:nvSpPr>
            <p:spPr bwMode="auto">
              <a:xfrm>
                <a:off x="1155935" y="5597353"/>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3</a:t>
                </a:r>
                <a:endParaRPr lang="en-US" altLang="zh-CN" sz="1000" dirty="0">
                  <a:latin typeface="微软雅黑" panose="020B0503020204020204" pitchFamily="34" charset="-122"/>
                  <a:ea typeface="微软雅黑" panose="020B0503020204020204" pitchFamily="34" charset="-122"/>
                </a:endParaRPr>
              </a:p>
            </p:txBody>
          </p:sp>
        </p:grpSp>
        <p:sp>
          <p:nvSpPr>
            <p:cNvPr id="163" name="圆角矩形 162"/>
            <p:cNvSpPr/>
            <p:nvPr>
              <p:custDataLst>
                <p:tags r:id="rId45"/>
              </p:custDataLst>
            </p:nvPr>
          </p:nvSpPr>
          <p:spPr>
            <a:xfrm>
              <a:off x="1651800" y="3672731"/>
              <a:ext cx="2792409" cy="368653"/>
            </a:xfrm>
            <a:prstGeom prst="roundRect">
              <a:avLst>
                <a:gd name="adj" fmla="val 5908"/>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rgbClr val="0070C0"/>
                  </a:solidFill>
                  <a:latin typeface="微软雅黑" panose="020B0503020204020204" pitchFamily="34" charset="-122"/>
                  <a:ea typeface="微软雅黑" panose="020B0503020204020204" pitchFamily="34" charset="-122"/>
                </a:rPr>
                <a:t>cspd:</a:t>
              </a:r>
              <a:r>
                <a:rPr lang="zh-CN" altLang="en-US" sz="1200" b="1" dirty="0">
                  <a:solidFill>
                    <a:srgbClr val="0070C0"/>
                  </a:solidFill>
                  <a:latin typeface="微软雅黑" panose="020B0503020204020204" pitchFamily="34" charset="-122"/>
                  <a:ea typeface="微软雅黑" panose="020B0503020204020204" pitchFamily="34" charset="-122"/>
                </a:rPr>
                <a:t> </a:t>
              </a:r>
              <a:r>
                <a:rPr lang="en-US" altLang="zh-CN" sz="1200" b="1" dirty="0">
                  <a:solidFill>
                    <a:srgbClr val="0070C0"/>
                  </a:solidFill>
                  <a:latin typeface="微软雅黑" panose="020B0503020204020204" pitchFamily="34" charset="-122"/>
                  <a:ea typeface="微软雅黑" panose="020B0503020204020204" pitchFamily="34" charset="-122"/>
                </a:rPr>
                <a:t>3262</a:t>
              </a:r>
              <a:r>
                <a:rPr lang="zh-CN" altLang="en-US" sz="1200" b="1" dirty="0">
                  <a:solidFill>
                    <a:srgbClr val="0070C0"/>
                  </a:solidFill>
                  <a:latin typeface="微软雅黑" panose="020B0503020204020204" pitchFamily="34" charset="-122"/>
                  <a:ea typeface="微软雅黑" panose="020B0503020204020204" pitchFamily="34" charset="-122"/>
                </a:rPr>
                <a:t> 服务</a:t>
              </a:r>
              <a:endParaRPr lang="en-US" altLang="zh-CN" sz="1200" b="1" dirty="0">
                <a:solidFill>
                  <a:srgbClr val="0070C0"/>
                </a:solidFill>
                <a:latin typeface="微软雅黑" panose="020B0503020204020204" pitchFamily="34" charset="-122"/>
                <a:ea typeface="微软雅黑" panose="020B0503020204020204" pitchFamily="34" charset="-122"/>
              </a:endParaRPr>
            </a:p>
          </p:txBody>
        </p:sp>
      </p:grpSp>
      <p:grpSp>
        <p:nvGrpSpPr>
          <p:cNvPr id="182" name="组合 181"/>
          <p:cNvGrpSpPr/>
          <p:nvPr/>
        </p:nvGrpSpPr>
        <p:grpSpPr>
          <a:xfrm>
            <a:off x="6598114" y="4118461"/>
            <a:ext cx="3031914" cy="2383627"/>
            <a:chOff x="1519421" y="3523557"/>
            <a:chExt cx="3031914" cy="2383627"/>
          </a:xfrm>
        </p:grpSpPr>
        <p:sp>
          <p:nvSpPr>
            <p:cNvPr id="183" name="圆角矩形 182"/>
            <p:cNvSpPr/>
            <p:nvPr>
              <p:custDataLst>
                <p:tags r:id="rId46"/>
              </p:custDataLst>
            </p:nvPr>
          </p:nvSpPr>
          <p:spPr>
            <a:xfrm>
              <a:off x="1519421" y="3523557"/>
              <a:ext cx="3031914" cy="2383627"/>
            </a:xfrm>
            <a:prstGeom prst="roundRect">
              <a:avLst>
                <a:gd name="adj" fmla="val 59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a:solidFill>
                  <a:srgbClr val="242438"/>
                </a:solidFill>
                <a:latin typeface="Arial" panose="020B0604020202020204" pitchFamily="34" charset="0"/>
                <a:ea typeface="Arial" panose="020B0604020202020204" pitchFamily="34" charset="0"/>
                <a:cs typeface="Arial" panose="020B0604020202020204" pitchFamily="34" charset="0"/>
              </a:endParaRPr>
            </a:p>
          </p:txBody>
        </p:sp>
        <p:sp>
          <p:nvSpPr>
            <p:cNvPr id="184" name="圆角矩形 183"/>
            <p:cNvSpPr/>
            <p:nvPr>
              <p:custDataLst>
                <p:tags r:id="rId47"/>
              </p:custDataLst>
            </p:nvPr>
          </p:nvSpPr>
          <p:spPr>
            <a:xfrm>
              <a:off x="1635782" y="4070519"/>
              <a:ext cx="2792409" cy="368653"/>
            </a:xfrm>
            <a:prstGeom prst="roundRect">
              <a:avLst>
                <a:gd name="adj" fmla="val 590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rgbClr val="242438"/>
                  </a:solidFill>
                  <a:latin typeface="微软雅黑" panose="020B0503020204020204" pitchFamily="34" charset="-122"/>
                  <a:ea typeface="微软雅黑" panose="020B0503020204020204" pitchFamily="34" charset="-122"/>
                  <a:cs typeface="Arial" panose="020B0604020202020204" pitchFamily="34" charset="0"/>
                </a:rPr>
                <a:t>软件定义存储</a:t>
              </a:r>
              <a:r>
                <a:rPr lang="en-US" altLang="zh-CN" sz="1200" b="1" dirty="0">
                  <a:solidFill>
                    <a:srgbClr val="242438"/>
                  </a:solidFill>
                  <a:latin typeface="微软雅黑" panose="020B0503020204020204" pitchFamily="34" charset="-122"/>
                  <a:ea typeface="微软雅黑" panose="020B0503020204020204" pitchFamily="34" charset="-122"/>
                  <a:cs typeface="Arial" panose="020B0604020202020204" pitchFamily="34" charset="0"/>
                </a:rPr>
                <a:t>API</a:t>
              </a:r>
              <a:endParaRPr lang="zh-CN" altLang="en-US" sz="1200" b="1" dirty="0">
                <a:solidFill>
                  <a:srgbClr val="242438"/>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185" name="组合 184"/>
            <p:cNvGrpSpPr/>
            <p:nvPr/>
          </p:nvGrpSpPr>
          <p:grpSpPr>
            <a:xfrm>
              <a:off x="1635782" y="4499384"/>
              <a:ext cx="888654" cy="1296000"/>
              <a:chOff x="573567" y="5003630"/>
              <a:chExt cx="888654" cy="1296000"/>
            </a:xfrm>
          </p:grpSpPr>
          <p:sp>
            <p:nvSpPr>
              <p:cNvPr id="7" name="圆角矩形 6"/>
              <p:cNvSpPr/>
              <p:nvPr>
                <p:custDataLst>
                  <p:tags r:id="rId48"/>
                </p:custDataLst>
              </p:nvPr>
            </p:nvSpPr>
            <p:spPr bwMode="auto">
              <a:xfrm>
                <a:off x="573567" y="5003630"/>
                <a:ext cx="888654" cy="1296000"/>
              </a:xfrm>
              <a:prstGeom prst="roundRect">
                <a:avLst/>
              </a:prstGeom>
              <a:solidFill>
                <a:srgbClr val="00B0F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202" name="文本框 12"/>
              <p:cNvSpPr txBox="1"/>
              <p:nvPr>
                <p:custDataLst>
                  <p:tags r:id="rId49"/>
                </p:custDataLst>
              </p:nvPr>
            </p:nvSpPr>
            <p:spPr>
              <a:xfrm>
                <a:off x="656700" y="5025556"/>
                <a:ext cx="734311" cy="246221"/>
              </a:xfrm>
              <a:prstGeom prst="rect">
                <a:avLst/>
              </a:prstGeom>
              <a:noFill/>
            </p:spPr>
            <p:txBody>
              <a:bodyPr wrap="square" rtlCol="0">
                <a:spAutoFit/>
              </a:bodyPr>
              <a:lstStyle/>
              <a:p>
                <a:r>
                  <a:rPr lang="en-US" altLang="zh-CN" sz="1000" b="1" dirty="0">
                    <a:solidFill>
                      <a:schemeClr val="bg1"/>
                    </a:solidFill>
                    <a:latin typeface="微软雅黑" panose="020B0503020204020204" pitchFamily="34" charset="-122"/>
                    <a:ea typeface="微软雅黑" panose="020B0503020204020204" pitchFamily="34" charset="-122"/>
                  </a:rPr>
                  <a:t>Target1</a:t>
                </a:r>
                <a:endParaRPr lang="en-US" sz="1000" b="1" dirty="0">
                  <a:solidFill>
                    <a:schemeClr val="bg1"/>
                  </a:solidFill>
                  <a:latin typeface="微软雅黑" panose="020B0503020204020204" pitchFamily="34" charset="-122"/>
                  <a:ea typeface="微软雅黑" panose="020B0503020204020204" pitchFamily="34" charset="-122"/>
                </a:endParaRPr>
              </a:p>
            </p:txBody>
          </p:sp>
          <p:sp>
            <p:nvSpPr>
              <p:cNvPr id="203" name="圆角矩形 202"/>
              <p:cNvSpPr/>
              <p:nvPr>
                <p:custDataLst>
                  <p:tags r:id="rId50"/>
                </p:custDataLst>
              </p:nvPr>
            </p:nvSpPr>
            <p:spPr bwMode="auto">
              <a:xfrm>
                <a:off x="656700" y="5271777"/>
                <a:ext cx="734311" cy="271560"/>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b="1" dirty="0">
                    <a:latin typeface="微软雅黑" panose="020B0503020204020204" pitchFamily="34" charset="-122"/>
                    <a:ea typeface="微软雅黑" panose="020B0503020204020204" pitchFamily="34" charset="-122"/>
                  </a:rPr>
                  <a:t>ACL</a:t>
                </a:r>
                <a:r>
                  <a:rPr lang="zh-CN" altLang="en-US" sz="1000" b="1" dirty="0">
                    <a:latin typeface="微软雅黑" panose="020B0503020204020204" pitchFamily="34" charset="-122"/>
                    <a:ea typeface="微软雅黑" panose="020B0503020204020204" pitchFamily="34" charset="-122"/>
                  </a:rPr>
                  <a:t>控制</a:t>
                </a:r>
                <a:endParaRPr lang="en-US" altLang="zh-CN" sz="1000" b="1" dirty="0">
                  <a:latin typeface="微软雅黑" panose="020B0503020204020204" pitchFamily="34" charset="-122"/>
                  <a:ea typeface="微软雅黑" panose="020B0503020204020204" pitchFamily="34" charset="-122"/>
                </a:endParaRPr>
              </a:p>
            </p:txBody>
          </p:sp>
          <p:sp>
            <p:nvSpPr>
              <p:cNvPr id="204" name="圆角矩形 203"/>
              <p:cNvSpPr/>
              <p:nvPr>
                <p:custDataLst>
                  <p:tags r:id="rId51"/>
                </p:custDataLst>
              </p:nvPr>
            </p:nvSpPr>
            <p:spPr bwMode="auto">
              <a:xfrm>
                <a:off x="633582" y="5597355"/>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1</a:t>
                </a:r>
                <a:endParaRPr lang="en-US" altLang="zh-CN" sz="1000" dirty="0">
                  <a:latin typeface="微软雅黑" panose="020B0503020204020204" pitchFamily="34" charset="-122"/>
                  <a:ea typeface="微软雅黑" panose="020B0503020204020204" pitchFamily="34" charset="-122"/>
                </a:endParaRPr>
              </a:p>
            </p:txBody>
          </p:sp>
          <p:sp>
            <p:nvSpPr>
              <p:cNvPr id="205" name="圆角矩形 204"/>
              <p:cNvSpPr/>
              <p:nvPr>
                <p:custDataLst>
                  <p:tags r:id="rId52"/>
                </p:custDataLst>
              </p:nvPr>
            </p:nvSpPr>
            <p:spPr bwMode="auto">
              <a:xfrm>
                <a:off x="891775" y="5597354"/>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2</a:t>
                </a:r>
                <a:endParaRPr lang="en-US" altLang="zh-CN" sz="1000" dirty="0">
                  <a:latin typeface="微软雅黑" panose="020B0503020204020204" pitchFamily="34" charset="-122"/>
                  <a:ea typeface="微软雅黑" panose="020B0503020204020204" pitchFamily="34" charset="-122"/>
                </a:endParaRPr>
              </a:p>
            </p:txBody>
          </p:sp>
          <p:sp>
            <p:nvSpPr>
              <p:cNvPr id="206" name="圆角矩形 205"/>
              <p:cNvSpPr/>
              <p:nvPr>
                <p:custDataLst>
                  <p:tags r:id="rId53"/>
                </p:custDataLst>
              </p:nvPr>
            </p:nvSpPr>
            <p:spPr bwMode="auto">
              <a:xfrm>
                <a:off x="1155935" y="5597353"/>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3</a:t>
                </a:r>
                <a:endParaRPr lang="en-US" altLang="zh-CN" sz="1000" dirty="0">
                  <a:latin typeface="微软雅黑" panose="020B0503020204020204" pitchFamily="34" charset="-122"/>
                  <a:ea typeface="微软雅黑" panose="020B0503020204020204" pitchFamily="34" charset="-122"/>
                </a:endParaRPr>
              </a:p>
            </p:txBody>
          </p:sp>
        </p:grpSp>
        <p:grpSp>
          <p:nvGrpSpPr>
            <p:cNvPr id="186" name="组合 185"/>
            <p:cNvGrpSpPr/>
            <p:nvPr/>
          </p:nvGrpSpPr>
          <p:grpSpPr>
            <a:xfrm>
              <a:off x="2597717" y="4500959"/>
              <a:ext cx="888654" cy="1296000"/>
              <a:chOff x="573567" y="5003630"/>
              <a:chExt cx="888654" cy="1296000"/>
            </a:xfrm>
          </p:grpSpPr>
          <p:sp>
            <p:nvSpPr>
              <p:cNvPr id="195" name="圆角矩形 194"/>
              <p:cNvSpPr/>
              <p:nvPr>
                <p:custDataLst>
                  <p:tags r:id="rId54"/>
                </p:custDataLst>
              </p:nvPr>
            </p:nvSpPr>
            <p:spPr bwMode="auto">
              <a:xfrm>
                <a:off x="573567" y="5003630"/>
                <a:ext cx="888654" cy="1296000"/>
              </a:xfrm>
              <a:prstGeom prst="roundRect">
                <a:avLst/>
              </a:prstGeom>
              <a:solidFill>
                <a:srgbClr val="00B0F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96" name="文本框 12"/>
              <p:cNvSpPr txBox="1"/>
              <p:nvPr>
                <p:custDataLst>
                  <p:tags r:id="rId55"/>
                </p:custDataLst>
              </p:nvPr>
            </p:nvSpPr>
            <p:spPr>
              <a:xfrm>
                <a:off x="656700" y="5025556"/>
                <a:ext cx="734311" cy="246221"/>
              </a:xfrm>
              <a:prstGeom prst="rect">
                <a:avLst/>
              </a:prstGeom>
              <a:noFill/>
            </p:spPr>
            <p:txBody>
              <a:bodyPr wrap="square" rtlCol="0">
                <a:spAutoFit/>
              </a:bodyPr>
              <a:lstStyle/>
              <a:p>
                <a:r>
                  <a:rPr lang="en-US" altLang="zh-CN" sz="1000" b="1" dirty="0">
                    <a:solidFill>
                      <a:schemeClr val="bg1"/>
                    </a:solidFill>
                    <a:latin typeface="微软雅黑" panose="020B0503020204020204" pitchFamily="34" charset="-122"/>
                    <a:ea typeface="微软雅黑" panose="020B0503020204020204" pitchFamily="34" charset="-122"/>
                  </a:rPr>
                  <a:t>Target2</a:t>
                </a:r>
                <a:endParaRPr lang="en-US" sz="1000" b="1" dirty="0">
                  <a:solidFill>
                    <a:schemeClr val="bg1"/>
                  </a:solidFill>
                  <a:latin typeface="微软雅黑" panose="020B0503020204020204" pitchFamily="34" charset="-122"/>
                  <a:ea typeface="微软雅黑" panose="020B0503020204020204" pitchFamily="34" charset="-122"/>
                </a:endParaRPr>
              </a:p>
            </p:txBody>
          </p:sp>
          <p:sp>
            <p:nvSpPr>
              <p:cNvPr id="197" name="圆角矩形 196"/>
              <p:cNvSpPr/>
              <p:nvPr>
                <p:custDataLst>
                  <p:tags r:id="rId56"/>
                </p:custDataLst>
              </p:nvPr>
            </p:nvSpPr>
            <p:spPr bwMode="auto">
              <a:xfrm>
                <a:off x="656700" y="5271777"/>
                <a:ext cx="734311" cy="271560"/>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b="1" dirty="0">
                    <a:latin typeface="微软雅黑" panose="020B0503020204020204" pitchFamily="34" charset="-122"/>
                    <a:ea typeface="微软雅黑" panose="020B0503020204020204" pitchFamily="34" charset="-122"/>
                  </a:rPr>
                  <a:t>ACL</a:t>
                </a:r>
                <a:r>
                  <a:rPr lang="zh-CN" altLang="en-US" sz="1000" b="1" dirty="0">
                    <a:latin typeface="微软雅黑" panose="020B0503020204020204" pitchFamily="34" charset="-122"/>
                    <a:ea typeface="微软雅黑" panose="020B0503020204020204" pitchFamily="34" charset="-122"/>
                  </a:rPr>
                  <a:t>控制</a:t>
                </a:r>
                <a:endParaRPr lang="en-US" altLang="zh-CN" sz="1000" b="1" dirty="0">
                  <a:latin typeface="微软雅黑" panose="020B0503020204020204" pitchFamily="34" charset="-122"/>
                  <a:ea typeface="微软雅黑" panose="020B0503020204020204" pitchFamily="34" charset="-122"/>
                </a:endParaRPr>
              </a:p>
            </p:txBody>
          </p:sp>
          <p:sp>
            <p:nvSpPr>
              <p:cNvPr id="198" name="圆角矩形 197"/>
              <p:cNvSpPr/>
              <p:nvPr>
                <p:custDataLst>
                  <p:tags r:id="rId57"/>
                </p:custDataLst>
              </p:nvPr>
            </p:nvSpPr>
            <p:spPr bwMode="auto">
              <a:xfrm>
                <a:off x="633582" y="5597355"/>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1</a:t>
                </a:r>
                <a:endParaRPr lang="en-US" altLang="zh-CN" sz="1000" dirty="0">
                  <a:latin typeface="微软雅黑" panose="020B0503020204020204" pitchFamily="34" charset="-122"/>
                  <a:ea typeface="微软雅黑" panose="020B0503020204020204" pitchFamily="34" charset="-122"/>
                </a:endParaRPr>
              </a:p>
            </p:txBody>
          </p:sp>
          <p:sp>
            <p:nvSpPr>
              <p:cNvPr id="199" name="圆角矩形 198"/>
              <p:cNvSpPr/>
              <p:nvPr>
                <p:custDataLst>
                  <p:tags r:id="rId58"/>
                </p:custDataLst>
              </p:nvPr>
            </p:nvSpPr>
            <p:spPr bwMode="auto">
              <a:xfrm>
                <a:off x="891775" y="5597354"/>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2</a:t>
                </a:r>
                <a:endParaRPr lang="en-US" altLang="zh-CN" sz="1000" dirty="0">
                  <a:latin typeface="微软雅黑" panose="020B0503020204020204" pitchFamily="34" charset="-122"/>
                  <a:ea typeface="微软雅黑" panose="020B0503020204020204" pitchFamily="34" charset="-122"/>
                </a:endParaRPr>
              </a:p>
            </p:txBody>
          </p:sp>
          <p:sp>
            <p:nvSpPr>
              <p:cNvPr id="200" name="圆角矩形 199"/>
              <p:cNvSpPr/>
              <p:nvPr>
                <p:custDataLst>
                  <p:tags r:id="rId59"/>
                </p:custDataLst>
              </p:nvPr>
            </p:nvSpPr>
            <p:spPr bwMode="auto">
              <a:xfrm>
                <a:off x="1155935" y="5597353"/>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3</a:t>
                </a:r>
                <a:endParaRPr lang="en-US" altLang="zh-CN" sz="1000" dirty="0">
                  <a:latin typeface="微软雅黑" panose="020B0503020204020204" pitchFamily="34" charset="-122"/>
                  <a:ea typeface="微软雅黑" panose="020B0503020204020204" pitchFamily="34" charset="-122"/>
                </a:endParaRPr>
              </a:p>
            </p:txBody>
          </p:sp>
        </p:grpSp>
        <p:grpSp>
          <p:nvGrpSpPr>
            <p:cNvPr id="187" name="组合 186"/>
            <p:cNvGrpSpPr/>
            <p:nvPr/>
          </p:nvGrpSpPr>
          <p:grpSpPr>
            <a:xfrm>
              <a:off x="3539537" y="4499384"/>
              <a:ext cx="888654" cy="1296000"/>
              <a:chOff x="573567" y="5003630"/>
              <a:chExt cx="888654" cy="1296000"/>
            </a:xfrm>
          </p:grpSpPr>
          <p:sp>
            <p:nvSpPr>
              <p:cNvPr id="189" name="圆角矩形 188"/>
              <p:cNvSpPr/>
              <p:nvPr>
                <p:custDataLst>
                  <p:tags r:id="rId60"/>
                </p:custDataLst>
              </p:nvPr>
            </p:nvSpPr>
            <p:spPr bwMode="auto">
              <a:xfrm>
                <a:off x="573567" y="5003630"/>
                <a:ext cx="888654" cy="1296000"/>
              </a:xfrm>
              <a:prstGeom prst="roundRect">
                <a:avLst/>
              </a:prstGeom>
              <a:solidFill>
                <a:srgbClr val="00B0F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190" name="文本框 12"/>
              <p:cNvSpPr txBox="1"/>
              <p:nvPr>
                <p:custDataLst>
                  <p:tags r:id="rId61"/>
                </p:custDataLst>
              </p:nvPr>
            </p:nvSpPr>
            <p:spPr>
              <a:xfrm>
                <a:off x="656700" y="5025556"/>
                <a:ext cx="734311" cy="246221"/>
              </a:xfrm>
              <a:prstGeom prst="rect">
                <a:avLst/>
              </a:prstGeom>
              <a:noFill/>
            </p:spPr>
            <p:txBody>
              <a:bodyPr wrap="square" rtlCol="0">
                <a:spAutoFit/>
              </a:bodyPr>
              <a:lstStyle/>
              <a:p>
                <a:r>
                  <a:rPr lang="en-US" altLang="zh-CN" sz="1000" b="1" dirty="0">
                    <a:solidFill>
                      <a:schemeClr val="bg1"/>
                    </a:solidFill>
                    <a:latin typeface="微软雅黑" panose="020B0503020204020204" pitchFamily="34" charset="-122"/>
                    <a:ea typeface="微软雅黑" panose="020B0503020204020204" pitchFamily="34" charset="-122"/>
                  </a:rPr>
                  <a:t>Target3</a:t>
                </a:r>
                <a:endParaRPr lang="en-US" sz="1000" b="1" dirty="0">
                  <a:solidFill>
                    <a:schemeClr val="bg1"/>
                  </a:solidFill>
                  <a:latin typeface="微软雅黑" panose="020B0503020204020204" pitchFamily="34" charset="-122"/>
                  <a:ea typeface="微软雅黑" panose="020B0503020204020204" pitchFamily="34" charset="-122"/>
                </a:endParaRPr>
              </a:p>
            </p:txBody>
          </p:sp>
          <p:sp>
            <p:nvSpPr>
              <p:cNvPr id="191" name="圆角矩形 190"/>
              <p:cNvSpPr/>
              <p:nvPr>
                <p:custDataLst>
                  <p:tags r:id="rId62"/>
                </p:custDataLst>
              </p:nvPr>
            </p:nvSpPr>
            <p:spPr bwMode="auto">
              <a:xfrm>
                <a:off x="656700" y="5271777"/>
                <a:ext cx="734311" cy="271560"/>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b="1" dirty="0">
                    <a:latin typeface="微软雅黑" panose="020B0503020204020204" pitchFamily="34" charset="-122"/>
                    <a:ea typeface="微软雅黑" panose="020B0503020204020204" pitchFamily="34" charset="-122"/>
                  </a:rPr>
                  <a:t>ACL</a:t>
                </a:r>
                <a:r>
                  <a:rPr lang="zh-CN" altLang="en-US" sz="1000" b="1" dirty="0">
                    <a:latin typeface="微软雅黑" panose="020B0503020204020204" pitchFamily="34" charset="-122"/>
                    <a:ea typeface="微软雅黑" panose="020B0503020204020204" pitchFamily="34" charset="-122"/>
                  </a:rPr>
                  <a:t>控制</a:t>
                </a:r>
                <a:endParaRPr lang="en-US" altLang="zh-CN" sz="1000" b="1" dirty="0">
                  <a:latin typeface="微软雅黑" panose="020B0503020204020204" pitchFamily="34" charset="-122"/>
                  <a:ea typeface="微软雅黑" panose="020B0503020204020204" pitchFamily="34" charset="-122"/>
                </a:endParaRPr>
              </a:p>
            </p:txBody>
          </p:sp>
          <p:sp>
            <p:nvSpPr>
              <p:cNvPr id="192" name="圆角矩形 191"/>
              <p:cNvSpPr/>
              <p:nvPr>
                <p:custDataLst>
                  <p:tags r:id="rId63"/>
                </p:custDataLst>
              </p:nvPr>
            </p:nvSpPr>
            <p:spPr bwMode="auto">
              <a:xfrm>
                <a:off x="633582" y="5597355"/>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1</a:t>
                </a:r>
                <a:endParaRPr lang="en-US" altLang="zh-CN" sz="1000" dirty="0">
                  <a:latin typeface="微软雅黑" panose="020B0503020204020204" pitchFamily="34" charset="-122"/>
                  <a:ea typeface="微软雅黑" panose="020B0503020204020204" pitchFamily="34" charset="-122"/>
                </a:endParaRPr>
              </a:p>
            </p:txBody>
          </p:sp>
          <p:sp>
            <p:nvSpPr>
              <p:cNvPr id="193" name="圆角矩形 192"/>
              <p:cNvSpPr/>
              <p:nvPr>
                <p:custDataLst>
                  <p:tags r:id="rId64"/>
                </p:custDataLst>
              </p:nvPr>
            </p:nvSpPr>
            <p:spPr bwMode="auto">
              <a:xfrm>
                <a:off x="891775" y="5597354"/>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2</a:t>
                </a:r>
                <a:endParaRPr lang="en-US" altLang="zh-CN" sz="1000" dirty="0">
                  <a:latin typeface="微软雅黑" panose="020B0503020204020204" pitchFamily="34" charset="-122"/>
                  <a:ea typeface="微软雅黑" panose="020B0503020204020204" pitchFamily="34" charset="-122"/>
                </a:endParaRPr>
              </a:p>
            </p:txBody>
          </p:sp>
          <p:sp>
            <p:nvSpPr>
              <p:cNvPr id="194" name="圆角矩形 193"/>
              <p:cNvSpPr/>
              <p:nvPr>
                <p:custDataLst>
                  <p:tags r:id="rId65"/>
                </p:custDataLst>
              </p:nvPr>
            </p:nvSpPr>
            <p:spPr bwMode="auto">
              <a:xfrm>
                <a:off x="1155935" y="5597353"/>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3</a:t>
                </a:r>
                <a:endParaRPr lang="en-US" altLang="zh-CN" sz="1000" dirty="0">
                  <a:latin typeface="微软雅黑" panose="020B0503020204020204" pitchFamily="34" charset="-122"/>
                  <a:ea typeface="微软雅黑" panose="020B0503020204020204" pitchFamily="34" charset="-122"/>
                </a:endParaRPr>
              </a:p>
            </p:txBody>
          </p:sp>
        </p:grpSp>
        <p:sp>
          <p:nvSpPr>
            <p:cNvPr id="188" name="圆角矩形 187"/>
            <p:cNvSpPr/>
            <p:nvPr>
              <p:custDataLst>
                <p:tags r:id="rId66"/>
              </p:custDataLst>
            </p:nvPr>
          </p:nvSpPr>
          <p:spPr>
            <a:xfrm>
              <a:off x="1651800" y="3672731"/>
              <a:ext cx="2792409" cy="368653"/>
            </a:xfrm>
            <a:prstGeom prst="roundRect">
              <a:avLst>
                <a:gd name="adj" fmla="val 5908"/>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rgbClr val="0070C0"/>
                  </a:solidFill>
                  <a:latin typeface="微软雅黑" panose="020B0503020204020204" pitchFamily="34" charset="-122"/>
                  <a:ea typeface="微软雅黑" panose="020B0503020204020204" pitchFamily="34" charset="-122"/>
                </a:rPr>
                <a:t>cspd:</a:t>
              </a:r>
              <a:r>
                <a:rPr lang="zh-CN" altLang="en-US" sz="1200" b="1" dirty="0">
                  <a:solidFill>
                    <a:srgbClr val="0070C0"/>
                  </a:solidFill>
                  <a:latin typeface="微软雅黑" panose="020B0503020204020204" pitchFamily="34" charset="-122"/>
                  <a:ea typeface="微软雅黑" panose="020B0503020204020204" pitchFamily="34" charset="-122"/>
                </a:rPr>
                <a:t> </a:t>
              </a:r>
              <a:r>
                <a:rPr lang="en-US" altLang="zh-CN" sz="1200" b="1" dirty="0">
                  <a:solidFill>
                    <a:srgbClr val="0070C0"/>
                  </a:solidFill>
                  <a:latin typeface="微软雅黑" panose="020B0503020204020204" pitchFamily="34" charset="-122"/>
                  <a:ea typeface="微软雅黑" panose="020B0503020204020204" pitchFamily="34" charset="-122"/>
                </a:rPr>
                <a:t>3263 </a:t>
              </a:r>
              <a:r>
                <a:rPr lang="zh-CN" altLang="en-US" sz="1200" b="1" dirty="0">
                  <a:solidFill>
                    <a:srgbClr val="0070C0"/>
                  </a:solidFill>
                  <a:latin typeface="微软雅黑" panose="020B0503020204020204" pitchFamily="34" charset="-122"/>
                  <a:ea typeface="微软雅黑" panose="020B0503020204020204" pitchFamily="34" charset="-122"/>
                </a:rPr>
                <a:t>服务</a:t>
              </a:r>
              <a:endParaRPr lang="en-US" altLang="zh-CN" sz="1200" b="1" dirty="0">
                <a:solidFill>
                  <a:srgbClr val="0070C0"/>
                </a:solidFill>
                <a:latin typeface="微软雅黑" panose="020B0503020204020204" pitchFamily="34" charset="-122"/>
                <a:ea typeface="微软雅黑" panose="020B0503020204020204" pitchFamily="34" charset="-122"/>
              </a:endParaRPr>
            </a:p>
          </p:txBody>
        </p:sp>
      </p:grpSp>
      <p:grpSp>
        <p:nvGrpSpPr>
          <p:cNvPr id="207" name="组合 206"/>
          <p:cNvGrpSpPr/>
          <p:nvPr/>
        </p:nvGrpSpPr>
        <p:grpSpPr>
          <a:xfrm>
            <a:off x="8548457" y="3204682"/>
            <a:ext cx="1325547" cy="597523"/>
            <a:chOff x="1296128" y="2264731"/>
            <a:chExt cx="3031914" cy="1343001"/>
          </a:xfrm>
        </p:grpSpPr>
        <p:sp>
          <p:nvSpPr>
            <p:cNvPr id="208" name="Freeform 20"/>
            <p:cNvSpPr>
              <a:spLocks noEditPoints="1"/>
            </p:cNvSpPr>
            <p:nvPr>
              <p:custDataLst>
                <p:tags r:id="rId67"/>
              </p:custDataLst>
            </p:nvPr>
          </p:nvSpPr>
          <p:spPr bwMode="auto">
            <a:xfrm>
              <a:off x="1296128" y="2264731"/>
              <a:ext cx="3031914" cy="709089"/>
            </a:xfrm>
            <a:custGeom>
              <a:avLst/>
              <a:gdLst/>
              <a:ahLst/>
              <a:cxnLst>
                <a:cxn ang="0">
                  <a:pos x="722" y="224"/>
                </a:cxn>
                <a:cxn ang="0">
                  <a:pos x="734" y="212"/>
                </a:cxn>
                <a:cxn ang="0">
                  <a:pos x="646" y="22"/>
                </a:cxn>
                <a:cxn ang="0">
                  <a:pos x="634" y="6"/>
                </a:cxn>
                <a:cxn ang="0">
                  <a:pos x="132" y="0"/>
                </a:cxn>
                <a:cxn ang="0">
                  <a:pos x="114" y="6"/>
                </a:cxn>
                <a:cxn ang="0">
                  <a:pos x="102" y="22"/>
                </a:cxn>
                <a:cxn ang="0">
                  <a:pos x="14" y="212"/>
                </a:cxn>
                <a:cxn ang="0">
                  <a:pos x="26" y="224"/>
                </a:cxn>
                <a:cxn ang="0">
                  <a:pos x="20" y="250"/>
                </a:cxn>
                <a:cxn ang="0">
                  <a:pos x="6" y="256"/>
                </a:cxn>
                <a:cxn ang="0">
                  <a:pos x="0" y="500"/>
                </a:cxn>
                <a:cxn ang="0">
                  <a:pos x="6" y="514"/>
                </a:cxn>
                <a:cxn ang="0">
                  <a:pos x="728" y="520"/>
                </a:cxn>
                <a:cxn ang="0">
                  <a:pos x="742" y="514"/>
                </a:cxn>
                <a:cxn ang="0">
                  <a:pos x="748" y="272"/>
                </a:cxn>
                <a:cxn ang="0">
                  <a:pos x="742" y="256"/>
                </a:cxn>
                <a:cxn ang="0">
                  <a:pos x="728" y="250"/>
                </a:cxn>
                <a:cxn ang="0">
                  <a:pos x="124" y="436"/>
                </a:cxn>
                <a:cxn ang="0">
                  <a:pos x="108" y="446"/>
                </a:cxn>
                <a:cxn ang="0">
                  <a:pos x="96" y="442"/>
                </a:cxn>
                <a:cxn ang="0">
                  <a:pos x="90" y="336"/>
                </a:cxn>
                <a:cxn ang="0">
                  <a:pos x="96" y="324"/>
                </a:cxn>
                <a:cxn ang="0">
                  <a:pos x="108" y="318"/>
                </a:cxn>
                <a:cxn ang="0">
                  <a:pos x="124" y="328"/>
                </a:cxn>
                <a:cxn ang="0">
                  <a:pos x="198" y="428"/>
                </a:cxn>
                <a:cxn ang="0">
                  <a:pos x="194" y="442"/>
                </a:cxn>
                <a:cxn ang="0">
                  <a:pos x="182" y="446"/>
                </a:cxn>
                <a:cxn ang="0">
                  <a:pos x="166" y="436"/>
                </a:cxn>
                <a:cxn ang="0">
                  <a:pos x="164" y="336"/>
                </a:cxn>
                <a:cxn ang="0">
                  <a:pos x="176" y="320"/>
                </a:cxn>
                <a:cxn ang="0">
                  <a:pos x="188" y="320"/>
                </a:cxn>
                <a:cxn ang="0">
                  <a:pos x="198" y="336"/>
                </a:cxn>
                <a:cxn ang="0">
                  <a:pos x="274" y="428"/>
                </a:cxn>
                <a:cxn ang="0">
                  <a:pos x="262" y="444"/>
                </a:cxn>
                <a:cxn ang="0">
                  <a:pos x="250" y="444"/>
                </a:cxn>
                <a:cxn ang="0">
                  <a:pos x="240" y="428"/>
                </a:cxn>
                <a:cxn ang="0">
                  <a:pos x="240" y="328"/>
                </a:cxn>
                <a:cxn ang="0">
                  <a:pos x="256" y="318"/>
                </a:cxn>
                <a:cxn ang="0">
                  <a:pos x="268" y="324"/>
                </a:cxn>
                <a:cxn ang="0">
                  <a:pos x="274" y="428"/>
                </a:cxn>
                <a:cxn ang="0">
                  <a:pos x="346" y="436"/>
                </a:cxn>
                <a:cxn ang="0">
                  <a:pos x="330" y="446"/>
                </a:cxn>
                <a:cxn ang="0">
                  <a:pos x="318" y="442"/>
                </a:cxn>
                <a:cxn ang="0">
                  <a:pos x="314" y="336"/>
                </a:cxn>
                <a:cxn ang="0">
                  <a:pos x="318" y="324"/>
                </a:cxn>
                <a:cxn ang="0">
                  <a:pos x="330" y="318"/>
                </a:cxn>
                <a:cxn ang="0">
                  <a:pos x="346" y="328"/>
                </a:cxn>
                <a:cxn ang="0">
                  <a:pos x="626" y="390"/>
                </a:cxn>
                <a:cxn ang="0">
                  <a:pos x="610" y="386"/>
                </a:cxn>
                <a:cxn ang="0">
                  <a:pos x="592" y="372"/>
                </a:cxn>
                <a:cxn ang="0">
                  <a:pos x="586" y="350"/>
                </a:cxn>
                <a:cxn ang="0">
                  <a:pos x="588" y="334"/>
                </a:cxn>
                <a:cxn ang="0">
                  <a:pos x="604" y="316"/>
                </a:cxn>
                <a:cxn ang="0">
                  <a:pos x="626" y="308"/>
                </a:cxn>
                <a:cxn ang="0">
                  <a:pos x="642" y="312"/>
                </a:cxn>
                <a:cxn ang="0">
                  <a:pos x="660" y="326"/>
                </a:cxn>
                <a:cxn ang="0">
                  <a:pos x="666" y="350"/>
                </a:cxn>
                <a:cxn ang="0">
                  <a:pos x="664" y="366"/>
                </a:cxn>
                <a:cxn ang="0">
                  <a:pos x="648" y="384"/>
                </a:cxn>
                <a:cxn ang="0">
                  <a:pos x="626" y="390"/>
                </a:cxn>
              </a:cxnLst>
              <a:rect l="0" t="0" r="r" b="b"/>
              <a:pathLst>
                <a:path w="748" h="520">
                  <a:moveTo>
                    <a:pt x="26" y="224"/>
                  </a:moveTo>
                  <a:lnTo>
                    <a:pt x="722" y="224"/>
                  </a:lnTo>
                  <a:lnTo>
                    <a:pt x="722" y="224"/>
                  </a:lnTo>
                  <a:lnTo>
                    <a:pt x="728" y="222"/>
                  </a:lnTo>
                  <a:lnTo>
                    <a:pt x="732" y="218"/>
                  </a:lnTo>
                  <a:lnTo>
                    <a:pt x="734" y="212"/>
                  </a:lnTo>
                  <a:lnTo>
                    <a:pt x="732" y="204"/>
                  </a:lnTo>
                  <a:lnTo>
                    <a:pt x="732" y="204"/>
                  </a:lnTo>
                  <a:lnTo>
                    <a:pt x="646" y="22"/>
                  </a:lnTo>
                  <a:lnTo>
                    <a:pt x="646" y="22"/>
                  </a:lnTo>
                  <a:lnTo>
                    <a:pt x="640" y="14"/>
                  </a:lnTo>
                  <a:lnTo>
                    <a:pt x="634" y="6"/>
                  </a:lnTo>
                  <a:lnTo>
                    <a:pt x="626" y="2"/>
                  </a:lnTo>
                  <a:lnTo>
                    <a:pt x="616" y="0"/>
                  </a:lnTo>
                  <a:lnTo>
                    <a:pt x="132" y="0"/>
                  </a:lnTo>
                  <a:lnTo>
                    <a:pt x="132" y="0"/>
                  </a:lnTo>
                  <a:lnTo>
                    <a:pt x="122" y="2"/>
                  </a:lnTo>
                  <a:lnTo>
                    <a:pt x="114" y="6"/>
                  </a:lnTo>
                  <a:lnTo>
                    <a:pt x="108" y="14"/>
                  </a:lnTo>
                  <a:lnTo>
                    <a:pt x="102" y="22"/>
                  </a:lnTo>
                  <a:lnTo>
                    <a:pt x="102" y="22"/>
                  </a:lnTo>
                  <a:lnTo>
                    <a:pt x="14" y="204"/>
                  </a:lnTo>
                  <a:lnTo>
                    <a:pt x="14" y="204"/>
                  </a:lnTo>
                  <a:lnTo>
                    <a:pt x="14" y="212"/>
                  </a:lnTo>
                  <a:lnTo>
                    <a:pt x="16" y="218"/>
                  </a:lnTo>
                  <a:lnTo>
                    <a:pt x="20" y="222"/>
                  </a:lnTo>
                  <a:lnTo>
                    <a:pt x="26" y="224"/>
                  </a:lnTo>
                  <a:lnTo>
                    <a:pt x="26" y="224"/>
                  </a:lnTo>
                  <a:close/>
                  <a:moveTo>
                    <a:pt x="728" y="250"/>
                  </a:moveTo>
                  <a:lnTo>
                    <a:pt x="20" y="250"/>
                  </a:lnTo>
                  <a:lnTo>
                    <a:pt x="20" y="250"/>
                  </a:lnTo>
                  <a:lnTo>
                    <a:pt x="12" y="252"/>
                  </a:lnTo>
                  <a:lnTo>
                    <a:pt x="6" y="256"/>
                  </a:lnTo>
                  <a:lnTo>
                    <a:pt x="2" y="264"/>
                  </a:lnTo>
                  <a:lnTo>
                    <a:pt x="0" y="272"/>
                  </a:lnTo>
                  <a:lnTo>
                    <a:pt x="0" y="500"/>
                  </a:lnTo>
                  <a:lnTo>
                    <a:pt x="0" y="500"/>
                  </a:lnTo>
                  <a:lnTo>
                    <a:pt x="2" y="508"/>
                  </a:lnTo>
                  <a:lnTo>
                    <a:pt x="6" y="514"/>
                  </a:lnTo>
                  <a:lnTo>
                    <a:pt x="12" y="518"/>
                  </a:lnTo>
                  <a:lnTo>
                    <a:pt x="20" y="520"/>
                  </a:lnTo>
                  <a:lnTo>
                    <a:pt x="728" y="520"/>
                  </a:lnTo>
                  <a:lnTo>
                    <a:pt x="728" y="520"/>
                  </a:lnTo>
                  <a:lnTo>
                    <a:pt x="736" y="518"/>
                  </a:lnTo>
                  <a:lnTo>
                    <a:pt x="742" y="514"/>
                  </a:lnTo>
                  <a:lnTo>
                    <a:pt x="746" y="508"/>
                  </a:lnTo>
                  <a:lnTo>
                    <a:pt x="748" y="500"/>
                  </a:lnTo>
                  <a:lnTo>
                    <a:pt x="748" y="272"/>
                  </a:lnTo>
                  <a:lnTo>
                    <a:pt x="748" y="272"/>
                  </a:lnTo>
                  <a:lnTo>
                    <a:pt x="746" y="264"/>
                  </a:lnTo>
                  <a:lnTo>
                    <a:pt x="742" y="256"/>
                  </a:lnTo>
                  <a:lnTo>
                    <a:pt x="736" y="252"/>
                  </a:lnTo>
                  <a:lnTo>
                    <a:pt x="728" y="250"/>
                  </a:lnTo>
                  <a:lnTo>
                    <a:pt x="728" y="250"/>
                  </a:lnTo>
                  <a:close/>
                  <a:moveTo>
                    <a:pt x="124" y="428"/>
                  </a:moveTo>
                  <a:lnTo>
                    <a:pt x="124" y="428"/>
                  </a:lnTo>
                  <a:lnTo>
                    <a:pt x="124" y="436"/>
                  </a:lnTo>
                  <a:lnTo>
                    <a:pt x="120" y="442"/>
                  </a:lnTo>
                  <a:lnTo>
                    <a:pt x="114" y="444"/>
                  </a:lnTo>
                  <a:lnTo>
                    <a:pt x="108" y="446"/>
                  </a:lnTo>
                  <a:lnTo>
                    <a:pt x="108" y="446"/>
                  </a:lnTo>
                  <a:lnTo>
                    <a:pt x="102" y="444"/>
                  </a:lnTo>
                  <a:lnTo>
                    <a:pt x="96" y="442"/>
                  </a:lnTo>
                  <a:lnTo>
                    <a:pt x="92" y="436"/>
                  </a:lnTo>
                  <a:lnTo>
                    <a:pt x="90" y="428"/>
                  </a:lnTo>
                  <a:lnTo>
                    <a:pt x="90" y="336"/>
                  </a:lnTo>
                  <a:lnTo>
                    <a:pt x="90" y="336"/>
                  </a:lnTo>
                  <a:lnTo>
                    <a:pt x="92" y="328"/>
                  </a:lnTo>
                  <a:lnTo>
                    <a:pt x="96" y="324"/>
                  </a:lnTo>
                  <a:lnTo>
                    <a:pt x="102" y="320"/>
                  </a:lnTo>
                  <a:lnTo>
                    <a:pt x="108" y="318"/>
                  </a:lnTo>
                  <a:lnTo>
                    <a:pt x="108" y="318"/>
                  </a:lnTo>
                  <a:lnTo>
                    <a:pt x="114" y="320"/>
                  </a:lnTo>
                  <a:lnTo>
                    <a:pt x="120" y="324"/>
                  </a:lnTo>
                  <a:lnTo>
                    <a:pt x="124" y="328"/>
                  </a:lnTo>
                  <a:lnTo>
                    <a:pt x="124" y="336"/>
                  </a:lnTo>
                  <a:lnTo>
                    <a:pt x="124" y="428"/>
                  </a:lnTo>
                  <a:close/>
                  <a:moveTo>
                    <a:pt x="198" y="428"/>
                  </a:moveTo>
                  <a:lnTo>
                    <a:pt x="198" y="428"/>
                  </a:lnTo>
                  <a:lnTo>
                    <a:pt x="198" y="436"/>
                  </a:lnTo>
                  <a:lnTo>
                    <a:pt x="194" y="442"/>
                  </a:lnTo>
                  <a:lnTo>
                    <a:pt x="188" y="444"/>
                  </a:lnTo>
                  <a:lnTo>
                    <a:pt x="182" y="446"/>
                  </a:lnTo>
                  <a:lnTo>
                    <a:pt x="182" y="446"/>
                  </a:lnTo>
                  <a:lnTo>
                    <a:pt x="176" y="444"/>
                  </a:lnTo>
                  <a:lnTo>
                    <a:pt x="170" y="442"/>
                  </a:lnTo>
                  <a:lnTo>
                    <a:pt x="166" y="436"/>
                  </a:lnTo>
                  <a:lnTo>
                    <a:pt x="164" y="428"/>
                  </a:lnTo>
                  <a:lnTo>
                    <a:pt x="164" y="336"/>
                  </a:lnTo>
                  <a:lnTo>
                    <a:pt x="164" y="336"/>
                  </a:lnTo>
                  <a:lnTo>
                    <a:pt x="166" y="328"/>
                  </a:lnTo>
                  <a:lnTo>
                    <a:pt x="170" y="324"/>
                  </a:lnTo>
                  <a:lnTo>
                    <a:pt x="176" y="320"/>
                  </a:lnTo>
                  <a:lnTo>
                    <a:pt x="182" y="318"/>
                  </a:lnTo>
                  <a:lnTo>
                    <a:pt x="182" y="318"/>
                  </a:lnTo>
                  <a:lnTo>
                    <a:pt x="188" y="320"/>
                  </a:lnTo>
                  <a:lnTo>
                    <a:pt x="194" y="324"/>
                  </a:lnTo>
                  <a:lnTo>
                    <a:pt x="198" y="328"/>
                  </a:lnTo>
                  <a:lnTo>
                    <a:pt x="198" y="336"/>
                  </a:lnTo>
                  <a:lnTo>
                    <a:pt x="198" y="428"/>
                  </a:lnTo>
                  <a:close/>
                  <a:moveTo>
                    <a:pt x="274" y="428"/>
                  </a:moveTo>
                  <a:lnTo>
                    <a:pt x="274" y="428"/>
                  </a:lnTo>
                  <a:lnTo>
                    <a:pt x="272" y="436"/>
                  </a:lnTo>
                  <a:lnTo>
                    <a:pt x="268" y="442"/>
                  </a:lnTo>
                  <a:lnTo>
                    <a:pt x="262" y="444"/>
                  </a:lnTo>
                  <a:lnTo>
                    <a:pt x="256" y="446"/>
                  </a:lnTo>
                  <a:lnTo>
                    <a:pt x="256" y="446"/>
                  </a:lnTo>
                  <a:lnTo>
                    <a:pt x="250" y="444"/>
                  </a:lnTo>
                  <a:lnTo>
                    <a:pt x="244" y="442"/>
                  </a:lnTo>
                  <a:lnTo>
                    <a:pt x="240" y="436"/>
                  </a:lnTo>
                  <a:lnTo>
                    <a:pt x="240" y="428"/>
                  </a:lnTo>
                  <a:lnTo>
                    <a:pt x="240" y="336"/>
                  </a:lnTo>
                  <a:lnTo>
                    <a:pt x="240" y="336"/>
                  </a:lnTo>
                  <a:lnTo>
                    <a:pt x="240" y="328"/>
                  </a:lnTo>
                  <a:lnTo>
                    <a:pt x="244" y="324"/>
                  </a:lnTo>
                  <a:lnTo>
                    <a:pt x="250" y="320"/>
                  </a:lnTo>
                  <a:lnTo>
                    <a:pt x="256" y="318"/>
                  </a:lnTo>
                  <a:lnTo>
                    <a:pt x="256" y="318"/>
                  </a:lnTo>
                  <a:lnTo>
                    <a:pt x="262" y="320"/>
                  </a:lnTo>
                  <a:lnTo>
                    <a:pt x="268" y="324"/>
                  </a:lnTo>
                  <a:lnTo>
                    <a:pt x="272" y="328"/>
                  </a:lnTo>
                  <a:lnTo>
                    <a:pt x="274" y="336"/>
                  </a:lnTo>
                  <a:lnTo>
                    <a:pt x="274" y="428"/>
                  </a:lnTo>
                  <a:close/>
                  <a:moveTo>
                    <a:pt x="348" y="428"/>
                  </a:moveTo>
                  <a:lnTo>
                    <a:pt x="348" y="428"/>
                  </a:lnTo>
                  <a:lnTo>
                    <a:pt x="346" y="436"/>
                  </a:lnTo>
                  <a:lnTo>
                    <a:pt x="342" y="442"/>
                  </a:lnTo>
                  <a:lnTo>
                    <a:pt x="338" y="444"/>
                  </a:lnTo>
                  <a:lnTo>
                    <a:pt x="330" y="446"/>
                  </a:lnTo>
                  <a:lnTo>
                    <a:pt x="330" y="446"/>
                  </a:lnTo>
                  <a:lnTo>
                    <a:pt x="324" y="444"/>
                  </a:lnTo>
                  <a:lnTo>
                    <a:pt x="318" y="442"/>
                  </a:lnTo>
                  <a:lnTo>
                    <a:pt x="314" y="436"/>
                  </a:lnTo>
                  <a:lnTo>
                    <a:pt x="314" y="428"/>
                  </a:lnTo>
                  <a:lnTo>
                    <a:pt x="314" y="336"/>
                  </a:lnTo>
                  <a:lnTo>
                    <a:pt x="314" y="336"/>
                  </a:lnTo>
                  <a:lnTo>
                    <a:pt x="314" y="328"/>
                  </a:lnTo>
                  <a:lnTo>
                    <a:pt x="318" y="324"/>
                  </a:lnTo>
                  <a:lnTo>
                    <a:pt x="324" y="320"/>
                  </a:lnTo>
                  <a:lnTo>
                    <a:pt x="330" y="318"/>
                  </a:lnTo>
                  <a:lnTo>
                    <a:pt x="330" y="318"/>
                  </a:lnTo>
                  <a:lnTo>
                    <a:pt x="338" y="320"/>
                  </a:lnTo>
                  <a:lnTo>
                    <a:pt x="342" y="324"/>
                  </a:lnTo>
                  <a:lnTo>
                    <a:pt x="346" y="328"/>
                  </a:lnTo>
                  <a:lnTo>
                    <a:pt x="348" y="336"/>
                  </a:lnTo>
                  <a:lnTo>
                    <a:pt x="348" y="428"/>
                  </a:lnTo>
                  <a:close/>
                  <a:moveTo>
                    <a:pt x="626" y="390"/>
                  </a:moveTo>
                  <a:lnTo>
                    <a:pt x="626" y="390"/>
                  </a:lnTo>
                  <a:lnTo>
                    <a:pt x="618" y="390"/>
                  </a:lnTo>
                  <a:lnTo>
                    <a:pt x="610" y="386"/>
                  </a:lnTo>
                  <a:lnTo>
                    <a:pt x="604" y="384"/>
                  </a:lnTo>
                  <a:lnTo>
                    <a:pt x="598" y="378"/>
                  </a:lnTo>
                  <a:lnTo>
                    <a:pt x="592" y="372"/>
                  </a:lnTo>
                  <a:lnTo>
                    <a:pt x="588" y="366"/>
                  </a:lnTo>
                  <a:lnTo>
                    <a:pt x="586" y="358"/>
                  </a:lnTo>
                  <a:lnTo>
                    <a:pt x="586" y="350"/>
                  </a:lnTo>
                  <a:lnTo>
                    <a:pt x="586" y="350"/>
                  </a:lnTo>
                  <a:lnTo>
                    <a:pt x="586" y="342"/>
                  </a:lnTo>
                  <a:lnTo>
                    <a:pt x="588" y="334"/>
                  </a:lnTo>
                  <a:lnTo>
                    <a:pt x="592" y="326"/>
                  </a:lnTo>
                  <a:lnTo>
                    <a:pt x="598" y="320"/>
                  </a:lnTo>
                  <a:lnTo>
                    <a:pt x="604" y="316"/>
                  </a:lnTo>
                  <a:lnTo>
                    <a:pt x="610" y="312"/>
                  </a:lnTo>
                  <a:lnTo>
                    <a:pt x="618" y="310"/>
                  </a:lnTo>
                  <a:lnTo>
                    <a:pt x="626" y="308"/>
                  </a:lnTo>
                  <a:lnTo>
                    <a:pt x="626" y="308"/>
                  </a:lnTo>
                  <a:lnTo>
                    <a:pt x="634" y="310"/>
                  </a:lnTo>
                  <a:lnTo>
                    <a:pt x="642" y="312"/>
                  </a:lnTo>
                  <a:lnTo>
                    <a:pt x="648" y="316"/>
                  </a:lnTo>
                  <a:lnTo>
                    <a:pt x="654" y="320"/>
                  </a:lnTo>
                  <a:lnTo>
                    <a:pt x="660" y="326"/>
                  </a:lnTo>
                  <a:lnTo>
                    <a:pt x="664" y="334"/>
                  </a:lnTo>
                  <a:lnTo>
                    <a:pt x="666" y="342"/>
                  </a:lnTo>
                  <a:lnTo>
                    <a:pt x="666" y="350"/>
                  </a:lnTo>
                  <a:lnTo>
                    <a:pt x="666" y="350"/>
                  </a:lnTo>
                  <a:lnTo>
                    <a:pt x="666" y="358"/>
                  </a:lnTo>
                  <a:lnTo>
                    <a:pt x="664" y="366"/>
                  </a:lnTo>
                  <a:lnTo>
                    <a:pt x="660" y="372"/>
                  </a:lnTo>
                  <a:lnTo>
                    <a:pt x="654" y="378"/>
                  </a:lnTo>
                  <a:lnTo>
                    <a:pt x="648" y="384"/>
                  </a:lnTo>
                  <a:lnTo>
                    <a:pt x="642" y="386"/>
                  </a:lnTo>
                  <a:lnTo>
                    <a:pt x="634" y="390"/>
                  </a:lnTo>
                  <a:lnTo>
                    <a:pt x="626" y="390"/>
                  </a:lnTo>
                  <a:lnTo>
                    <a:pt x="626" y="390"/>
                  </a:lnTo>
                  <a:close/>
                </a:path>
              </a:pathLst>
            </a:custGeom>
            <a:solidFill>
              <a:srgbClr val="0099CC"/>
            </a:solidFill>
            <a:ln w="9525">
              <a:noFill/>
              <a:round/>
            </a:ln>
          </p:spPr>
          <p:txBody>
            <a:bodyPr vert="horz" wrap="square" lIns="68598" tIns="34299" rIns="68598" bIns="34299" numCol="1" anchor="t" anchorCtr="0" compatLnSpc="1"/>
            <a:lstStyle/>
            <a:p>
              <a:endParaRPr lang="zh-CN" altLang="en-US" sz="135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09" name="TextBox 1"/>
            <p:cNvSpPr txBox="1"/>
            <p:nvPr>
              <p:custDataLst>
                <p:tags r:id="rId68"/>
              </p:custDataLst>
            </p:nvPr>
          </p:nvSpPr>
          <p:spPr>
            <a:xfrm>
              <a:off x="1296128" y="3090783"/>
              <a:ext cx="3031914" cy="516949"/>
            </a:xfrm>
            <a:prstGeom prst="rect">
              <a:avLst/>
            </a:prstGeom>
            <a:noFill/>
          </p:spPr>
          <p:txBody>
            <a:bodyPr wrap="square" lIns="0" tIns="0" rIns="0" rtlCol="0">
              <a:spAutoFit/>
            </a:bodyPr>
            <a:lstStyle/>
            <a:p>
              <a:pPr algn="ctr">
                <a:lnSpc>
                  <a:spcPts val="1500"/>
                </a:lnSpc>
                <a:tabLst>
                  <a:tab pos="190500" algn="l"/>
                </a:tabLst>
              </a:pPr>
              <a:r>
                <a:rPr lang="en-US" altLang="zh-CN" sz="1200" dirty="0">
                  <a:solidFill>
                    <a:srgbClr val="0099CC"/>
                  </a:solidFill>
                  <a:latin typeface="Arial Black" panose="020B0A04020102020204" pitchFamily="34" charset="0"/>
                  <a:cs typeface="Arial Black" panose="020B0A04020102020204" pitchFamily="34" charset="0"/>
                </a:rPr>
                <a:t>Server</a:t>
              </a:r>
              <a:r>
                <a:rPr lang="en-US" altLang="zh-CN" sz="1200" dirty="0">
                  <a:solidFill>
                    <a:srgbClr val="0099CC"/>
                  </a:solidFill>
                  <a:latin typeface="Times New Roman" panose="02020603050405020304" pitchFamily="18" charset="0"/>
                  <a:cs typeface="Times New Roman" panose="02020603050405020304" pitchFamily="18" charset="0"/>
                </a:rPr>
                <a:t> </a:t>
              </a:r>
              <a:r>
                <a:rPr lang="en-US" altLang="zh-CN" sz="1200" dirty="0">
                  <a:solidFill>
                    <a:srgbClr val="0099CC"/>
                  </a:solidFill>
                  <a:latin typeface="Arial Black" panose="020B0A04020102020204" pitchFamily="34" charset="0"/>
                  <a:cs typeface="Times New Roman" panose="02020603050405020304" pitchFamily="18" charset="0"/>
                </a:rPr>
                <a:t>3</a:t>
              </a:r>
              <a:endParaRPr lang="en-US" altLang="zh-CN" sz="1200" dirty="0">
                <a:solidFill>
                  <a:srgbClr val="0099CC"/>
                </a:solidFill>
                <a:latin typeface="Arial Black" panose="020B0A04020102020204" pitchFamily="34" charset="0"/>
                <a:cs typeface="Arial Black" panose="020B0A04020102020204" pitchFamily="34" charset="0"/>
              </a:endParaRPr>
            </a:p>
          </p:txBody>
        </p:sp>
      </p:grpSp>
      <p:sp>
        <p:nvSpPr>
          <p:cNvPr id="8" name="等腰三角形 7"/>
          <p:cNvSpPr/>
          <p:nvPr>
            <p:custDataLst>
              <p:tags r:id="rId69"/>
            </p:custDataLst>
          </p:nvPr>
        </p:nvSpPr>
        <p:spPr>
          <a:xfrm>
            <a:off x="232828" y="3731495"/>
            <a:ext cx="9290074" cy="386965"/>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13" name="组合 212"/>
          <p:cNvGrpSpPr/>
          <p:nvPr/>
        </p:nvGrpSpPr>
        <p:grpSpPr>
          <a:xfrm>
            <a:off x="10565229" y="3201961"/>
            <a:ext cx="1325547" cy="597523"/>
            <a:chOff x="1296128" y="2264731"/>
            <a:chExt cx="3031914" cy="1343002"/>
          </a:xfrm>
        </p:grpSpPr>
        <p:sp>
          <p:nvSpPr>
            <p:cNvPr id="214" name="Freeform 20"/>
            <p:cNvSpPr>
              <a:spLocks noEditPoints="1"/>
            </p:cNvSpPr>
            <p:nvPr>
              <p:custDataLst>
                <p:tags r:id="rId70"/>
              </p:custDataLst>
            </p:nvPr>
          </p:nvSpPr>
          <p:spPr bwMode="auto">
            <a:xfrm>
              <a:off x="1296128" y="2264731"/>
              <a:ext cx="3031914" cy="709089"/>
            </a:xfrm>
            <a:custGeom>
              <a:avLst/>
              <a:gdLst/>
              <a:ahLst/>
              <a:cxnLst>
                <a:cxn ang="0">
                  <a:pos x="722" y="224"/>
                </a:cxn>
                <a:cxn ang="0">
                  <a:pos x="734" y="212"/>
                </a:cxn>
                <a:cxn ang="0">
                  <a:pos x="646" y="22"/>
                </a:cxn>
                <a:cxn ang="0">
                  <a:pos x="634" y="6"/>
                </a:cxn>
                <a:cxn ang="0">
                  <a:pos x="132" y="0"/>
                </a:cxn>
                <a:cxn ang="0">
                  <a:pos x="114" y="6"/>
                </a:cxn>
                <a:cxn ang="0">
                  <a:pos x="102" y="22"/>
                </a:cxn>
                <a:cxn ang="0">
                  <a:pos x="14" y="212"/>
                </a:cxn>
                <a:cxn ang="0">
                  <a:pos x="26" y="224"/>
                </a:cxn>
                <a:cxn ang="0">
                  <a:pos x="20" y="250"/>
                </a:cxn>
                <a:cxn ang="0">
                  <a:pos x="6" y="256"/>
                </a:cxn>
                <a:cxn ang="0">
                  <a:pos x="0" y="500"/>
                </a:cxn>
                <a:cxn ang="0">
                  <a:pos x="6" y="514"/>
                </a:cxn>
                <a:cxn ang="0">
                  <a:pos x="728" y="520"/>
                </a:cxn>
                <a:cxn ang="0">
                  <a:pos x="742" y="514"/>
                </a:cxn>
                <a:cxn ang="0">
                  <a:pos x="748" y="272"/>
                </a:cxn>
                <a:cxn ang="0">
                  <a:pos x="742" y="256"/>
                </a:cxn>
                <a:cxn ang="0">
                  <a:pos x="728" y="250"/>
                </a:cxn>
                <a:cxn ang="0">
                  <a:pos x="124" y="436"/>
                </a:cxn>
                <a:cxn ang="0">
                  <a:pos x="108" y="446"/>
                </a:cxn>
                <a:cxn ang="0">
                  <a:pos x="96" y="442"/>
                </a:cxn>
                <a:cxn ang="0">
                  <a:pos x="90" y="336"/>
                </a:cxn>
                <a:cxn ang="0">
                  <a:pos x="96" y="324"/>
                </a:cxn>
                <a:cxn ang="0">
                  <a:pos x="108" y="318"/>
                </a:cxn>
                <a:cxn ang="0">
                  <a:pos x="124" y="328"/>
                </a:cxn>
                <a:cxn ang="0">
                  <a:pos x="198" y="428"/>
                </a:cxn>
                <a:cxn ang="0">
                  <a:pos x="194" y="442"/>
                </a:cxn>
                <a:cxn ang="0">
                  <a:pos x="182" y="446"/>
                </a:cxn>
                <a:cxn ang="0">
                  <a:pos x="166" y="436"/>
                </a:cxn>
                <a:cxn ang="0">
                  <a:pos x="164" y="336"/>
                </a:cxn>
                <a:cxn ang="0">
                  <a:pos x="176" y="320"/>
                </a:cxn>
                <a:cxn ang="0">
                  <a:pos x="188" y="320"/>
                </a:cxn>
                <a:cxn ang="0">
                  <a:pos x="198" y="336"/>
                </a:cxn>
                <a:cxn ang="0">
                  <a:pos x="274" y="428"/>
                </a:cxn>
                <a:cxn ang="0">
                  <a:pos x="262" y="444"/>
                </a:cxn>
                <a:cxn ang="0">
                  <a:pos x="250" y="444"/>
                </a:cxn>
                <a:cxn ang="0">
                  <a:pos x="240" y="428"/>
                </a:cxn>
                <a:cxn ang="0">
                  <a:pos x="240" y="328"/>
                </a:cxn>
                <a:cxn ang="0">
                  <a:pos x="256" y="318"/>
                </a:cxn>
                <a:cxn ang="0">
                  <a:pos x="268" y="324"/>
                </a:cxn>
                <a:cxn ang="0">
                  <a:pos x="274" y="428"/>
                </a:cxn>
                <a:cxn ang="0">
                  <a:pos x="346" y="436"/>
                </a:cxn>
                <a:cxn ang="0">
                  <a:pos x="330" y="446"/>
                </a:cxn>
                <a:cxn ang="0">
                  <a:pos x="318" y="442"/>
                </a:cxn>
                <a:cxn ang="0">
                  <a:pos x="314" y="336"/>
                </a:cxn>
                <a:cxn ang="0">
                  <a:pos x="318" y="324"/>
                </a:cxn>
                <a:cxn ang="0">
                  <a:pos x="330" y="318"/>
                </a:cxn>
                <a:cxn ang="0">
                  <a:pos x="346" y="328"/>
                </a:cxn>
                <a:cxn ang="0">
                  <a:pos x="626" y="390"/>
                </a:cxn>
                <a:cxn ang="0">
                  <a:pos x="610" y="386"/>
                </a:cxn>
                <a:cxn ang="0">
                  <a:pos x="592" y="372"/>
                </a:cxn>
                <a:cxn ang="0">
                  <a:pos x="586" y="350"/>
                </a:cxn>
                <a:cxn ang="0">
                  <a:pos x="588" y="334"/>
                </a:cxn>
                <a:cxn ang="0">
                  <a:pos x="604" y="316"/>
                </a:cxn>
                <a:cxn ang="0">
                  <a:pos x="626" y="308"/>
                </a:cxn>
                <a:cxn ang="0">
                  <a:pos x="642" y="312"/>
                </a:cxn>
                <a:cxn ang="0">
                  <a:pos x="660" y="326"/>
                </a:cxn>
                <a:cxn ang="0">
                  <a:pos x="666" y="350"/>
                </a:cxn>
                <a:cxn ang="0">
                  <a:pos x="664" y="366"/>
                </a:cxn>
                <a:cxn ang="0">
                  <a:pos x="648" y="384"/>
                </a:cxn>
                <a:cxn ang="0">
                  <a:pos x="626" y="390"/>
                </a:cxn>
              </a:cxnLst>
              <a:rect l="0" t="0" r="r" b="b"/>
              <a:pathLst>
                <a:path w="748" h="520">
                  <a:moveTo>
                    <a:pt x="26" y="224"/>
                  </a:moveTo>
                  <a:lnTo>
                    <a:pt x="722" y="224"/>
                  </a:lnTo>
                  <a:lnTo>
                    <a:pt x="722" y="224"/>
                  </a:lnTo>
                  <a:lnTo>
                    <a:pt x="728" y="222"/>
                  </a:lnTo>
                  <a:lnTo>
                    <a:pt x="732" y="218"/>
                  </a:lnTo>
                  <a:lnTo>
                    <a:pt x="734" y="212"/>
                  </a:lnTo>
                  <a:lnTo>
                    <a:pt x="732" y="204"/>
                  </a:lnTo>
                  <a:lnTo>
                    <a:pt x="732" y="204"/>
                  </a:lnTo>
                  <a:lnTo>
                    <a:pt x="646" y="22"/>
                  </a:lnTo>
                  <a:lnTo>
                    <a:pt x="646" y="22"/>
                  </a:lnTo>
                  <a:lnTo>
                    <a:pt x="640" y="14"/>
                  </a:lnTo>
                  <a:lnTo>
                    <a:pt x="634" y="6"/>
                  </a:lnTo>
                  <a:lnTo>
                    <a:pt x="626" y="2"/>
                  </a:lnTo>
                  <a:lnTo>
                    <a:pt x="616" y="0"/>
                  </a:lnTo>
                  <a:lnTo>
                    <a:pt x="132" y="0"/>
                  </a:lnTo>
                  <a:lnTo>
                    <a:pt x="132" y="0"/>
                  </a:lnTo>
                  <a:lnTo>
                    <a:pt x="122" y="2"/>
                  </a:lnTo>
                  <a:lnTo>
                    <a:pt x="114" y="6"/>
                  </a:lnTo>
                  <a:lnTo>
                    <a:pt x="108" y="14"/>
                  </a:lnTo>
                  <a:lnTo>
                    <a:pt x="102" y="22"/>
                  </a:lnTo>
                  <a:lnTo>
                    <a:pt x="102" y="22"/>
                  </a:lnTo>
                  <a:lnTo>
                    <a:pt x="14" y="204"/>
                  </a:lnTo>
                  <a:lnTo>
                    <a:pt x="14" y="204"/>
                  </a:lnTo>
                  <a:lnTo>
                    <a:pt x="14" y="212"/>
                  </a:lnTo>
                  <a:lnTo>
                    <a:pt x="16" y="218"/>
                  </a:lnTo>
                  <a:lnTo>
                    <a:pt x="20" y="222"/>
                  </a:lnTo>
                  <a:lnTo>
                    <a:pt x="26" y="224"/>
                  </a:lnTo>
                  <a:lnTo>
                    <a:pt x="26" y="224"/>
                  </a:lnTo>
                  <a:close/>
                  <a:moveTo>
                    <a:pt x="728" y="250"/>
                  </a:moveTo>
                  <a:lnTo>
                    <a:pt x="20" y="250"/>
                  </a:lnTo>
                  <a:lnTo>
                    <a:pt x="20" y="250"/>
                  </a:lnTo>
                  <a:lnTo>
                    <a:pt x="12" y="252"/>
                  </a:lnTo>
                  <a:lnTo>
                    <a:pt x="6" y="256"/>
                  </a:lnTo>
                  <a:lnTo>
                    <a:pt x="2" y="264"/>
                  </a:lnTo>
                  <a:lnTo>
                    <a:pt x="0" y="272"/>
                  </a:lnTo>
                  <a:lnTo>
                    <a:pt x="0" y="500"/>
                  </a:lnTo>
                  <a:lnTo>
                    <a:pt x="0" y="500"/>
                  </a:lnTo>
                  <a:lnTo>
                    <a:pt x="2" y="508"/>
                  </a:lnTo>
                  <a:lnTo>
                    <a:pt x="6" y="514"/>
                  </a:lnTo>
                  <a:lnTo>
                    <a:pt x="12" y="518"/>
                  </a:lnTo>
                  <a:lnTo>
                    <a:pt x="20" y="520"/>
                  </a:lnTo>
                  <a:lnTo>
                    <a:pt x="728" y="520"/>
                  </a:lnTo>
                  <a:lnTo>
                    <a:pt x="728" y="520"/>
                  </a:lnTo>
                  <a:lnTo>
                    <a:pt x="736" y="518"/>
                  </a:lnTo>
                  <a:lnTo>
                    <a:pt x="742" y="514"/>
                  </a:lnTo>
                  <a:lnTo>
                    <a:pt x="746" y="508"/>
                  </a:lnTo>
                  <a:lnTo>
                    <a:pt x="748" y="500"/>
                  </a:lnTo>
                  <a:lnTo>
                    <a:pt x="748" y="272"/>
                  </a:lnTo>
                  <a:lnTo>
                    <a:pt x="748" y="272"/>
                  </a:lnTo>
                  <a:lnTo>
                    <a:pt x="746" y="264"/>
                  </a:lnTo>
                  <a:lnTo>
                    <a:pt x="742" y="256"/>
                  </a:lnTo>
                  <a:lnTo>
                    <a:pt x="736" y="252"/>
                  </a:lnTo>
                  <a:lnTo>
                    <a:pt x="728" y="250"/>
                  </a:lnTo>
                  <a:lnTo>
                    <a:pt x="728" y="250"/>
                  </a:lnTo>
                  <a:close/>
                  <a:moveTo>
                    <a:pt x="124" y="428"/>
                  </a:moveTo>
                  <a:lnTo>
                    <a:pt x="124" y="428"/>
                  </a:lnTo>
                  <a:lnTo>
                    <a:pt x="124" y="436"/>
                  </a:lnTo>
                  <a:lnTo>
                    <a:pt x="120" y="442"/>
                  </a:lnTo>
                  <a:lnTo>
                    <a:pt x="114" y="444"/>
                  </a:lnTo>
                  <a:lnTo>
                    <a:pt x="108" y="446"/>
                  </a:lnTo>
                  <a:lnTo>
                    <a:pt x="108" y="446"/>
                  </a:lnTo>
                  <a:lnTo>
                    <a:pt x="102" y="444"/>
                  </a:lnTo>
                  <a:lnTo>
                    <a:pt x="96" y="442"/>
                  </a:lnTo>
                  <a:lnTo>
                    <a:pt x="92" y="436"/>
                  </a:lnTo>
                  <a:lnTo>
                    <a:pt x="90" y="428"/>
                  </a:lnTo>
                  <a:lnTo>
                    <a:pt x="90" y="336"/>
                  </a:lnTo>
                  <a:lnTo>
                    <a:pt x="90" y="336"/>
                  </a:lnTo>
                  <a:lnTo>
                    <a:pt x="92" y="328"/>
                  </a:lnTo>
                  <a:lnTo>
                    <a:pt x="96" y="324"/>
                  </a:lnTo>
                  <a:lnTo>
                    <a:pt x="102" y="320"/>
                  </a:lnTo>
                  <a:lnTo>
                    <a:pt x="108" y="318"/>
                  </a:lnTo>
                  <a:lnTo>
                    <a:pt x="108" y="318"/>
                  </a:lnTo>
                  <a:lnTo>
                    <a:pt x="114" y="320"/>
                  </a:lnTo>
                  <a:lnTo>
                    <a:pt x="120" y="324"/>
                  </a:lnTo>
                  <a:lnTo>
                    <a:pt x="124" y="328"/>
                  </a:lnTo>
                  <a:lnTo>
                    <a:pt x="124" y="336"/>
                  </a:lnTo>
                  <a:lnTo>
                    <a:pt x="124" y="428"/>
                  </a:lnTo>
                  <a:close/>
                  <a:moveTo>
                    <a:pt x="198" y="428"/>
                  </a:moveTo>
                  <a:lnTo>
                    <a:pt x="198" y="428"/>
                  </a:lnTo>
                  <a:lnTo>
                    <a:pt x="198" y="436"/>
                  </a:lnTo>
                  <a:lnTo>
                    <a:pt x="194" y="442"/>
                  </a:lnTo>
                  <a:lnTo>
                    <a:pt x="188" y="444"/>
                  </a:lnTo>
                  <a:lnTo>
                    <a:pt x="182" y="446"/>
                  </a:lnTo>
                  <a:lnTo>
                    <a:pt x="182" y="446"/>
                  </a:lnTo>
                  <a:lnTo>
                    <a:pt x="176" y="444"/>
                  </a:lnTo>
                  <a:lnTo>
                    <a:pt x="170" y="442"/>
                  </a:lnTo>
                  <a:lnTo>
                    <a:pt x="166" y="436"/>
                  </a:lnTo>
                  <a:lnTo>
                    <a:pt x="164" y="428"/>
                  </a:lnTo>
                  <a:lnTo>
                    <a:pt x="164" y="336"/>
                  </a:lnTo>
                  <a:lnTo>
                    <a:pt x="164" y="336"/>
                  </a:lnTo>
                  <a:lnTo>
                    <a:pt x="166" y="328"/>
                  </a:lnTo>
                  <a:lnTo>
                    <a:pt x="170" y="324"/>
                  </a:lnTo>
                  <a:lnTo>
                    <a:pt x="176" y="320"/>
                  </a:lnTo>
                  <a:lnTo>
                    <a:pt x="182" y="318"/>
                  </a:lnTo>
                  <a:lnTo>
                    <a:pt x="182" y="318"/>
                  </a:lnTo>
                  <a:lnTo>
                    <a:pt x="188" y="320"/>
                  </a:lnTo>
                  <a:lnTo>
                    <a:pt x="194" y="324"/>
                  </a:lnTo>
                  <a:lnTo>
                    <a:pt x="198" y="328"/>
                  </a:lnTo>
                  <a:lnTo>
                    <a:pt x="198" y="336"/>
                  </a:lnTo>
                  <a:lnTo>
                    <a:pt x="198" y="428"/>
                  </a:lnTo>
                  <a:close/>
                  <a:moveTo>
                    <a:pt x="274" y="428"/>
                  </a:moveTo>
                  <a:lnTo>
                    <a:pt x="274" y="428"/>
                  </a:lnTo>
                  <a:lnTo>
                    <a:pt x="272" y="436"/>
                  </a:lnTo>
                  <a:lnTo>
                    <a:pt x="268" y="442"/>
                  </a:lnTo>
                  <a:lnTo>
                    <a:pt x="262" y="444"/>
                  </a:lnTo>
                  <a:lnTo>
                    <a:pt x="256" y="446"/>
                  </a:lnTo>
                  <a:lnTo>
                    <a:pt x="256" y="446"/>
                  </a:lnTo>
                  <a:lnTo>
                    <a:pt x="250" y="444"/>
                  </a:lnTo>
                  <a:lnTo>
                    <a:pt x="244" y="442"/>
                  </a:lnTo>
                  <a:lnTo>
                    <a:pt x="240" y="436"/>
                  </a:lnTo>
                  <a:lnTo>
                    <a:pt x="240" y="428"/>
                  </a:lnTo>
                  <a:lnTo>
                    <a:pt x="240" y="336"/>
                  </a:lnTo>
                  <a:lnTo>
                    <a:pt x="240" y="336"/>
                  </a:lnTo>
                  <a:lnTo>
                    <a:pt x="240" y="328"/>
                  </a:lnTo>
                  <a:lnTo>
                    <a:pt x="244" y="324"/>
                  </a:lnTo>
                  <a:lnTo>
                    <a:pt x="250" y="320"/>
                  </a:lnTo>
                  <a:lnTo>
                    <a:pt x="256" y="318"/>
                  </a:lnTo>
                  <a:lnTo>
                    <a:pt x="256" y="318"/>
                  </a:lnTo>
                  <a:lnTo>
                    <a:pt x="262" y="320"/>
                  </a:lnTo>
                  <a:lnTo>
                    <a:pt x="268" y="324"/>
                  </a:lnTo>
                  <a:lnTo>
                    <a:pt x="272" y="328"/>
                  </a:lnTo>
                  <a:lnTo>
                    <a:pt x="274" y="336"/>
                  </a:lnTo>
                  <a:lnTo>
                    <a:pt x="274" y="428"/>
                  </a:lnTo>
                  <a:close/>
                  <a:moveTo>
                    <a:pt x="348" y="428"/>
                  </a:moveTo>
                  <a:lnTo>
                    <a:pt x="348" y="428"/>
                  </a:lnTo>
                  <a:lnTo>
                    <a:pt x="346" y="436"/>
                  </a:lnTo>
                  <a:lnTo>
                    <a:pt x="342" y="442"/>
                  </a:lnTo>
                  <a:lnTo>
                    <a:pt x="338" y="444"/>
                  </a:lnTo>
                  <a:lnTo>
                    <a:pt x="330" y="446"/>
                  </a:lnTo>
                  <a:lnTo>
                    <a:pt x="330" y="446"/>
                  </a:lnTo>
                  <a:lnTo>
                    <a:pt x="324" y="444"/>
                  </a:lnTo>
                  <a:lnTo>
                    <a:pt x="318" y="442"/>
                  </a:lnTo>
                  <a:lnTo>
                    <a:pt x="314" y="436"/>
                  </a:lnTo>
                  <a:lnTo>
                    <a:pt x="314" y="428"/>
                  </a:lnTo>
                  <a:lnTo>
                    <a:pt x="314" y="336"/>
                  </a:lnTo>
                  <a:lnTo>
                    <a:pt x="314" y="336"/>
                  </a:lnTo>
                  <a:lnTo>
                    <a:pt x="314" y="328"/>
                  </a:lnTo>
                  <a:lnTo>
                    <a:pt x="318" y="324"/>
                  </a:lnTo>
                  <a:lnTo>
                    <a:pt x="324" y="320"/>
                  </a:lnTo>
                  <a:lnTo>
                    <a:pt x="330" y="318"/>
                  </a:lnTo>
                  <a:lnTo>
                    <a:pt x="330" y="318"/>
                  </a:lnTo>
                  <a:lnTo>
                    <a:pt x="338" y="320"/>
                  </a:lnTo>
                  <a:lnTo>
                    <a:pt x="342" y="324"/>
                  </a:lnTo>
                  <a:lnTo>
                    <a:pt x="346" y="328"/>
                  </a:lnTo>
                  <a:lnTo>
                    <a:pt x="348" y="336"/>
                  </a:lnTo>
                  <a:lnTo>
                    <a:pt x="348" y="428"/>
                  </a:lnTo>
                  <a:close/>
                  <a:moveTo>
                    <a:pt x="626" y="390"/>
                  </a:moveTo>
                  <a:lnTo>
                    <a:pt x="626" y="390"/>
                  </a:lnTo>
                  <a:lnTo>
                    <a:pt x="618" y="390"/>
                  </a:lnTo>
                  <a:lnTo>
                    <a:pt x="610" y="386"/>
                  </a:lnTo>
                  <a:lnTo>
                    <a:pt x="604" y="384"/>
                  </a:lnTo>
                  <a:lnTo>
                    <a:pt x="598" y="378"/>
                  </a:lnTo>
                  <a:lnTo>
                    <a:pt x="592" y="372"/>
                  </a:lnTo>
                  <a:lnTo>
                    <a:pt x="588" y="366"/>
                  </a:lnTo>
                  <a:lnTo>
                    <a:pt x="586" y="358"/>
                  </a:lnTo>
                  <a:lnTo>
                    <a:pt x="586" y="350"/>
                  </a:lnTo>
                  <a:lnTo>
                    <a:pt x="586" y="350"/>
                  </a:lnTo>
                  <a:lnTo>
                    <a:pt x="586" y="342"/>
                  </a:lnTo>
                  <a:lnTo>
                    <a:pt x="588" y="334"/>
                  </a:lnTo>
                  <a:lnTo>
                    <a:pt x="592" y="326"/>
                  </a:lnTo>
                  <a:lnTo>
                    <a:pt x="598" y="320"/>
                  </a:lnTo>
                  <a:lnTo>
                    <a:pt x="604" y="316"/>
                  </a:lnTo>
                  <a:lnTo>
                    <a:pt x="610" y="312"/>
                  </a:lnTo>
                  <a:lnTo>
                    <a:pt x="618" y="310"/>
                  </a:lnTo>
                  <a:lnTo>
                    <a:pt x="626" y="308"/>
                  </a:lnTo>
                  <a:lnTo>
                    <a:pt x="626" y="308"/>
                  </a:lnTo>
                  <a:lnTo>
                    <a:pt x="634" y="310"/>
                  </a:lnTo>
                  <a:lnTo>
                    <a:pt x="642" y="312"/>
                  </a:lnTo>
                  <a:lnTo>
                    <a:pt x="648" y="316"/>
                  </a:lnTo>
                  <a:lnTo>
                    <a:pt x="654" y="320"/>
                  </a:lnTo>
                  <a:lnTo>
                    <a:pt x="660" y="326"/>
                  </a:lnTo>
                  <a:lnTo>
                    <a:pt x="664" y="334"/>
                  </a:lnTo>
                  <a:lnTo>
                    <a:pt x="666" y="342"/>
                  </a:lnTo>
                  <a:lnTo>
                    <a:pt x="666" y="350"/>
                  </a:lnTo>
                  <a:lnTo>
                    <a:pt x="666" y="350"/>
                  </a:lnTo>
                  <a:lnTo>
                    <a:pt x="666" y="358"/>
                  </a:lnTo>
                  <a:lnTo>
                    <a:pt x="664" y="366"/>
                  </a:lnTo>
                  <a:lnTo>
                    <a:pt x="660" y="372"/>
                  </a:lnTo>
                  <a:lnTo>
                    <a:pt x="654" y="378"/>
                  </a:lnTo>
                  <a:lnTo>
                    <a:pt x="648" y="384"/>
                  </a:lnTo>
                  <a:lnTo>
                    <a:pt x="642" y="386"/>
                  </a:lnTo>
                  <a:lnTo>
                    <a:pt x="634" y="390"/>
                  </a:lnTo>
                  <a:lnTo>
                    <a:pt x="626" y="390"/>
                  </a:lnTo>
                  <a:lnTo>
                    <a:pt x="626" y="390"/>
                  </a:lnTo>
                  <a:close/>
                </a:path>
              </a:pathLst>
            </a:custGeom>
            <a:solidFill>
              <a:srgbClr val="0099CC"/>
            </a:solidFill>
            <a:ln w="9525">
              <a:noFill/>
              <a:round/>
            </a:ln>
          </p:spPr>
          <p:txBody>
            <a:bodyPr vert="horz" wrap="square" lIns="68598" tIns="34299" rIns="68598" bIns="34299" numCol="1" anchor="t" anchorCtr="0" compatLnSpc="1"/>
            <a:lstStyle/>
            <a:p>
              <a:endParaRPr lang="zh-CN" altLang="en-US" sz="135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15" name="TextBox 1"/>
            <p:cNvSpPr txBox="1"/>
            <p:nvPr>
              <p:custDataLst>
                <p:tags r:id="rId71"/>
              </p:custDataLst>
            </p:nvPr>
          </p:nvSpPr>
          <p:spPr>
            <a:xfrm>
              <a:off x="1296128" y="3090784"/>
              <a:ext cx="3031914" cy="516949"/>
            </a:xfrm>
            <a:prstGeom prst="rect">
              <a:avLst/>
            </a:prstGeom>
            <a:noFill/>
          </p:spPr>
          <p:txBody>
            <a:bodyPr wrap="square" lIns="0" tIns="0" rIns="0" rtlCol="0">
              <a:spAutoFit/>
            </a:bodyPr>
            <a:lstStyle/>
            <a:p>
              <a:pPr algn="ctr">
                <a:lnSpc>
                  <a:spcPts val="1500"/>
                </a:lnSpc>
                <a:tabLst>
                  <a:tab pos="190500" algn="l"/>
                </a:tabLst>
              </a:pPr>
              <a:r>
                <a:rPr lang="en-US" altLang="zh-CN" sz="1200" dirty="0">
                  <a:solidFill>
                    <a:srgbClr val="0099CC"/>
                  </a:solidFill>
                  <a:latin typeface="Arial Black" panose="020B0A04020102020204" pitchFamily="34" charset="0"/>
                  <a:cs typeface="Arial Black" panose="020B0A04020102020204" pitchFamily="34" charset="0"/>
                </a:rPr>
                <a:t>Server</a:t>
              </a:r>
              <a:r>
                <a:rPr lang="en-US" altLang="zh-CN" sz="1200" dirty="0">
                  <a:solidFill>
                    <a:srgbClr val="0099CC"/>
                  </a:solidFill>
                  <a:latin typeface="Times New Roman" panose="02020603050405020304" pitchFamily="18" charset="0"/>
                  <a:cs typeface="Times New Roman" panose="02020603050405020304" pitchFamily="18" charset="0"/>
                </a:rPr>
                <a:t> </a:t>
              </a:r>
              <a:r>
                <a:rPr lang="en-US" altLang="zh-CN" sz="1200" dirty="0">
                  <a:solidFill>
                    <a:srgbClr val="0099CC"/>
                  </a:solidFill>
                  <a:latin typeface="Arial Black" panose="020B0A04020102020204" pitchFamily="34" charset="0"/>
                  <a:cs typeface="Arial Black" panose="020B0A04020102020204" pitchFamily="34" charset="0"/>
                </a:rPr>
                <a:t>N</a:t>
              </a:r>
              <a:endParaRPr lang="en-US" altLang="zh-CN" sz="1200" dirty="0">
                <a:solidFill>
                  <a:srgbClr val="0099CC"/>
                </a:solidFill>
                <a:latin typeface="Arial Black" panose="020B0A04020102020204" pitchFamily="34" charset="0"/>
                <a:cs typeface="Arial Black" panose="020B0A04020102020204" pitchFamily="34" charset="0"/>
              </a:endParaRPr>
            </a:p>
          </p:txBody>
        </p:sp>
      </p:grpSp>
      <p:grpSp>
        <p:nvGrpSpPr>
          <p:cNvPr id="216" name="组合 215"/>
          <p:cNvGrpSpPr/>
          <p:nvPr/>
        </p:nvGrpSpPr>
        <p:grpSpPr>
          <a:xfrm>
            <a:off x="10012320" y="3329371"/>
            <a:ext cx="359023" cy="60663"/>
            <a:chOff x="3124200" y="3932555"/>
            <a:chExt cx="504825" cy="105354"/>
          </a:xfrm>
          <a:effectLst>
            <a:outerShdw blurRad="50800" dist="38100" dir="2700000" algn="tl" rotWithShape="0">
              <a:prstClr val="black">
                <a:alpha val="40000"/>
              </a:prstClr>
            </a:outerShdw>
          </a:effectLst>
        </p:grpSpPr>
        <p:sp>
          <p:nvSpPr>
            <p:cNvPr id="217" name="Oval 20"/>
            <p:cNvSpPr>
              <a:spLocks noChangeArrowheads="1"/>
            </p:cNvSpPr>
            <p:nvPr>
              <p:custDataLst>
                <p:tags r:id="rId72"/>
              </p:custDataLst>
            </p:nvPr>
          </p:nvSpPr>
          <p:spPr bwMode="gray">
            <a:xfrm>
              <a:off x="3528060" y="3932555"/>
              <a:ext cx="100965" cy="99378"/>
            </a:xfrm>
            <a:prstGeom prst="ellipse">
              <a:avLst/>
            </a:prstGeom>
            <a:solidFill>
              <a:srgbClr val="0070C0"/>
            </a:solidFill>
            <a:ln>
              <a:noFill/>
            </a:ln>
          </p:spPr>
          <p:txBody>
            <a:bodyPr wrap="none" anchor="ctr"/>
            <a:lstStyle/>
            <a:p>
              <a:endParaRPr lang="zh-CN" altLang="en-US"/>
            </a:p>
          </p:txBody>
        </p:sp>
        <p:sp>
          <p:nvSpPr>
            <p:cNvPr id="218" name="Oval 26"/>
            <p:cNvSpPr>
              <a:spLocks noChangeArrowheads="1"/>
            </p:cNvSpPr>
            <p:nvPr>
              <p:custDataLst>
                <p:tags r:id="rId73"/>
              </p:custDataLst>
            </p:nvPr>
          </p:nvSpPr>
          <p:spPr bwMode="gray">
            <a:xfrm>
              <a:off x="3326130" y="3932555"/>
              <a:ext cx="100965" cy="99378"/>
            </a:xfrm>
            <a:prstGeom prst="ellipse">
              <a:avLst/>
            </a:prstGeom>
            <a:solidFill>
              <a:srgbClr val="0070C0"/>
            </a:solidFill>
            <a:ln>
              <a:noFill/>
            </a:ln>
          </p:spPr>
          <p:txBody>
            <a:bodyPr wrap="none" anchor="ctr"/>
            <a:lstStyle/>
            <a:p>
              <a:endParaRPr lang="zh-CN" altLang="en-US"/>
            </a:p>
          </p:txBody>
        </p:sp>
        <p:sp>
          <p:nvSpPr>
            <p:cNvPr id="219" name="Oval 28"/>
            <p:cNvSpPr>
              <a:spLocks noChangeArrowheads="1"/>
            </p:cNvSpPr>
            <p:nvPr>
              <p:custDataLst>
                <p:tags r:id="rId74"/>
              </p:custDataLst>
            </p:nvPr>
          </p:nvSpPr>
          <p:spPr bwMode="gray">
            <a:xfrm>
              <a:off x="3124200" y="3938531"/>
              <a:ext cx="100966" cy="99378"/>
            </a:xfrm>
            <a:prstGeom prst="ellipse">
              <a:avLst/>
            </a:prstGeom>
            <a:solidFill>
              <a:srgbClr val="0070C0"/>
            </a:solidFill>
            <a:ln>
              <a:noFill/>
            </a:ln>
          </p:spPr>
          <p:txBody>
            <a:bodyPr wrap="none" anchor="ctr"/>
            <a:lstStyle/>
            <a:p>
              <a:endParaRPr lang="zh-CN" altLang="en-US"/>
            </a:p>
          </p:txBody>
        </p:sp>
      </p:grpSp>
      <p:sp>
        <p:nvSpPr>
          <p:cNvPr id="220" name="圆柱形 219"/>
          <p:cNvSpPr/>
          <p:nvPr>
            <p:custDataLst>
              <p:tags r:id="rId75"/>
            </p:custDataLst>
          </p:nvPr>
        </p:nvSpPr>
        <p:spPr>
          <a:xfrm rot="16200000">
            <a:off x="5765892" y="-3018657"/>
            <a:ext cx="562003" cy="9298919"/>
          </a:xfrm>
          <a:prstGeom prst="can">
            <a:avLst/>
          </a:prstGeom>
          <a:solidFill>
            <a:srgbClr val="FFC000"/>
          </a:solidFill>
          <a:ln w="9525" cap="flat" cmpd="sng" algn="ctr">
            <a:solidFill>
              <a:sysClr val="window" lastClr="FFFFFF"/>
            </a:solidFill>
            <a:prstDash val="solid"/>
          </a:ln>
          <a:effectLst>
            <a:outerShdw blurRad="40000" dist="23000" dir="5400000" rotWithShape="0">
              <a:srgbClr val="000000">
                <a:alpha val="35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21" name="圆角矩形 220"/>
          <p:cNvSpPr/>
          <p:nvPr>
            <p:custDataLst>
              <p:tags r:id="rId76"/>
            </p:custDataLst>
          </p:nvPr>
        </p:nvSpPr>
        <p:spPr>
          <a:xfrm>
            <a:off x="2004305" y="1349801"/>
            <a:ext cx="8187527" cy="56200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tx1"/>
                </a:solidFill>
                <a:latin typeface="微软雅黑" panose="020B0503020204020204" pitchFamily="34" charset="-122"/>
                <a:ea typeface="微软雅黑" panose="020B0503020204020204" pitchFamily="34" charset="-122"/>
              </a:rPr>
              <a:t>TCP/IP</a:t>
            </a:r>
            <a:r>
              <a:rPr lang="zh-CN" altLang="en-US" sz="1600" b="1" dirty="0">
                <a:solidFill>
                  <a:schemeClr val="tx1"/>
                </a:solidFill>
                <a:latin typeface="微软雅黑" panose="020B0503020204020204" pitchFamily="34" charset="-122"/>
                <a:ea typeface="微软雅黑" panose="020B0503020204020204" pitchFamily="34" charset="-122"/>
              </a:rPr>
              <a:t>网络  </a:t>
            </a:r>
            <a:r>
              <a:rPr lang="en-US" altLang="zh-CN" sz="1600" b="1" dirty="0">
                <a:solidFill>
                  <a:schemeClr val="tx1"/>
                </a:solidFill>
                <a:latin typeface="微软雅黑" panose="020B0503020204020204" pitchFamily="34" charset="-122"/>
                <a:ea typeface="微软雅黑" panose="020B0503020204020204" pitchFamily="34" charset="-122"/>
              </a:rPr>
              <a:t>or  IB</a:t>
            </a:r>
            <a:r>
              <a:rPr lang="zh-CN" altLang="en-US" sz="1600" b="1" dirty="0">
                <a:solidFill>
                  <a:schemeClr val="tx1"/>
                </a:solidFill>
                <a:latin typeface="微软雅黑" panose="020B0503020204020204" pitchFamily="34" charset="-122"/>
                <a:ea typeface="微软雅黑" panose="020B0503020204020204" pitchFamily="34" charset="-122"/>
              </a:rPr>
              <a:t>网络</a:t>
            </a:r>
            <a:endParaRPr lang="en-US" altLang="zh-CN" sz="1600" b="1" dirty="0">
              <a:solidFill>
                <a:schemeClr val="tx1"/>
              </a:solidFill>
              <a:latin typeface="微软雅黑" panose="020B0503020204020204" pitchFamily="34" charset="-122"/>
              <a:ea typeface="微软雅黑" panose="020B0503020204020204" pitchFamily="34" charset="-122"/>
            </a:endParaRPr>
          </a:p>
        </p:txBody>
      </p:sp>
      <p:cxnSp>
        <p:nvCxnSpPr>
          <p:cNvPr id="222" name="直接箭头连接符 221"/>
          <p:cNvCxnSpPr/>
          <p:nvPr>
            <p:custDataLst>
              <p:tags r:id="rId77"/>
            </p:custDataLst>
          </p:nvPr>
        </p:nvCxnSpPr>
        <p:spPr bwMode="auto">
          <a:xfrm>
            <a:off x="2756744" y="1978987"/>
            <a:ext cx="0" cy="360000"/>
          </a:xfrm>
          <a:prstGeom prst="straightConnector1">
            <a:avLst/>
          </a:prstGeom>
          <a:noFill/>
          <a:ln w="19050">
            <a:solidFill>
              <a:schemeClr val="tx1"/>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3" name="直接箭头连接符 222"/>
          <p:cNvCxnSpPr/>
          <p:nvPr>
            <p:custDataLst>
              <p:tags r:id="rId78"/>
            </p:custDataLst>
          </p:nvPr>
        </p:nvCxnSpPr>
        <p:spPr bwMode="auto">
          <a:xfrm>
            <a:off x="2880569" y="1978987"/>
            <a:ext cx="0" cy="360000"/>
          </a:xfrm>
          <a:prstGeom prst="straightConnector1">
            <a:avLst/>
          </a:prstGeom>
          <a:noFill/>
          <a:ln w="19050">
            <a:solidFill>
              <a:schemeClr val="tx1"/>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4" name="直接箭头连接符 223"/>
          <p:cNvCxnSpPr/>
          <p:nvPr>
            <p:custDataLst>
              <p:tags r:id="rId79"/>
            </p:custDataLst>
          </p:nvPr>
        </p:nvCxnSpPr>
        <p:spPr bwMode="auto">
          <a:xfrm>
            <a:off x="3023444" y="1978987"/>
            <a:ext cx="0" cy="360000"/>
          </a:xfrm>
          <a:prstGeom prst="straightConnector1">
            <a:avLst/>
          </a:prstGeom>
          <a:noFill/>
          <a:ln w="19050">
            <a:solidFill>
              <a:schemeClr val="tx1"/>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5" name="直接箭头连接符 224"/>
          <p:cNvCxnSpPr/>
          <p:nvPr>
            <p:custDataLst>
              <p:tags r:id="rId80"/>
            </p:custDataLst>
          </p:nvPr>
        </p:nvCxnSpPr>
        <p:spPr bwMode="auto">
          <a:xfrm>
            <a:off x="4428279" y="1970441"/>
            <a:ext cx="0" cy="360000"/>
          </a:xfrm>
          <a:prstGeom prst="straightConnector1">
            <a:avLst/>
          </a:prstGeom>
          <a:noFill/>
          <a:ln w="19050">
            <a:solidFill>
              <a:schemeClr val="tx1"/>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6" name="直接箭头连接符 225"/>
          <p:cNvCxnSpPr/>
          <p:nvPr>
            <p:custDataLst>
              <p:tags r:id="rId81"/>
            </p:custDataLst>
          </p:nvPr>
        </p:nvCxnSpPr>
        <p:spPr bwMode="auto">
          <a:xfrm>
            <a:off x="4552104" y="1970441"/>
            <a:ext cx="0" cy="360000"/>
          </a:xfrm>
          <a:prstGeom prst="straightConnector1">
            <a:avLst/>
          </a:prstGeom>
          <a:noFill/>
          <a:ln w="19050">
            <a:solidFill>
              <a:schemeClr val="tx1"/>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7" name="直接箭头连接符 226"/>
          <p:cNvCxnSpPr/>
          <p:nvPr>
            <p:custDataLst>
              <p:tags r:id="rId82"/>
            </p:custDataLst>
          </p:nvPr>
        </p:nvCxnSpPr>
        <p:spPr bwMode="auto">
          <a:xfrm>
            <a:off x="4694979" y="1970441"/>
            <a:ext cx="0" cy="360000"/>
          </a:xfrm>
          <a:prstGeom prst="straightConnector1">
            <a:avLst/>
          </a:prstGeom>
          <a:noFill/>
          <a:ln w="19050">
            <a:solidFill>
              <a:schemeClr val="tx1"/>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8" name="直接箭头连接符 227"/>
          <p:cNvCxnSpPr/>
          <p:nvPr>
            <p:custDataLst>
              <p:tags r:id="rId83"/>
            </p:custDataLst>
          </p:nvPr>
        </p:nvCxnSpPr>
        <p:spPr bwMode="auto">
          <a:xfrm>
            <a:off x="4837854" y="1970441"/>
            <a:ext cx="0" cy="360000"/>
          </a:xfrm>
          <a:prstGeom prst="straightConnector1">
            <a:avLst/>
          </a:prstGeom>
          <a:noFill/>
          <a:ln w="19050">
            <a:solidFill>
              <a:schemeClr val="tx1"/>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9" name="直接箭头连接符 228"/>
          <p:cNvCxnSpPr/>
          <p:nvPr>
            <p:custDataLst>
              <p:tags r:id="rId84"/>
            </p:custDataLst>
          </p:nvPr>
        </p:nvCxnSpPr>
        <p:spPr bwMode="auto">
          <a:xfrm>
            <a:off x="4961679" y="1970441"/>
            <a:ext cx="0" cy="360000"/>
          </a:xfrm>
          <a:prstGeom prst="straightConnector1">
            <a:avLst/>
          </a:prstGeom>
          <a:noFill/>
          <a:ln w="19050">
            <a:solidFill>
              <a:schemeClr val="tx1"/>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0" name="直接箭头连接符 229"/>
          <p:cNvCxnSpPr/>
          <p:nvPr>
            <p:custDataLst>
              <p:tags r:id="rId85"/>
            </p:custDataLst>
          </p:nvPr>
        </p:nvCxnSpPr>
        <p:spPr bwMode="auto">
          <a:xfrm>
            <a:off x="5104554" y="1970441"/>
            <a:ext cx="0" cy="360000"/>
          </a:xfrm>
          <a:prstGeom prst="straightConnector1">
            <a:avLst/>
          </a:prstGeom>
          <a:noFill/>
          <a:ln w="19050">
            <a:solidFill>
              <a:schemeClr val="tx1"/>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1" name="直接箭头连接符 230"/>
          <p:cNvCxnSpPr/>
          <p:nvPr>
            <p:custDataLst>
              <p:tags r:id="rId86"/>
            </p:custDataLst>
          </p:nvPr>
        </p:nvCxnSpPr>
        <p:spPr bwMode="auto">
          <a:xfrm>
            <a:off x="6914625" y="1978987"/>
            <a:ext cx="0" cy="360000"/>
          </a:xfrm>
          <a:prstGeom prst="straightConnector1">
            <a:avLst/>
          </a:prstGeom>
          <a:noFill/>
          <a:ln w="19050">
            <a:solidFill>
              <a:schemeClr val="tx1"/>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2" name="直接箭头连接符 231"/>
          <p:cNvCxnSpPr/>
          <p:nvPr>
            <p:custDataLst>
              <p:tags r:id="rId87"/>
            </p:custDataLst>
          </p:nvPr>
        </p:nvCxnSpPr>
        <p:spPr bwMode="auto">
          <a:xfrm>
            <a:off x="7038450" y="1978987"/>
            <a:ext cx="0" cy="360000"/>
          </a:xfrm>
          <a:prstGeom prst="straightConnector1">
            <a:avLst/>
          </a:prstGeom>
          <a:noFill/>
          <a:ln w="19050">
            <a:solidFill>
              <a:schemeClr val="tx1"/>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3" name="直接箭头连接符 232"/>
          <p:cNvCxnSpPr/>
          <p:nvPr>
            <p:custDataLst>
              <p:tags r:id="rId88"/>
            </p:custDataLst>
          </p:nvPr>
        </p:nvCxnSpPr>
        <p:spPr bwMode="auto">
          <a:xfrm>
            <a:off x="7181325" y="1978987"/>
            <a:ext cx="0" cy="360000"/>
          </a:xfrm>
          <a:prstGeom prst="straightConnector1">
            <a:avLst/>
          </a:prstGeom>
          <a:noFill/>
          <a:ln w="19050">
            <a:solidFill>
              <a:schemeClr val="tx1"/>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4" name="直接箭头连接符 233"/>
          <p:cNvCxnSpPr/>
          <p:nvPr>
            <p:custDataLst>
              <p:tags r:id="rId89"/>
            </p:custDataLst>
          </p:nvPr>
        </p:nvCxnSpPr>
        <p:spPr bwMode="auto">
          <a:xfrm>
            <a:off x="8759399" y="2000990"/>
            <a:ext cx="0" cy="360000"/>
          </a:xfrm>
          <a:prstGeom prst="straightConnector1">
            <a:avLst/>
          </a:prstGeom>
          <a:noFill/>
          <a:ln w="19050">
            <a:solidFill>
              <a:schemeClr val="tx1"/>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5" name="直接箭头连接符 234"/>
          <p:cNvCxnSpPr/>
          <p:nvPr>
            <p:custDataLst>
              <p:tags r:id="rId90"/>
            </p:custDataLst>
          </p:nvPr>
        </p:nvCxnSpPr>
        <p:spPr bwMode="auto">
          <a:xfrm>
            <a:off x="8883224" y="2000990"/>
            <a:ext cx="0" cy="360000"/>
          </a:xfrm>
          <a:prstGeom prst="straightConnector1">
            <a:avLst/>
          </a:prstGeom>
          <a:noFill/>
          <a:ln w="19050">
            <a:solidFill>
              <a:schemeClr val="tx1"/>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6" name="直接箭头连接符 235"/>
          <p:cNvCxnSpPr/>
          <p:nvPr>
            <p:custDataLst>
              <p:tags r:id="rId91"/>
            </p:custDataLst>
          </p:nvPr>
        </p:nvCxnSpPr>
        <p:spPr bwMode="auto">
          <a:xfrm>
            <a:off x="9026099" y="2000990"/>
            <a:ext cx="0" cy="360000"/>
          </a:xfrm>
          <a:prstGeom prst="straightConnector1">
            <a:avLst/>
          </a:prstGeom>
          <a:noFill/>
          <a:ln w="19050">
            <a:solidFill>
              <a:schemeClr val="tx1"/>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7" name="直接箭头连接符 236"/>
          <p:cNvCxnSpPr/>
          <p:nvPr>
            <p:custDataLst>
              <p:tags r:id="rId92"/>
            </p:custDataLst>
          </p:nvPr>
        </p:nvCxnSpPr>
        <p:spPr bwMode="auto">
          <a:xfrm>
            <a:off x="9168974" y="2000990"/>
            <a:ext cx="0" cy="360000"/>
          </a:xfrm>
          <a:prstGeom prst="straightConnector1">
            <a:avLst/>
          </a:prstGeom>
          <a:noFill/>
          <a:ln w="19050">
            <a:solidFill>
              <a:schemeClr val="tx1"/>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8" name="直接箭头连接符 237"/>
          <p:cNvCxnSpPr/>
          <p:nvPr>
            <p:custDataLst>
              <p:tags r:id="rId93"/>
            </p:custDataLst>
          </p:nvPr>
        </p:nvCxnSpPr>
        <p:spPr bwMode="auto">
          <a:xfrm>
            <a:off x="9292799" y="2000990"/>
            <a:ext cx="0" cy="360000"/>
          </a:xfrm>
          <a:prstGeom prst="straightConnector1">
            <a:avLst/>
          </a:prstGeom>
          <a:noFill/>
          <a:ln w="19050">
            <a:solidFill>
              <a:schemeClr val="tx1"/>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9" name="直接箭头连接符 238"/>
          <p:cNvCxnSpPr/>
          <p:nvPr>
            <p:custDataLst>
              <p:tags r:id="rId94"/>
            </p:custDataLst>
          </p:nvPr>
        </p:nvCxnSpPr>
        <p:spPr bwMode="auto">
          <a:xfrm>
            <a:off x="9435674" y="2000990"/>
            <a:ext cx="0" cy="360000"/>
          </a:xfrm>
          <a:prstGeom prst="straightConnector1">
            <a:avLst/>
          </a:prstGeom>
          <a:noFill/>
          <a:ln w="19050">
            <a:solidFill>
              <a:schemeClr val="tx1"/>
            </a:solidFill>
            <a:prstDash val="dash"/>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40" name="组合 239"/>
          <p:cNvGrpSpPr/>
          <p:nvPr/>
        </p:nvGrpSpPr>
        <p:grpSpPr>
          <a:xfrm>
            <a:off x="7013636" y="3206832"/>
            <a:ext cx="1325547" cy="473649"/>
            <a:chOff x="1296128" y="2264731"/>
            <a:chExt cx="3031914" cy="1064580"/>
          </a:xfrm>
        </p:grpSpPr>
        <p:sp>
          <p:nvSpPr>
            <p:cNvPr id="241" name="Freeform 20"/>
            <p:cNvSpPr>
              <a:spLocks noEditPoints="1"/>
            </p:cNvSpPr>
            <p:nvPr>
              <p:custDataLst>
                <p:tags r:id="rId95"/>
              </p:custDataLst>
            </p:nvPr>
          </p:nvSpPr>
          <p:spPr bwMode="auto">
            <a:xfrm>
              <a:off x="1296128" y="2264731"/>
              <a:ext cx="3031914" cy="709089"/>
            </a:xfrm>
            <a:custGeom>
              <a:avLst/>
              <a:gdLst/>
              <a:ahLst/>
              <a:cxnLst>
                <a:cxn ang="0">
                  <a:pos x="722" y="224"/>
                </a:cxn>
                <a:cxn ang="0">
                  <a:pos x="734" y="212"/>
                </a:cxn>
                <a:cxn ang="0">
                  <a:pos x="646" y="22"/>
                </a:cxn>
                <a:cxn ang="0">
                  <a:pos x="634" y="6"/>
                </a:cxn>
                <a:cxn ang="0">
                  <a:pos x="132" y="0"/>
                </a:cxn>
                <a:cxn ang="0">
                  <a:pos x="114" y="6"/>
                </a:cxn>
                <a:cxn ang="0">
                  <a:pos x="102" y="22"/>
                </a:cxn>
                <a:cxn ang="0">
                  <a:pos x="14" y="212"/>
                </a:cxn>
                <a:cxn ang="0">
                  <a:pos x="26" y="224"/>
                </a:cxn>
                <a:cxn ang="0">
                  <a:pos x="20" y="250"/>
                </a:cxn>
                <a:cxn ang="0">
                  <a:pos x="6" y="256"/>
                </a:cxn>
                <a:cxn ang="0">
                  <a:pos x="0" y="500"/>
                </a:cxn>
                <a:cxn ang="0">
                  <a:pos x="6" y="514"/>
                </a:cxn>
                <a:cxn ang="0">
                  <a:pos x="728" y="520"/>
                </a:cxn>
                <a:cxn ang="0">
                  <a:pos x="742" y="514"/>
                </a:cxn>
                <a:cxn ang="0">
                  <a:pos x="748" y="272"/>
                </a:cxn>
                <a:cxn ang="0">
                  <a:pos x="742" y="256"/>
                </a:cxn>
                <a:cxn ang="0">
                  <a:pos x="728" y="250"/>
                </a:cxn>
                <a:cxn ang="0">
                  <a:pos x="124" y="436"/>
                </a:cxn>
                <a:cxn ang="0">
                  <a:pos x="108" y="446"/>
                </a:cxn>
                <a:cxn ang="0">
                  <a:pos x="96" y="442"/>
                </a:cxn>
                <a:cxn ang="0">
                  <a:pos x="90" y="336"/>
                </a:cxn>
                <a:cxn ang="0">
                  <a:pos x="96" y="324"/>
                </a:cxn>
                <a:cxn ang="0">
                  <a:pos x="108" y="318"/>
                </a:cxn>
                <a:cxn ang="0">
                  <a:pos x="124" y="328"/>
                </a:cxn>
                <a:cxn ang="0">
                  <a:pos x="198" y="428"/>
                </a:cxn>
                <a:cxn ang="0">
                  <a:pos x="194" y="442"/>
                </a:cxn>
                <a:cxn ang="0">
                  <a:pos x="182" y="446"/>
                </a:cxn>
                <a:cxn ang="0">
                  <a:pos x="166" y="436"/>
                </a:cxn>
                <a:cxn ang="0">
                  <a:pos x="164" y="336"/>
                </a:cxn>
                <a:cxn ang="0">
                  <a:pos x="176" y="320"/>
                </a:cxn>
                <a:cxn ang="0">
                  <a:pos x="188" y="320"/>
                </a:cxn>
                <a:cxn ang="0">
                  <a:pos x="198" y="336"/>
                </a:cxn>
                <a:cxn ang="0">
                  <a:pos x="274" y="428"/>
                </a:cxn>
                <a:cxn ang="0">
                  <a:pos x="262" y="444"/>
                </a:cxn>
                <a:cxn ang="0">
                  <a:pos x="250" y="444"/>
                </a:cxn>
                <a:cxn ang="0">
                  <a:pos x="240" y="428"/>
                </a:cxn>
                <a:cxn ang="0">
                  <a:pos x="240" y="328"/>
                </a:cxn>
                <a:cxn ang="0">
                  <a:pos x="256" y="318"/>
                </a:cxn>
                <a:cxn ang="0">
                  <a:pos x="268" y="324"/>
                </a:cxn>
                <a:cxn ang="0">
                  <a:pos x="274" y="428"/>
                </a:cxn>
                <a:cxn ang="0">
                  <a:pos x="346" y="436"/>
                </a:cxn>
                <a:cxn ang="0">
                  <a:pos x="330" y="446"/>
                </a:cxn>
                <a:cxn ang="0">
                  <a:pos x="318" y="442"/>
                </a:cxn>
                <a:cxn ang="0">
                  <a:pos x="314" y="336"/>
                </a:cxn>
                <a:cxn ang="0">
                  <a:pos x="318" y="324"/>
                </a:cxn>
                <a:cxn ang="0">
                  <a:pos x="330" y="318"/>
                </a:cxn>
                <a:cxn ang="0">
                  <a:pos x="346" y="328"/>
                </a:cxn>
                <a:cxn ang="0">
                  <a:pos x="626" y="390"/>
                </a:cxn>
                <a:cxn ang="0">
                  <a:pos x="610" y="386"/>
                </a:cxn>
                <a:cxn ang="0">
                  <a:pos x="592" y="372"/>
                </a:cxn>
                <a:cxn ang="0">
                  <a:pos x="586" y="350"/>
                </a:cxn>
                <a:cxn ang="0">
                  <a:pos x="588" y="334"/>
                </a:cxn>
                <a:cxn ang="0">
                  <a:pos x="604" y="316"/>
                </a:cxn>
                <a:cxn ang="0">
                  <a:pos x="626" y="308"/>
                </a:cxn>
                <a:cxn ang="0">
                  <a:pos x="642" y="312"/>
                </a:cxn>
                <a:cxn ang="0">
                  <a:pos x="660" y="326"/>
                </a:cxn>
                <a:cxn ang="0">
                  <a:pos x="666" y="350"/>
                </a:cxn>
                <a:cxn ang="0">
                  <a:pos x="664" y="366"/>
                </a:cxn>
                <a:cxn ang="0">
                  <a:pos x="648" y="384"/>
                </a:cxn>
                <a:cxn ang="0">
                  <a:pos x="626" y="390"/>
                </a:cxn>
              </a:cxnLst>
              <a:rect l="0" t="0" r="r" b="b"/>
              <a:pathLst>
                <a:path w="748" h="520">
                  <a:moveTo>
                    <a:pt x="26" y="224"/>
                  </a:moveTo>
                  <a:lnTo>
                    <a:pt x="722" y="224"/>
                  </a:lnTo>
                  <a:lnTo>
                    <a:pt x="722" y="224"/>
                  </a:lnTo>
                  <a:lnTo>
                    <a:pt x="728" y="222"/>
                  </a:lnTo>
                  <a:lnTo>
                    <a:pt x="732" y="218"/>
                  </a:lnTo>
                  <a:lnTo>
                    <a:pt x="734" y="212"/>
                  </a:lnTo>
                  <a:lnTo>
                    <a:pt x="732" y="204"/>
                  </a:lnTo>
                  <a:lnTo>
                    <a:pt x="732" y="204"/>
                  </a:lnTo>
                  <a:lnTo>
                    <a:pt x="646" y="22"/>
                  </a:lnTo>
                  <a:lnTo>
                    <a:pt x="646" y="22"/>
                  </a:lnTo>
                  <a:lnTo>
                    <a:pt x="640" y="14"/>
                  </a:lnTo>
                  <a:lnTo>
                    <a:pt x="634" y="6"/>
                  </a:lnTo>
                  <a:lnTo>
                    <a:pt x="626" y="2"/>
                  </a:lnTo>
                  <a:lnTo>
                    <a:pt x="616" y="0"/>
                  </a:lnTo>
                  <a:lnTo>
                    <a:pt x="132" y="0"/>
                  </a:lnTo>
                  <a:lnTo>
                    <a:pt x="132" y="0"/>
                  </a:lnTo>
                  <a:lnTo>
                    <a:pt x="122" y="2"/>
                  </a:lnTo>
                  <a:lnTo>
                    <a:pt x="114" y="6"/>
                  </a:lnTo>
                  <a:lnTo>
                    <a:pt x="108" y="14"/>
                  </a:lnTo>
                  <a:lnTo>
                    <a:pt x="102" y="22"/>
                  </a:lnTo>
                  <a:lnTo>
                    <a:pt x="102" y="22"/>
                  </a:lnTo>
                  <a:lnTo>
                    <a:pt x="14" y="204"/>
                  </a:lnTo>
                  <a:lnTo>
                    <a:pt x="14" y="204"/>
                  </a:lnTo>
                  <a:lnTo>
                    <a:pt x="14" y="212"/>
                  </a:lnTo>
                  <a:lnTo>
                    <a:pt x="16" y="218"/>
                  </a:lnTo>
                  <a:lnTo>
                    <a:pt x="20" y="222"/>
                  </a:lnTo>
                  <a:lnTo>
                    <a:pt x="26" y="224"/>
                  </a:lnTo>
                  <a:lnTo>
                    <a:pt x="26" y="224"/>
                  </a:lnTo>
                  <a:close/>
                  <a:moveTo>
                    <a:pt x="728" y="250"/>
                  </a:moveTo>
                  <a:lnTo>
                    <a:pt x="20" y="250"/>
                  </a:lnTo>
                  <a:lnTo>
                    <a:pt x="20" y="250"/>
                  </a:lnTo>
                  <a:lnTo>
                    <a:pt x="12" y="252"/>
                  </a:lnTo>
                  <a:lnTo>
                    <a:pt x="6" y="256"/>
                  </a:lnTo>
                  <a:lnTo>
                    <a:pt x="2" y="264"/>
                  </a:lnTo>
                  <a:lnTo>
                    <a:pt x="0" y="272"/>
                  </a:lnTo>
                  <a:lnTo>
                    <a:pt x="0" y="500"/>
                  </a:lnTo>
                  <a:lnTo>
                    <a:pt x="0" y="500"/>
                  </a:lnTo>
                  <a:lnTo>
                    <a:pt x="2" y="508"/>
                  </a:lnTo>
                  <a:lnTo>
                    <a:pt x="6" y="514"/>
                  </a:lnTo>
                  <a:lnTo>
                    <a:pt x="12" y="518"/>
                  </a:lnTo>
                  <a:lnTo>
                    <a:pt x="20" y="520"/>
                  </a:lnTo>
                  <a:lnTo>
                    <a:pt x="728" y="520"/>
                  </a:lnTo>
                  <a:lnTo>
                    <a:pt x="728" y="520"/>
                  </a:lnTo>
                  <a:lnTo>
                    <a:pt x="736" y="518"/>
                  </a:lnTo>
                  <a:lnTo>
                    <a:pt x="742" y="514"/>
                  </a:lnTo>
                  <a:lnTo>
                    <a:pt x="746" y="508"/>
                  </a:lnTo>
                  <a:lnTo>
                    <a:pt x="748" y="500"/>
                  </a:lnTo>
                  <a:lnTo>
                    <a:pt x="748" y="272"/>
                  </a:lnTo>
                  <a:lnTo>
                    <a:pt x="748" y="272"/>
                  </a:lnTo>
                  <a:lnTo>
                    <a:pt x="746" y="264"/>
                  </a:lnTo>
                  <a:lnTo>
                    <a:pt x="742" y="256"/>
                  </a:lnTo>
                  <a:lnTo>
                    <a:pt x="736" y="252"/>
                  </a:lnTo>
                  <a:lnTo>
                    <a:pt x="728" y="250"/>
                  </a:lnTo>
                  <a:lnTo>
                    <a:pt x="728" y="250"/>
                  </a:lnTo>
                  <a:close/>
                  <a:moveTo>
                    <a:pt x="124" y="428"/>
                  </a:moveTo>
                  <a:lnTo>
                    <a:pt x="124" y="428"/>
                  </a:lnTo>
                  <a:lnTo>
                    <a:pt x="124" y="436"/>
                  </a:lnTo>
                  <a:lnTo>
                    <a:pt x="120" y="442"/>
                  </a:lnTo>
                  <a:lnTo>
                    <a:pt x="114" y="444"/>
                  </a:lnTo>
                  <a:lnTo>
                    <a:pt x="108" y="446"/>
                  </a:lnTo>
                  <a:lnTo>
                    <a:pt x="108" y="446"/>
                  </a:lnTo>
                  <a:lnTo>
                    <a:pt x="102" y="444"/>
                  </a:lnTo>
                  <a:lnTo>
                    <a:pt x="96" y="442"/>
                  </a:lnTo>
                  <a:lnTo>
                    <a:pt x="92" y="436"/>
                  </a:lnTo>
                  <a:lnTo>
                    <a:pt x="90" y="428"/>
                  </a:lnTo>
                  <a:lnTo>
                    <a:pt x="90" y="336"/>
                  </a:lnTo>
                  <a:lnTo>
                    <a:pt x="90" y="336"/>
                  </a:lnTo>
                  <a:lnTo>
                    <a:pt x="92" y="328"/>
                  </a:lnTo>
                  <a:lnTo>
                    <a:pt x="96" y="324"/>
                  </a:lnTo>
                  <a:lnTo>
                    <a:pt x="102" y="320"/>
                  </a:lnTo>
                  <a:lnTo>
                    <a:pt x="108" y="318"/>
                  </a:lnTo>
                  <a:lnTo>
                    <a:pt x="108" y="318"/>
                  </a:lnTo>
                  <a:lnTo>
                    <a:pt x="114" y="320"/>
                  </a:lnTo>
                  <a:lnTo>
                    <a:pt x="120" y="324"/>
                  </a:lnTo>
                  <a:lnTo>
                    <a:pt x="124" y="328"/>
                  </a:lnTo>
                  <a:lnTo>
                    <a:pt x="124" y="336"/>
                  </a:lnTo>
                  <a:lnTo>
                    <a:pt x="124" y="428"/>
                  </a:lnTo>
                  <a:close/>
                  <a:moveTo>
                    <a:pt x="198" y="428"/>
                  </a:moveTo>
                  <a:lnTo>
                    <a:pt x="198" y="428"/>
                  </a:lnTo>
                  <a:lnTo>
                    <a:pt x="198" y="436"/>
                  </a:lnTo>
                  <a:lnTo>
                    <a:pt x="194" y="442"/>
                  </a:lnTo>
                  <a:lnTo>
                    <a:pt x="188" y="444"/>
                  </a:lnTo>
                  <a:lnTo>
                    <a:pt x="182" y="446"/>
                  </a:lnTo>
                  <a:lnTo>
                    <a:pt x="182" y="446"/>
                  </a:lnTo>
                  <a:lnTo>
                    <a:pt x="176" y="444"/>
                  </a:lnTo>
                  <a:lnTo>
                    <a:pt x="170" y="442"/>
                  </a:lnTo>
                  <a:lnTo>
                    <a:pt x="166" y="436"/>
                  </a:lnTo>
                  <a:lnTo>
                    <a:pt x="164" y="428"/>
                  </a:lnTo>
                  <a:lnTo>
                    <a:pt x="164" y="336"/>
                  </a:lnTo>
                  <a:lnTo>
                    <a:pt x="164" y="336"/>
                  </a:lnTo>
                  <a:lnTo>
                    <a:pt x="166" y="328"/>
                  </a:lnTo>
                  <a:lnTo>
                    <a:pt x="170" y="324"/>
                  </a:lnTo>
                  <a:lnTo>
                    <a:pt x="176" y="320"/>
                  </a:lnTo>
                  <a:lnTo>
                    <a:pt x="182" y="318"/>
                  </a:lnTo>
                  <a:lnTo>
                    <a:pt x="182" y="318"/>
                  </a:lnTo>
                  <a:lnTo>
                    <a:pt x="188" y="320"/>
                  </a:lnTo>
                  <a:lnTo>
                    <a:pt x="194" y="324"/>
                  </a:lnTo>
                  <a:lnTo>
                    <a:pt x="198" y="328"/>
                  </a:lnTo>
                  <a:lnTo>
                    <a:pt x="198" y="336"/>
                  </a:lnTo>
                  <a:lnTo>
                    <a:pt x="198" y="428"/>
                  </a:lnTo>
                  <a:close/>
                  <a:moveTo>
                    <a:pt x="274" y="428"/>
                  </a:moveTo>
                  <a:lnTo>
                    <a:pt x="274" y="428"/>
                  </a:lnTo>
                  <a:lnTo>
                    <a:pt x="272" y="436"/>
                  </a:lnTo>
                  <a:lnTo>
                    <a:pt x="268" y="442"/>
                  </a:lnTo>
                  <a:lnTo>
                    <a:pt x="262" y="444"/>
                  </a:lnTo>
                  <a:lnTo>
                    <a:pt x="256" y="446"/>
                  </a:lnTo>
                  <a:lnTo>
                    <a:pt x="256" y="446"/>
                  </a:lnTo>
                  <a:lnTo>
                    <a:pt x="250" y="444"/>
                  </a:lnTo>
                  <a:lnTo>
                    <a:pt x="244" y="442"/>
                  </a:lnTo>
                  <a:lnTo>
                    <a:pt x="240" y="436"/>
                  </a:lnTo>
                  <a:lnTo>
                    <a:pt x="240" y="428"/>
                  </a:lnTo>
                  <a:lnTo>
                    <a:pt x="240" y="336"/>
                  </a:lnTo>
                  <a:lnTo>
                    <a:pt x="240" y="336"/>
                  </a:lnTo>
                  <a:lnTo>
                    <a:pt x="240" y="328"/>
                  </a:lnTo>
                  <a:lnTo>
                    <a:pt x="244" y="324"/>
                  </a:lnTo>
                  <a:lnTo>
                    <a:pt x="250" y="320"/>
                  </a:lnTo>
                  <a:lnTo>
                    <a:pt x="256" y="318"/>
                  </a:lnTo>
                  <a:lnTo>
                    <a:pt x="256" y="318"/>
                  </a:lnTo>
                  <a:lnTo>
                    <a:pt x="262" y="320"/>
                  </a:lnTo>
                  <a:lnTo>
                    <a:pt x="268" y="324"/>
                  </a:lnTo>
                  <a:lnTo>
                    <a:pt x="272" y="328"/>
                  </a:lnTo>
                  <a:lnTo>
                    <a:pt x="274" y="336"/>
                  </a:lnTo>
                  <a:lnTo>
                    <a:pt x="274" y="428"/>
                  </a:lnTo>
                  <a:close/>
                  <a:moveTo>
                    <a:pt x="348" y="428"/>
                  </a:moveTo>
                  <a:lnTo>
                    <a:pt x="348" y="428"/>
                  </a:lnTo>
                  <a:lnTo>
                    <a:pt x="346" y="436"/>
                  </a:lnTo>
                  <a:lnTo>
                    <a:pt x="342" y="442"/>
                  </a:lnTo>
                  <a:lnTo>
                    <a:pt x="338" y="444"/>
                  </a:lnTo>
                  <a:lnTo>
                    <a:pt x="330" y="446"/>
                  </a:lnTo>
                  <a:lnTo>
                    <a:pt x="330" y="446"/>
                  </a:lnTo>
                  <a:lnTo>
                    <a:pt x="324" y="444"/>
                  </a:lnTo>
                  <a:lnTo>
                    <a:pt x="318" y="442"/>
                  </a:lnTo>
                  <a:lnTo>
                    <a:pt x="314" y="436"/>
                  </a:lnTo>
                  <a:lnTo>
                    <a:pt x="314" y="428"/>
                  </a:lnTo>
                  <a:lnTo>
                    <a:pt x="314" y="336"/>
                  </a:lnTo>
                  <a:lnTo>
                    <a:pt x="314" y="336"/>
                  </a:lnTo>
                  <a:lnTo>
                    <a:pt x="314" y="328"/>
                  </a:lnTo>
                  <a:lnTo>
                    <a:pt x="318" y="324"/>
                  </a:lnTo>
                  <a:lnTo>
                    <a:pt x="324" y="320"/>
                  </a:lnTo>
                  <a:lnTo>
                    <a:pt x="330" y="318"/>
                  </a:lnTo>
                  <a:lnTo>
                    <a:pt x="330" y="318"/>
                  </a:lnTo>
                  <a:lnTo>
                    <a:pt x="338" y="320"/>
                  </a:lnTo>
                  <a:lnTo>
                    <a:pt x="342" y="324"/>
                  </a:lnTo>
                  <a:lnTo>
                    <a:pt x="346" y="328"/>
                  </a:lnTo>
                  <a:lnTo>
                    <a:pt x="348" y="336"/>
                  </a:lnTo>
                  <a:lnTo>
                    <a:pt x="348" y="428"/>
                  </a:lnTo>
                  <a:close/>
                  <a:moveTo>
                    <a:pt x="626" y="390"/>
                  </a:moveTo>
                  <a:lnTo>
                    <a:pt x="626" y="390"/>
                  </a:lnTo>
                  <a:lnTo>
                    <a:pt x="618" y="390"/>
                  </a:lnTo>
                  <a:lnTo>
                    <a:pt x="610" y="386"/>
                  </a:lnTo>
                  <a:lnTo>
                    <a:pt x="604" y="384"/>
                  </a:lnTo>
                  <a:lnTo>
                    <a:pt x="598" y="378"/>
                  </a:lnTo>
                  <a:lnTo>
                    <a:pt x="592" y="372"/>
                  </a:lnTo>
                  <a:lnTo>
                    <a:pt x="588" y="366"/>
                  </a:lnTo>
                  <a:lnTo>
                    <a:pt x="586" y="358"/>
                  </a:lnTo>
                  <a:lnTo>
                    <a:pt x="586" y="350"/>
                  </a:lnTo>
                  <a:lnTo>
                    <a:pt x="586" y="350"/>
                  </a:lnTo>
                  <a:lnTo>
                    <a:pt x="586" y="342"/>
                  </a:lnTo>
                  <a:lnTo>
                    <a:pt x="588" y="334"/>
                  </a:lnTo>
                  <a:lnTo>
                    <a:pt x="592" y="326"/>
                  </a:lnTo>
                  <a:lnTo>
                    <a:pt x="598" y="320"/>
                  </a:lnTo>
                  <a:lnTo>
                    <a:pt x="604" y="316"/>
                  </a:lnTo>
                  <a:lnTo>
                    <a:pt x="610" y="312"/>
                  </a:lnTo>
                  <a:lnTo>
                    <a:pt x="618" y="310"/>
                  </a:lnTo>
                  <a:lnTo>
                    <a:pt x="626" y="308"/>
                  </a:lnTo>
                  <a:lnTo>
                    <a:pt x="626" y="308"/>
                  </a:lnTo>
                  <a:lnTo>
                    <a:pt x="634" y="310"/>
                  </a:lnTo>
                  <a:lnTo>
                    <a:pt x="642" y="312"/>
                  </a:lnTo>
                  <a:lnTo>
                    <a:pt x="648" y="316"/>
                  </a:lnTo>
                  <a:lnTo>
                    <a:pt x="654" y="320"/>
                  </a:lnTo>
                  <a:lnTo>
                    <a:pt x="660" y="326"/>
                  </a:lnTo>
                  <a:lnTo>
                    <a:pt x="664" y="334"/>
                  </a:lnTo>
                  <a:lnTo>
                    <a:pt x="666" y="342"/>
                  </a:lnTo>
                  <a:lnTo>
                    <a:pt x="666" y="350"/>
                  </a:lnTo>
                  <a:lnTo>
                    <a:pt x="666" y="350"/>
                  </a:lnTo>
                  <a:lnTo>
                    <a:pt x="666" y="358"/>
                  </a:lnTo>
                  <a:lnTo>
                    <a:pt x="664" y="366"/>
                  </a:lnTo>
                  <a:lnTo>
                    <a:pt x="660" y="372"/>
                  </a:lnTo>
                  <a:lnTo>
                    <a:pt x="654" y="378"/>
                  </a:lnTo>
                  <a:lnTo>
                    <a:pt x="648" y="384"/>
                  </a:lnTo>
                  <a:lnTo>
                    <a:pt x="642" y="386"/>
                  </a:lnTo>
                  <a:lnTo>
                    <a:pt x="634" y="390"/>
                  </a:lnTo>
                  <a:lnTo>
                    <a:pt x="626" y="390"/>
                  </a:lnTo>
                  <a:lnTo>
                    <a:pt x="626" y="390"/>
                  </a:lnTo>
                  <a:close/>
                </a:path>
              </a:pathLst>
            </a:custGeom>
            <a:solidFill>
              <a:srgbClr val="0099CC"/>
            </a:solidFill>
            <a:ln w="9525">
              <a:noFill/>
              <a:round/>
            </a:ln>
          </p:spPr>
          <p:txBody>
            <a:bodyPr vert="horz" wrap="square" lIns="68598" tIns="34299" rIns="68598" bIns="34299" numCol="1" anchor="t" anchorCtr="0" compatLnSpc="1"/>
            <a:lstStyle/>
            <a:p>
              <a:endParaRPr lang="zh-CN" altLang="en-US" sz="135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42" name="TextBox 1"/>
            <p:cNvSpPr txBox="1"/>
            <p:nvPr>
              <p:custDataLst>
                <p:tags r:id="rId96"/>
              </p:custDataLst>
            </p:nvPr>
          </p:nvSpPr>
          <p:spPr>
            <a:xfrm>
              <a:off x="1296128" y="3090784"/>
              <a:ext cx="3031914" cy="238527"/>
            </a:xfrm>
            <a:prstGeom prst="rect">
              <a:avLst/>
            </a:prstGeom>
            <a:noFill/>
          </p:spPr>
          <p:txBody>
            <a:bodyPr wrap="square" lIns="0" tIns="0" rIns="0" rtlCol="0">
              <a:spAutoFit/>
            </a:bodyPr>
            <a:lstStyle/>
            <a:p>
              <a:pPr algn="ctr">
                <a:lnSpc>
                  <a:spcPts val="1500"/>
                </a:lnSpc>
                <a:tabLst>
                  <a:tab pos="190500" algn="l"/>
                </a:tabLst>
              </a:pPr>
              <a:r>
                <a:rPr lang="en-US" altLang="zh-CN" sz="1200" dirty="0">
                  <a:solidFill>
                    <a:srgbClr val="0099CC"/>
                  </a:solidFill>
                  <a:latin typeface="Arial Black" panose="020B0A04020102020204" pitchFamily="34" charset="0"/>
                  <a:cs typeface="Arial Black" panose="020B0A04020102020204" pitchFamily="34" charset="0"/>
                </a:rPr>
                <a:t>Server</a:t>
              </a:r>
              <a:r>
                <a:rPr lang="en-US" altLang="zh-CN" sz="1200" dirty="0">
                  <a:solidFill>
                    <a:srgbClr val="0099CC"/>
                  </a:solidFill>
                  <a:latin typeface="Times New Roman" panose="02020603050405020304" pitchFamily="18" charset="0"/>
                  <a:cs typeface="Times New Roman" panose="02020603050405020304" pitchFamily="18" charset="0"/>
                </a:rPr>
                <a:t> </a:t>
              </a:r>
              <a:r>
                <a:rPr lang="en-US" altLang="zh-CN" sz="1200" dirty="0">
                  <a:solidFill>
                    <a:srgbClr val="0099CC"/>
                  </a:solidFill>
                  <a:latin typeface="Arial Black" panose="020B0A04020102020204" pitchFamily="34" charset="0"/>
                  <a:cs typeface="Arial Black" panose="020B0A04020102020204" pitchFamily="34" charset="0"/>
                </a:rPr>
                <a:t>2</a:t>
              </a:r>
              <a:endParaRPr lang="en-US" altLang="zh-CN" sz="1200" dirty="0">
                <a:solidFill>
                  <a:srgbClr val="0099CC"/>
                </a:solidFill>
                <a:latin typeface="Arial Black" panose="020B0A04020102020204" pitchFamily="34" charset="0"/>
                <a:cs typeface="Arial Black" panose="020B0A04020102020204" pitchFamily="34" charset="0"/>
              </a:endParaRPr>
            </a:p>
          </p:txBody>
        </p:sp>
      </p:gr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kern="0" dirty="0">
                <a:solidFill>
                  <a:srgbClr val="0070C0"/>
                </a:solidFill>
                <a:latin typeface="微软雅黑" panose="020B0503020204020204" pitchFamily="34" charset="-122"/>
                <a:ea typeface="微软雅黑" panose="020B0503020204020204" pitchFamily="34" charset="-122"/>
                <a:sym typeface="+mn-ea"/>
              </a:rPr>
              <a:t>高新能</a:t>
            </a:r>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一体机：</a:t>
            </a:r>
            <a:r>
              <a:rPr lang="en-US" altLang="zh-CN" kern="0" dirty="0">
                <a:solidFill>
                  <a:srgbClr val="0070C0"/>
                </a:solidFill>
                <a:latin typeface="微软雅黑" panose="020B0503020204020204" pitchFamily="34" charset="-122"/>
                <a:ea typeface="微软雅黑" panose="020B0503020204020204" pitchFamily="34" charset="-122"/>
                <a:sym typeface="+mn-ea"/>
              </a:rPr>
              <a:t>CData</a:t>
            </a:r>
            <a:r>
              <a:rPr lang="zh-CN" altLang="en-US" kern="0" dirty="0">
                <a:solidFill>
                  <a:srgbClr val="0070C0"/>
                </a:solidFill>
                <a:latin typeface="微软雅黑" panose="020B0503020204020204" pitchFamily="34" charset="-122"/>
                <a:ea typeface="微软雅黑" panose="020B0503020204020204" pitchFamily="34" charset="-122"/>
                <a:sym typeface="+mn-ea"/>
              </a:rPr>
              <a:t>核心软件</a:t>
            </a:r>
            <a:r>
              <a:rPr lang="en-US" altLang="zh-CN" kern="0" dirty="0">
                <a:solidFill>
                  <a:srgbClr val="0070C0"/>
                </a:solidFill>
                <a:latin typeface="微软雅黑" panose="020B0503020204020204" pitchFamily="34" charset="-122"/>
                <a:ea typeface="微软雅黑" panose="020B0503020204020204" pitchFamily="34" charset="-122"/>
                <a:sym typeface="+mn-ea"/>
              </a:rPr>
              <a:t>CFabric</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sp>
        <p:nvSpPr>
          <p:cNvPr id="201" name="灯片编号占位符 200"/>
          <p:cNvSpPr>
            <a:spLocks noGrp="1"/>
          </p:cNvSpPr>
          <p:nvPr>
            <p:ph type="sldNum" sz="quarter" idx="12"/>
            <p:custDataLst>
              <p:tags r:id="rId1"/>
            </p:custDataLst>
          </p:nvPr>
        </p:nvSpPr>
        <p:spPr>
          <a:xfrm>
            <a:off x="8610599" y="6651943"/>
            <a:ext cx="2909888" cy="206381"/>
          </a:xfrm>
        </p:spPr>
        <p:txBody>
          <a:bodyPr/>
          <a:lstStyle/>
          <a:p>
            <a:fld id="{5DD3DB80-B894-403A-B48E-6FDC1A72010E}" type="slidenum">
              <a:rPr lang="zh-CN" altLang="en-US" smtClean="0"/>
            </a:fld>
            <a:endParaRPr lang="zh-CN" altLang="en-US"/>
          </a:p>
        </p:txBody>
      </p:sp>
      <p:cxnSp>
        <p:nvCxnSpPr>
          <p:cNvPr id="10" name="曲线连接符 9"/>
          <p:cNvCxnSpPr>
            <a:endCxn id="29" idx="0"/>
          </p:cNvCxnSpPr>
          <p:nvPr>
            <p:custDataLst>
              <p:tags r:id="rId2"/>
            </p:custDataLst>
          </p:nvPr>
        </p:nvCxnSpPr>
        <p:spPr>
          <a:xfrm rot="5400000">
            <a:off x="3750923" y="2002508"/>
            <a:ext cx="1648883" cy="1331004"/>
          </a:xfrm>
          <a:prstGeom prst="curvedConnector3">
            <a:avLst>
              <a:gd name="adj1" fmla="val 50000"/>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1" name="曲线连接符 10"/>
          <p:cNvCxnSpPr>
            <a:endCxn id="28" idx="0"/>
          </p:cNvCxnSpPr>
          <p:nvPr>
            <p:custDataLst>
              <p:tags r:id="rId3"/>
            </p:custDataLst>
          </p:nvPr>
        </p:nvCxnSpPr>
        <p:spPr>
          <a:xfrm rot="16200000" flipH="1">
            <a:off x="6036916" y="2133031"/>
            <a:ext cx="1648888" cy="1069956"/>
          </a:xfrm>
          <a:prstGeom prst="curved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2" name="曲线连接符 11"/>
          <p:cNvCxnSpPr>
            <a:stCxn id="27" idx="2"/>
          </p:cNvCxnSpPr>
          <p:nvPr>
            <p:custDataLst>
              <p:tags r:id="rId4"/>
            </p:custDataLst>
          </p:nvPr>
        </p:nvCxnSpPr>
        <p:spPr>
          <a:xfrm rot="16200000" flipH="1">
            <a:off x="5392646" y="2031742"/>
            <a:ext cx="1648885" cy="1272533"/>
          </a:xfrm>
          <a:prstGeom prst="curved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8" name="文本框 36"/>
          <p:cNvSpPr txBox="1"/>
          <p:nvPr>
            <p:custDataLst>
              <p:tags r:id="rId5"/>
            </p:custDataLst>
          </p:nvPr>
        </p:nvSpPr>
        <p:spPr>
          <a:xfrm>
            <a:off x="2532754" y="4732581"/>
            <a:ext cx="5258427" cy="276999"/>
          </a:xfrm>
          <a:prstGeom prst="rect">
            <a:avLst/>
          </a:prstGeom>
          <a:noFill/>
        </p:spPr>
        <p:txBody>
          <a:bodyPr wrap="none" rtlCol="0">
            <a:spAutoFit/>
          </a:bodyPr>
          <a:lstStyle/>
          <a:p>
            <a:r>
              <a:rPr lang="en-US" altLang="zh-CN" sz="1200" dirty="0">
                <a:latin typeface="微软雅黑" panose="020B0503020204020204" pitchFamily="34" charset="-122"/>
                <a:ea typeface="微软雅黑" panose="020B0503020204020204" pitchFamily="34" charset="-122"/>
              </a:rPr>
              <a:t>CData</a:t>
            </a:r>
            <a:r>
              <a:rPr lang="zh-CN" altLang="en-US" sz="1200" dirty="0">
                <a:latin typeface="微软雅黑" panose="020B0503020204020204" pitchFamily="34" charset="-122"/>
                <a:ea typeface="微软雅黑" panose="020B0503020204020204" pitchFamily="34" charset="-122"/>
              </a:rPr>
              <a:t>云管平台发送命令到</a:t>
            </a:r>
            <a:r>
              <a:rPr lang="en-US" altLang="zh-CN" sz="1200" dirty="0">
                <a:latin typeface="微软雅黑" panose="020B0503020204020204" pitchFamily="34" charset="-122"/>
                <a:ea typeface="微软雅黑" panose="020B0503020204020204" pitchFamily="34" charset="-122"/>
              </a:rPr>
              <a:t>CFabric</a:t>
            </a:r>
            <a:r>
              <a:rPr lang="zh-CN" altLang="en-US" sz="1200" dirty="0">
                <a:latin typeface="微软雅黑" panose="020B0503020204020204" pitchFamily="34" charset="-122"/>
                <a:ea typeface="微软雅黑" panose="020B0503020204020204" pitchFamily="34" charset="-122"/>
              </a:rPr>
              <a:t>服务端：启动</a:t>
            </a:r>
            <a:r>
              <a:rPr lang="en-US" altLang="zh-CN" sz="1200" dirty="0">
                <a:latin typeface="微软雅黑" panose="020B0503020204020204" pitchFamily="34" charset="-122"/>
                <a:ea typeface="微软雅黑" panose="020B0503020204020204" pitchFamily="34" charset="-122"/>
              </a:rPr>
              <a:t>cspd</a:t>
            </a:r>
            <a:r>
              <a:rPr lang="zh-CN" altLang="en-US" sz="1200" dirty="0">
                <a:latin typeface="微软雅黑" panose="020B0503020204020204" pitchFamily="34" charset="-122"/>
                <a:ea typeface="微软雅黑" panose="020B0503020204020204" pitchFamily="34" charset="-122"/>
              </a:rPr>
              <a:t>进程在某端口如</a:t>
            </a:r>
            <a:r>
              <a:rPr lang="en-US" altLang="zh-CN" sz="1200" dirty="0">
                <a:latin typeface="微软雅黑" panose="020B0503020204020204" pitchFamily="34" charset="-122"/>
                <a:ea typeface="微软雅黑" panose="020B0503020204020204" pitchFamily="34" charset="-122"/>
              </a:rPr>
              <a:t>3261</a:t>
            </a:r>
            <a:endParaRPr lang="en-US" sz="1200" dirty="0">
              <a:latin typeface="微软雅黑" panose="020B0503020204020204" pitchFamily="34" charset="-122"/>
              <a:ea typeface="微软雅黑" panose="020B0503020204020204" pitchFamily="34" charset="-122"/>
            </a:endParaRPr>
          </a:p>
        </p:txBody>
      </p:sp>
      <p:sp>
        <p:nvSpPr>
          <p:cNvPr id="20" name="文本框 47"/>
          <p:cNvSpPr txBox="1"/>
          <p:nvPr>
            <p:custDataLst>
              <p:tags r:id="rId6"/>
            </p:custDataLst>
          </p:nvPr>
        </p:nvSpPr>
        <p:spPr>
          <a:xfrm>
            <a:off x="2532754" y="5192739"/>
            <a:ext cx="6457922" cy="276999"/>
          </a:xfrm>
          <a:prstGeom prst="rect">
            <a:avLst/>
          </a:prstGeom>
          <a:noFill/>
        </p:spPr>
        <p:txBody>
          <a:bodyPr wrap="none" rtlCol="0">
            <a:spAutoFit/>
          </a:bodyPr>
          <a:lstStyle/>
          <a:p>
            <a:r>
              <a:rPr lang="en-US" altLang="zh-CN" sz="1200" dirty="0">
                <a:latin typeface="微软雅黑" panose="020B0503020204020204" pitchFamily="34" charset="-122"/>
                <a:ea typeface="微软雅黑" panose="020B0503020204020204" pitchFamily="34" charset="-122"/>
              </a:rPr>
              <a:t>CData</a:t>
            </a:r>
            <a:r>
              <a:rPr lang="zh-CN" altLang="en-US" sz="1200" dirty="0">
                <a:latin typeface="微软雅黑" panose="020B0503020204020204" pitchFamily="34" charset="-122"/>
                <a:ea typeface="微软雅黑" panose="020B0503020204020204" pitchFamily="34" charset="-122"/>
              </a:rPr>
              <a:t>云管平台发送命令到</a:t>
            </a:r>
            <a:r>
              <a:rPr lang="en-US" altLang="zh-CN" sz="1200" dirty="0">
                <a:latin typeface="微软雅黑" panose="020B0503020204020204" pitchFamily="34" charset="-122"/>
                <a:ea typeface="微软雅黑" panose="020B0503020204020204" pitchFamily="34" charset="-122"/>
              </a:rPr>
              <a:t>CFabric</a:t>
            </a:r>
            <a:r>
              <a:rPr lang="zh-CN" altLang="en-US" sz="1200" dirty="0">
                <a:latin typeface="微软雅黑" panose="020B0503020204020204" pitchFamily="34" charset="-122"/>
                <a:ea typeface="微软雅黑" panose="020B0503020204020204" pitchFamily="34" charset="-122"/>
              </a:rPr>
              <a:t>服务端：在</a:t>
            </a:r>
            <a:r>
              <a:rPr lang="en-US" altLang="zh-CN" sz="1200" dirty="0">
                <a:latin typeface="微软雅黑" panose="020B0503020204020204" pitchFamily="34" charset="-122"/>
                <a:ea typeface="微软雅黑" panose="020B0503020204020204" pitchFamily="34" charset="-122"/>
              </a:rPr>
              <a:t>cspd</a:t>
            </a:r>
            <a:r>
              <a:rPr lang="zh-CN" altLang="en-US" sz="1200" dirty="0">
                <a:latin typeface="微软雅黑" panose="020B0503020204020204" pitchFamily="34" charset="-122"/>
                <a:ea typeface="微软雅黑" panose="020B0503020204020204" pitchFamily="34" charset="-122"/>
              </a:rPr>
              <a:t>中创建</a:t>
            </a:r>
            <a:r>
              <a:rPr lang="en-US" altLang="zh-CN" sz="1200" dirty="0">
                <a:latin typeface="微软雅黑" panose="020B0503020204020204" pitchFamily="34" charset="-122"/>
                <a:ea typeface="微软雅黑" panose="020B0503020204020204" pitchFamily="34" charset="-122"/>
              </a:rPr>
              <a:t>target</a:t>
            </a:r>
            <a:r>
              <a:rPr lang="zh-CN" altLang="en-US" sz="1200" dirty="0">
                <a:latin typeface="微软雅黑" panose="020B0503020204020204" pitchFamily="34" charset="-122"/>
                <a:ea typeface="微软雅黑" panose="020B0503020204020204" pitchFamily="34" charset="-122"/>
              </a:rPr>
              <a:t>，增加相应的</a:t>
            </a:r>
            <a:r>
              <a:rPr lang="en-US" altLang="zh-CN" sz="1200" dirty="0">
                <a:latin typeface="微软雅黑" panose="020B0503020204020204" pitchFamily="34" charset="-122"/>
                <a:ea typeface="微软雅黑" panose="020B0503020204020204" pitchFamily="34" charset="-122"/>
              </a:rPr>
              <a:t>ACL</a:t>
            </a:r>
            <a:r>
              <a:rPr lang="zh-CN" altLang="en-US" sz="1200" dirty="0">
                <a:latin typeface="微软雅黑" panose="020B0503020204020204" pitchFamily="34" charset="-122"/>
                <a:ea typeface="微软雅黑" panose="020B0503020204020204" pitchFamily="34" charset="-122"/>
              </a:rPr>
              <a:t>访问控制</a:t>
            </a:r>
            <a:endParaRPr lang="en-US" sz="1200" dirty="0">
              <a:latin typeface="微软雅黑" panose="020B0503020204020204" pitchFamily="34" charset="-122"/>
              <a:ea typeface="微软雅黑" panose="020B0503020204020204" pitchFamily="34" charset="-122"/>
            </a:endParaRPr>
          </a:p>
        </p:txBody>
      </p:sp>
      <p:sp>
        <p:nvSpPr>
          <p:cNvPr id="22" name="文本框 49"/>
          <p:cNvSpPr txBox="1"/>
          <p:nvPr>
            <p:custDataLst>
              <p:tags r:id="rId7"/>
            </p:custDataLst>
          </p:nvPr>
        </p:nvSpPr>
        <p:spPr>
          <a:xfrm>
            <a:off x="2532754" y="5705815"/>
            <a:ext cx="7457170" cy="276999"/>
          </a:xfrm>
          <a:prstGeom prst="rect">
            <a:avLst/>
          </a:prstGeom>
          <a:noFill/>
        </p:spPr>
        <p:txBody>
          <a:bodyPr wrap="none" rtlCol="0">
            <a:spAutoFit/>
          </a:bodyPr>
          <a:lstStyle/>
          <a:p>
            <a:r>
              <a:rPr lang="en-US" altLang="zh-CN" sz="1200" dirty="0">
                <a:latin typeface="微软雅黑" panose="020B0503020204020204" pitchFamily="34" charset="-122"/>
                <a:ea typeface="微软雅黑" panose="020B0503020204020204" pitchFamily="34" charset="-122"/>
              </a:rPr>
              <a:t>CData</a:t>
            </a:r>
            <a:r>
              <a:rPr lang="zh-CN" altLang="en-US" sz="1200" dirty="0">
                <a:latin typeface="微软雅黑" panose="020B0503020204020204" pitchFamily="34" charset="-122"/>
                <a:ea typeface="微软雅黑" panose="020B0503020204020204" pitchFamily="34" charset="-122"/>
              </a:rPr>
              <a:t>云管平台发送命令到</a:t>
            </a:r>
            <a:r>
              <a:rPr lang="en-US" altLang="zh-CN" sz="1200" dirty="0">
                <a:latin typeface="微软雅黑" panose="020B0503020204020204" pitchFamily="34" charset="-122"/>
                <a:ea typeface="微软雅黑" panose="020B0503020204020204" pitchFamily="34" charset="-122"/>
              </a:rPr>
              <a:t>CFabric</a:t>
            </a:r>
            <a:r>
              <a:rPr lang="zh-CN" altLang="en-US" sz="1200" dirty="0">
                <a:latin typeface="微软雅黑" panose="020B0503020204020204" pitchFamily="34" charset="-122"/>
                <a:ea typeface="微软雅黑" panose="020B0503020204020204" pitchFamily="34" charset="-122"/>
              </a:rPr>
              <a:t>服务端：在</a:t>
            </a:r>
            <a:r>
              <a:rPr lang="en-US" altLang="zh-CN" sz="1200" dirty="0">
                <a:latin typeface="微软雅黑" panose="020B0503020204020204" pitchFamily="34" charset="-122"/>
                <a:ea typeface="微软雅黑" panose="020B0503020204020204" pitchFamily="34" charset="-122"/>
              </a:rPr>
              <a:t>target</a:t>
            </a:r>
            <a:r>
              <a:rPr lang="zh-CN" altLang="en-US" sz="1200" dirty="0">
                <a:latin typeface="微软雅黑" panose="020B0503020204020204" pitchFamily="34" charset="-122"/>
                <a:ea typeface="微软雅黑" panose="020B0503020204020204" pitchFamily="34" charset="-122"/>
              </a:rPr>
              <a:t>下创建</a:t>
            </a:r>
            <a:r>
              <a:rPr lang="en-US" altLang="zh-CN" sz="1200" dirty="0" err="1">
                <a:latin typeface="微软雅黑" panose="020B0503020204020204" pitchFamily="34" charset="-122"/>
                <a:ea typeface="微软雅黑" panose="020B0503020204020204" pitchFamily="34" charset="-122"/>
              </a:rPr>
              <a:t>Lun</a:t>
            </a:r>
            <a:r>
              <a:rPr lang="zh-CN" altLang="en-US" sz="1200" dirty="0">
                <a:latin typeface="微软雅黑" panose="020B0503020204020204" pitchFamily="34" charset="-122"/>
                <a:ea typeface="微软雅黑" panose="020B0503020204020204" pitchFamily="34" charset="-122"/>
              </a:rPr>
              <a:t>，即把</a:t>
            </a:r>
            <a:r>
              <a:rPr lang="en-US" altLang="zh-CN" sz="1200" dirty="0" err="1">
                <a:latin typeface="微软雅黑" panose="020B0503020204020204" pitchFamily="34" charset="-122"/>
                <a:ea typeface="微软雅黑" panose="020B0503020204020204" pitchFamily="34" charset="-122"/>
              </a:rPr>
              <a:t>lun</a:t>
            </a:r>
            <a:r>
              <a:rPr lang="zh-CN" altLang="en-US" sz="1200" dirty="0">
                <a:latin typeface="微软雅黑" panose="020B0503020204020204" pitchFamily="34" charset="-122"/>
                <a:ea typeface="微软雅黑" panose="020B0503020204020204" pitchFamily="34" charset="-122"/>
              </a:rPr>
              <a:t>与存储节点的磁盘与</a:t>
            </a:r>
            <a:r>
              <a:rPr lang="en-US" altLang="zh-CN" sz="1200" dirty="0" err="1">
                <a:latin typeface="微软雅黑" panose="020B0503020204020204" pitchFamily="34" charset="-122"/>
                <a:ea typeface="微软雅黑" panose="020B0503020204020204" pitchFamily="34" charset="-122"/>
              </a:rPr>
              <a:t>Lun</a:t>
            </a:r>
            <a:r>
              <a:rPr lang="zh-CN" altLang="en-US" sz="1200" dirty="0">
                <a:latin typeface="微软雅黑" panose="020B0503020204020204" pitchFamily="34" charset="-122"/>
                <a:ea typeface="微软雅黑" panose="020B0503020204020204" pitchFamily="34" charset="-122"/>
              </a:rPr>
              <a:t>对接起来</a:t>
            </a:r>
            <a:endParaRPr lang="en-US" sz="1200" dirty="0">
              <a:latin typeface="微软雅黑" panose="020B0503020204020204" pitchFamily="34" charset="-122"/>
              <a:ea typeface="微软雅黑" panose="020B0503020204020204" pitchFamily="34" charset="-122"/>
            </a:endParaRPr>
          </a:p>
        </p:txBody>
      </p:sp>
      <p:sp>
        <p:nvSpPr>
          <p:cNvPr id="25" name="文本框 51"/>
          <p:cNvSpPr txBox="1"/>
          <p:nvPr>
            <p:custDataLst>
              <p:tags r:id="rId8"/>
            </p:custDataLst>
          </p:nvPr>
        </p:nvSpPr>
        <p:spPr>
          <a:xfrm>
            <a:off x="2532754" y="6210121"/>
            <a:ext cx="4977901" cy="276999"/>
          </a:xfrm>
          <a:prstGeom prst="rect">
            <a:avLst/>
          </a:prstGeom>
          <a:noFill/>
        </p:spPr>
        <p:txBody>
          <a:bodyPr wrap="none" rtlCol="0">
            <a:spAutoFit/>
          </a:bodyPr>
          <a:lstStyle/>
          <a:p>
            <a:r>
              <a:rPr lang="en-US" altLang="zh-CN" sz="1200" dirty="0">
                <a:latin typeface="微软雅黑" panose="020B0503020204020204" pitchFamily="34" charset="-122"/>
                <a:ea typeface="微软雅黑" panose="020B0503020204020204" pitchFamily="34" charset="-122"/>
              </a:rPr>
              <a:t>CData</a:t>
            </a:r>
            <a:r>
              <a:rPr lang="zh-CN" altLang="en-US" sz="1200" dirty="0">
                <a:latin typeface="微软雅黑" panose="020B0503020204020204" pitchFamily="34" charset="-122"/>
                <a:ea typeface="微软雅黑" panose="020B0503020204020204" pitchFamily="34" charset="-122"/>
              </a:rPr>
              <a:t>云管平台发送命令到</a:t>
            </a:r>
            <a:r>
              <a:rPr lang="en-US" altLang="zh-CN" sz="1200" dirty="0">
                <a:latin typeface="微软雅黑" panose="020B0503020204020204" pitchFamily="34" charset="-122"/>
                <a:ea typeface="微软雅黑" panose="020B0503020204020204" pitchFamily="34" charset="-122"/>
              </a:rPr>
              <a:t>CFabric</a:t>
            </a:r>
            <a:r>
              <a:rPr lang="zh-CN" altLang="en-US" sz="1200" dirty="0">
                <a:latin typeface="微软雅黑" panose="020B0503020204020204" pitchFamily="34" charset="-122"/>
                <a:ea typeface="微软雅黑" panose="020B0503020204020204" pitchFamily="34" charset="-122"/>
              </a:rPr>
              <a:t>客户端：挂载</a:t>
            </a:r>
            <a:r>
              <a:rPr lang="en-US" altLang="zh-CN" sz="1200" dirty="0" err="1">
                <a:latin typeface="微软雅黑" panose="020B0503020204020204" pitchFamily="34" charset="-122"/>
                <a:ea typeface="微软雅黑" panose="020B0503020204020204" pitchFamily="34" charset="-122"/>
              </a:rPr>
              <a:t>Lun</a:t>
            </a:r>
            <a:r>
              <a:rPr lang="zh-CN" altLang="en-US" sz="1200" dirty="0">
                <a:latin typeface="微软雅黑" panose="020B0503020204020204" pitchFamily="34" charset="-122"/>
                <a:ea typeface="微软雅黑" panose="020B0503020204020204" pitchFamily="34" charset="-122"/>
              </a:rPr>
              <a:t>，组合多路径盘</a:t>
            </a:r>
            <a:endParaRPr lang="en-US" sz="1200" dirty="0">
              <a:latin typeface="微软雅黑" panose="020B0503020204020204" pitchFamily="34" charset="-122"/>
              <a:ea typeface="微软雅黑" panose="020B0503020204020204" pitchFamily="34" charset="-122"/>
            </a:endParaRPr>
          </a:p>
        </p:txBody>
      </p:sp>
      <p:sp>
        <p:nvSpPr>
          <p:cNvPr id="27" name="圆角矩形 26"/>
          <p:cNvSpPr/>
          <p:nvPr>
            <p:custDataLst>
              <p:tags r:id="rId9"/>
            </p:custDataLst>
          </p:nvPr>
        </p:nvSpPr>
        <p:spPr bwMode="auto">
          <a:xfrm>
            <a:off x="3727132" y="1296101"/>
            <a:ext cx="3707380" cy="547466"/>
          </a:xfrm>
          <a:prstGeom prst="roundRect">
            <a:avLst>
              <a:gd name="adj" fmla="val 8528"/>
            </a:avLst>
          </a:prstGeom>
          <a:solidFill>
            <a:srgbClr val="0099CC"/>
          </a:solidFill>
          <a:ln w="6350">
            <a:noFill/>
            <a:round/>
          </a:ln>
          <a:effectLst>
            <a:outerShdw blurRad="63500" algn="ctr" rotWithShape="0">
              <a:prstClr val="black">
                <a:alpha val="40000"/>
              </a:prstClr>
            </a:outerShdw>
          </a:effectLst>
        </p:spPr>
        <p:txBody>
          <a:bodyPr anchor="ctr"/>
          <a:lstStyle/>
          <a:p>
            <a:pPr algn="ctr"/>
            <a:r>
              <a:rPr lang="en-US" altLang="zh-CN" sz="1400" b="1" dirty="0">
                <a:solidFill>
                  <a:schemeClr val="bg1"/>
                </a:solidFill>
                <a:latin typeface="微软雅黑" panose="020B0503020204020204" pitchFamily="34" charset="-122"/>
                <a:ea typeface="微软雅黑" panose="020B0503020204020204" pitchFamily="34" charset="-122"/>
              </a:rPr>
              <a:t>CData</a:t>
            </a:r>
            <a:r>
              <a:rPr lang="zh-CN" altLang="en-US" sz="1400" b="1" dirty="0">
                <a:solidFill>
                  <a:schemeClr val="bg1"/>
                </a:solidFill>
                <a:latin typeface="微软雅黑" panose="020B0503020204020204" pitchFamily="34" charset="-122"/>
                <a:ea typeface="微软雅黑" panose="020B0503020204020204" pitchFamily="34" charset="-122"/>
              </a:rPr>
              <a:t>分布式存储云管理平台</a:t>
            </a:r>
            <a:endParaRPr lang="en-US" altLang="zh-CN" sz="1400" b="1" dirty="0">
              <a:solidFill>
                <a:schemeClr val="bg1"/>
              </a:solidFill>
              <a:latin typeface="微软雅黑" panose="020B0503020204020204" pitchFamily="34" charset="-122"/>
              <a:ea typeface="微软雅黑" panose="020B0503020204020204" pitchFamily="34" charset="-122"/>
            </a:endParaRPr>
          </a:p>
        </p:txBody>
      </p:sp>
      <p:sp>
        <p:nvSpPr>
          <p:cNvPr id="28" name="圆角矩形 27"/>
          <p:cNvSpPr/>
          <p:nvPr>
            <p:custDataLst>
              <p:tags r:id="rId10"/>
            </p:custDataLst>
          </p:nvPr>
        </p:nvSpPr>
        <p:spPr bwMode="auto">
          <a:xfrm>
            <a:off x="6442338" y="3492453"/>
            <a:ext cx="1908000" cy="792000"/>
          </a:xfrm>
          <a:prstGeom prst="roundRect">
            <a:avLst>
              <a:gd name="adj" fmla="val 8528"/>
            </a:avLst>
          </a:prstGeom>
          <a:solidFill>
            <a:srgbClr val="0099CC"/>
          </a:solidFill>
          <a:ln w="6350">
            <a:noFill/>
            <a:round/>
          </a:ln>
          <a:effectLst>
            <a:outerShdw blurRad="63500" algn="ctr" rotWithShape="0">
              <a:prstClr val="black">
                <a:alpha val="40000"/>
              </a:prstClr>
            </a:outerShdw>
          </a:effectLst>
        </p:spPr>
        <p:txBody>
          <a:bodyPr anchor="ctr"/>
          <a:lstStyle/>
          <a:p>
            <a:pPr algn="ctr"/>
            <a:r>
              <a:rPr lang="en-US" altLang="zh-CN" sz="1400" b="1" dirty="0">
                <a:solidFill>
                  <a:schemeClr val="bg1"/>
                </a:solidFill>
                <a:latin typeface="微软雅黑" panose="020B0503020204020204" pitchFamily="34" charset="-122"/>
                <a:ea typeface="微软雅黑" panose="020B0503020204020204" pitchFamily="34" charset="-122"/>
              </a:rPr>
              <a:t>CFabic</a:t>
            </a:r>
            <a:r>
              <a:rPr lang="zh-CN" altLang="en-US" sz="1400" b="1" dirty="0">
                <a:solidFill>
                  <a:schemeClr val="bg1"/>
                </a:solidFill>
                <a:latin typeface="微软雅黑" panose="020B0503020204020204" pitchFamily="34" charset="-122"/>
                <a:ea typeface="微软雅黑" panose="020B0503020204020204" pitchFamily="34" charset="-122"/>
              </a:rPr>
              <a:t>服务端</a:t>
            </a:r>
            <a:endParaRPr lang="en-US" altLang="zh-CN" sz="1400" b="1" dirty="0">
              <a:solidFill>
                <a:schemeClr val="bg1"/>
              </a:solidFill>
              <a:latin typeface="微软雅黑" panose="020B0503020204020204" pitchFamily="34" charset="-122"/>
              <a:ea typeface="微软雅黑" panose="020B0503020204020204" pitchFamily="34" charset="-122"/>
            </a:endParaRPr>
          </a:p>
        </p:txBody>
      </p:sp>
      <p:sp>
        <p:nvSpPr>
          <p:cNvPr id="29" name="圆角矩形 28"/>
          <p:cNvSpPr/>
          <p:nvPr>
            <p:custDataLst>
              <p:tags r:id="rId11"/>
            </p:custDataLst>
          </p:nvPr>
        </p:nvSpPr>
        <p:spPr bwMode="auto">
          <a:xfrm>
            <a:off x="2955862" y="3492452"/>
            <a:ext cx="1908000" cy="791397"/>
          </a:xfrm>
          <a:prstGeom prst="roundRect">
            <a:avLst>
              <a:gd name="adj" fmla="val 8528"/>
            </a:avLst>
          </a:prstGeom>
          <a:solidFill>
            <a:schemeClr val="accent6"/>
          </a:solidFill>
          <a:ln w="6350">
            <a:noFill/>
            <a:round/>
          </a:ln>
          <a:effectLst>
            <a:outerShdw blurRad="63500" algn="ctr" rotWithShape="0">
              <a:prstClr val="black">
                <a:alpha val="40000"/>
              </a:prstClr>
            </a:outerShdw>
          </a:effectLst>
        </p:spPr>
        <p:txBody>
          <a:bodyPr anchor="ctr"/>
          <a:lstStyle/>
          <a:p>
            <a:pPr algn="ctr"/>
            <a:r>
              <a:rPr lang="en-US" altLang="zh-CN" sz="1400" b="1" dirty="0">
                <a:solidFill>
                  <a:schemeClr val="bg1"/>
                </a:solidFill>
                <a:latin typeface="微软雅黑" panose="020B0503020204020204" pitchFamily="34" charset="-122"/>
                <a:ea typeface="微软雅黑" panose="020B0503020204020204" pitchFamily="34" charset="-122"/>
              </a:rPr>
              <a:t>CFabric</a:t>
            </a:r>
            <a:r>
              <a:rPr lang="zh-CN" altLang="en-US" sz="1400" b="1" dirty="0">
                <a:solidFill>
                  <a:schemeClr val="bg1"/>
                </a:solidFill>
                <a:latin typeface="微软雅黑" panose="020B0503020204020204" pitchFamily="34" charset="-122"/>
                <a:ea typeface="微软雅黑" panose="020B0503020204020204" pitchFamily="34" charset="-122"/>
              </a:rPr>
              <a:t>客户端</a:t>
            </a:r>
            <a:endParaRPr lang="en-US" altLang="zh-CN" sz="1400" b="1" dirty="0">
              <a:solidFill>
                <a:schemeClr val="bg1"/>
              </a:solidFill>
              <a:latin typeface="微软雅黑" panose="020B0503020204020204" pitchFamily="34" charset="-122"/>
              <a:ea typeface="微软雅黑" panose="020B0503020204020204" pitchFamily="34" charset="-122"/>
            </a:endParaRPr>
          </a:p>
        </p:txBody>
      </p:sp>
      <p:cxnSp>
        <p:nvCxnSpPr>
          <p:cNvPr id="44" name="曲线连接符 43"/>
          <p:cNvCxnSpPr/>
          <p:nvPr>
            <p:custDataLst>
              <p:tags r:id="rId12"/>
            </p:custDataLst>
          </p:nvPr>
        </p:nvCxnSpPr>
        <p:spPr>
          <a:xfrm rot="16200000" flipH="1">
            <a:off x="6594479" y="2110444"/>
            <a:ext cx="1628354" cy="1094593"/>
          </a:xfrm>
          <a:prstGeom prst="curved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4" name="椭圆 13"/>
          <p:cNvSpPr/>
          <p:nvPr>
            <p:custDataLst>
              <p:tags r:id="rId13"/>
            </p:custDataLst>
          </p:nvPr>
        </p:nvSpPr>
        <p:spPr>
          <a:xfrm>
            <a:off x="7167671" y="2362117"/>
            <a:ext cx="269631" cy="269631"/>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微软雅黑" panose="020B0503020204020204" pitchFamily="34" charset="-122"/>
                <a:ea typeface="微软雅黑" panose="020B0503020204020204" pitchFamily="34" charset="-122"/>
              </a:rPr>
              <a:t>1</a:t>
            </a:r>
            <a:endParaRPr lang="en-US" sz="1600" dirty="0">
              <a:solidFill>
                <a:schemeClr val="bg1"/>
              </a:solidFill>
              <a:latin typeface="微软雅黑" panose="020B0503020204020204" pitchFamily="34" charset="-122"/>
              <a:ea typeface="微软雅黑" panose="020B0503020204020204" pitchFamily="34" charset="-122"/>
            </a:endParaRPr>
          </a:p>
        </p:txBody>
      </p:sp>
      <p:sp>
        <p:nvSpPr>
          <p:cNvPr id="56" name="椭圆 55"/>
          <p:cNvSpPr/>
          <p:nvPr>
            <p:custDataLst>
              <p:tags r:id="rId14"/>
            </p:custDataLst>
          </p:nvPr>
        </p:nvSpPr>
        <p:spPr>
          <a:xfrm>
            <a:off x="6726544" y="2552158"/>
            <a:ext cx="269631" cy="269631"/>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微软雅黑" panose="020B0503020204020204" pitchFamily="34" charset="-122"/>
                <a:ea typeface="微软雅黑" panose="020B0503020204020204" pitchFamily="34" charset="-122"/>
              </a:rPr>
              <a:t>2</a:t>
            </a:r>
            <a:endParaRPr lang="en-US" sz="1600" dirty="0">
              <a:solidFill>
                <a:schemeClr val="bg1"/>
              </a:solidFill>
              <a:latin typeface="微软雅黑" panose="020B0503020204020204" pitchFamily="34" charset="-122"/>
              <a:ea typeface="微软雅黑" panose="020B0503020204020204" pitchFamily="34" charset="-122"/>
            </a:endParaRPr>
          </a:p>
        </p:txBody>
      </p:sp>
      <p:sp>
        <p:nvSpPr>
          <p:cNvPr id="57" name="椭圆 56"/>
          <p:cNvSpPr/>
          <p:nvPr>
            <p:custDataLst>
              <p:tags r:id="rId15"/>
            </p:custDataLst>
          </p:nvPr>
        </p:nvSpPr>
        <p:spPr>
          <a:xfrm>
            <a:off x="6233698" y="2693936"/>
            <a:ext cx="269631" cy="269631"/>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微软雅黑" panose="020B0503020204020204" pitchFamily="34" charset="-122"/>
                <a:ea typeface="微软雅黑" panose="020B0503020204020204" pitchFamily="34" charset="-122"/>
              </a:rPr>
              <a:t>3</a:t>
            </a:r>
            <a:endParaRPr lang="en-US" sz="1600" dirty="0">
              <a:solidFill>
                <a:schemeClr val="bg1"/>
              </a:solidFill>
              <a:latin typeface="微软雅黑" panose="020B0503020204020204" pitchFamily="34" charset="-122"/>
              <a:ea typeface="微软雅黑" panose="020B0503020204020204" pitchFamily="34" charset="-122"/>
            </a:endParaRPr>
          </a:p>
        </p:txBody>
      </p:sp>
      <p:sp>
        <p:nvSpPr>
          <p:cNvPr id="58" name="椭圆 57"/>
          <p:cNvSpPr/>
          <p:nvPr>
            <p:custDataLst>
              <p:tags r:id="rId16"/>
            </p:custDataLst>
          </p:nvPr>
        </p:nvSpPr>
        <p:spPr>
          <a:xfrm>
            <a:off x="3651134" y="2853118"/>
            <a:ext cx="269631" cy="269631"/>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微软雅黑" panose="020B0503020204020204" pitchFamily="34" charset="-122"/>
                <a:ea typeface="微软雅黑" panose="020B0503020204020204" pitchFamily="34" charset="-122"/>
              </a:rPr>
              <a:t>4</a:t>
            </a:r>
            <a:endParaRPr lang="en-US" sz="1600" dirty="0">
              <a:solidFill>
                <a:schemeClr val="bg1"/>
              </a:solidFill>
              <a:latin typeface="微软雅黑" panose="020B0503020204020204" pitchFamily="34" charset="-122"/>
              <a:ea typeface="微软雅黑" panose="020B0503020204020204" pitchFamily="34" charset="-122"/>
            </a:endParaRPr>
          </a:p>
        </p:txBody>
      </p:sp>
      <p:sp>
        <p:nvSpPr>
          <p:cNvPr id="60" name="椭圆 59"/>
          <p:cNvSpPr/>
          <p:nvPr>
            <p:custDataLst>
              <p:tags r:id="rId17"/>
            </p:custDataLst>
          </p:nvPr>
        </p:nvSpPr>
        <p:spPr>
          <a:xfrm>
            <a:off x="2112890" y="4732581"/>
            <a:ext cx="269631" cy="269631"/>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a:solidFill>
                  <a:schemeClr val="bg1"/>
                </a:solidFill>
                <a:latin typeface="微软雅黑" panose="020B0503020204020204" pitchFamily="34" charset="-122"/>
                <a:ea typeface="微软雅黑" panose="020B0503020204020204" pitchFamily="34" charset="-122"/>
              </a:rPr>
              <a:t>1</a:t>
            </a:r>
            <a:endParaRPr lang="en-US" sz="1600">
              <a:solidFill>
                <a:schemeClr val="bg1"/>
              </a:solidFill>
              <a:latin typeface="微软雅黑" panose="020B0503020204020204" pitchFamily="34" charset="-122"/>
              <a:ea typeface="微软雅黑" panose="020B0503020204020204" pitchFamily="34" charset="-122"/>
            </a:endParaRPr>
          </a:p>
        </p:txBody>
      </p:sp>
      <p:sp>
        <p:nvSpPr>
          <p:cNvPr id="61" name="椭圆 60"/>
          <p:cNvSpPr/>
          <p:nvPr>
            <p:custDataLst>
              <p:tags r:id="rId18"/>
            </p:custDataLst>
          </p:nvPr>
        </p:nvSpPr>
        <p:spPr>
          <a:xfrm>
            <a:off x="2112890" y="5200107"/>
            <a:ext cx="269631" cy="269631"/>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微软雅黑" panose="020B0503020204020204" pitchFamily="34" charset="-122"/>
                <a:ea typeface="微软雅黑" panose="020B0503020204020204" pitchFamily="34" charset="-122"/>
              </a:rPr>
              <a:t>2</a:t>
            </a:r>
            <a:endParaRPr lang="en-US" sz="1600" dirty="0">
              <a:solidFill>
                <a:schemeClr val="bg1"/>
              </a:solidFill>
              <a:latin typeface="微软雅黑" panose="020B0503020204020204" pitchFamily="34" charset="-122"/>
              <a:ea typeface="微软雅黑" panose="020B0503020204020204" pitchFamily="34" charset="-122"/>
            </a:endParaRPr>
          </a:p>
        </p:txBody>
      </p:sp>
      <p:sp>
        <p:nvSpPr>
          <p:cNvPr id="62" name="椭圆 61"/>
          <p:cNvSpPr/>
          <p:nvPr>
            <p:custDataLst>
              <p:tags r:id="rId19"/>
            </p:custDataLst>
          </p:nvPr>
        </p:nvSpPr>
        <p:spPr>
          <a:xfrm>
            <a:off x="2112889" y="5705815"/>
            <a:ext cx="269631" cy="269631"/>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微软雅黑" panose="020B0503020204020204" pitchFamily="34" charset="-122"/>
                <a:ea typeface="微软雅黑" panose="020B0503020204020204" pitchFamily="34" charset="-122"/>
              </a:rPr>
              <a:t>3</a:t>
            </a:r>
            <a:endParaRPr lang="en-US" sz="1600" dirty="0">
              <a:solidFill>
                <a:schemeClr val="bg1"/>
              </a:solidFill>
              <a:latin typeface="微软雅黑" panose="020B0503020204020204" pitchFamily="34" charset="-122"/>
              <a:ea typeface="微软雅黑" panose="020B0503020204020204" pitchFamily="34" charset="-122"/>
            </a:endParaRPr>
          </a:p>
        </p:txBody>
      </p:sp>
      <p:sp>
        <p:nvSpPr>
          <p:cNvPr id="63" name="椭圆 62"/>
          <p:cNvSpPr/>
          <p:nvPr>
            <p:custDataLst>
              <p:tags r:id="rId20"/>
            </p:custDataLst>
          </p:nvPr>
        </p:nvSpPr>
        <p:spPr>
          <a:xfrm>
            <a:off x="2112888" y="6210121"/>
            <a:ext cx="269631" cy="269631"/>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微软雅黑" panose="020B0503020204020204" pitchFamily="34" charset="-122"/>
                <a:ea typeface="微软雅黑" panose="020B0503020204020204" pitchFamily="34" charset="-122"/>
              </a:rPr>
              <a:t>4</a:t>
            </a:r>
            <a:endParaRPr lang="en-US" sz="1600" dirty="0">
              <a:solidFill>
                <a:schemeClr val="bg1"/>
              </a:solidFill>
              <a:latin typeface="微软雅黑" panose="020B0503020204020204" pitchFamily="34" charset="-122"/>
              <a:ea typeface="微软雅黑" panose="020B0503020204020204" pitchFamily="34" charset="-122"/>
            </a:endParaRPr>
          </a:p>
        </p:txBody>
      </p:sp>
      <p:grpSp>
        <p:nvGrpSpPr>
          <p:cNvPr id="148" name="组合 147"/>
          <p:cNvGrpSpPr/>
          <p:nvPr/>
        </p:nvGrpSpPr>
        <p:grpSpPr>
          <a:xfrm>
            <a:off x="215128" y="1652348"/>
            <a:ext cx="2158131" cy="2771876"/>
            <a:chOff x="215128" y="1515188"/>
            <a:chExt cx="2158131" cy="2771876"/>
          </a:xfrm>
        </p:grpSpPr>
        <p:sp>
          <p:nvSpPr>
            <p:cNvPr id="100" name="圆角矩形 99"/>
            <p:cNvSpPr/>
            <p:nvPr>
              <p:custDataLst>
                <p:tags r:id="rId21"/>
              </p:custDataLst>
            </p:nvPr>
          </p:nvSpPr>
          <p:spPr>
            <a:xfrm>
              <a:off x="215128" y="1903437"/>
              <a:ext cx="2158131" cy="2383627"/>
            </a:xfrm>
            <a:prstGeom prst="roundRect">
              <a:avLst>
                <a:gd name="adj" fmla="val 59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a:solidFill>
                  <a:srgbClr val="242438"/>
                </a:solidFill>
                <a:latin typeface="Arial" panose="020B0604020202020204" pitchFamily="34" charset="0"/>
                <a:ea typeface="Arial" panose="020B0604020202020204" pitchFamily="34" charset="0"/>
                <a:cs typeface="Arial" panose="020B0604020202020204" pitchFamily="34" charset="0"/>
              </a:endParaRPr>
            </a:p>
          </p:txBody>
        </p:sp>
        <p:sp>
          <p:nvSpPr>
            <p:cNvPr id="101" name="圆角矩形 100"/>
            <p:cNvSpPr/>
            <p:nvPr>
              <p:custDataLst>
                <p:tags r:id="rId22"/>
              </p:custDataLst>
            </p:nvPr>
          </p:nvSpPr>
          <p:spPr>
            <a:xfrm>
              <a:off x="331490" y="2046345"/>
              <a:ext cx="1891537" cy="368653"/>
            </a:xfrm>
            <a:prstGeom prst="roundRect">
              <a:avLst>
                <a:gd name="adj" fmla="val 590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客户端</a:t>
              </a:r>
              <a:r>
                <a:rPr lang="en-US" altLang="zh-CN" sz="120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API</a:t>
              </a:r>
              <a:endParaRPr lang="zh-CN" altLang="en-US" sz="1200" b="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32" name="圆角矩形 131"/>
            <p:cNvSpPr/>
            <p:nvPr>
              <p:custDataLst>
                <p:tags r:id="rId23"/>
              </p:custDataLst>
            </p:nvPr>
          </p:nvSpPr>
          <p:spPr>
            <a:xfrm>
              <a:off x="331489" y="2478712"/>
              <a:ext cx="1891537" cy="368653"/>
            </a:xfrm>
            <a:prstGeom prst="roundRect">
              <a:avLst>
                <a:gd name="adj" fmla="val 590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微软雅黑" panose="020B0503020204020204" pitchFamily="34" charset="-122"/>
                  <a:ea typeface="微软雅黑" panose="020B0503020204020204" pitchFamily="34" charset="-122"/>
                </a:rPr>
                <a:t>设备命名管理</a:t>
              </a:r>
              <a:endParaRPr lang="en-US" altLang="zh-CN" sz="1200" b="1" dirty="0">
                <a:latin typeface="微软雅黑" panose="020B0503020204020204" pitchFamily="34" charset="-122"/>
                <a:ea typeface="微软雅黑" panose="020B0503020204020204" pitchFamily="34" charset="-122"/>
              </a:endParaRPr>
            </a:p>
          </p:txBody>
        </p:sp>
        <p:sp>
          <p:nvSpPr>
            <p:cNvPr id="133" name="圆角矩形 132"/>
            <p:cNvSpPr/>
            <p:nvPr>
              <p:custDataLst>
                <p:tags r:id="rId24"/>
              </p:custDataLst>
            </p:nvPr>
          </p:nvSpPr>
          <p:spPr>
            <a:xfrm>
              <a:off x="334881" y="2908977"/>
              <a:ext cx="1891537" cy="368653"/>
            </a:xfrm>
            <a:prstGeom prst="roundRect">
              <a:avLst>
                <a:gd name="adj" fmla="val 590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微软雅黑" panose="020B0503020204020204" pitchFamily="34" charset="-122"/>
                  <a:ea typeface="微软雅黑" panose="020B0503020204020204" pitchFamily="34" charset="-122"/>
                </a:rPr>
                <a:t>设备副本管理</a:t>
              </a:r>
              <a:endParaRPr lang="en-US" altLang="zh-CN" sz="1200" b="1" dirty="0">
                <a:latin typeface="微软雅黑" panose="020B0503020204020204" pitchFamily="34" charset="-122"/>
                <a:ea typeface="微软雅黑" panose="020B0503020204020204" pitchFamily="34" charset="-122"/>
              </a:endParaRPr>
            </a:p>
          </p:txBody>
        </p:sp>
        <p:sp>
          <p:nvSpPr>
            <p:cNvPr id="134" name="圆角矩形 133"/>
            <p:cNvSpPr/>
            <p:nvPr>
              <p:custDataLst>
                <p:tags r:id="rId25"/>
              </p:custDataLst>
            </p:nvPr>
          </p:nvSpPr>
          <p:spPr>
            <a:xfrm>
              <a:off x="331488" y="3334758"/>
              <a:ext cx="1891537" cy="368653"/>
            </a:xfrm>
            <a:prstGeom prst="roundRect">
              <a:avLst>
                <a:gd name="adj" fmla="val 590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微软雅黑" panose="020B0503020204020204" pitchFamily="34" charset="-122"/>
                  <a:ea typeface="微软雅黑" panose="020B0503020204020204" pitchFamily="34" charset="-122"/>
                </a:rPr>
                <a:t>多路径管理</a:t>
              </a:r>
              <a:endParaRPr lang="en-US" altLang="zh-CN" sz="1200" b="1" dirty="0">
                <a:latin typeface="微软雅黑" panose="020B0503020204020204" pitchFamily="34" charset="-122"/>
                <a:ea typeface="微软雅黑" panose="020B0503020204020204" pitchFamily="34" charset="-122"/>
              </a:endParaRPr>
            </a:p>
          </p:txBody>
        </p:sp>
        <p:sp>
          <p:nvSpPr>
            <p:cNvPr id="135" name="圆角矩形 134"/>
            <p:cNvSpPr/>
            <p:nvPr>
              <p:custDataLst>
                <p:tags r:id="rId26"/>
              </p:custDataLst>
            </p:nvPr>
          </p:nvSpPr>
          <p:spPr>
            <a:xfrm>
              <a:off x="331487" y="3766940"/>
              <a:ext cx="1891537" cy="368653"/>
            </a:xfrm>
            <a:prstGeom prst="roundRect">
              <a:avLst>
                <a:gd name="adj" fmla="val 590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微软雅黑" panose="020B0503020204020204" pitchFamily="34" charset="-122"/>
                  <a:ea typeface="微软雅黑" panose="020B0503020204020204" pitchFamily="34" charset="-122"/>
                </a:rPr>
                <a:t>挂载盘管理</a:t>
              </a:r>
              <a:endParaRPr lang="en-US" altLang="zh-CN" sz="1200" b="1" dirty="0">
                <a:latin typeface="微软雅黑" panose="020B0503020204020204" pitchFamily="34" charset="-122"/>
                <a:ea typeface="微软雅黑" panose="020B0503020204020204" pitchFamily="34" charset="-122"/>
              </a:endParaRPr>
            </a:p>
          </p:txBody>
        </p:sp>
        <p:sp>
          <p:nvSpPr>
            <p:cNvPr id="136" name="文本框 34"/>
            <p:cNvSpPr txBox="1"/>
            <p:nvPr>
              <p:custDataLst>
                <p:tags r:id="rId27"/>
              </p:custDataLst>
            </p:nvPr>
          </p:nvSpPr>
          <p:spPr>
            <a:xfrm>
              <a:off x="584854" y="1515188"/>
              <a:ext cx="1384803" cy="307777"/>
            </a:xfrm>
            <a:prstGeom prst="rect">
              <a:avLst/>
            </a:prstGeom>
            <a:noFill/>
          </p:spPr>
          <p:txBody>
            <a:bodyPr wrap="none" rtlCol="0">
              <a:spAutoFit/>
            </a:bodyPr>
            <a:lstStyle/>
            <a:p>
              <a:pPr algn="ctr"/>
              <a:r>
                <a:rPr lang="en-US" altLang="zh-CN" sz="1400" b="1" dirty="0">
                  <a:solidFill>
                    <a:srgbClr val="0099CC"/>
                  </a:solidFill>
                  <a:latin typeface="微软雅黑" panose="020B0503020204020204" pitchFamily="34" charset="-122"/>
                  <a:ea typeface="微软雅黑" panose="020B0503020204020204" pitchFamily="34" charset="-122"/>
                  <a:cs typeface="Arial" panose="020B0604020202020204" pitchFamily="34" charset="0"/>
                </a:rPr>
                <a:t>CFabric</a:t>
              </a:r>
              <a:r>
                <a:rPr lang="zh-CN" altLang="en-US" sz="1400" b="1" dirty="0">
                  <a:solidFill>
                    <a:srgbClr val="0099CC"/>
                  </a:solidFill>
                  <a:latin typeface="微软雅黑" panose="020B0503020204020204" pitchFamily="34" charset="-122"/>
                  <a:ea typeface="微软雅黑" panose="020B0503020204020204" pitchFamily="34" charset="-122"/>
                  <a:cs typeface="Arial" panose="020B0604020202020204" pitchFamily="34" charset="0"/>
                </a:rPr>
                <a:t>客户端</a:t>
              </a:r>
              <a:endParaRPr lang="en-US" sz="1400" b="1" dirty="0">
                <a:solidFill>
                  <a:srgbClr val="0099CC"/>
                </a:solidFill>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149" name="组合 148"/>
          <p:cNvGrpSpPr/>
          <p:nvPr/>
        </p:nvGrpSpPr>
        <p:grpSpPr>
          <a:xfrm>
            <a:off x="8962173" y="1650859"/>
            <a:ext cx="3031914" cy="2773365"/>
            <a:chOff x="8962173" y="1513699"/>
            <a:chExt cx="3031914" cy="2773365"/>
          </a:xfrm>
        </p:grpSpPr>
        <p:grpSp>
          <p:nvGrpSpPr>
            <p:cNvPr id="74" name="组合 73"/>
            <p:cNvGrpSpPr/>
            <p:nvPr/>
          </p:nvGrpSpPr>
          <p:grpSpPr>
            <a:xfrm>
              <a:off x="8962173" y="1903437"/>
              <a:ext cx="3031914" cy="2383627"/>
              <a:chOff x="1519421" y="3523557"/>
              <a:chExt cx="3031914" cy="2383627"/>
            </a:xfrm>
          </p:grpSpPr>
          <p:sp>
            <p:nvSpPr>
              <p:cNvPr id="75" name="圆角矩形 74"/>
              <p:cNvSpPr/>
              <p:nvPr>
                <p:custDataLst>
                  <p:tags r:id="rId28"/>
                </p:custDataLst>
              </p:nvPr>
            </p:nvSpPr>
            <p:spPr>
              <a:xfrm>
                <a:off x="1519421" y="3523557"/>
                <a:ext cx="3031914" cy="2383627"/>
              </a:xfrm>
              <a:prstGeom prst="roundRect">
                <a:avLst>
                  <a:gd name="adj" fmla="val 59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a:solidFill>
                    <a:srgbClr val="242438"/>
                  </a:solidFill>
                  <a:latin typeface="Arial" panose="020B0604020202020204" pitchFamily="34" charset="0"/>
                  <a:ea typeface="Arial" panose="020B0604020202020204" pitchFamily="34" charset="0"/>
                  <a:cs typeface="Arial" panose="020B0604020202020204" pitchFamily="34" charset="0"/>
                </a:endParaRPr>
              </a:p>
            </p:txBody>
          </p:sp>
          <p:sp>
            <p:nvSpPr>
              <p:cNvPr id="76" name="圆角矩形 75"/>
              <p:cNvSpPr/>
              <p:nvPr>
                <p:custDataLst>
                  <p:tags r:id="rId29"/>
                </p:custDataLst>
              </p:nvPr>
            </p:nvSpPr>
            <p:spPr>
              <a:xfrm>
                <a:off x="1635782" y="4070519"/>
                <a:ext cx="2792409" cy="368653"/>
              </a:xfrm>
              <a:prstGeom prst="roundRect">
                <a:avLst>
                  <a:gd name="adj" fmla="val 590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软件定义存储</a:t>
                </a:r>
                <a:r>
                  <a:rPr lang="en-US" altLang="zh-CN" sz="120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API</a:t>
                </a:r>
                <a:endParaRPr lang="zh-CN" altLang="en-US" sz="1200" b="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77" name="组合 76"/>
              <p:cNvGrpSpPr/>
              <p:nvPr/>
            </p:nvGrpSpPr>
            <p:grpSpPr>
              <a:xfrm>
                <a:off x="1635782" y="4499384"/>
                <a:ext cx="888654" cy="1296000"/>
                <a:chOff x="573567" y="5003630"/>
                <a:chExt cx="888654" cy="1296000"/>
              </a:xfrm>
            </p:grpSpPr>
            <p:sp>
              <p:nvSpPr>
                <p:cNvPr id="93" name="圆角矩形 92"/>
                <p:cNvSpPr/>
                <p:nvPr>
                  <p:custDataLst>
                    <p:tags r:id="rId30"/>
                  </p:custDataLst>
                </p:nvPr>
              </p:nvSpPr>
              <p:spPr bwMode="auto">
                <a:xfrm>
                  <a:off x="573567" y="5003630"/>
                  <a:ext cx="888654" cy="1296000"/>
                </a:xfrm>
                <a:prstGeom prst="roundRect">
                  <a:avLst/>
                </a:prstGeom>
                <a:solidFill>
                  <a:srgbClr val="00B0F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94" name="文本框 12"/>
                <p:cNvSpPr txBox="1"/>
                <p:nvPr>
                  <p:custDataLst>
                    <p:tags r:id="rId31"/>
                  </p:custDataLst>
                </p:nvPr>
              </p:nvSpPr>
              <p:spPr>
                <a:xfrm>
                  <a:off x="656700" y="5025556"/>
                  <a:ext cx="734311" cy="246221"/>
                </a:xfrm>
                <a:prstGeom prst="rect">
                  <a:avLst/>
                </a:prstGeom>
                <a:noFill/>
              </p:spPr>
              <p:txBody>
                <a:bodyPr wrap="square" rtlCol="0">
                  <a:spAutoFit/>
                </a:bodyPr>
                <a:lstStyle/>
                <a:p>
                  <a:r>
                    <a:rPr lang="en-US" altLang="zh-CN" sz="1000" b="1" dirty="0">
                      <a:solidFill>
                        <a:schemeClr val="bg1"/>
                      </a:solidFill>
                      <a:latin typeface="微软雅黑" panose="020B0503020204020204" pitchFamily="34" charset="-122"/>
                      <a:ea typeface="微软雅黑" panose="020B0503020204020204" pitchFamily="34" charset="-122"/>
                    </a:rPr>
                    <a:t>Target1</a:t>
                  </a:r>
                  <a:endParaRPr lang="en-US" sz="1000" b="1" dirty="0">
                    <a:solidFill>
                      <a:schemeClr val="bg1"/>
                    </a:solidFill>
                    <a:latin typeface="微软雅黑" panose="020B0503020204020204" pitchFamily="34" charset="-122"/>
                    <a:ea typeface="微软雅黑" panose="020B0503020204020204" pitchFamily="34" charset="-122"/>
                  </a:endParaRPr>
                </a:p>
              </p:txBody>
            </p:sp>
            <p:sp>
              <p:nvSpPr>
                <p:cNvPr id="95" name="圆角矩形 94"/>
                <p:cNvSpPr/>
                <p:nvPr>
                  <p:custDataLst>
                    <p:tags r:id="rId32"/>
                  </p:custDataLst>
                </p:nvPr>
              </p:nvSpPr>
              <p:spPr bwMode="auto">
                <a:xfrm>
                  <a:off x="656700" y="5271777"/>
                  <a:ext cx="734311" cy="271560"/>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b="1" dirty="0">
                      <a:latin typeface="微软雅黑" panose="020B0503020204020204" pitchFamily="34" charset="-122"/>
                      <a:ea typeface="微软雅黑" panose="020B0503020204020204" pitchFamily="34" charset="-122"/>
                    </a:rPr>
                    <a:t>ACL</a:t>
                  </a:r>
                  <a:r>
                    <a:rPr lang="zh-CN" altLang="en-US" sz="1000" b="1" dirty="0">
                      <a:latin typeface="微软雅黑" panose="020B0503020204020204" pitchFamily="34" charset="-122"/>
                      <a:ea typeface="微软雅黑" panose="020B0503020204020204" pitchFamily="34" charset="-122"/>
                    </a:rPr>
                    <a:t>控制</a:t>
                  </a:r>
                  <a:endParaRPr lang="en-US" altLang="zh-CN" sz="1000" b="1" dirty="0">
                    <a:latin typeface="微软雅黑" panose="020B0503020204020204" pitchFamily="34" charset="-122"/>
                    <a:ea typeface="微软雅黑" panose="020B0503020204020204" pitchFamily="34" charset="-122"/>
                  </a:endParaRPr>
                </a:p>
              </p:txBody>
            </p:sp>
            <p:sp>
              <p:nvSpPr>
                <p:cNvPr id="96" name="圆角矩形 95"/>
                <p:cNvSpPr/>
                <p:nvPr>
                  <p:custDataLst>
                    <p:tags r:id="rId33"/>
                  </p:custDataLst>
                </p:nvPr>
              </p:nvSpPr>
              <p:spPr bwMode="auto">
                <a:xfrm>
                  <a:off x="633582" y="5597355"/>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1</a:t>
                  </a:r>
                  <a:endParaRPr lang="en-US" altLang="zh-CN" sz="1000" dirty="0">
                    <a:latin typeface="微软雅黑" panose="020B0503020204020204" pitchFamily="34" charset="-122"/>
                    <a:ea typeface="微软雅黑" panose="020B0503020204020204" pitchFamily="34" charset="-122"/>
                  </a:endParaRPr>
                </a:p>
              </p:txBody>
            </p:sp>
            <p:sp>
              <p:nvSpPr>
                <p:cNvPr id="97" name="圆角矩形 96"/>
                <p:cNvSpPr/>
                <p:nvPr>
                  <p:custDataLst>
                    <p:tags r:id="rId34"/>
                  </p:custDataLst>
                </p:nvPr>
              </p:nvSpPr>
              <p:spPr bwMode="auto">
                <a:xfrm>
                  <a:off x="891775" y="5597354"/>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2</a:t>
                  </a:r>
                  <a:endParaRPr lang="en-US" altLang="zh-CN" sz="1000" dirty="0">
                    <a:latin typeface="微软雅黑" panose="020B0503020204020204" pitchFamily="34" charset="-122"/>
                    <a:ea typeface="微软雅黑" panose="020B0503020204020204" pitchFamily="34" charset="-122"/>
                  </a:endParaRPr>
                </a:p>
              </p:txBody>
            </p:sp>
            <p:sp>
              <p:nvSpPr>
                <p:cNvPr id="98" name="圆角矩形 97"/>
                <p:cNvSpPr/>
                <p:nvPr>
                  <p:custDataLst>
                    <p:tags r:id="rId35"/>
                  </p:custDataLst>
                </p:nvPr>
              </p:nvSpPr>
              <p:spPr bwMode="auto">
                <a:xfrm>
                  <a:off x="1155935" y="5597353"/>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3</a:t>
                  </a:r>
                  <a:endParaRPr lang="en-US" altLang="zh-CN" sz="1000" dirty="0">
                    <a:latin typeface="微软雅黑" panose="020B0503020204020204" pitchFamily="34" charset="-122"/>
                    <a:ea typeface="微软雅黑" panose="020B0503020204020204" pitchFamily="34" charset="-122"/>
                  </a:endParaRPr>
                </a:p>
              </p:txBody>
            </p:sp>
          </p:grpSp>
          <p:grpSp>
            <p:nvGrpSpPr>
              <p:cNvPr id="78" name="组合 77"/>
              <p:cNvGrpSpPr/>
              <p:nvPr/>
            </p:nvGrpSpPr>
            <p:grpSpPr>
              <a:xfrm>
                <a:off x="2597717" y="4500959"/>
                <a:ext cx="888654" cy="1296000"/>
                <a:chOff x="573567" y="5003630"/>
                <a:chExt cx="888654" cy="1296000"/>
              </a:xfrm>
            </p:grpSpPr>
            <p:sp>
              <p:nvSpPr>
                <p:cNvPr id="87" name="圆角矩形 86"/>
                <p:cNvSpPr/>
                <p:nvPr>
                  <p:custDataLst>
                    <p:tags r:id="rId36"/>
                  </p:custDataLst>
                </p:nvPr>
              </p:nvSpPr>
              <p:spPr bwMode="auto">
                <a:xfrm>
                  <a:off x="573567" y="5003630"/>
                  <a:ext cx="888654" cy="1296000"/>
                </a:xfrm>
                <a:prstGeom prst="roundRect">
                  <a:avLst/>
                </a:prstGeom>
                <a:solidFill>
                  <a:srgbClr val="00B0F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88" name="文本框 12"/>
                <p:cNvSpPr txBox="1"/>
                <p:nvPr>
                  <p:custDataLst>
                    <p:tags r:id="rId37"/>
                  </p:custDataLst>
                </p:nvPr>
              </p:nvSpPr>
              <p:spPr>
                <a:xfrm>
                  <a:off x="656700" y="5025556"/>
                  <a:ext cx="734311" cy="246221"/>
                </a:xfrm>
                <a:prstGeom prst="rect">
                  <a:avLst/>
                </a:prstGeom>
                <a:noFill/>
              </p:spPr>
              <p:txBody>
                <a:bodyPr wrap="square" rtlCol="0">
                  <a:spAutoFit/>
                </a:bodyPr>
                <a:lstStyle/>
                <a:p>
                  <a:r>
                    <a:rPr lang="en-US" altLang="zh-CN" sz="1000" b="1" dirty="0">
                      <a:solidFill>
                        <a:schemeClr val="bg1"/>
                      </a:solidFill>
                      <a:latin typeface="微软雅黑" panose="020B0503020204020204" pitchFamily="34" charset="-122"/>
                      <a:ea typeface="微软雅黑" panose="020B0503020204020204" pitchFamily="34" charset="-122"/>
                    </a:rPr>
                    <a:t>Target2</a:t>
                  </a:r>
                  <a:endParaRPr lang="en-US" sz="1000" b="1" dirty="0">
                    <a:solidFill>
                      <a:schemeClr val="bg1"/>
                    </a:solidFill>
                    <a:latin typeface="微软雅黑" panose="020B0503020204020204" pitchFamily="34" charset="-122"/>
                    <a:ea typeface="微软雅黑" panose="020B0503020204020204" pitchFamily="34" charset="-122"/>
                  </a:endParaRPr>
                </a:p>
              </p:txBody>
            </p:sp>
            <p:sp>
              <p:nvSpPr>
                <p:cNvPr id="89" name="圆角矩形 88"/>
                <p:cNvSpPr/>
                <p:nvPr>
                  <p:custDataLst>
                    <p:tags r:id="rId38"/>
                  </p:custDataLst>
                </p:nvPr>
              </p:nvSpPr>
              <p:spPr bwMode="auto">
                <a:xfrm>
                  <a:off x="656700" y="5271777"/>
                  <a:ext cx="734311" cy="271560"/>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b="1" dirty="0">
                      <a:latin typeface="微软雅黑" panose="020B0503020204020204" pitchFamily="34" charset="-122"/>
                      <a:ea typeface="微软雅黑" panose="020B0503020204020204" pitchFamily="34" charset="-122"/>
                    </a:rPr>
                    <a:t>ACL</a:t>
                  </a:r>
                  <a:r>
                    <a:rPr lang="zh-CN" altLang="en-US" sz="1000" b="1" dirty="0">
                      <a:latin typeface="微软雅黑" panose="020B0503020204020204" pitchFamily="34" charset="-122"/>
                      <a:ea typeface="微软雅黑" panose="020B0503020204020204" pitchFamily="34" charset="-122"/>
                    </a:rPr>
                    <a:t>控制</a:t>
                  </a:r>
                  <a:endParaRPr lang="en-US" altLang="zh-CN" sz="1000" b="1" dirty="0">
                    <a:latin typeface="微软雅黑" panose="020B0503020204020204" pitchFamily="34" charset="-122"/>
                    <a:ea typeface="微软雅黑" panose="020B0503020204020204" pitchFamily="34" charset="-122"/>
                  </a:endParaRPr>
                </a:p>
              </p:txBody>
            </p:sp>
            <p:sp>
              <p:nvSpPr>
                <p:cNvPr id="90" name="圆角矩形 89"/>
                <p:cNvSpPr/>
                <p:nvPr>
                  <p:custDataLst>
                    <p:tags r:id="rId39"/>
                  </p:custDataLst>
                </p:nvPr>
              </p:nvSpPr>
              <p:spPr bwMode="auto">
                <a:xfrm>
                  <a:off x="633582" y="5597355"/>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1</a:t>
                  </a:r>
                  <a:endParaRPr lang="en-US" altLang="zh-CN" sz="1000" dirty="0">
                    <a:latin typeface="微软雅黑" panose="020B0503020204020204" pitchFamily="34" charset="-122"/>
                    <a:ea typeface="微软雅黑" panose="020B0503020204020204" pitchFamily="34" charset="-122"/>
                  </a:endParaRPr>
                </a:p>
              </p:txBody>
            </p:sp>
            <p:sp>
              <p:nvSpPr>
                <p:cNvPr id="91" name="圆角矩形 90"/>
                <p:cNvSpPr/>
                <p:nvPr>
                  <p:custDataLst>
                    <p:tags r:id="rId40"/>
                  </p:custDataLst>
                </p:nvPr>
              </p:nvSpPr>
              <p:spPr bwMode="auto">
                <a:xfrm>
                  <a:off x="891775" y="5597354"/>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2</a:t>
                  </a:r>
                  <a:endParaRPr lang="en-US" altLang="zh-CN" sz="1000" dirty="0">
                    <a:latin typeface="微软雅黑" panose="020B0503020204020204" pitchFamily="34" charset="-122"/>
                    <a:ea typeface="微软雅黑" panose="020B0503020204020204" pitchFamily="34" charset="-122"/>
                  </a:endParaRPr>
                </a:p>
              </p:txBody>
            </p:sp>
            <p:sp>
              <p:nvSpPr>
                <p:cNvPr id="92" name="圆角矩形 91"/>
                <p:cNvSpPr/>
                <p:nvPr>
                  <p:custDataLst>
                    <p:tags r:id="rId41"/>
                  </p:custDataLst>
                </p:nvPr>
              </p:nvSpPr>
              <p:spPr bwMode="auto">
                <a:xfrm>
                  <a:off x="1155935" y="5597353"/>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3</a:t>
                  </a:r>
                  <a:endParaRPr lang="en-US" altLang="zh-CN" sz="1000" dirty="0">
                    <a:latin typeface="微软雅黑" panose="020B0503020204020204" pitchFamily="34" charset="-122"/>
                    <a:ea typeface="微软雅黑" panose="020B0503020204020204" pitchFamily="34" charset="-122"/>
                  </a:endParaRPr>
                </a:p>
              </p:txBody>
            </p:sp>
          </p:grpSp>
          <p:grpSp>
            <p:nvGrpSpPr>
              <p:cNvPr id="79" name="组合 78"/>
              <p:cNvGrpSpPr/>
              <p:nvPr/>
            </p:nvGrpSpPr>
            <p:grpSpPr>
              <a:xfrm>
                <a:off x="3539537" y="4499384"/>
                <a:ext cx="888654" cy="1296000"/>
                <a:chOff x="573567" y="5003630"/>
                <a:chExt cx="888654" cy="1296000"/>
              </a:xfrm>
            </p:grpSpPr>
            <p:sp>
              <p:nvSpPr>
                <p:cNvPr id="81" name="圆角矩形 80"/>
                <p:cNvSpPr/>
                <p:nvPr>
                  <p:custDataLst>
                    <p:tags r:id="rId42"/>
                  </p:custDataLst>
                </p:nvPr>
              </p:nvSpPr>
              <p:spPr bwMode="auto">
                <a:xfrm>
                  <a:off x="573567" y="5003630"/>
                  <a:ext cx="888654" cy="1296000"/>
                </a:xfrm>
                <a:prstGeom prst="roundRect">
                  <a:avLst/>
                </a:prstGeom>
                <a:solidFill>
                  <a:srgbClr val="00B0F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buClr>
                      <a:srgbClr val="CC9900"/>
                    </a:buClr>
                  </a:pPr>
                  <a:endParaRPr lang="zh-CN" altLang="en-US" sz="950" b="1" dirty="0">
                    <a:solidFill>
                      <a:prstClr val="white"/>
                    </a:solidFill>
                    <a:latin typeface="Arial" panose="020B0604020202020204" pitchFamily="34" charset="0"/>
                    <a:ea typeface="Arial" panose="020B0604020202020204" pitchFamily="34" charset="0"/>
                    <a:cs typeface="Arial" panose="020B0604020202020204" pitchFamily="34" charset="0"/>
                  </a:endParaRPr>
                </a:p>
              </p:txBody>
            </p:sp>
            <p:sp>
              <p:nvSpPr>
                <p:cNvPr id="82" name="文本框 12"/>
                <p:cNvSpPr txBox="1"/>
                <p:nvPr>
                  <p:custDataLst>
                    <p:tags r:id="rId43"/>
                  </p:custDataLst>
                </p:nvPr>
              </p:nvSpPr>
              <p:spPr>
                <a:xfrm>
                  <a:off x="656700" y="5025556"/>
                  <a:ext cx="734311" cy="246221"/>
                </a:xfrm>
                <a:prstGeom prst="rect">
                  <a:avLst/>
                </a:prstGeom>
                <a:noFill/>
              </p:spPr>
              <p:txBody>
                <a:bodyPr wrap="square" rtlCol="0">
                  <a:spAutoFit/>
                </a:bodyPr>
                <a:lstStyle/>
                <a:p>
                  <a:r>
                    <a:rPr lang="en-US" altLang="zh-CN" sz="1000" b="1" dirty="0">
                      <a:solidFill>
                        <a:schemeClr val="bg1"/>
                      </a:solidFill>
                      <a:latin typeface="微软雅黑" panose="020B0503020204020204" pitchFamily="34" charset="-122"/>
                      <a:ea typeface="微软雅黑" panose="020B0503020204020204" pitchFamily="34" charset="-122"/>
                    </a:rPr>
                    <a:t>Target3</a:t>
                  </a:r>
                  <a:endParaRPr lang="en-US" sz="1000" b="1" dirty="0">
                    <a:solidFill>
                      <a:schemeClr val="bg1"/>
                    </a:solidFill>
                    <a:latin typeface="微软雅黑" panose="020B0503020204020204" pitchFamily="34" charset="-122"/>
                    <a:ea typeface="微软雅黑" panose="020B0503020204020204" pitchFamily="34" charset="-122"/>
                  </a:endParaRPr>
                </a:p>
              </p:txBody>
            </p:sp>
            <p:sp>
              <p:nvSpPr>
                <p:cNvPr id="83" name="圆角矩形 82"/>
                <p:cNvSpPr/>
                <p:nvPr>
                  <p:custDataLst>
                    <p:tags r:id="rId44"/>
                  </p:custDataLst>
                </p:nvPr>
              </p:nvSpPr>
              <p:spPr bwMode="auto">
                <a:xfrm>
                  <a:off x="656700" y="5271777"/>
                  <a:ext cx="734311" cy="271560"/>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b="1" dirty="0">
                      <a:latin typeface="微软雅黑" panose="020B0503020204020204" pitchFamily="34" charset="-122"/>
                      <a:ea typeface="微软雅黑" panose="020B0503020204020204" pitchFamily="34" charset="-122"/>
                    </a:rPr>
                    <a:t>ACL</a:t>
                  </a:r>
                  <a:r>
                    <a:rPr lang="zh-CN" altLang="en-US" sz="1000" b="1" dirty="0">
                      <a:latin typeface="微软雅黑" panose="020B0503020204020204" pitchFamily="34" charset="-122"/>
                      <a:ea typeface="微软雅黑" panose="020B0503020204020204" pitchFamily="34" charset="-122"/>
                    </a:rPr>
                    <a:t>控制</a:t>
                  </a:r>
                  <a:endParaRPr lang="en-US" altLang="zh-CN" sz="1000" b="1" dirty="0">
                    <a:latin typeface="微软雅黑" panose="020B0503020204020204" pitchFamily="34" charset="-122"/>
                    <a:ea typeface="微软雅黑" panose="020B0503020204020204" pitchFamily="34" charset="-122"/>
                  </a:endParaRPr>
                </a:p>
              </p:txBody>
            </p:sp>
            <p:sp>
              <p:nvSpPr>
                <p:cNvPr id="84" name="圆角矩形 83"/>
                <p:cNvSpPr/>
                <p:nvPr>
                  <p:custDataLst>
                    <p:tags r:id="rId45"/>
                  </p:custDataLst>
                </p:nvPr>
              </p:nvSpPr>
              <p:spPr bwMode="auto">
                <a:xfrm>
                  <a:off x="633582" y="5597355"/>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1</a:t>
                  </a:r>
                  <a:endParaRPr lang="en-US" altLang="zh-CN" sz="1000" dirty="0">
                    <a:latin typeface="微软雅黑" panose="020B0503020204020204" pitchFamily="34" charset="-122"/>
                    <a:ea typeface="微软雅黑" panose="020B0503020204020204" pitchFamily="34" charset="-122"/>
                  </a:endParaRPr>
                </a:p>
              </p:txBody>
            </p:sp>
            <p:sp>
              <p:nvSpPr>
                <p:cNvPr id="85" name="圆角矩形 84"/>
                <p:cNvSpPr/>
                <p:nvPr>
                  <p:custDataLst>
                    <p:tags r:id="rId46"/>
                  </p:custDataLst>
                </p:nvPr>
              </p:nvSpPr>
              <p:spPr bwMode="auto">
                <a:xfrm>
                  <a:off x="891775" y="5597354"/>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2</a:t>
                  </a:r>
                  <a:endParaRPr lang="en-US" altLang="zh-CN" sz="1000" dirty="0">
                    <a:latin typeface="微软雅黑" panose="020B0503020204020204" pitchFamily="34" charset="-122"/>
                    <a:ea typeface="微软雅黑" panose="020B0503020204020204" pitchFamily="34" charset="-122"/>
                  </a:endParaRPr>
                </a:p>
              </p:txBody>
            </p:sp>
            <p:sp>
              <p:nvSpPr>
                <p:cNvPr id="86" name="圆角矩形 85"/>
                <p:cNvSpPr/>
                <p:nvPr>
                  <p:custDataLst>
                    <p:tags r:id="rId47"/>
                  </p:custDataLst>
                </p:nvPr>
              </p:nvSpPr>
              <p:spPr bwMode="auto">
                <a:xfrm>
                  <a:off x="1155935" y="5597353"/>
                  <a:ext cx="221628" cy="616509"/>
                </a:xfrm>
                <a:prstGeom prst="roundRect">
                  <a:avLst/>
                </a:prstGeom>
                <a:solidFill>
                  <a:srgbClr val="FFC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lstStyle/>
                <a:p>
                  <a:pPr algn="ctr"/>
                  <a:r>
                    <a:rPr lang="en-US" altLang="zh-CN" sz="1000" dirty="0">
                      <a:latin typeface="微软雅黑" panose="020B0503020204020204" pitchFamily="34" charset="-122"/>
                      <a:ea typeface="微软雅黑" panose="020B0503020204020204" pitchFamily="34" charset="-122"/>
                    </a:rPr>
                    <a:t>L</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U</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N</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3</a:t>
                  </a:r>
                  <a:endParaRPr lang="en-US" altLang="zh-CN" sz="1000" dirty="0">
                    <a:latin typeface="微软雅黑" panose="020B0503020204020204" pitchFamily="34" charset="-122"/>
                    <a:ea typeface="微软雅黑" panose="020B0503020204020204" pitchFamily="34" charset="-122"/>
                  </a:endParaRPr>
                </a:p>
              </p:txBody>
            </p:sp>
          </p:grpSp>
          <p:sp>
            <p:nvSpPr>
              <p:cNvPr id="80" name="圆角矩形 79"/>
              <p:cNvSpPr/>
              <p:nvPr>
                <p:custDataLst>
                  <p:tags r:id="rId48"/>
                </p:custDataLst>
              </p:nvPr>
            </p:nvSpPr>
            <p:spPr>
              <a:xfrm>
                <a:off x="1651800" y="3672731"/>
                <a:ext cx="2792409" cy="368653"/>
              </a:xfrm>
              <a:prstGeom prst="roundRect">
                <a:avLst>
                  <a:gd name="adj" fmla="val 5908"/>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rgbClr val="0070C0"/>
                    </a:solidFill>
                    <a:latin typeface="微软雅黑" panose="020B0503020204020204" pitchFamily="34" charset="-122"/>
                    <a:ea typeface="微软雅黑" panose="020B0503020204020204" pitchFamily="34" charset="-122"/>
                  </a:rPr>
                  <a:t>cspd:</a:t>
                </a:r>
                <a:r>
                  <a:rPr lang="zh-CN" altLang="en-US" sz="1200" b="1" dirty="0">
                    <a:solidFill>
                      <a:srgbClr val="0070C0"/>
                    </a:solidFill>
                    <a:latin typeface="微软雅黑" panose="020B0503020204020204" pitchFamily="34" charset="-122"/>
                    <a:ea typeface="微软雅黑" panose="020B0503020204020204" pitchFamily="34" charset="-122"/>
                  </a:rPr>
                  <a:t> </a:t>
                </a:r>
                <a:r>
                  <a:rPr lang="en-US" altLang="zh-CN" sz="1200" b="1" dirty="0">
                    <a:solidFill>
                      <a:srgbClr val="0070C0"/>
                    </a:solidFill>
                    <a:latin typeface="微软雅黑" panose="020B0503020204020204" pitchFamily="34" charset="-122"/>
                    <a:ea typeface="微软雅黑" panose="020B0503020204020204" pitchFamily="34" charset="-122"/>
                  </a:rPr>
                  <a:t>3261</a:t>
                </a:r>
                <a:r>
                  <a:rPr lang="zh-CN" altLang="en-US" sz="1200" b="1" dirty="0">
                    <a:solidFill>
                      <a:srgbClr val="0070C0"/>
                    </a:solidFill>
                    <a:latin typeface="微软雅黑" panose="020B0503020204020204" pitchFamily="34" charset="-122"/>
                    <a:ea typeface="微软雅黑" panose="020B0503020204020204" pitchFamily="34" charset="-122"/>
                  </a:rPr>
                  <a:t> 服务</a:t>
                </a:r>
                <a:endParaRPr lang="en-US" altLang="zh-CN" sz="1200" b="1" dirty="0">
                  <a:solidFill>
                    <a:srgbClr val="0070C0"/>
                  </a:solidFill>
                  <a:latin typeface="微软雅黑" panose="020B0503020204020204" pitchFamily="34" charset="-122"/>
                  <a:ea typeface="微软雅黑" panose="020B0503020204020204" pitchFamily="34" charset="-122"/>
                </a:endParaRPr>
              </a:p>
            </p:txBody>
          </p:sp>
        </p:grpSp>
        <p:sp>
          <p:nvSpPr>
            <p:cNvPr id="137" name="文本框 34"/>
            <p:cNvSpPr txBox="1"/>
            <p:nvPr>
              <p:custDataLst>
                <p:tags r:id="rId49"/>
              </p:custDataLst>
            </p:nvPr>
          </p:nvSpPr>
          <p:spPr>
            <a:xfrm>
              <a:off x="9785728" y="1513699"/>
              <a:ext cx="1384803" cy="307777"/>
            </a:xfrm>
            <a:prstGeom prst="rect">
              <a:avLst/>
            </a:prstGeom>
            <a:noFill/>
          </p:spPr>
          <p:txBody>
            <a:bodyPr wrap="none" rtlCol="0">
              <a:spAutoFit/>
            </a:bodyPr>
            <a:lstStyle/>
            <a:p>
              <a:pPr algn="ctr"/>
              <a:r>
                <a:rPr lang="en-US" altLang="zh-CN" sz="1400" b="1" dirty="0">
                  <a:solidFill>
                    <a:srgbClr val="0099CC"/>
                  </a:solidFill>
                  <a:latin typeface="微软雅黑" panose="020B0503020204020204" pitchFamily="34" charset="-122"/>
                  <a:ea typeface="微软雅黑" panose="020B0503020204020204" pitchFamily="34" charset="-122"/>
                  <a:cs typeface="Arial" panose="020B0604020202020204" pitchFamily="34" charset="0"/>
                </a:rPr>
                <a:t>CFabric</a:t>
              </a:r>
              <a:r>
                <a:rPr lang="zh-CN" altLang="en-US" sz="1400" b="1" dirty="0">
                  <a:solidFill>
                    <a:srgbClr val="0099CC"/>
                  </a:solidFill>
                  <a:latin typeface="微软雅黑" panose="020B0503020204020204" pitchFamily="34" charset="-122"/>
                  <a:ea typeface="微软雅黑" panose="020B0503020204020204" pitchFamily="34" charset="-122"/>
                  <a:cs typeface="Arial" panose="020B0604020202020204" pitchFamily="34" charset="0"/>
                </a:rPr>
                <a:t>服务端</a:t>
              </a:r>
              <a:endParaRPr lang="en-US" sz="1400" b="1" dirty="0">
                <a:solidFill>
                  <a:srgbClr val="0099CC"/>
                </a:solidFill>
                <a:latin typeface="微软雅黑" panose="020B0503020204020204" pitchFamily="34" charset="-122"/>
                <a:ea typeface="微软雅黑" panose="020B0503020204020204" pitchFamily="34" charset="-122"/>
                <a:cs typeface="Arial" panose="020B0604020202020204" pitchFamily="34" charset="0"/>
              </a:endParaRP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kern="0" dirty="0">
                <a:solidFill>
                  <a:srgbClr val="0070C0"/>
                </a:solidFill>
                <a:latin typeface="微软雅黑" panose="020B0503020204020204" pitchFamily="34" charset="-122"/>
                <a:ea typeface="微软雅黑" panose="020B0503020204020204" pitchFamily="34" charset="-122"/>
                <a:sym typeface="+mn-ea"/>
              </a:rPr>
              <a:t>国产化数据库</a:t>
            </a:r>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的要求</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sp>
        <p:nvSpPr>
          <p:cNvPr id="201" name="灯片编号占位符 200"/>
          <p:cNvSpPr>
            <a:spLocks noGrp="1"/>
          </p:cNvSpPr>
          <p:nvPr>
            <p:ph type="sldNum" sz="quarter" idx="12"/>
            <p:custDataLst>
              <p:tags r:id="rId1"/>
            </p:custDataLst>
          </p:nvPr>
        </p:nvSpPr>
        <p:spPr>
          <a:xfrm>
            <a:off x="8610599" y="6651943"/>
            <a:ext cx="2909888" cy="206381"/>
          </a:xfrm>
        </p:spPr>
        <p:txBody>
          <a:bodyPr/>
          <a:lstStyle/>
          <a:p>
            <a:fld id="{5DD3DB80-B894-403A-B48E-6FDC1A72010E}" type="slidenum">
              <a:rPr lang="zh-CN" altLang="en-US" smtClean="0"/>
            </a:fld>
            <a:endParaRPr lang="zh-CN" altLang="en-US"/>
          </a:p>
        </p:txBody>
      </p:sp>
      <p:sp>
        <p:nvSpPr>
          <p:cNvPr id="159" name="内容占位符 4"/>
          <p:cNvSpPr txBox="1"/>
          <p:nvPr>
            <p:custDataLst>
              <p:tags r:id="rId2"/>
            </p:custDataLst>
          </p:nvPr>
        </p:nvSpPr>
        <p:spPr>
          <a:xfrm>
            <a:off x="1767205" y="1101090"/>
            <a:ext cx="8211820" cy="4935220"/>
          </a:xfrm>
          <a:prstGeom prst="rect">
            <a:avLst/>
          </a:prstGeom>
        </p:spPr>
        <p:txBody>
          <a:bodyPr lIns="86402" tIns="43201" rIns="86402" bIns="43201"/>
          <a:lstStyle>
            <a:lvl1pPr marL="342900" indent="-342900" algn="l" rtl="0" eaLnBrk="0" fontAlgn="base" hangingPunct="0">
              <a:lnSpc>
                <a:spcPct val="140000"/>
              </a:lnSpc>
              <a:spcBef>
                <a:spcPct val="0"/>
              </a:spcBef>
              <a:spcAft>
                <a:spcPct val="0"/>
              </a:spcAft>
              <a:buClrTx/>
              <a:buSzPct val="60000"/>
              <a:buFont typeface="Wingdings" panose="05000000000000000000" pitchFamily="2" charset="2"/>
              <a:buChar char="l"/>
              <a:defRPr sz="2400" b="1">
                <a:solidFill>
                  <a:schemeClr val="bg1"/>
                </a:solidFill>
                <a:latin typeface="FrutigerNext LT Regular" pitchFamily="34" charset="0"/>
                <a:ea typeface="黑体" panose="02010609060101010101" charset="-122"/>
                <a:cs typeface="+mn-cs"/>
              </a:defRPr>
            </a:lvl1pPr>
            <a:lvl2pPr marL="742950" indent="-285750" algn="l" rtl="0" eaLnBrk="0" fontAlgn="base" hangingPunct="0">
              <a:lnSpc>
                <a:spcPct val="140000"/>
              </a:lnSpc>
              <a:spcBef>
                <a:spcPct val="0"/>
              </a:spcBef>
              <a:spcAft>
                <a:spcPct val="0"/>
              </a:spcAft>
              <a:buSzPct val="50000"/>
              <a:buFont typeface="Wingdings" panose="05000000000000000000" pitchFamily="2" charset="2"/>
              <a:buChar char="p"/>
              <a:defRPr>
                <a:solidFill>
                  <a:schemeClr val="bg1"/>
                </a:solidFill>
                <a:latin typeface="+mn-lt"/>
                <a:ea typeface="+mn-ea"/>
                <a:cs typeface="+mn-cs"/>
              </a:defRPr>
            </a:lvl2pPr>
            <a:lvl3pPr marL="1143000" indent="-228600" algn="l" rtl="0" eaLnBrk="0" fontAlgn="base" hangingPunct="0">
              <a:lnSpc>
                <a:spcPct val="140000"/>
              </a:lnSpc>
              <a:spcBef>
                <a:spcPct val="0"/>
              </a:spcBef>
              <a:spcAft>
                <a:spcPct val="0"/>
              </a:spcAft>
              <a:buSzPct val="50000"/>
              <a:buFont typeface="Wingdings" panose="05000000000000000000" pitchFamily="2" charset="2"/>
              <a:buChar char="n"/>
              <a:defRPr sz="1600">
                <a:solidFill>
                  <a:schemeClr val="bg1"/>
                </a:solidFill>
                <a:latin typeface="FrutigerNext LT Regular" pitchFamily="34" charset="0"/>
                <a:ea typeface="+mn-ea"/>
                <a:cs typeface="+mn-cs"/>
              </a:defRPr>
            </a:lvl3pPr>
            <a:lvl4pPr marL="1600200" indent="-228600" algn="l" rtl="0" eaLnBrk="0" fontAlgn="base" hangingPunct="0">
              <a:lnSpc>
                <a:spcPct val="140000"/>
              </a:lnSpc>
              <a:spcBef>
                <a:spcPct val="0"/>
              </a:spcBef>
              <a:spcAft>
                <a:spcPct val="0"/>
              </a:spcAft>
              <a:buChar char="–"/>
              <a:defRPr sz="1400">
                <a:solidFill>
                  <a:schemeClr val="bg1"/>
                </a:solidFill>
                <a:latin typeface="FrutigerNext LT Regular" pitchFamily="34" charset="0"/>
                <a:ea typeface="+mn-ea"/>
                <a:cs typeface="+mn-cs"/>
              </a:defRPr>
            </a:lvl4pPr>
            <a:lvl5pPr marL="2057400" indent="-228600" algn="l" rtl="0" eaLnBrk="0" fontAlgn="base" hangingPunct="0">
              <a:lnSpc>
                <a:spcPct val="140000"/>
              </a:lnSpc>
              <a:spcBef>
                <a:spcPct val="0"/>
              </a:spcBef>
              <a:spcAft>
                <a:spcPct val="0"/>
              </a:spcAft>
              <a:buFont typeface="Arial" panose="020B0604020202020204" pitchFamily="34" charset="0"/>
              <a:buChar char="~"/>
              <a:defRPr sz="1200">
                <a:solidFill>
                  <a:schemeClr val="bg1"/>
                </a:solidFill>
                <a:latin typeface="FrutigerNext LT Regular" pitchFamily="34" charset="0"/>
                <a:ea typeface="+mn-ea"/>
                <a:cs typeface="+mn-cs"/>
              </a:defRPr>
            </a:lvl5pPr>
            <a:lvl6pPr marL="2514600" indent="-228600" algn="l" rtl="0" eaLnBrk="1" fontAlgn="base" hangingPunct="1">
              <a:spcBef>
                <a:spcPct val="20000"/>
              </a:spcBef>
              <a:spcAft>
                <a:spcPct val="0"/>
              </a:spcAft>
              <a:buFont typeface="Arial" panose="020B0604020202020204" pitchFamily="34"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panose="020B0604020202020204" pitchFamily="34"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panose="020B0604020202020204" pitchFamily="34"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panose="020B0604020202020204" pitchFamily="34" charset="0"/>
              <a:buChar char="~"/>
              <a:defRPr sz="1600">
                <a:solidFill>
                  <a:schemeClr val="tx1"/>
                </a:solidFill>
                <a:latin typeface="+mn-lt"/>
                <a:ea typeface="+mn-ea"/>
                <a:cs typeface="+mn-cs"/>
              </a:defRPr>
            </a:lvl9pPr>
          </a:lstStyle>
          <a:p>
            <a:pPr marL="0" eaLnBrk="1" hangingPunct="1">
              <a:lnSpc>
                <a:spcPct val="150000"/>
              </a:lnSpc>
            </a:pPr>
            <a:r>
              <a:rPr lang="zh-CN" altLang="en-US" sz="2000" dirty="0">
                <a:solidFill>
                  <a:srgbClr val="0070C0"/>
                </a:solidFill>
                <a:latin typeface="微软雅黑" panose="020B0503020204020204" pitchFamily="34" charset="-122"/>
                <a:ea typeface="微软雅黑" panose="020B0503020204020204" pitchFamily="34" charset="-122"/>
              </a:rPr>
              <a:t>安装要求</a:t>
            </a:r>
            <a:endParaRPr lang="en-US" altLang="zh-CN" sz="2000" dirty="0">
              <a:solidFill>
                <a:srgbClr val="0070C0"/>
              </a:solidFill>
              <a:latin typeface="微软雅黑" panose="020B0503020204020204" pitchFamily="34" charset="-122"/>
              <a:ea typeface="微软雅黑" panose="020B0503020204020204" pitchFamily="34" charset="-122"/>
            </a:endParaRPr>
          </a:p>
          <a:p>
            <a:pPr marL="171450" lvl="1" indent="-171450" eaLnBrk="1" hangingPunct="1">
              <a:lnSpc>
                <a:spcPct val="150000"/>
              </a:lnSpc>
              <a:buClr>
                <a:srgbClr val="131480"/>
              </a:buClr>
              <a:buSzPct val="80000"/>
              <a:buFont typeface="Wingdings" panose="05000000000000000000" pitchFamily="2" charset="2"/>
              <a:buChar char="ü"/>
            </a:pPr>
            <a:r>
              <a:rPr lang="zh-CN" altLang="en-US" sz="2000" dirty="0">
                <a:solidFill>
                  <a:schemeClr val="tx2"/>
                </a:solidFill>
                <a:latin typeface="微软雅黑" panose="020B0503020204020204" pitchFamily="34" charset="-122"/>
                <a:ea typeface="微软雅黑" panose="020B0503020204020204" pitchFamily="34" charset="-122"/>
                <a:sym typeface="+mn-ea"/>
              </a:rPr>
              <a:t>需要有共享盘：盘的大小需要大于等于</a:t>
            </a:r>
            <a:r>
              <a:rPr lang="en-US" altLang="zh-CN" sz="2000" dirty="0">
                <a:solidFill>
                  <a:schemeClr val="tx2"/>
                </a:solidFill>
                <a:latin typeface="微软雅黑" panose="020B0503020204020204" pitchFamily="34" charset="-122"/>
                <a:ea typeface="微软雅黑" panose="020B0503020204020204" pitchFamily="34" charset="-122"/>
                <a:sym typeface="+mn-ea"/>
              </a:rPr>
              <a:t>20GB</a:t>
            </a:r>
            <a:endParaRPr lang="zh-CN" altLang="en-US" sz="2000" dirty="0">
              <a:solidFill>
                <a:schemeClr val="tx2"/>
              </a:solidFill>
              <a:latin typeface="微软雅黑" panose="020B0503020204020204" pitchFamily="34" charset="-122"/>
              <a:ea typeface="微软雅黑" panose="020B0503020204020204" pitchFamily="34" charset="-122"/>
              <a:sym typeface="+mn-ea"/>
            </a:endParaRPr>
          </a:p>
          <a:p>
            <a:pPr marL="171450" lvl="1" indent="-171450" eaLnBrk="1" hangingPunct="1">
              <a:lnSpc>
                <a:spcPct val="150000"/>
              </a:lnSpc>
              <a:buClr>
                <a:srgbClr val="131480"/>
              </a:buClr>
              <a:buSzPct val="80000"/>
              <a:buFont typeface="Wingdings" panose="05000000000000000000" pitchFamily="2" charset="2"/>
              <a:buChar char="ü"/>
            </a:pPr>
            <a:r>
              <a:rPr lang="zh-CN" altLang="en-US" sz="2000" dirty="0">
                <a:solidFill>
                  <a:schemeClr val="tx2"/>
                </a:solidFill>
                <a:latin typeface="微软雅黑" panose="020B0503020204020204" pitchFamily="34" charset="-122"/>
                <a:ea typeface="微软雅黑" panose="020B0503020204020204" pitchFamily="34" charset="-122"/>
              </a:rPr>
              <a:t>高可用需要</a:t>
            </a:r>
            <a:r>
              <a:rPr lang="en-US" altLang="zh-CN" sz="2000" dirty="0">
                <a:solidFill>
                  <a:schemeClr val="tx2"/>
                </a:solidFill>
                <a:latin typeface="微软雅黑" panose="020B0503020204020204" pitchFamily="34" charset="-122"/>
                <a:ea typeface="微软雅黑" panose="020B0503020204020204" pitchFamily="34" charset="-122"/>
              </a:rPr>
              <a:t>VIP</a:t>
            </a:r>
            <a:endParaRPr lang="en-US" altLang="zh-CN" sz="2000" dirty="0">
              <a:solidFill>
                <a:schemeClr val="tx2"/>
              </a:solidFill>
              <a:latin typeface="微软雅黑" panose="020B0503020204020204" pitchFamily="34" charset="-122"/>
              <a:ea typeface="微软雅黑" panose="020B0503020204020204" pitchFamily="34" charset="-122"/>
            </a:endParaRPr>
          </a:p>
          <a:p>
            <a:pPr marL="171450" lvl="1" indent="-171450" eaLnBrk="1" hangingPunct="1">
              <a:lnSpc>
                <a:spcPct val="150000"/>
              </a:lnSpc>
              <a:buClr>
                <a:srgbClr val="131480"/>
              </a:buClr>
              <a:buSzPct val="80000"/>
              <a:buFont typeface="Wingdings" panose="05000000000000000000" pitchFamily="2" charset="2"/>
              <a:buChar char="ü"/>
            </a:pPr>
            <a:r>
              <a:rPr lang="zh-CN" altLang="en-US" sz="2000" dirty="0">
                <a:solidFill>
                  <a:schemeClr val="tx2"/>
                </a:solidFill>
                <a:latin typeface="微软雅黑" panose="020B0503020204020204" pitchFamily="34" charset="-122"/>
                <a:ea typeface="微软雅黑" panose="020B0503020204020204" pitchFamily="34" charset="-122"/>
              </a:rPr>
              <a:t>操作系统：</a:t>
            </a:r>
            <a:r>
              <a:rPr lang="en-US" altLang="zh-CN" sz="2000" dirty="0">
                <a:solidFill>
                  <a:schemeClr val="tx2"/>
                </a:solidFill>
                <a:latin typeface="微软雅黑" panose="020B0503020204020204" pitchFamily="34" charset="-122"/>
                <a:ea typeface="微软雅黑" panose="020B0503020204020204" pitchFamily="34" charset="-122"/>
              </a:rPr>
              <a:t>CentOS7.X</a:t>
            </a:r>
            <a:endParaRPr lang="en-US" altLang="zh-CN" sz="2000" dirty="0">
              <a:solidFill>
                <a:schemeClr val="tx2"/>
              </a:solidFill>
              <a:latin typeface="微软雅黑" panose="020B0503020204020204" pitchFamily="34" charset="-122"/>
              <a:ea typeface="微软雅黑" panose="020B0503020204020204" pitchFamily="34" charset="-122"/>
            </a:endParaRPr>
          </a:p>
          <a:p>
            <a:pPr marL="171450" lvl="1" indent="-171450" eaLnBrk="1" hangingPunct="1">
              <a:lnSpc>
                <a:spcPct val="150000"/>
              </a:lnSpc>
              <a:buClr>
                <a:srgbClr val="131480"/>
              </a:buClr>
              <a:buSzPct val="80000"/>
              <a:buFont typeface="Wingdings" panose="05000000000000000000" pitchFamily="2" charset="2"/>
              <a:buChar char="ü"/>
            </a:pPr>
            <a:r>
              <a:rPr lang="zh-CN" altLang="en-US" sz="2000" dirty="0">
                <a:solidFill>
                  <a:schemeClr val="tx2"/>
                </a:solidFill>
                <a:latin typeface="微软雅黑" panose="020B0503020204020204" pitchFamily="34" charset="-122"/>
                <a:ea typeface="微软雅黑" panose="020B0503020204020204" pitchFamily="34" charset="-122"/>
              </a:rPr>
              <a:t>盘要求有路径：</a:t>
            </a:r>
            <a:r>
              <a:rPr lang="en-US" altLang="zh-CN" sz="2000" dirty="0">
                <a:solidFill>
                  <a:schemeClr val="tx2"/>
                </a:solidFill>
                <a:latin typeface="微软雅黑" panose="020B0503020204020204" pitchFamily="34" charset="-122"/>
                <a:ea typeface="微软雅黑" panose="020B0503020204020204" pitchFamily="34" charset="-122"/>
              </a:rPr>
              <a:t>/dev/nvme</a:t>
            </a:r>
            <a:r>
              <a:rPr lang="en-US" altLang="zh-CN" sz="2000" dirty="0">
                <a:solidFill>
                  <a:srgbClr val="FF0000"/>
                </a:solidFill>
                <a:latin typeface="微软雅黑" panose="020B0503020204020204" pitchFamily="34" charset="-122"/>
                <a:ea typeface="微软雅黑" panose="020B0503020204020204" pitchFamily="34" charset="-122"/>
              </a:rPr>
              <a:t>X</a:t>
            </a:r>
            <a:r>
              <a:rPr lang="en-US" altLang="zh-CN" sz="2000" dirty="0">
                <a:solidFill>
                  <a:schemeClr val="tx2"/>
                </a:solidFill>
                <a:latin typeface="微软雅黑" panose="020B0503020204020204" pitchFamily="34" charset="-122"/>
                <a:ea typeface="微软雅黑" panose="020B0503020204020204" pitchFamily="34" charset="-122"/>
              </a:rPr>
              <a:t>n</a:t>
            </a:r>
            <a:r>
              <a:rPr lang="en-US" altLang="zh-CN" sz="2000" dirty="0">
                <a:solidFill>
                  <a:srgbClr val="FF0000"/>
                </a:solidFill>
                <a:latin typeface="微软雅黑" panose="020B0503020204020204" pitchFamily="34" charset="-122"/>
                <a:ea typeface="微软雅黑" panose="020B0503020204020204" pitchFamily="34" charset="-122"/>
              </a:rPr>
              <a:t>Y </a:t>
            </a:r>
            <a:endParaRPr lang="en-US" altLang="zh-CN" sz="2000" dirty="0">
              <a:solidFill>
                <a:srgbClr val="FF0000"/>
              </a:solidFill>
              <a:latin typeface="微软雅黑" panose="020B0503020204020204" pitchFamily="34" charset="-122"/>
              <a:ea typeface="微软雅黑" panose="020B0503020204020204" pitchFamily="34" charset="-122"/>
            </a:endParaRPr>
          </a:p>
          <a:p>
            <a:pPr marL="628650" lvl="2" indent="-171450" eaLnBrk="1" hangingPunct="1">
              <a:lnSpc>
                <a:spcPct val="150000"/>
              </a:lnSpc>
              <a:buClr>
                <a:srgbClr val="131480"/>
              </a:buClr>
              <a:buSzPct val="80000"/>
              <a:buFont typeface="Wingdings" panose="05000000000000000000" pitchFamily="2" charset="2"/>
              <a:buChar char="ü"/>
            </a:pPr>
            <a:r>
              <a:rPr lang="zh-CN" altLang="en-US" sz="1775" dirty="0">
                <a:solidFill>
                  <a:schemeClr val="tx2"/>
                </a:solidFill>
                <a:latin typeface="微软雅黑" panose="020B0503020204020204" pitchFamily="34" charset="-122"/>
                <a:ea typeface="微软雅黑" panose="020B0503020204020204" pitchFamily="34" charset="-122"/>
              </a:rPr>
              <a:t>如果盘的名称不是这样的，可以使用</a:t>
            </a:r>
            <a:r>
              <a:rPr lang="en-US" altLang="zh-CN" sz="1775" dirty="0">
                <a:solidFill>
                  <a:schemeClr val="tx2"/>
                </a:solidFill>
                <a:latin typeface="微软雅黑" panose="020B0503020204020204" pitchFamily="34" charset="-122"/>
                <a:ea typeface="微软雅黑" panose="020B0503020204020204" pitchFamily="34" charset="-122"/>
              </a:rPr>
              <a:t>udev</a:t>
            </a:r>
            <a:r>
              <a:rPr lang="zh-CN" altLang="en-US" sz="1775" dirty="0">
                <a:solidFill>
                  <a:schemeClr val="tx2"/>
                </a:solidFill>
                <a:latin typeface="微软雅黑" panose="020B0503020204020204" pitchFamily="34" charset="-122"/>
                <a:ea typeface="微软雅黑" panose="020B0503020204020204" pitchFamily="34" charset="-122"/>
              </a:rPr>
              <a:t>规则建一个这样的链接</a:t>
            </a:r>
            <a:endParaRPr lang="zh-CN" altLang="en-US" sz="1775" dirty="0">
              <a:solidFill>
                <a:schemeClr val="tx2"/>
              </a:solidFill>
              <a:latin typeface="微软雅黑" panose="020B0503020204020204" pitchFamily="34" charset="-122"/>
              <a:ea typeface="微软雅黑" panose="020B0503020204020204" pitchFamily="34" charset="-122"/>
            </a:endParaRPr>
          </a:p>
          <a:p>
            <a:pPr marL="171450" lvl="1" indent="-171450" eaLnBrk="1" hangingPunct="1">
              <a:lnSpc>
                <a:spcPct val="150000"/>
              </a:lnSpc>
              <a:buClr>
                <a:srgbClr val="131480"/>
              </a:buClr>
              <a:buSzPct val="80000"/>
              <a:buFont typeface="Wingdings" panose="05000000000000000000" pitchFamily="2" charset="2"/>
              <a:buChar char="ü"/>
            </a:pPr>
            <a:r>
              <a:rPr lang="en-US" altLang="zh-CN" sz="1995" dirty="0">
                <a:solidFill>
                  <a:schemeClr val="tx2"/>
                </a:solidFill>
                <a:latin typeface="微软雅黑" panose="020B0503020204020204" pitchFamily="34" charset="-122"/>
                <a:ea typeface="微软雅黑" panose="020B0503020204020204" pitchFamily="34" charset="-122"/>
              </a:rPr>
              <a:t>2</a:t>
            </a:r>
            <a:r>
              <a:rPr lang="zh-CN" altLang="en-US" sz="1995" dirty="0">
                <a:solidFill>
                  <a:schemeClr val="tx2"/>
                </a:solidFill>
                <a:latin typeface="微软雅黑" panose="020B0503020204020204" pitchFamily="34" charset="-122"/>
                <a:ea typeface="微软雅黑" panose="020B0503020204020204" pitchFamily="34" charset="-122"/>
              </a:rPr>
              <a:t>台以上物理机或虚拟机，内存要求大于</a:t>
            </a:r>
            <a:r>
              <a:rPr lang="en-US" altLang="zh-CN" sz="1995" dirty="0">
                <a:solidFill>
                  <a:schemeClr val="tx2"/>
                </a:solidFill>
                <a:latin typeface="微软雅黑" panose="020B0503020204020204" pitchFamily="34" charset="-122"/>
                <a:ea typeface="微软雅黑" panose="020B0503020204020204" pitchFamily="34" charset="-122"/>
              </a:rPr>
              <a:t>4GB</a:t>
            </a:r>
            <a:endParaRPr lang="zh-CN" altLang="en-US" sz="2250" dirty="0">
              <a:solidFill>
                <a:schemeClr val="accent2"/>
              </a:solidFill>
              <a:latin typeface="微软雅黑" panose="020B0503020204020204" pitchFamily="34" charset="-122"/>
              <a:ea typeface="微软雅黑" panose="020B0503020204020204" pitchFamily="34" charset="-122"/>
            </a:endParaRPr>
          </a:p>
          <a:p>
            <a:pPr marL="0" eaLnBrk="1" hangingPunct="1">
              <a:lnSpc>
                <a:spcPct val="150000"/>
              </a:lnSpc>
            </a:pPr>
            <a:endParaRPr lang="en-US" altLang="zh-CN" sz="1200" dirty="0">
              <a:solidFill>
                <a:schemeClr val="tx2"/>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kern="0" dirty="0">
                <a:solidFill>
                  <a:srgbClr val="0070C0"/>
                </a:solidFill>
                <a:latin typeface="微软雅黑" panose="020B0503020204020204" pitchFamily="34" charset="-122"/>
                <a:ea typeface="微软雅黑" panose="020B0503020204020204" pitchFamily="34" charset="-122"/>
                <a:sym typeface="+mn-ea"/>
              </a:rPr>
              <a:t>CData</a:t>
            </a:r>
            <a:r>
              <a:rPr lang="zh-CN" altLang="en-US" kern="0" dirty="0">
                <a:solidFill>
                  <a:srgbClr val="0070C0"/>
                </a:solidFill>
                <a:latin typeface="微软雅黑" panose="020B0503020204020204" pitchFamily="34" charset="-122"/>
                <a:ea typeface="微软雅黑" panose="020B0503020204020204" pitchFamily="34" charset="-122"/>
                <a:sym typeface="+mn-ea"/>
              </a:rPr>
              <a:t>提供：弹性共享盘</a:t>
            </a:r>
            <a:r>
              <a:rPr lang="en-US" altLang="zh-CN" kern="0" dirty="0">
                <a:solidFill>
                  <a:srgbClr val="0070C0"/>
                </a:solidFill>
                <a:latin typeface="微软雅黑" panose="020B0503020204020204" pitchFamily="34" charset="-122"/>
                <a:ea typeface="微软雅黑" panose="020B0503020204020204" pitchFamily="34" charset="-122"/>
                <a:sym typeface="+mn-ea"/>
              </a:rPr>
              <a:t>ESDisk</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sp>
        <p:nvSpPr>
          <p:cNvPr id="201" name="灯片编号占位符 200"/>
          <p:cNvSpPr>
            <a:spLocks noGrp="1"/>
          </p:cNvSpPr>
          <p:nvPr>
            <p:ph type="sldNum" sz="quarter" idx="12"/>
            <p:custDataLst>
              <p:tags r:id="rId1"/>
            </p:custDataLst>
          </p:nvPr>
        </p:nvSpPr>
        <p:spPr>
          <a:xfrm>
            <a:off x="8610599" y="6651943"/>
            <a:ext cx="2909888" cy="206381"/>
          </a:xfrm>
        </p:spPr>
        <p:txBody>
          <a:bodyPr/>
          <a:lstStyle/>
          <a:p>
            <a:fld id="{5DD3DB80-B894-403A-B48E-6FDC1A72010E}" type="slidenum">
              <a:rPr lang="zh-CN" altLang="en-US" smtClean="0"/>
            </a:fld>
            <a:endParaRPr lang="zh-CN" altLang="en-US"/>
          </a:p>
        </p:txBody>
      </p:sp>
      <p:sp>
        <p:nvSpPr>
          <p:cNvPr id="5" name="文本框 4"/>
          <p:cNvSpPr txBox="1"/>
          <p:nvPr>
            <p:custDataLst>
              <p:tags r:id="rId2"/>
            </p:custDataLst>
          </p:nvPr>
        </p:nvSpPr>
        <p:spPr>
          <a:xfrm>
            <a:off x="712470" y="1379855"/>
            <a:ext cx="10287000" cy="398780"/>
          </a:xfrm>
          <a:prstGeom prst="rect">
            <a:avLst/>
          </a:prstGeom>
          <a:noFill/>
        </p:spPr>
        <p:txBody>
          <a:bodyPr wrap="square" rtlCol="0" anchor="t">
            <a:spAutoFit/>
          </a:bodyPr>
          <a:lstStyle/>
          <a:p>
            <a:r>
              <a:rPr lang="en-US" altLang="zh-CN" sz="2000" b="1" dirty="0">
                <a:solidFill>
                  <a:srgbClr val="0070C0"/>
                </a:solidFill>
                <a:latin typeface="AgencyFB" panose="02000806040000020003" pitchFamily="2" charset="0"/>
              </a:rPr>
              <a:t>ESDisk</a:t>
            </a:r>
            <a:r>
              <a:rPr lang="zh-CN" altLang="en-US" sz="2000" b="1" dirty="0">
                <a:solidFill>
                  <a:srgbClr val="0070C0"/>
                </a:solidFill>
                <a:latin typeface="AgencyFB" panose="02000806040000020003" pitchFamily="2" charset="0"/>
              </a:rPr>
              <a:t>：</a:t>
            </a:r>
            <a:r>
              <a:rPr lang="en-US" altLang="zh-CN" sz="2000" b="1" dirty="0">
                <a:solidFill>
                  <a:srgbClr val="0070C0"/>
                </a:solidFill>
                <a:latin typeface="AgencyFB" panose="02000806040000020003" pitchFamily="2" charset="0"/>
              </a:rPr>
              <a:t>elastic share disk</a:t>
            </a:r>
            <a:r>
              <a:rPr lang="zh-CN" altLang="en-US" sz="2000" b="1" dirty="0">
                <a:solidFill>
                  <a:srgbClr val="0070C0"/>
                </a:solidFill>
                <a:latin typeface="AgencyFB" panose="02000806040000020003" pitchFamily="2" charset="0"/>
              </a:rPr>
              <a:t>，</a:t>
            </a:r>
            <a:r>
              <a:rPr lang="en-US" altLang="zh-CN" sz="2000" b="1" dirty="0">
                <a:solidFill>
                  <a:srgbClr val="0070C0"/>
                </a:solidFill>
                <a:latin typeface="AgencyFB" panose="02000806040000020003" pitchFamily="2" charset="0"/>
              </a:rPr>
              <a:t>CFabric</a:t>
            </a:r>
            <a:r>
              <a:rPr lang="zh-CN" altLang="en-US" sz="2000" b="1" dirty="0">
                <a:solidFill>
                  <a:srgbClr val="0070C0"/>
                </a:solidFill>
                <a:latin typeface="AgencyFB" panose="02000806040000020003" pitchFamily="2" charset="0"/>
              </a:rPr>
              <a:t>软件提供的弹性共享盘</a:t>
            </a:r>
            <a:endParaRPr lang="zh-CN" altLang="en-US" sz="2000" b="1" dirty="0">
              <a:solidFill>
                <a:srgbClr val="0070C0"/>
              </a:solidFill>
              <a:latin typeface="AgencyFB" panose="02000806040000020003" pitchFamily="2" charset="0"/>
            </a:endParaRPr>
          </a:p>
        </p:txBody>
      </p:sp>
      <p:pic>
        <p:nvPicPr>
          <p:cNvPr id="3" name="图片 2"/>
          <p:cNvPicPr>
            <a:picLocks noChangeAspect="1"/>
          </p:cNvPicPr>
          <p:nvPr>
            <p:custDataLst>
              <p:tags r:id="rId3"/>
            </p:custDataLst>
          </p:nvPr>
        </p:nvPicPr>
        <p:blipFill>
          <a:blip r:embed="rId4"/>
          <a:stretch>
            <a:fillRect/>
          </a:stretch>
        </p:blipFill>
        <p:spPr>
          <a:xfrm>
            <a:off x="584200" y="2461895"/>
            <a:ext cx="10944225" cy="3048000"/>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kern="0" dirty="0">
                <a:solidFill>
                  <a:srgbClr val="0070C0"/>
                </a:solidFill>
                <a:latin typeface="微软雅黑" panose="020B0503020204020204" pitchFamily="34" charset="-122"/>
                <a:ea typeface="微软雅黑" panose="020B0503020204020204" pitchFamily="34" charset="-122"/>
                <a:sym typeface="+mn-ea"/>
              </a:rPr>
              <a:t>CData</a:t>
            </a:r>
            <a:r>
              <a:rPr lang="zh-CN" altLang="en-US" kern="0" dirty="0">
                <a:solidFill>
                  <a:srgbClr val="0070C0"/>
                </a:solidFill>
                <a:latin typeface="微软雅黑" panose="020B0503020204020204" pitchFamily="34" charset="-122"/>
                <a:ea typeface="微软雅黑" panose="020B0503020204020204" pitchFamily="34" charset="-122"/>
                <a:sym typeface="+mn-ea"/>
              </a:rPr>
              <a:t>提供：弹性共享盘</a:t>
            </a:r>
            <a:r>
              <a:rPr lang="en-US" altLang="zh-CN" kern="0" dirty="0">
                <a:solidFill>
                  <a:srgbClr val="0070C0"/>
                </a:solidFill>
                <a:latin typeface="微软雅黑" panose="020B0503020204020204" pitchFamily="34" charset="-122"/>
                <a:ea typeface="微软雅黑" panose="020B0503020204020204" pitchFamily="34" charset="-122"/>
                <a:sym typeface="+mn-ea"/>
              </a:rPr>
              <a:t>ESDisk</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sp>
        <p:nvSpPr>
          <p:cNvPr id="201" name="灯片编号占位符 200"/>
          <p:cNvSpPr>
            <a:spLocks noGrp="1"/>
          </p:cNvSpPr>
          <p:nvPr>
            <p:ph type="sldNum" sz="quarter" idx="12"/>
            <p:custDataLst>
              <p:tags r:id="rId1"/>
            </p:custDataLst>
          </p:nvPr>
        </p:nvSpPr>
        <p:spPr>
          <a:xfrm>
            <a:off x="8610599" y="6651943"/>
            <a:ext cx="2909888" cy="206381"/>
          </a:xfrm>
        </p:spPr>
        <p:txBody>
          <a:bodyPr/>
          <a:lstStyle/>
          <a:p>
            <a:fld id="{5DD3DB80-B894-403A-B48E-6FDC1A72010E}" type="slidenum">
              <a:rPr lang="zh-CN" altLang="en-US" smtClean="0"/>
            </a:fld>
            <a:endParaRPr lang="zh-CN" altLang="en-US"/>
          </a:p>
        </p:txBody>
      </p:sp>
      <p:sp>
        <p:nvSpPr>
          <p:cNvPr id="5" name="文本框 4"/>
          <p:cNvSpPr txBox="1"/>
          <p:nvPr>
            <p:custDataLst>
              <p:tags r:id="rId2"/>
            </p:custDataLst>
          </p:nvPr>
        </p:nvSpPr>
        <p:spPr>
          <a:xfrm>
            <a:off x="712470" y="1379855"/>
            <a:ext cx="10287000" cy="398780"/>
          </a:xfrm>
          <a:prstGeom prst="rect">
            <a:avLst/>
          </a:prstGeom>
          <a:noFill/>
        </p:spPr>
        <p:txBody>
          <a:bodyPr wrap="square" rtlCol="0" anchor="t">
            <a:spAutoFit/>
          </a:bodyPr>
          <a:lstStyle/>
          <a:p>
            <a:r>
              <a:rPr lang="en-US" altLang="zh-CN" sz="2000" b="1" dirty="0">
                <a:solidFill>
                  <a:srgbClr val="0070C0"/>
                </a:solidFill>
                <a:latin typeface="AgencyFB" panose="02000806040000020003" pitchFamily="2" charset="0"/>
              </a:rPr>
              <a:t>ESDisk</a:t>
            </a:r>
            <a:r>
              <a:rPr lang="zh-CN" altLang="en-US" sz="2000" b="1" dirty="0">
                <a:solidFill>
                  <a:srgbClr val="0070C0"/>
                </a:solidFill>
                <a:latin typeface="AgencyFB" panose="02000806040000020003" pitchFamily="2" charset="0"/>
              </a:rPr>
              <a:t>：</a:t>
            </a:r>
            <a:r>
              <a:rPr lang="en-US" altLang="zh-CN" sz="2000" b="1" dirty="0">
                <a:solidFill>
                  <a:srgbClr val="0070C0"/>
                </a:solidFill>
                <a:latin typeface="AgencyFB" panose="02000806040000020003" pitchFamily="2" charset="0"/>
              </a:rPr>
              <a:t>elastic share disk</a:t>
            </a:r>
            <a:r>
              <a:rPr lang="zh-CN" altLang="en-US" sz="2000" b="1" dirty="0">
                <a:solidFill>
                  <a:srgbClr val="0070C0"/>
                </a:solidFill>
                <a:latin typeface="AgencyFB" panose="02000806040000020003" pitchFamily="2" charset="0"/>
              </a:rPr>
              <a:t>，</a:t>
            </a:r>
            <a:r>
              <a:rPr lang="en-US" altLang="zh-CN" sz="2000" b="1" dirty="0">
                <a:solidFill>
                  <a:srgbClr val="0070C0"/>
                </a:solidFill>
                <a:latin typeface="AgencyFB" panose="02000806040000020003" pitchFamily="2" charset="0"/>
              </a:rPr>
              <a:t>CFabric</a:t>
            </a:r>
            <a:r>
              <a:rPr lang="zh-CN" altLang="en-US" sz="2000" b="1" dirty="0">
                <a:solidFill>
                  <a:srgbClr val="0070C0"/>
                </a:solidFill>
                <a:latin typeface="AgencyFB" panose="02000806040000020003" pitchFamily="2" charset="0"/>
              </a:rPr>
              <a:t>软件提供的弹性共享盘</a:t>
            </a:r>
            <a:endParaRPr lang="zh-CN" altLang="en-US" sz="2000" b="1" dirty="0">
              <a:solidFill>
                <a:srgbClr val="0070C0"/>
              </a:solidFill>
              <a:latin typeface="AgencyFB" panose="02000806040000020003" pitchFamily="2" charset="0"/>
            </a:endParaRPr>
          </a:p>
        </p:txBody>
      </p:sp>
      <p:pic>
        <p:nvPicPr>
          <p:cNvPr id="3" name="图片 2"/>
          <p:cNvPicPr>
            <a:picLocks noChangeAspect="1"/>
          </p:cNvPicPr>
          <p:nvPr>
            <p:custDataLst>
              <p:tags r:id="rId3"/>
            </p:custDataLst>
          </p:nvPr>
        </p:nvPicPr>
        <p:blipFill>
          <a:blip r:embed="rId4"/>
          <a:stretch>
            <a:fillRect/>
          </a:stretch>
        </p:blipFill>
        <p:spPr>
          <a:xfrm>
            <a:off x="584200" y="2461895"/>
            <a:ext cx="10944225" cy="3048000"/>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ís1idê"/>
          <p:cNvSpPr/>
          <p:nvPr/>
        </p:nvSpPr>
        <p:spPr>
          <a:xfrm>
            <a:off x="0" y="5604287"/>
            <a:ext cx="12192000" cy="631413"/>
          </a:xfrm>
          <a:prstGeom prst="rect">
            <a:avLst/>
          </a:prstGeom>
          <a:solidFill>
            <a:srgbClr val="E4EBFE"/>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grpSp>
        <p:nvGrpSpPr>
          <p:cNvPr id="3" name="组合 2"/>
          <p:cNvGrpSpPr/>
          <p:nvPr/>
        </p:nvGrpSpPr>
        <p:grpSpPr>
          <a:xfrm>
            <a:off x="1655314" y="2173759"/>
            <a:ext cx="4421149" cy="842143"/>
            <a:chOff x="1641938" y="2437924"/>
            <a:chExt cx="4421149" cy="842143"/>
          </a:xfrm>
        </p:grpSpPr>
        <p:sp>
          <p:nvSpPr>
            <p:cNvPr id="17" name="iśḷîḓè"/>
            <p:cNvSpPr/>
            <p:nvPr/>
          </p:nvSpPr>
          <p:spPr bwMode="auto">
            <a:xfrm>
              <a:off x="2259786" y="2437924"/>
              <a:ext cx="3803301" cy="450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10000"/>
                </a:lnSpc>
                <a:spcBef>
                  <a:spcPct val="0"/>
                </a:spcBef>
              </a:pPr>
              <a:r>
                <a:rPr lang="en-US" b="1" dirty="0"/>
                <a:t>PolarDB </a:t>
              </a:r>
              <a:r>
                <a:rPr lang="zh-CN" altLang="en-US" b="1" dirty="0"/>
                <a:t>数据库介绍</a:t>
              </a:r>
              <a:endParaRPr lang="zh-CN" altLang="en-US" b="1" dirty="0"/>
            </a:p>
          </p:txBody>
        </p:sp>
        <p:sp>
          <p:nvSpPr>
            <p:cNvPr id="18" name="íṡ1ïḋé"/>
            <p:cNvSpPr/>
            <p:nvPr/>
          </p:nvSpPr>
          <p:spPr>
            <a:xfrm>
              <a:off x="1641938" y="2437924"/>
              <a:ext cx="617848" cy="476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p>
              <a:pPr algn="ctr"/>
              <a:r>
                <a:rPr lang="en-US" altLang="zh-CN" sz="2000" b="1" dirty="0"/>
                <a:t>01.</a:t>
              </a:r>
              <a:endParaRPr lang="zh-CN" altLang="en-US" sz="2000" b="1" dirty="0"/>
            </a:p>
          </p:txBody>
        </p:sp>
        <p:sp>
          <p:nvSpPr>
            <p:cNvPr id="210" name="iśḷîḓè"/>
            <p:cNvSpPr/>
            <p:nvPr/>
          </p:nvSpPr>
          <p:spPr bwMode="auto">
            <a:xfrm>
              <a:off x="2259786" y="2829252"/>
              <a:ext cx="3758237" cy="450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10000"/>
                </a:lnSpc>
                <a:spcBef>
                  <a:spcPct val="0"/>
                </a:spcBef>
              </a:pPr>
              <a:r>
                <a:rPr lang="zh-CN" altLang="en-US" sz="1400" dirty="0"/>
                <a:t>介绍</a:t>
              </a:r>
              <a:r>
                <a:rPr lang="en-US" altLang="zh-CN" sz="1400" dirty="0"/>
                <a:t>PolarDB</a:t>
              </a:r>
              <a:r>
                <a:rPr lang="zh-CN" altLang="en-US" sz="1400" dirty="0"/>
                <a:t>是什么，有什么特点</a:t>
              </a:r>
              <a:endParaRPr lang="en-US" altLang="zh-CN" sz="1400" dirty="0"/>
            </a:p>
          </p:txBody>
        </p:sp>
      </p:grpSp>
      <p:grpSp>
        <p:nvGrpSpPr>
          <p:cNvPr id="211" name="组合 210"/>
          <p:cNvGrpSpPr/>
          <p:nvPr/>
        </p:nvGrpSpPr>
        <p:grpSpPr>
          <a:xfrm>
            <a:off x="1655314" y="3209318"/>
            <a:ext cx="4421149" cy="842143"/>
            <a:chOff x="1641938" y="2437924"/>
            <a:chExt cx="4421149" cy="842143"/>
          </a:xfrm>
        </p:grpSpPr>
        <p:sp>
          <p:nvSpPr>
            <p:cNvPr id="212" name="iśḷîḓè"/>
            <p:cNvSpPr/>
            <p:nvPr/>
          </p:nvSpPr>
          <p:spPr bwMode="auto">
            <a:xfrm>
              <a:off x="2259786" y="2437924"/>
              <a:ext cx="3803301" cy="450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10000"/>
                </a:lnSpc>
                <a:spcBef>
                  <a:spcPct val="0"/>
                </a:spcBef>
              </a:pPr>
              <a:r>
                <a:rPr lang="en-US" altLang="zh-CN" b="1" dirty="0"/>
                <a:t>高新能PolarDB一体机CData</a:t>
              </a:r>
              <a:r>
                <a:rPr lang="zh-CN" altLang="en-US" b="1" dirty="0"/>
                <a:t>介绍</a:t>
              </a:r>
              <a:endParaRPr lang="zh-CN" altLang="en-US" b="1" dirty="0"/>
            </a:p>
          </p:txBody>
        </p:sp>
        <p:sp>
          <p:nvSpPr>
            <p:cNvPr id="213" name="íṡ1ïḋé"/>
            <p:cNvSpPr/>
            <p:nvPr/>
          </p:nvSpPr>
          <p:spPr>
            <a:xfrm>
              <a:off x="1641938" y="2437924"/>
              <a:ext cx="617848" cy="476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p>
              <a:pPr algn="ctr"/>
              <a:r>
                <a:rPr lang="en-US" altLang="zh-CN" sz="2000" b="1" dirty="0"/>
                <a:t>02.</a:t>
              </a:r>
              <a:endParaRPr lang="zh-CN" altLang="en-US" sz="2000" b="1" dirty="0"/>
            </a:p>
          </p:txBody>
        </p:sp>
        <p:sp>
          <p:nvSpPr>
            <p:cNvPr id="214" name="iśḷîḓè"/>
            <p:cNvSpPr/>
            <p:nvPr/>
          </p:nvSpPr>
          <p:spPr bwMode="auto">
            <a:xfrm>
              <a:off x="2259786" y="2829252"/>
              <a:ext cx="3758237" cy="450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10000"/>
                </a:lnSpc>
                <a:spcBef>
                  <a:spcPct val="0"/>
                </a:spcBef>
              </a:pPr>
              <a:r>
                <a:rPr lang="en-US" altLang="zh-CN" sz="1400" dirty="0"/>
                <a:t>Lorem ipsum dolor sit </a:t>
              </a:r>
              <a:r>
                <a:rPr lang="en-US" altLang="zh-CN" sz="1400" dirty="0" err="1"/>
                <a:t>amet</a:t>
              </a:r>
              <a:r>
                <a:rPr lang="en-US" altLang="zh-CN" sz="1400" dirty="0"/>
                <a:t>, </a:t>
              </a:r>
              <a:r>
                <a:rPr lang="en-US" altLang="zh-CN" sz="1400" dirty="0" err="1"/>
                <a:t>consectetur</a:t>
              </a:r>
              <a:r>
                <a:rPr lang="en-US" altLang="zh-CN" sz="1400" dirty="0"/>
                <a:t> </a:t>
              </a:r>
              <a:r>
                <a:rPr lang="en-US" altLang="zh-CN" sz="1400" dirty="0" err="1"/>
                <a:t>adipiscing</a:t>
              </a:r>
              <a:r>
                <a:rPr lang="en-US" altLang="zh-CN" sz="1400" dirty="0"/>
                <a:t> </a:t>
              </a:r>
              <a:r>
                <a:rPr lang="en-US" altLang="zh-CN" sz="1400" dirty="0" err="1"/>
                <a:t>elit</a:t>
              </a:r>
              <a:endParaRPr lang="en-US" altLang="zh-CN" sz="1400" dirty="0"/>
            </a:p>
          </p:txBody>
        </p:sp>
      </p:grpSp>
      <p:grpSp>
        <p:nvGrpSpPr>
          <p:cNvPr id="215" name="组合 214"/>
          <p:cNvGrpSpPr/>
          <p:nvPr/>
        </p:nvGrpSpPr>
        <p:grpSpPr>
          <a:xfrm>
            <a:off x="1655314" y="4237021"/>
            <a:ext cx="4421149" cy="842143"/>
            <a:chOff x="1641938" y="2437924"/>
            <a:chExt cx="4421149" cy="842143"/>
          </a:xfrm>
        </p:grpSpPr>
        <p:sp>
          <p:nvSpPr>
            <p:cNvPr id="216" name="iśḷîḓè"/>
            <p:cNvSpPr/>
            <p:nvPr/>
          </p:nvSpPr>
          <p:spPr bwMode="auto">
            <a:xfrm>
              <a:off x="2259786" y="2437924"/>
              <a:ext cx="3803301" cy="450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10000"/>
                </a:lnSpc>
                <a:spcBef>
                  <a:spcPct val="0"/>
                </a:spcBef>
              </a:pPr>
              <a:r>
                <a:rPr lang="en-US" altLang="zh-CN" b="1" dirty="0"/>
                <a:t>PolarDB一体机CData</a:t>
              </a:r>
              <a:r>
                <a:rPr lang="zh-CN" altLang="en-US" b="1" dirty="0"/>
                <a:t>使用场景</a:t>
              </a:r>
              <a:endParaRPr lang="zh-CN" altLang="en-US" b="1" dirty="0"/>
            </a:p>
          </p:txBody>
        </p:sp>
        <p:sp>
          <p:nvSpPr>
            <p:cNvPr id="217" name="íṡ1ïḋé"/>
            <p:cNvSpPr/>
            <p:nvPr/>
          </p:nvSpPr>
          <p:spPr>
            <a:xfrm>
              <a:off x="1641938" y="2437924"/>
              <a:ext cx="617848" cy="476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p>
              <a:pPr algn="ctr"/>
              <a:r>
                <a:rPr lang="en-US" altLang="zh-CN" sz="2000" b="1" dirty="0"/>
                <a:t>03.</a:t>
              </a:r>
              <a:endParaRPr lang="zh-CN" altLang="en-US" sz="2000" b="1" dirty="0"/>
            </a:p>
          </p:txBody>
        </p:sp>
        <p:sp>
          <p:nvSpPr>
            <p:cNvPr id="218" name="iśḷîḓè"/>
            <p:cNvSpPr/>
            <p:nvPr/>
          </p:nvSpPr>
          <p:spPr bwMode="auto">
            <a:xfrm>
              <a:off x="2259786" y="2829252"/>
              <a:ext cx="3758237" cy="450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10000"/>
                </a:lnSpc>
                <a:spcBef>
                  <a:spcPct val="0"/>
                </a:spcBef>
              </a:pPr>
              <a:r>
                <a:rPr lang="en-US" altLang="zh-CN" sz="1400" dirty="0"/>
                <a:t>Lorem ipsum dolor sit </a:t>
              </a:r>
              <a:r>
                <a:rPr lang="en-US" altLang="zh-CN" sz="1400" dirty="0" err="1"/>
                <a:t>amet</a:t>
              </a:r>
              <a:r>
                <a:rPr lang="en-US" altLang="zh-CN" sz="1400" dirty="0"/>
                <a:t>, </a:t>
              </a:r>
              <a:r>
                <a:rPr lang="en-US" altLang="zh-CN" sz="1400" dirty="0" err="1"/>
                <a:t>consectetur</a:t>
              </a:r>
              <a:r>
                <a:rPr lang="en-US" altLang="zh-CN" sz="1400" dirty="0"/>
                <a:t> </a:t>
              </a:r>
              <a:r>
                <a:rPr lang="en-US" altLang="zh-CN" sz="1400" dirty="0" err="1"/>
                <a:t>adipiscing</a:t>
              </a:r>
              <a:r>
                <a:rPr lang="en-US" altLang="zh-CN" sz="1400" dirty="0"/>
                <a:t> </a:t>
              </a:r>
              <a:r>
                <a:rPr lang="en-US" altLang="zh-CN" sz="1400" dirty="0" err="1"/>
                <a:t>elit</a:t>
              </a:r>
              <a:endParaRPr lang="en-US" altLang="zh-CN" sz="1400" dirty="0"/>
            </a:p>
          </p:txBody>
        </p:sp>
      </p:grpSp>
      <p:grpSp>
        <p:nvGrpSpPr>
          <p:cNvPr id="5" name="组合 4"/>
          <p:cNvGrpSpPr/>
          <p:nvPr/>
        </p:nvGrpSpPr>
        <p:grpSpPr>
          <a:xfrm>
            <a:off x="0" y="994338"/>
            <a:ext cx="2825113" cy="751284"/>
            <a:chOff x="0" y="785994"/>
            <a:chExt cx="2825113" cy="751284"/>
          </a:xfrm>
        </p:grpSpPr>
        <p:grpSp>
          <p:nvGrpSpPr>
            <p:cNvPr id="12" name="íṣ1iḋe"/>
            <p:cNvGrpSpPr/>
            <p:nvPr/>
          </p:nvGrpSpPr>
          <p:grpSpPr>
            <a:xfrm>
              <a:off x="0" y="785994"/>
              <a:ext cx="2812648" cy="751284"/>
              <a:chOff x="0" y="1130332"/>
              <a:chExt cx="2980592" cy="751284"/>
            </a:xfrm>
          </p:grpSpPr>
          <p:cxnSp>
            <p:nvCxnSpPr>
              <p:cNvPr id="14" name="直接连接符 13"/>
              <p:cNvCxnSpPr/>
              <p:nvPr/>
            </p:nvCxnSpPr>
            <p:spPr>
              <a:xfrm>
                <a:off x="0" y="1881616"/>
                <a:ext cx="2980592" cy="0"/>
              </a:xfrm>
              <a:prstGeom prst="line">
                <a:avLst/>
              </a:prstGeom>
              <a:ln w="952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0" y="1130332"/>
                <a:ext cx="1987062" cy="0"/>
              </a:xfrm>
              <a:prstGeom prst="line">
                <a:avLst/>
              </a:prstGeom>
              <a:ln w="952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
          <p:nvSpPr>
            <p:cNvPr id="225" name="iṧ1îďé"/>
            <p:cNvSpPr txBox="1"/>
            <p:nvPr/>
          </p:nvSpPr>
          <p:spPr bwMode="auto">
            <a:xfrm>
              <a:off x="11575" y="889955"/>
              <a:ext cx="2813538" cy="635748"/>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spcBef>
                  <a:spcPct val="0"/>
                </a:spcBef>
              </a:pPr>
              <a:r>
                <a:rPr lang="en-US" altLang="zh-CN" sz="2800" b="1" dirty="0"/>
                <a:t>CONTENTS</a:t>
              </a:r>
              <a:endParaRPr lang="en-US" altLang="zh-CN" sz="2800" b="1" dirty="0"/>
            </a:p>
          </p:txBody>
        </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kern="0" dirty="0">
                <a:solidFill>
                  <a:srgbClr val="0070C0"/>
                </a:solidFill>
                <a:latin typeface="微软雅黑" panose="020B0503020204020204" pitchFamily="34" charset="-122"/>
                <a:ea typeface="微软雅黑" panose="020B0503020204020204" pitchFamily="34" charset="-122"/>
                <a:sym typeface="+mn-ea"/>
              </a:rPr>
              <a:t>CData</a:t>
            </a:r>
            <a:r>
              <a:rPr lang="zh-CN" altLang="en-US" kern="0" dirty="0">
                <a:solidFill>
                  <a:srgbClr val="0070C0"/>
                </a:solidFill>
                <a:latin typeface="微软雅黑" panose="020B0503020204020204" pitchFamily="34" charset="-122"/>
                <a:ea typeface="微软雅黑" panose="020B0503020204020204" pitchFamily="34" charset="-122"/>
                <a:sym typeface="+mn-ea"/>
              </a:rPr>
              <a:t>提供：弹性共享盘</a:t>
            </a:r>
            <a:r>
              <a:rPr lang="en-US" altLang="zh-CN" kern="0" dirty="0">
                <a:solidFill>
                  <a:srgbClr val="0070C0"/>
                </a:solidFill>
                <a:latin typeface="微软雅黑" panose="020B0503020204020204" pitchFamily="34" charset="-122"/>
                <a:ea typeface="微软雅黑" panose="020B0503020204020204" pitchFamily="34" charset="-122"/>
                <a:sym typeface="+mn-ea"/>
              </a:rPr>
              <a:t>ESDisk</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sp>
        <p:nvSpPr>
          <p:cNvPr id="201" name="灯片编号占位符 200"/>
          <p:cNvSpPr>
            <a:spLocks noGrp="1"/>
          </p:cNvSpPr>
          <p:nvPr>
            <p:ph type="sldNum" sz="quarter" idx="12"/>
            <p:custDataLst>
              <p:tags r:id="rId1"/>
            </p:custDataLst>
          </p:nvPr>
        </p:nvSpPr>
        <p:spPr>
          <a:xfrm>
            <a:off x="8610599" y="6651943"/>
            <a:ext cx="2909888" cy="206381"/>
          </a:xfrm>
        </p:spPr>
        <p:txBody>
          <a:bodyPr/>
          <a:lstStyle/>
          <a:p>
            <a:fld id="{5DD3DB80-B894-403A-B48E-6FDC1A72010E}" type="slidenum">
              <a:rPr lang="zh-CN" altLang="en-US" smtClean="0"/>
            </a:fld>
            <a:endParaRPr lang="zh-CN" altLang="en-US"/>
          </a:p>
        </p:txBody>
      </p:sp>
      <p:sp>
        <p:nvSpPr>
          <p:cNvPr id="4" name="文本框 3"/>
          <p:cNvSpPr txBox="1"/>
          <p:nvPr>
            <p:custDataLst>
              <p:tags r:id="rId2"/>
            </p:custDataLst>
          </p:nvPr>
        </p:nvSpPr>
        <p:spPr>
          <a:xfrm>
            <a:off x="712470" y="1174115"/>
            <a:ext cx="10287000" cy="706755"/>
          </a:xfrm>
          <a:prstGeom prst="rect">
            <a:avLst/>
          </a:prstGeom>
          <a:noFill/>
        </p:spPr>
        <p:txBody>
          <a:bodyPr wrap="square" rtlCol="0" anchor="t">
            <a:spAutoFit/>
          </a:bodyPr>
          <a:lstStyle/>
          <a:p>
            <a:r>
              <a:rPr lang="zh-CN" altLang="en-US" sz="2000" b="1" dirty="0">
                <a:solidFill>
                  <a:srgbClr val="0070C0"/>
                </a:solidFill>
                <a:latin typeface="AgencyFB" panose="02000806040000020003" pitchFamily="2" charset="0"/>
              </a:rPr>
              <a:t>跨机器的多路径</a:t>
            </a:r>
            <a:r>
              <a:rPr lang="en-US" altLang="zh-CN" sz="2000" b="1" dirty="0">
                <a:solidFill>
                  <a:srgbClr val="0070C0"/>
                </a:solidFill>
                <a:latin typeface="AgencyFB" panose="02000806040000020003" pitchFamily="2" charset="0"/>
              </a:rPr>
              <a:t>: </a:t>
            </a:r>
            <a:r>
              <a:rPr lang="zh-CN" altLang="en-US" sz="2000" b="1" dirty="0">
                <a:solidFill>
                  <a:srgbClr val="0070C0"/>
                </a:solidFill>
                <a:latin typeface="AgencyFB" panose="02000806040000020003" pitchFamily="2" charset="0"/>
              </a:rPr>
              <a:t>有一个主路径机器，还有一个备路径机器，保证坏任意一台存储节点，共享盘仍然能正常工作</a:t>
            </a:r>
            <a:endParaRPr lang="zh-CN" altLang="en-US" sz="2000" b="1" dirty="0">
              <a:solidFill>
                <a:srgbClr val="0070C0"/>
              </a:solidFill>
              <a:latin typeface="AgencyFB" panose="02000806040000020003" pitchFamily="2" charset="0"/>
            </a:endParaRPr>
          </a:p>
        </p:txBody>
      </p:sp>
      <p:pic>
        <p:nvPicPr>
          <p:cNvPr id="6" name="图片 5"/>
          <p:cNvPicPr>
            <a:picLocks noChangeAspect="1"/>
          </p:cNvPicPr>
          <p:nvPr>
            <p:custDataLst>
              <p:tags r:id="rId3"/>
            </p:custDataLst>
          </p:nvPr>
        </p:nvPicPr>
        <p:blipFill>
          <a:blip r:embed="rId4"/>
          <a:stretch>
            <a:fillRect/>
          </a:stretch>
        </p:blipFill>
        <p:spPr>
          <a:xfrm>
            <a:off x="762000" y="1857375"/>
            <a:ext cx="10668000" cy="3143250"/>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一体机</a:t>
            </a:r>
            <a:r>
              <a:rPr lang="en-US" altLang="zh-CN" kern="0" dirty="0">
                <a:solidFill>
                  <a:srgbClr val="0070C0"/>
                </a:solidFill>
                <a:latin typeface="微软雅黑" panose="020B0503020204020204" pitchFamily="34" charset="-122"/>
                <a:ea typeface="微软雅黑" panose="020B0503020204020204" pitchFamily="34" charset="-122"/>
                <a:sym typeface="+mn-ea"/>
              </a:rPr>
              <a:t>CData</a:t>
            </a:r>
            <a:r>
              <a:rPr lang="zh-CN" altLang="en-US" kern="0" dirty="0">
                <a:solidFill>
                  <a:srgbClr val="0070C0"/>
                </a:solidFill>
                <a:latin typeface="微软雅黑" panose="020B0503020204020204" pitchFamily="34" charset="-122"/>
                <a:ea typeface="微软雅黑" panose="020B0503020204020204" pitchFamily="34" charset="-122"/>
                <a:sym typeface="+mn-ea"/>
              </a:rPr>
              <a:t>的高可用</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sp>
        <p:nvSpPr>
          <p:cNvPr id="201" name="灯片编号占位符 200"/>
          <p:cNvSpPr>
            <a:spLocks noGrp="1"/>
          </p:cNvSpPr>
          <p:nvPr>
            <p:ph type="sldNum" sz="quarter" idx="12"/>
            <p:custDataLst>
              <p:tags r:id="rId1"/>
            </p:custDataLst>
          </p:nvPr>
        </p:nvSpPr>
        <p:spPr>
          <a:xfrm>
            <a:off x="8610599" y="6651943"/>
            <a:ext cx="2909888" cy="206381"/>
          </a:xfrm>
        </p:spPr>
        <p:txBody>
          <a:bodyPr/>
          <a:lstStyle/>
          <a:p>
            <a:fld id="{5DD3DB80-B894-403A-B48E-6FDC1A72010E}" type="slidenum">
              <a:rPr lang="zh-CN" altLang="en-US" smtClean="0"/>
            </a:fld>
            <a:endParaRPr lang="zh-CN" altLang="en-US"/>
          </a:p>
        </p:txBody>
      </p:sp>
      <p:sp>
        <p:nvSpPr>
          <p:cNvPr id="5" name="文本框 4"/>
          <p:cNvSpPr txBox="1"/>
          <p:nvPr>
            <p:custDataLst>
              <p:tags r:id="rId2"/>
            </p:custDataLst>
          </p:nvPr>
        </p:nvSpPr>
        <p:spPr>
          <a:xfrm>
            <a:off x="712470" y="1174115"/>
            <a:ext cx="10287000" cy="398780"/>
          </a:xfrm>
          <a:prstGeom prst="rect">
            <a:avLst/>
          </a:prstGeom>
          <a:noFill/>
        </p:spPr>
        <p:txBody>
          <a:bodyPr wrap="square" rtlCol="0" anchor="t">
            <a:spAutoFit/>
          </a:bodyPr>
          <a:lstStyle/>
          <a:p>
            <a:r>
              <a:rPr lang="zh-CN" altLang="en-US" sz="2000" b="1" dirty="0">
                <a:solidFill>
                  <a:srgbClr val="0070C0"/>
                </a:solidFill>
                <a:latin typeface="AgencyFB" panose="02000806040000020003" pitchFamily="2" charset="0"/>
              </a:rPr>
              <a:t>主库出现故障后，会自动切换到只读节点。也可以手动切换</a:t>
            </a:r>
            <a:endParaRPr lang="zh-CN" altLang="en-US" sz="2000" b="1" dirty="0">
              <a:solidFill>
                <a:srgbClr val="0070C0"/>
              </a:solidFill>
              <a:latin typeface="AgencyFB" panose="02000806040000020003" pitchFamily="2" charset="0"/>
            </a:endParaRPr>
          </a:p>
        </p:txBody>
      </p:sp>
      <p:pic>
        <p:nvPicPr>
          <p:cNvPr id="3" name="图片 2"/>
          <p:cNvPicPr>
            <a:picLocks noChangeAspect="1"/>
          </p:cNvPicPr>
          <p:nvPr>
            <p:custDataLst>
              <p:tags r:id="rId3"/>
            </p:custDataLst>
          </p:nvPr>
        </p:nvPicPr>
        <p:blipFill>
          <a:blip r:embed="rId4"/>
          <a:stretch>
            <a:fillRect/>
          </a:stretch>
        </p:blipFill>
        <p:spPr>
          <a:xfrm>
            <a:off x="712470" y="2317750"/>
            <a:ext cx="11020425" cy="3276600"/>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一体机</a:t>
            </a:r>
            <a:r>
              <a:rPr lang="en-US" altLang="zh-CN" kern="0" dirty="0">
                <a:solidFill>
                  <a:srgbClr val="0070C0"/>
                </a:solidFill>
                <a:latin typeface="微软雅黑" panose="020B0503020204020204" pitchFamily="34" charset="-122"/>
                <a:ea typeface="微软雅黑" panose="020B0503020204020204" pitchFamily="34" charset="-122"/>
                <a:sym typeface="+mn-ea"/>
              </a:rPr>
              <a:t>CData</a:t>
            </a:r>
            <a:r>
              <a:rPr lang="zh-CN" altLang="en-US" kern="0" dirty="0">
                <a:solidFill>
                  <a:srgbClr val="0070C0"/>
                </a:solidFill>
                <a:latin typeface="微软雅黑" panose="020B0503020204020204" pitchFamily="34" charset="-122"/>
                <a:ea typeface="微软雅黑" panose="020B0503020204020204" pitchFamily="34" charset="-122"/>
                <a:sym typeface="+mn-ea"/>
              </a:rPr>
              <a:t>的使用场景之高性能</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sp>
        <p:nvSpPr>
          <p:cNvPr id="201" name="灯片编号占位符 200"/>
          <p:cNvSpPr>
            <a:spLocks noGrp="1"/>
          </p:cNvSpPr>
          <p:nvPr>
            <p:ph type="sldNum" sz="quarter" idx="12"/>
            <p:custDataLst>
              <p:tags r:id="rId1"/>
            </p:custDataLst>
          </p:nvPr>
        </p:nvSpPr>
        <p:spPr>
          <a:xfrm>
            <a:off x="8610599" y="6651943"/>
            <a:ext cx="2909888" cy="206381"/>
          </a:xfrm>
        </p:spPr>
        <p:txBody>
          <a:bodyPr/>
          <a:lstStyle/>
          <a:p>
            <a:fld id="{5DD3DB80-B894-403A-B48E-6FDC1A72010E}" type="slidenum">
              <a:rPr lang="zh-CN" altLang="en-US" smtClean="0"/>
            </a:fld>
            <a:endParaRPr lang="zh-CN" altLang="en-US"/>
          </a:p>
        </p:txBody>
      </p:sp>
      <p:pic>
        <p:nvPicPr>
          <p:cNvPr id="3" name="图片 2"/>
          <p:cNvPicPr>
            <a:picLocks noChangeAspect="1"/>
          </p:cNvPicPr>
          <p:nvPr>
            <p:custDataLst>
              <p:tags r:id="rId2"/>
            </p:custDataLst>
          </p:nvPr>
        </p:nvPicPr>
        <p:blipFill>
          <a:blip r:embed="rId3"/>
          <a:stretch>
            <a:fillRect/>
          </a:stretch>
        </p:blipFill>
        <p:spPr>
          <a:xfrm>
            <a:off x="670560" y="1214120"/>
            <a:ext cx="8663940" cy="5346700"/>
          </a:xfrm>
          <a:prstGeom prst="rect">
            <a:avLst/>
          </a:prstGeom>
        </p:spPr>
      </p:pic>
      <p:sp>
        <p:nvSpPr>
          <p:cNvPr id="5" name="文本框 4"/>
          <p:cNvSpPr txBox="1"/>
          <p:nvPr>
            <p:custDataLst>
              <p:tags r:id="rId4"/>
            </p:custDataLst>
          </p:nvPr>
        </p:nvSpPr>
        <p:spPr>
          <a:xfrm>
            <a:off x="9695180" y="1214120"/>
            <a:ext cx="1826895" cy="4399915"/>
          </a:xfrm>
          <a:prstGeom prst="rect">
            <a:avLst/>
          </a:prstGeom>
          <a:noFill/>
        </p:spPr>
        <p:txBody>
          <a:bodyPr wrap="square" rtlCol="0" anchor="t">
            <a:spAutoFit/>
          </a:bodyPr>
          <a:lstStyle/>
          <a:p>
            <a:r>
              <a:rPr lang="en-US" altLang="zh-CN" sz="2000" b="1" dirty="0">
                <a:solidFill>
                  <a:srgbClr val="0070C0"/>
                </a:solidFill>
                <a:latin typeface="AgencyFB" panose="02000806040000020003" pitchFamily="2" charset="0"/>
              </a:rPr>
              <a:t>Dell R730</a:t>
            </a:r>
            <a:endParaRPr lang="en-US" altLang="zh-CN" sz="2000" b="1" dirty="0">
              <a:solidFill>
                <a:srgbClr val="0070C0"/>
              </a:solidFill>
              <a:latin typeface="AgencyFB" panose="02000806040000020003" pitchFamily="2" charset="0"/>
            </a:endParaRPr>
          </a:p>
          <a:p>
            <a:r>
              <a:rPr lang="en-US" altLang="zh-CN" sz="2000" b="1" dirty="0">
                <a:solidFill>
                  <a:srgbClr val="0070C0"/>
                </a:solidFill>
                <a:latin typeface="AgencyFB" panose="02000806040000020003" pitchFamily="2" charset="0"/>
              </a:rPr>
              <a:t>Intel(R) Xeon(R) CPU E5-2630 v4 @ 2.20GHz</a:t>
            </a:r>
            <a:endParaRPr lang="en-US" altLang="zh-CN" sz="2000" b="1" dirty="0">
              <a:solidFill>
                <a:srgbClr val="0070C0"/>
              </a:solidFill>
              <a:latin typeface="AgencyFB" panose="02000806040000020003" pitchFamily="2" charset="0"/>
            </a:endParaRPr>
          </a:p>
          <a:p>
            <a:endParaRPr lang="en-US" altLang="zh-CN" sz="2000" b="1" dirty="0">
              <a:solidFill>
                <a:srgbClr val="0070C0"/>
              </a:solidFill>
              <a:latin typeface="AgencyFB" panose="02000806040000020003" pitchFamily="2" charset="0"/>
            </a:endParaRPr>
          </a:p>
          <a:p>
            <a:endParaRPr lang="en-US" altLang="zh-CN" sz="2000" b="1" dirty="0">
              <a:solidFill>
                <a:srgbClr val="0070C0"/>
              </a:solidFill>
              <a:latin typeface="AgencyFB" panose="02000806040000020003" pitchFamily="2" charset="0"/>
            </a:endParaRPr>
          </a:p>
          <a:p>
            <a:r>
              <a:rPr lang="en-US" altLang="zh-CN" sz="2000" b="1" dirty="0">
                <a:solidFill>
                  <a:srgbClr val="0070C0"/>
                </a:solidFill>
                <a:latin typeface="AgencyFB" panose="02000806040000020003" pitchFamily="2" charset="0"/>
              </a:rPr>
              <a:t>7GB</a:t>
            </a:r>
            <a:r>
              <a:rPr lang="zh-CN" altLang="en-US" sz="2000" b="1" dirty="0">
                <a:solidFill>
                  <a:srgbClr val="0070C0"/>
                </a:solidFill>
                <a:latin typeface="AgencyFB" panose="02000806040000020003" pitchFamily="2" charset="0"/>
              </a:rPr>
              <a:t>的</a:t>
            </a:r>
            <a:r>
              <a:rPr lang="en-US" altLang="zh-CN" sz="2000" b="1" dirty="0">
                <a:solidFill>
                  <a:srgbClr val="0070C0"/>
                </a:solidFill>
                <a:latin typeface="AgencyFB" panose="02000806040000020003" pitchFamily="2" charset="0"/>
              </a:rPr>
              <a:t>1</a:t>
            </a:r>
            <a:r>
              <a:rPr lang="zh-CN" altLang="en-US" sz="2000" b="1" dirty="0">
                <a:solidFill>
                  <a:srgbClr val="0070C0"/>
                </a:solidFill>
                <a:latin typeface="AgencyFB" panose="02000806040000020003" pitchFamily="2" charset="0"/>
              </a:rPr>
              <a:t>亿条记录</a:t>
            </a:r>
            <a:r>
              <a:rPr lang="zh-CN" altLang="en-US" sz="2000" b="1" dirty="0">
                <a:solidFill>
                  <a:srgbClr val="0070C0"/>
                </a:solidFill>
                <a:latin typeface="AgencyFB" panose="02000806040000020003" pitchFamily="2" charset="0"/>
              </a:rPr>
              <a:t>的表</a:t>
            </a:r>
            <a:r>
              <a:rPr lang="en-US" altLang="zh-CN" sz="2000" b="1" dirty="0">
                <a:solidFill>
                  <a:srgbClr val="0070C0"/>
                </a:solidFill>
                <a:latin typeface="AgencyFB" panose="02000806040000020003" pitchFamily="2" charset="0"/>
              </a:rPr>
              <a:t>(</a:t>
            </a:r>
            <a:r>
              <a:rPr lang="zh-CN" altLang="en-US" sz="2000" b="1" dirty="0">
                <a:solidFill>
                  <a:srgbClr val="0070C0"/>
                </a:solidFill>
                <a:latin typeface="AgencyFB" panose="02000806040000020003" pitchFamily="2" charset="0"/>
              </a:rPr>
              <a:t>缓存在内存中</a:t>
            </a:r>
            <a:r>
              <a:rPr lang="zh-CN" altLang="en-US" sz="2000" b="1" dirty="0">
                <a:solidFill>
                  <a:srgbClr val="0070C0"/>
                </a:solidFill>
                <a:latin typeface="AgencyFB" panose="02000806040000020003" pitchFamily="2" charset="0"/>
              </a:rPr>
              <a:t>了），全表扫描，时间</a:t>
            </a:r>
            <a:r>
              <a:rPr lang="en-US" altLang="zh-CN" sz="2000" b="1" dirty="0">
                <a:solidFill>
                  <a:srgbClr val="0070C0"/>
                </a:solidFill>
                <a:latin typeface="AgencyFB" panose="02000806040000020003" pitchFamily="2" charset="0"/>
              </a:rPr>
              <a:t>731ms</a:t>
            </a:r>
            <a:endParaRPr lang="en-US" altLang="zh-CN" sz="2000" b="1" dirty="0">
              <a:solidFill>
                <a:srgbClr val="0070C0"/>
              </a:solidFill>
              <a:latin typeface="AgencyFB" panose="02000806040000020003" pitchFamily="2" charset="0"/>
            </a:endParaRPr>
          </a:p>
          <a:p>
            <a:endParaRPr lang="en-US" altLang="zh-CN" sz="2000" b="1" dirty="0">
              <a:solidFill>
                <a:srgbClr val="0070C0"/>
              </a:solidFill>
              <a:latin typeface="AgencyFB" panose="02000806040000020003" pitchFamily="2" charset="0"/>
            </a:endParaRPr>
          </a:p>
          <a:p>
            <a:endParaRPr lang="en-US" altLang="zh-CN" sz="2000" b="1" dirty="0">
              <a:solidFill>
                <a:srgbClr val="0070C0"/>
              </a:solidFill>
              <a:latin typeface="AgencyFB" panose="02000806040000020003" pitchFamily="2"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一体机</a:t>
            </a:r>
            <a:r>
              <a:rPr lang="en-US" altLang="zh-CN" kern="0" dirty="0">
                <a:solidFill>
                  <a:srgbClr val="0070C0"/>
                </a:solidFill>
                <a:latin typeface="微软雅黑" panose="020B0503020204020204" pitchFamily="34" charset="-122"/>
                <a:ea typeface="微软雅黑" panose="020B0503020204020204" pitchFamily="34" charset="-122"/>
                <a:sym typeface="+mn-ea"/>
              </a:rPr>
              <a:t>CData</a:t>
            </a:r>
            <a:r>
              <a:rPr lang="zh-CN" altLang="en-US" kern="0" dirty="0">
                <a:solidFill>
                  <a:srgbClr val="0070C0"/>
                </a:solidFill>
                <a:latin typeface="微软雅黑" panose="020B0503020204020204" pitchFamily="34" charset="-122"/>
                <a:ea typeface="微软雅黑" panose="020B0503020204020204" pitchFamily="34" charset="-122"/>
                <a:sym typeface="+mn-ea"/>
              </a:rPr>
              <a:t>的使用场景之高性能</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sp>
        <p:nvSpPr>
          <p:cNvPr id="201" name="灯片编号占位符 200"/>
          <p:cNvSpPr>
            <a:spLocks noGrp="1"/>
          </p:cNvSpPr>
          <p:nvPr>
            <p:ph type="sldNum" sz="quarter" idx="12"/>
            <p:custDataLst>
              <p:tags r:id="rId1"/>
            </p:custDataLst>
          </p:nvPr>
        </p:nvSpPr>
        <p:spPr>
          <a:xfrm>
            <a:off x="8610599" y="6651943"/>
            <a:ext cx="2909888" cy="206381"/>
          </a:xfrm>
        </p:spPr>
        <p:txBody>
          <a:bodyPr/>
          <a:lstStyle/>
          <a:p>
            <a:fld id="{5DD3DB80-B894-403A-B48E-6FDC1A72010E}" type="slidenum">
              <a:rPr lang="zh-CN" altLang="en-US" smtClean="0"/>
            </a:fld>
            <a:endParaRPr lang="zh-CN" altLang="en-US"/>
          </a:p>
        </p:txBody>
      </p:sp>
      <p:sp>
        <p:nvSpPr>
          <p:cNvPr id="5" name="文本框 4"/>
          <p:cNvSpPr txBox="1"/>
          <p:nvPr>
            <p:custDataLst>
              <p:tags r:id="rId2"/>
            </p:custDataLst>
          </p:nvPr>
        </p:nvSpPr>
        <p:spPr>
          <a:xfrm>
            <a:off x="9373870" y="1214120"/>
            <a:ext cx="2148205" cy="3784600"/>
          </a:xfrm>
          <a:prstGeom prst="rect">
            <a:avLst/>
          </a:prstGeom>
          <a:noFill/>
        </p:spPr>
        <p:txBody>
          <a:bodyPr wrap="square" rtlCol="0" anchor="t">
            <a:spAutoFit/>
          </a:bodyPr>
          <a:lstStyle/>
          <a:p>
            <a:r>
              <a:rPr lang="en-US" altLang="zh-CN" sz="2000" b="1" dirty="0">
                <a:solidFill>
                  <a:srgbClr val="0070C0"/>
                </a:solidFill>
                <a:latin typeface="AgencyFB" panose="02000806040000020003" pitchFamily="2" charset="0"/>
              </a:rPr>
              <a:t>Dell R730</a:t>
            </a:r>
            <a:endParaRPr lang="en-US" altLang="zh-CN" sz="2000" b="1" dirty="0">
              <a:solidFill>
                <a:srgbClr val="0070C0"/>
              </a:solidFill>
              <a:latin typeface="AgencyFB" panose="02000806040000020003" pitchFamily="2" charset="0"/>
            </a:endParaRPr>
          </a:p>
          <a:p>
            <a:r>
              <a:rPr lang="en-US" altLang="zh-CN" sz="2000" b="1" dirty="0">
                <a:solidFill>
                  <a:srgbClr val="0070C0"/>
                </a:solidFill>
                <a:latin typeface="AgencyFB" panose="02000806040000020003" pitchFamily="2" charset="0"/>
              </a:rPr>
              <a:t>Intel(R) Xeon(R) CPU E5-2630 v4 @ 2.20GHz</a:t>
            </a:r>
            <a:endParaRPr lang="en-US" altLang="zh-CN" sz="2000" b="1" dirty="0">
              <a:solidFill>
                <a:srgbClr val="0070C0"/>
              </a:solidFill>
              <a:latin typeface="AgencyFB" panose="02000806040000020003" pitchFamily="2" charset="0"/>
            </a:endParaRPr>
          </a:p>
          <a:p>
            <a:endParaRPr lang="en-US" altLang="zh-CN" sz="2000" b="1" dirty="0">
              <a:solidFill>
                <a:srgbClr val="0070C0"/>
              </a:solidFill>
              <a:latin typeface="AgencyFB" panose="02000806040000020003" pitchFamily="2" charset="0"/>
            </a:endParaRPr>
          </a:p>
          <a:p>
            <a:endParaRPr lang="en-US" altLang="zh-CN" sz="2000" b="1" dirty="0">
              <a:solidFill>
                <a:srgbClr val="0070C0"/>
              </a:solidFill>
              <a:latin typeface="AgencyFB" panose="02000806040000020003" pitchFamily="2" charset="0"/>
            </a:endParaRPr>
          </a:p>
          <a:p>
            <a:r>
              <a:rPr lang="en-US" altLang="zh-CN" sz="2000" b="1" dirty="0">
                <a:solidFill>
                  <a:srgbClr val="0070C0"/>
                </a:solidFill>
                <a:latin typeface="AgencyFB" panose="02000806040000020003" pitchFamily="2" charset="0"/>
              </a:rPr>
              <a:t>71GB</a:t>
            </a:r>
            <a:r>
              <a:rPr lang="zh-CN" altLang="en-US" sz="2000" b="1" dirty="0">
                <a:solidFill>
                  <a:srgbClr val="0070C0"/>
                </a:solidFill>
                <a:latin typeface="AgencyFB" panose="02000806040000020003" pitchFamily="2" charset="0"/>
              </a:rPr>
              <a:t>的</a:t>
            </a:r>
            <a:r>
              <a:rPr lang="en-US" altLang="zh-CN" sz="2000" b="1" dirty="0">
                <a:solidFill>
                  <a:srgbClr val="0070C0"/>
                </a:solidFill>
                <a:latin typeface="AgencyFB" panose="02000806040000020003" pitchFamily="2" charset="0"/>
              </a:rPr>
              <a:t>10</a:t>
            </a:r>
            <a:r>
              <a:rPr lang="zh-CN" altLang="en-US" sz="2000" b="1" dirty="0">
                <a:solidFill>
                  <a:srgbClr val="0070C0"/>
                </a:solidFill>
                <a:latin typeface="AgencyFB" panose="02000806040000020003" pitchFamily="2" charset="0"/>
              </a:rPr>
              <a:t>亿条记录的表</a:t>
            </a:r>
            <a:r>
              <a:rPr lang="en-US" altLang="zh-CN" sz="2000" b="1" dirty="0">
                <a:solidFill>
                  <a:srgbClr val="0070C0"/>
                </a:solidFill>
                <a:latin typeface="AgencyFB" panose="02000806040000020003" pitchFamily="2" charset="0"/>
              </a:rPr>
              <a:t>(</a:t>
            </a:r>
            <a:r>
              <a:rPr lang="zh-CN" altLang="en-US" sz="2000" b="1" dirty="0">
                <a:solidFill>
                  <a:srgbClr val="0070C0"/>
                </a:solidFill>
                <a:latin typeface="AgencyFB" panose="02000806040000020003" pitchFamily="2" charset="0"/>
              </a:rPr>
              <a:t>走</a:t>
            </a:r>
            <a:r>
              <a:rPr lang="zh-CN" altLang="en-US" sz="2000" b="1" dirty="0">
                <a:solidFill>
                  <a:srgbClr val="0070C0"/>
                </a:solidFill>
                <a:latin typeface="AgencyFB" panose="02000806040000020003" pitchFamily="2" charset="0"/>
              </a:rPr>
              <a:t>磁盘），全表扫描，时间</a:t>
            </a:r>
            <a:r>
              <a:rPr lang="en-US" altLang="zh-CN" sz="2000" b="1" dirty="0">
                <a:solidFill>
                  <a:srgbClr val="0070C0"/>
                </a:solidFill>
                <a:latin typeface="AgencyFB" panose="02000806040000020003" pitchFamily="2" charset="0"/>
              </a:rPr>
              <a:t>63s</a:t>
            </a:r>
            <a:endParaRPr lang="en-US" altLang="zh-CN" sz="2000" b="1" dirty="0">
              <a:solidFill>
                <a:srgbClr val="0070C0"/>
              </a:solidFill>
              <a:latin typeface="AgencyFB" panose="02000806040000020003" pitchFamily="2" charset="0"/>
            </a:endParaRPr>
          </a:p>
          <a:p>
            <a:endParaRPr lang="en-US" altLang="zh-CN" sz="2000" b="1" dirty="0">
              <a:solidFill>
                <a:srgbClr val="0070C0"/>
              </a:solidFill>
              <a:latin typeface="AgencyFB" panose="02000806040000020003" pitchFamily="2" charset="0"/>
            </a:endParaRPr>
          </a:p>
          <a:p>
            <a:endParaRPr lang="en-US" altLang="zh-CN" sz="2000" b="1" dirty="0">
              <a:solidFill>
                <a:srgbClr val="0070C0"/>
              </a:solidFill>
              <a:latin typeface="AgencyFB" panose="02000806040000020003" pitchFamily="2" charset="0"/>
            </a:endParaRPr>
          </a:p>
        </p:txBody>
      </p:sp>
      <p:pic>
        <p:nvPicPr>
          <p:cNvPr id="6" name="图片 5"/>
          <p:cNvPicPr>
            <a:picLocks noChangeAspect="1"/>
          </p:cNvPicPr>
          <p:nvPr>
            <p:custDataLst>
              <p:tags r:id="rId3"/>
            </p:custDataLst>
          </p:nvPr>
        </p:nvPicPr>
        <p:blipFill>
          <a:blip r:embed="rId4"/>
          <a:stretch>
            <a:fillRect/>
          </a:stretch>
        </p:blipFill>
        <p:spPr>
          <a:xfrm>
            <a:off x="771525" y="1442085"/>
            <a:ext cx="8162925" cy="4752975"/>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图片 7" descr="图片包含 游戏机&#10;&#10;描述已自动生成"/>
          <p:cNvPicPr>
            <a:picLocks noChangeAspect="1"/>
          </p:cNvPicPr>
          <p:nvPr/>
        </p:nvPicPr>
        <p:blipFill rotWithShape="1">
          <a:blip r:embed="rId1" cstate="print">
            <a:extLst>
              <a:ext uri="{28A0092B-C50C-407E-A947-70E740481C1C}">
                <a14:useLocalDpi xmlns:a14="http://schemas.microsoft.com/office/drawing/2010/main" val="0"/>
              </a:ext>
            </a:extLst>
          </a:blip>
          <a:srcRect l="7206" r="16666" b="9090"/>
          <a:stretch>
            <a:fillRect/>
          </a:stretch>
        </p:blipFill>
        <p:spPr>
          <a:xfrm>
            <a:off x="3523488" y="10"/>
            <a:ext cx="8668512" cy="6857990"/>
          </a:xfrm>
          <a:prstGeom prst="rect">
            <a:avLst/>
          </a:prstGeom>
          <a:noFill/>
        </p:spPr>
      </p:pic>
      <p:sp>
        <p:nvSpPr>
          <p:cNvPr id="201" name="灯片编号占位符 200"/>
          <p:cNvSpPr>
            <a:spLocks noGrp="1"/>
          </p:cNvSpPr>
          <p:nvPr>
            <p:ph type="sldNum" sz="quarter" idx="12"/>
            <p:custDataLst>
              <p:tags r:id="rId2"/>
            </p:custDataLst>
          </p:nvPr>
        </p:nvSpPr>
        <p:spPr>
          <a:xfrm>
            <a:off x="8610599" y="6651943"/>
            <a:ext cx="2909888" cy="206381"/>
          </a:xfrm>
        </p:spPr>
        <p:txBody>
          <a:bodyPr/>
          <a:lstStyle/>
          <a:p>
            <a:fld id="{5DD3DB80-B894-403A-B48E-6FDC1A72010E}" type="slidenum">
              <a:rPr lang="zh-CN" altLang="en-US" smtClean="0"/>
            </a:fld>
            <a:endParaRPr lang="zh-CN" altLang="en-US"/>
          </a:p>
        </p:txBody>
      </p:sp>
      <p:sp>
        <p:nvSpPr>
          <p:cNvPr id="4" name="文本框 3"/>
          <p:cNvSpPr txBox="1"/>
          <p:nvPr>
            <p:custDataLst>
              <p:tags r:id="rId3"/>
            </p:custDataLst>
          </p:nvPr>
        </p:nvSpPr>
        <p:spPr>
          <a:xfrm>
            <a:off x="1192530" y="4841860"/>
            <a:ext cx="1767666" cy="398780"/>
          </a:xfrm>
          <a:prstGeom prst="rect">
            <a:avLst/>
          </a:prstGeom>
          <a:noFill/>
        </p:spPr>
        <p:txBody>
          <a:bodyPr wrap="square" rtlCol="0" anchor="t">
            <a:spAutoFit/>
          </a:bodyPr>
          <a:lstStyle/>
          <a:p>
            <a:r>
              <a:rPr lang="zh-CN" altLang="en-US" sz="2000" b="1" dirty="0">
                <a:solidFill>
                  <a:srgbClr val="0070C0"/>
                </a:solidFill>
                <a:latin typeface="AgencyFB" panose="02000806040000020003" pitchFamily="2" charset="0"/>
              </a:rPr>
              <a:t>百万</a:t>
            </a:r>
            <a:r>
              <a:rPr lang="en-US" altLang="zh-CN" sz="2000" b="1" dirty="0">
                <a:solidFill>
                  <a:srgbClr val="0070C0"/>
                </a:solidFill>
                <a:latin typeface="AgencyFB" panose="02000806040000020003" pitchFamily="2" charset="0"/>
              </a:rPr>
              <a:t>QPS</a:t>
            </a:r>
            <a:r>
              <a:rPr lang="zh-CN" altLang="en-US" sz="2000" b="1" dirty="0">
                <a:solidFill>
                  <a:srgbClr val="0070C0"/>
                </a:solidFill>
                <a:latin typeface="AgencyFB" panose="02000806040000020003" pitchFamily="2" charset="0"/>
              </a:rPr>
              <a:t>场景</a:t>
            </a:r>
            <a:endParaRPr lang="zh-CN" altLang="en-US" sz="2000" b="1" dirty="0">
              <a:solidFill>
                <a:srgbClr val="0070C0"/>
              </a:solidFill>
              <a:latin typeface="AgencyFB" panose="02000806040000020003" pitchFamily="2" charset="0"/>
            </a:endParaRPr>
          </a:p>
        </p:txBody>
      </p:sp>
      <p:sp>
        <p:nvSpPr>
          <p:cNvPr id="9" name="矩形 8"/>
          <p:cNvSpPr/>
          <p:nvPr/>
        </p:nvSpPr>
        <p:spPr>
          <a:xfrm>
            <a:off x="3523488" y="10"/>
            <a:ext cx="8668512" cy="6857990"/>
          </a:xfrm>
          <a:prstGeom prst="rect">
            <a:avLst/>
          </a:prstGeom>
          <a:gradFill flip="none" rotWithShape="1">
            <a:gsLst>
              <a:gs pos="0">
                <a:schemeClr val="bg1">
                  <a:alpha val="0"/>
                </a:schemeClr>
              </a:gs>
              <a:gs pos="0">
                <a:schemeClr val="bg1">
                  <a:alpha val="0"/>
                </a:schemeClr>
              </a:gs>
              <a:gs pos="91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文本框 5"/>
          <p:cNvSpPr txBox="1"/>
          <p:nvPr>
            <p:custDataLst>
              <p:tags r:id="rId4"/>
            </p:custDataLst>
          </p:nvPr>
        </p:nvSpPr>
        <p:spPr>
          <a:xfrm>
            <a:off x="4479259" y="4841860"/>
            <a:ext cx="2944007" cy="398780"/>
          </a:xfrm>
          <a:prstGeom prst="rect">
            <a:avLst/>
          </a:prstGeom>
          <a:noFill/>
        </p:spPr>
        <p:txBody>
          <a:bodyPr wrap="square" rtlCol="0" anchor="t">
            <a:spAutoFit/>
          </a:bodyPr>
          <a:lstStyle/>
          <a:p>
            <a:r>
              <a:rPr lang="zh-CN" altLang="en-US" sz="2000" b="1" dirty="0">
                <a:solidFill>
                  <a:srgbClr val="0070C0"/>
                </a:solidFill>
                <a:latin typeface="AgencyFB" panose="02000806040000020003" pitchFamily="2" charset="0"/>
              </a:rPr>
              <a:t>几十</a:t>
            </a:r>
            <a:r>
              <a:rPr lang="en-US" altLang="zh-CN" sz="2000" b="1" dirty="0">
                <a:solidFill>
                  <a:srgbClr val="0070C0"/>
                </a:solidFill>
                <a:latin typeface="AgencyFB" panose="02000806040000020003" pitchFamily="2" charset="0"/>
              </a:rPr>
              <a:t>GB/S</a:t>
            </a:r>
            <a:r>
              <a:rPr lang="zh-CN" altLang="en-US" sz="2000" b="1" dirty="0">
                <a:solidFill>
                  <a:srgbClr val="0070C0"/>
                </a:solidFill>
                <a:latin typeface="AgencyFB" panose="02000806040000020003" pitchFamily="2" charset="0"/>
              </a:rPr>
              <a:t>的读吞吐场景</a:t>
            </a:r>
            <a:endParaRPr lang="zh-CN" altLang="en-US" sz="2000" b="1" dirty="0">
              <a:solidFill>
                <a:srgbClr val="0070C0"/>
              </a:solidFill>
              <a:latin typeface="AgencyFB" panose="02000806040000020003" pitchFamily="2" charset="0"/>
            </a:endParaRPr>
          </a:p>
        </p:txBody>
      </p:sp>
      <p:sp>
        <p:nvSpPr>
          <p:cNvPr id="7" name="文本框 6"/>
          <p:cNvSpPr txBox="1"/>
          <p:nvPr>
            <p:custDataLst>
              <p:tags r:id="rId5"/>
            </p:custDataLst>
          </p:nvPr>
        </p:nvSpPr>
        <p:spPr>
          <a:xfrm>
            <a:off x="8726977" y="4631947"/>
            <a:ext cx="2272493" cy="1015663"/>
          </a:xfrm>
          <a:prstGeom prst="rect">
            <a:avLst/>
          </a:prstGeom>
          <a:noFill/>
        </p:spPr>
        <p:txBody>
          <a:bodyPr wrap="square" rtlCol="0" anchor="t">
            <a:spAutoFit/>
          </a:bodyPr>
          <a:lstStyle/>
          <a:p>
            <a:pPr algn="ctr"/>
            <a:r>
              <a:rPr lang="zh-CN" altLang="en-US" sz="2000" b="1" dirty="0">
                <a:solidFill>
                  <a:srgbClr val="0070C0"/>
                </a:solidFill>
                <a:latin typeface="AgencyFB" panose="02000806040000020003" pitchFamily="2" charset="0"/>
              </a:rPr>
              <a:t>难以做分库分表的高性能复杂业务，支持复杂的</a:t>
            </a:r>
            <a:r>
              <a:rPr lang="en-US" altLang="zh-CN" sz="2000" b="1" dirty="0">
                <a:solidFill>
                  <a:srgbClr val="0070C0"/>
                </a:solidFill>
                <a:latin typeface="AgencyFB" panose="02000806040000020003" pitchFamily="2" charset="0"/>
              </a:rPr>
              <a:t>SQL</a:t>
            </a:r>
            <a:endParaRPr lang="en-US" altLang="zh-CN" sz="2000" b="1" dirty="0">
              <a:solidFill>
                <a:srgbClr val="0070C0"/>
              </a:solidFill>
              <a:latin typeface="AgencyFB" panose="02000806040000020003" pitchFamily="2" charset="0"/>
            </a:endParaRPr>
          </a:p>
        </p:txBody>
      </p:sp>
      <p:sp>
        <p:nvSpPr>
          <p:cNvPr id="2" name="标题 1"/>
          <p:cNvSpPr>
            <a:spLocks noGrp="1"/>
          </p:cNvSpPr>
          <p:nvPr>
            <p:ph type="title"/>
          </p:nvPr>
        </p:nvSpPr>
        <p:spPr/>
        <p:txBody>
          <a:bodyPr/>
          <a:lstStyle/>
          <a:p>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一体机</a:t>
            </a:r>
            <a:r>
              <a:rPr lang="en-US" altLang="zh-CN" kern="0" dirty="0">
                <a:solidFill>
                  <a:srgbClr val="0070C0"/>
                </a:solidFill>
                <a:latin typeface="微软雅黑" panose="020B0503020204020204" pitchFamily="34" charset="-122"/>
                <a:ea typeface="微软雅黑" panose="020B0503020204020204" pitchFamily="34" charset="-122"/>
                <a:sym typeface="+mn-ea"/>
              </a:rPr>
              <a:t>CData</a:t>
            </a:r>
            <a:r>
              <a:rPr lang="zh-CN" altLang="en-US" kern="0" dirty="0">
                <a:solidFill>
                  <a:srgbClr val="0070C0"/>
                </a:solidFill>
                <a:latin typeface="微软雅黑" panose="020B0503020204020204" pitchFamily="34" charset="-122"/>
                <a:ea typeface="微软雅黑" panose="020B0503020204020204" pitchFamily="34" charset="-122"/>
                <a:sym typeface="+mn-ea"/>
              </a:rPr>
              <a:t>的使用场景之高性能</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sp>
        <p:nvSpPr>
          <p:cNvPr id="10" name="椭圆 9"/>
          <p:cNvSpPr/>
          <p:nvPr/>
        </p:nvSpPr>
        <p:spPr>
          <a:xfrm>
            <a:off x="1093055" y="2055946"/>
            <a:ext cx="1955812" cy="1955812"/>
          </a:xfrm>
          <a:prstGeom prst="ellipse">
            <a:avLst/>
          </a:prstGeom>
        </p:spPr>
        <p:style>
          <a:lnRef idx="0">
            <a:schemeClr val="lt1">
              <a:alpha val="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p:style>
      </p:sp>
      <p:sp>
        <p:nvSpPr>
          <p:cNvPr id="12" name="椭圆 11"/>
          <p:cNvSpPr/>
          <p:nvPr/>
        </p:nvSpPr>
        <p:spPr>
          <a:xfrm>
            <a:off x="4860399" y="2055946"/>
            <a:ext cx="1955812" cy="1955812"/>
          </a:xfrm>
          <a:prstGeom prst="ellipse">
            <a:avLst/>
          </a:prstGeom>
        </p:spPr>
        <p:style>
          <a:lnRef idx="0">
            <a:schemeClr val="lt1">
              <a:alpha val="0"/>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p:style>
      </p:sp>
      <p:sp>
        <p:nvSpPr>
          <p:cNvPr id="13" name="矩形 12" descr="USB"/>
          <p:cNvSpPr/>
          <p:nvPr/>
        </p:nvSpPr>
        <p:spPr>
          <a:xfrm>
            <a:off x="5277211" y="2472758"/>
            <a:ext cx="1122187" cy="1122187"/>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14" name="椭圆 13"/>
          <p:cNvSpPr/>
          <p:nvPr/>
        </p:nvSpPr>
        <p:spPr>
          <a:xfrm>
            <a:off x="8627743" y="2055946"/>
            <a:ext cx="1955812" cy="1955812"/>
          </a:xfrm>
          <a:prstGeom prst="ellipse">
            <a:avLst/>
          </a:prstGeom>
        </p:spPr>
        <p:style>
          <a:lnRef idx="0">
            <a:schemeClr val="lt1">
              <a:alpha val="0"/>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p:style>
      </p:sp>
      <p:sp>
        <p:nvSpPr>
          <p:cNvPr id="15" name="矩形 14" descr="数据库"/>
          <p:cNvSpPr/>
          <p:nvPr/>
        </p:nvSpPr>
        <p:spPr>
          <a:xfrm>
            <a:off x="9044555" y="2472758"/>
            <a:ext cx="1122187" cy="1122187"/>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pic>
        <p:nvPicPr>
          <p:cNvPr id="17" name="图片 16" descr="图标&#10;&#10;描述已自动生成"/>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452235" y="2389061"/>
            <a:ext cx="1289579" cy="1289579"/>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屏幕上有字&#10;&#10;描述已自动生成"/>
          <p:cNvPicPr>
            <a:picLocks noChangeAspect="1"/>
          </p:cNvPicPr>
          <p:nvPr/>
        </p:nvPicPr>
        <p:blipFill rotWithShape="1">
          <a:blip r:embed="rId1" cstate="print">
            <a:alphaModFix amt="96000"/>
            <a:extLst>
              <a:ext uri="{28A0092B-C50C-407E-A947-70E740481C1C}">
                <a14:useLocalDpi xmlns:a14="http://schemas.microsoft.com/office/drawing/2010/main" val="0"/>
              </a:ext>
            </a:extLst>
          </a:blip>
          <a:srcRect l="40287" r="14382" b="-1"/>
          <a:stretch>
            <a:fillRect/>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a:effectLst>
            <a:softEdge rad="0"/>
          </a:effectLst>
        </p:spPr>
      </p:pic>
      <p:sp>
        <p:nvSpPr>
          <p:cNvPr id="2" name="标题 1"/>
          <p:cNvSpPr>
            <a:spLocks noGrp="1"/>
          </p:cNvSpPr>
          <p:nvPr>
            <p:ph type="title"/>
          </p:nvPr>
        </p:nvSpPr>
        <p:spPr>
          <a:xfrm>
            <a:off x="670559" y="397510"/>
            <a:ext cx="10925695" cy="587375"/>
          </a:xfrm>
        </p:spPr>
        <p:txBody>
          <a:bodyPr/>
          <a:lstStyle/>
          <a:p>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一体机</a:t>
            </a:r>
            <a:r>
              <a:rPr lang="en-US" altLang="zh-CN" kern="0" dirty="0">
                <a:solidFill>
                  <a:srgbClr val="0070C0"/>
                </a:solidFill>
                <a:latin typeface="微软雅黑" panose="020B0503020204020204" pitchFamily="34" charset="-122"/>
                <a:ea typeface="微软雅黑" panose="020B0503020204020204" pitchFamily="34" charset="-122"/>
                <a:sym typeface="+mn-ea"/>
              </a:rPr>
              <a:t>CData</a:t>
            </a:r>
            <a:r>
              <a:rPr lang="zh-CN" altLang="en-US" kern="0" dirty="0">
                <a:solidFill>
                  <a:srgbClr val="0070C0"/>
                </a:solidFill>
                <a:latin typeface="微软雅黑" panose="020B0503020204020204" pitchFamily="34" charset="-122"/>
                <a:ea typeface="微软雅黑" panose="020B0503020204020204" pitchFamily="34" charset="-122"/>
                <a:sym typeface="+mn-ea"/>
              </a:rPr>
              <a:t>的使用场景之强一致性场景</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sp>
        <p:nvSpPr>
          <p:cNvPr id="201" name="灯片编号占位符 200"/>
          <p:cNvSpPr>
            <a:spLocks noGrp="1"/>
          </p:cNvSpPr>
          <p:nvPr>
            <p:ph type="sldNum" sz="quarter" idx="12"/>
            <p:custDataLst>
              <p:tags r:id="rId2"/>
            </p:custDataLst>
          </p:nvPr>
        </p:nvSpPr>
        <p:spPr>
          <a:xfrm>
            <a:off x="8610599" y="6651943"/>
            <a:ext cx="2909888" cy="206381"/>
          </a:xfrm>
        </p:spPr>
        <p:txBody>
          <a:bodyPr/>
          <a:lstStyle/>
          <a:p>
            <a:fld id="{5DD3DB80-B894-403A-B48E-6FDC1A72010E}" type="slidenum">
              <a:rPr lang="zh-CN" altLang="en-US" smtClean="0"/>
            </a:fld>
            <a:endParaRPr lang="zh-CN" altLang="en-US"/>
          </a:p>
        </p:txBody>
      </p:sp>
      <p:sp>
        <p:nvSpPr>
          <p:cNvPr id="4" name="文本框 3"/>
          <p:cNvSpPr txBox="1"/>
          <p:nvPr>
            <p:custDataLst>
              <p:tags r:id="rId3"/>
            </p:custDataLst>
          </p:nvPr>
        </p:nvSpPr>
        <p:spPr>
          <a:xfrm>
            <a:off x="6281997" y="1616364"/>
            <a:ext cx="5172941" cy="5170646"/>
          </a:xfrm>
          <a:prstGeom prst="rect">
            <a:avLst/>
          </a:prstGeom>
          <a:noFill/>
        </p:spPr>
        <p:txBody>
          <a:bodyPr wrap="square" rtlCol="0" anchor="t">
            <a:spAutoFit/>
          </a:bodyPr>
          <a:lstStyle/>
          <a:p>
            <a:pPr algn="l"/>
            <a:r>
              <a:rPr lang="en-US" altLang="zh-CN" sz="2000" b="1" dirty="0">
                <a:solidFill>
                  <a:srgbClr val="2F528F"/>
                </a:solidFill>
                <a:latin typeface="微软雅黑" panose="020B0503020204020204" pitchFamily="34" charset="-122"/>
                <a:ea typeface="微软雅黑" panose="020B0503020204020204" pitchFamily="34" charset="-122"/>
                <a:sym typeface="+mn-ea"/>
              </a:rPr>
              <a:t>数据强一致性保证</a:t>
            </a:r>
            <a:r>
              <a:rPr lang="zh-CN" altLang="en-US" sz="2000" b="1" dirty="0">
                <a:solidFill>
                  <a:srgbClr val="2F528F"/>
                </a:solidFill>
                <a:latin typeface="微软雅黑" panose="020B0503020204020204" pitchFamily="34" charset="-122"/>
                <a:ea typeface="微软雅黑" panose="020B0503020204020204" pitchFamily="34" charset="-122"/>
                <a:sym typeface="+mn-ea"/>
              </a:rPr>
              <a:t>，</a:t>
            </a:r>
            <a:r>
              <a:rPr lang="en-US" altLang="zh-CN" sz="2000" b="1" dirty="0">
                <a:solidFill>
                  <a:srgbClr val="2F528F"/>
                </a:solidFill>
                <a:latin typeface="微软雅黑" panose="020B0503020204020204" pitchFamily="34" charset="-122"/>
                <a:ea typeface="微软雅黑" panose="020B0503020204020204" pitchFamily="34" charset="-122"/>
                <a:sym typeface="+mn-ea"/>
              </a:rPr>
              <a:t>满足金融级可靠性要求</a:t>
            </a:r>
            <a:endParaRPr lang="en-US" altLang="zh-CN" sz="2000" b="1" dirty="0">
              <a:solidFill>
                <a:srgbClr val="2F528F"/>
              </a:solidFill>
              <a:latin typeface="微软雅黑" panose="020B0503020204020204" pitchFamily="34" charset="-122"/>
              <a:ea typeface="微软雅黑" panose="020B0503020204020204" pitchFamily="34" charset="-122"/>
              <a:sym typeface="+mn-ea"/>
            </a:endParaRPr>
          </a:p>
          <a:p>
            <a:pPr algn="l"/>
            <a:endPar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sym typeface="+mn-ea"/>
            </a:endParaRPr>
          </a:p>
          <a:p>
            <a:pPr algn="l">
              <a:lnSpc>
                <a:spcPct val="150000"/>
              </a:lnSpc>
            </a:pP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sym typeface="+mn-ea"/>
              </a:rPr>
              <a:t>金融场景下对业务要求高可用和强一致性，PolarDB采用存储和计算分离的架构，支持秒级的故障恢复、全局数据一致性和数据备份容灾等功能，充分满足金融级合规可靠性要求</a:t>
            </a:r>
            <a:endPar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sym typeface="+mn-ea"/>
            </a:endParaRPr>
          </a:p>
          <a:p>
            <a:pPr algn="l">
              <a:lnSpc>
                <a:spcPct val="150000"/>
              </a:lnSpc>
            </a:pPr>
            <a:endPar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sym typeface="+mn-ea"/>
            </a:endParaRPr>
          </a:p>
          <a:p>
            <a:pPr algn="l">
              <a:lnSpc>
                <a:spcPct val="150000"/>
              </a:lnSpc>
            </a:pP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sym typeface="+mn-ea"/>
              </a:rPr>
              <a:t>集群版采用共享分布式存储的设计，彻底解决了主从（Master-Slave）异步复制所带来的备库数据非强一致性的问题。</a:t>
            </a:r>
            <a:endPar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endParaRPr>
          </a:p>
          <a:p>
            <a:pPr algn="l"/>
            <a:endParaRPr lang="zh-CN" altLang="en-US" sz="2000" b="1" dirty="0">
              <a:solidFill>
                <a:srgbClr val="0070C0"/>
              </a:solidFill>
              <a:latin typeface="AgencyFB" panose="02000806040000020003" pitchFamily="2"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descr="海上有艘船&#10;&#10;低可信度描述已自动生成"/>
          <p:cNvPicPr>
            <a:picLocks noChangeAspect="1"/>
          </p:cNvPicPr>
          <p:nvPr/>
        </p:nvPicPr>
        <p:blipFill rotWithShape="1">
          <a:blip r:embed="rId1">
            <a:alphaModFix amt="73000"/>
            <a:extLst>
              <a:ext uri="{28A0092B-C50C-407E-A947-70E740481C1C}">
                <a14:useLocalDpi xmlns:a14="http://schemas.microsoft.com/office/drawing/2010/main" val="0"/>
              </a:ext>
            </a:extLst>
          </a:blip>
          <a:srcRect l="7970" r="25076" b="-1"/>
          <a:stretch>
            <a:fillRect/>
          </a:stretch>
        </p:blipFill>
        <p:spPr>
          <a:xfrm>
            <a:off x="5313215" y="0"/>
            <a:ext cx="6878785" cy="685800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2" name="标题 1"/>
          <p:cNvSpPr>
            <a:spLocks noGrp="1"/>
          </p:cNvSpPr>
          <p:nvPr>
            <p:ph type="title"/>
          </p:nvPr>
        </p:nvSpPr>
        <p:spPr/>
        <p:txBody>
          <a:bodyPr/>
          <a:lstStyle/>
          <a:p>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一体机</a:t>
            </a:r>
            <a:r>
              <a:rPr lang="en-US" altLang="zh-CN" kern="0" dirty="0">
                <a:solidFill>
                  <a:srgbClr val="0070C0"/>
                </a:solidFill>
                <a:latin typeface="微软雅黑" panose="020B0503020204020204" pitchFamily="34" charset="-122"/>
                <a:ea typeface="微软雅黑" panose="020B0503020204020204" pitchFamily="34" charset="-122"/>
                <a:sym typeface="+mn-ea"/>
              </a:rPr>
              <a:t>CData</a:t>
            </a:r>
            <a:r>
              <a:rPr lang="zh-CN" altLang="en-US" kern="0" dirty="0">
                <a:solidFill>
                  <a:srgbClr val="0070C0"/>
                </a:solidFill>
                <a:latin typeface="微软雅黑" panose="020B0503020204020204" pitchFamily="34" charset="-122"/>
                <a:ea typeface="微软雅黑" panose="020B0503020204020204" pitchFamily="34" charset="-122"/>
                <a:sym typeface="+mn-ea"/>
              </a:rPr>
              <a:t>的使用场景之大容量场景</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sp>
        <p:nvSpPr>
          <p:cNvPr id="201" name="灯片编号占位符 200"/>
          <p:cNvSpPr>
            <a:spLocks noGrp="1"/>
          </p:cNvSpPr>
          <p:nvPr>
            <p:ph type="sldNum" sz="quarter" idx="12"/>
            <p:custDataLst>
              <p:tags r:id="rId2"/>
            </p:custDataLst>
          </p:nvPr>
        </p:nvSpPr>
        <p:spPr>
          <a:xfrm>
            <a:off x="8610599" y="6651943"/>
            <a:ext cx="2909888" cy="206381"/>
          </a:xfrm>
        </p:spPr>
        <p:txBody>
          <a:bodyPr/>
          <a:lstStyle/>
          <a:p>
            <a:fld id="{5DD3DB80-B894-403A-B48E-6FDC1A72010E}" type="slidenum">
              <a:rPr lang="zh-CN" altLang="en-US" smtClean="0"/>
            </a:fld>
            <a:endParaRPr lang="zh-CN" altLang="en-US"/>
          </a:p>
        </p:txBody>
      </p:sp>
      <p:sp>
        <p:nvSpPr>
          <p:cNvPr id="4" name="文本框 3"/>
          <p:cNvSpPr txBox="1"/>
          <p:nvPr>
            <p:custDataLst>
              <p:tags r:id="rId3"/>
            </p:custDataLst>
          </p:nvPr>
        </p:nvSpPr>
        <p:spPr>
          <a:xfrm>
            <a:off x="3102613" y="4849901"/>
            <a:ext cx="1567868" cy="398780"/>
          </a:xfrm>
          <a:prstGeom prst="rect">
            <a:avLst/>
          </a:prstGeom>
          <a:noFill/>
        </p:spPr>
        <p:txBody>
          <a:bodyPr wrap="square" rtlCol="0" anchor="t">
            <a:spAutoFit/>
          </a:bodyPr>
          <a:lstStyle/>
          <a:p>
            <a:r>
              <a:rPr lang="en-US" altLang="zh-CN" sz="2000" b="1" dirty="0">
                <a:solidFill>
                  <a:srgbClr val="0070C0"/>
                </a:solidFill>
                <a:latin typeface="AgencyFB" panose="02000806040000020003" pitchFamily="2" charset="0"/>
              </a:rPr>
              <a:t>PB</a:t>
            </a:r>
            <a:r>
              <a:rPr lang="zh-CN" altLang="en-US" sz="2000" b="1" dirty="0">
                <a:solidFill>
                  <a:srgbClr val="0070C0"/>
                </a:solidFill>
                <a:latin typeface="AgencyFB" panose="02000806040000020003" pitchFamily="2" charset="0"/>
              </a:rPr>
              <a:t>级数据量</a:t>
            </a:r>
            <a:endParaRPr lang="zh-CN" altLang="en-US" sz="2000" b="1" dirty="0">
              <a:solidFill>
                <a:srgbClr val="0070C0"/>
              </a:solidFill>
              <a:latin typeface="AgencyFB" panose="02000806040000020003" pitchFamily="2" charset="0"/>
            </a:endParaRPr>
          </a:p>
        </p:txBody>
      </p:sp>
      <p:sp>
        <p:nvSpPr>
          <p:cNvPr id="6" name="文本框 5"/>
          <p:cNvSpPr txBox="1"/>
          <p:nvPr>
            <p:custDataLst>
              <p:tags r:id="rId4"/>
            </p:custDataLst>
          </p:nvPr>
        </p:nvSpPr>
        <p:spPr>
          <a:xfrm>
            <a:off x="818700" y="4849901"/>
            <a:ext cx="1264376" cy="398780"/>
          </a:xfrm>
          <a:prstGeom prst="rect">
            <a:avLst/>
          </a:prstGeom>
          <a:noFill/>
        </p:spPr>
        <p:txBody>
          <a:bodyPr wrap="square" rtlCol="0" anchor="t">
            <a:spAutoFit/>
          </a:bodyPr>
          <a:lstStyle/>
          <a:p>
            <a:r>
              <a:rPr lang="zh-CN" altLang="en-US" sz="2000" b="1" dirty="0">
                <a:solidFill>
                  <a:srgbClr val="0070C0"/>
                </a:solidFill>
                <a:latin typeface="AgencyFB" panose="02000806040000020003" pitchFamily="2" charset="0"/>
              </a:rPr>
              <a:t>数据仓库</a:t>
            </a:r>
            <a:endParaRPr lang="zh-CN" altLang="en-US" sz="2000" b="1" dirty="0">
              <a:solidFill>
                <a:srgbClr val="0070C0"/>
              </a:solidFill>
              <a:latin typeface="AgencyFB" panose="02000806040000020003" pitchFamily="2" charset="0"/>
            </a:endParaRPr>
          </a:p>
        </p:txBody>
      </p:sp>
      <p:grpSp>
        <p:nvGrpSpPr>
          <p:cNvPr id="11" name="组合 10"/>
          <p:cNvGrpSpPr/>
          <p:nvPr/>
        </p:nvGrpSpPr>
        <p:grpSpPr>
          <a:xfrm>
            <a:off x="498014" y="2174184"/>
            <a:ext cx="1905749" cy="1885198"/>
            <a:chOff x="795888" y="3864439"/>
            <a:chExt cx="2196000" cy="2196000"/>
          </a:xfrm>
        </p:grpSpPr>
        <p:sp>
          <p:nvSpPr>
            <p:cNvPr id="9" name="椭圆 8"/>
            <p:cNvSpPr/>
            <p:nvPr/>
          </p:nvSpPr>
          <p:spPr>
            <a:xfrm>
              <a:off x="795888" y="3864439"/>
              <a:ext cx="2196000" cy="2196000"/>
            </a:xfrm>
            <a:prstGeom prst="ellipse">
              <a:avLst/>
            </a:prstGeom>
          </p:spPr>
          <p:style>
            <a:lnRef idx="0">
              <a:schemeClr val="lt1">
                <a:alpha val="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p:style>
        </p:sp>
        <p:sp>
          <p:nvSpPr>
            <p:cNvPr id="10" name="矩形 9"/>
            <p:cNvSpPr/>
            <p:nvPr/>
          </p:nvSpPr>
          <p:spPr>
            <a:xfrm>
              <a:off x="1263888" y="4166147"/>
              <a:ext cx="1260000" cy="1260000"/>
            </a:xfrm>
            <a:prstGeom prst="rect">
              <a:avLst/>
            </a:prstGeom>
            <a:blipFill>
              <a:blip r:embed="rId5"/>
              <a:srcRect/>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grpSp>
        <p:nvGrpSpPr>
          <p:cNvPr id="14" name="组合 13"/>
          <p:cNvGrpSpPr/>
          <p:nvPr/>
        </p:nvGrpSpPr>
        <p:grpSpPr>
          <a:xfrm>
            <a:off x="2933673" y="2174184"/>
            <a:ext cx="1905749" cy="1885199"/>
            <a:chOff x="4998000" y="2331000"/>
            <a:chExt cx="2196000" cy="2196000"/>
          </a:xfrm>
        </p:grpSpPr>
        <p:sp>
          <p:nvSpPr>
            <p:cNvPr id="12" name="椭圆 11"/>
            <p:cNvSpPr/>
            <p:nvPr/>
          </p:nvSpPr>
          <p:spPr>
            <a:xfrm>
              <a:off x="4998000" y="2331000"/>
              <a:ext cx="2196000" cy="2196000"/>
            </a:xfrm>
            <a:prstGeom prst="ellipse">
              <a:avLst/>
            </a:prstGeom>
          </p:spPr>
          <p:style>
            <a:lnRef idx="0">
              <a:schemeClr val="lt1">
                <a:alpha val="0"/>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p:style>
        </p:sp>
        <p:sp>
          <p:nvSpPr>
            <p:cNvPr id="13" name="矩形 12" descr="Bar chart"/>
            <p:cNvSpPr/>
            <p:nvPr/>
          </p:nvSpPr>
          <p:spPr>
            <a:xfrm>
              <a:off x="5466000" y="2799000"/>
              <a:ext cx="1260000" cy="1260000"/>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矩形 3"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8" name="标题 4"/>
          <p:cNvSpPr>
            <a:spLocks noGrp="1"/>
          </p:cNvSpPr>
          <p:nvPr>
            <p:ph type="ctrTitle"/>
          </p:nvPr>
        </p:nvSpPr>
        <p:spPr>
          <a:xfrm>
            <a:off x="5810440" y="1365813"/>
            <a:ext cx="5498025" cy="1571518"/>
          </a:xfrm>
        </p:spPr>
        <p:txBody>
          <a:bodyPr>
            <a:normAutofit fontScale="90000"/>
          </a:bodyPr>
          <a:lstStyle/>
          <a:p>
            <a:r>
              <a:rPr lang="en-US" altLang="zh-CN" sz="12800" dirty="0">
                <a:latin typeface="Impact" panose="020B0806030902050204" pitchFamily="34" charset="0"/>
              </a:rPr>
              <a:t>THANKS</a:t>
            </a:r>
            <a:endParaRPr lang="zh-CN" altLang="en-US" b="0" dirty="0"/>
          </a:p>
        </p:txBody>
      </p:sp>
      <p:sp>
        <p:nvSpPr>
          <p:cNvPr id="9" name="文本占位符 6"/>
          <p:cNvSpPr>
            <a:spLocks noGrp="1"/>
          </p:cNvSpPr>
          <p:nvPr>
            <p:ph type="body" sz="quarter" idx="18"/>
          </p:nvPr>
        </p:nvSpPr>
        <p:spPr/>
        <p:txBody>
          <a:bodyPr/>
          <a:lstStyle/>
          <a:p>
            <a:r>
              <a:rPr lang="en-US" altLang="zh-CN" dirty="0">
                <a:solidFill>
                  <a:schemeClr val="tx1"/>
                </a:solidFill>
              </a:rPr>
              <a:t>www.postgresqlchina.com</a:t>
            </a:r>
            <a:endParaRPr lang="en-US" altLang="en-US" dirty="0">
              <a:solidFill>
                <a:schemeClr val="tx1"/>
              </a:solidFill>
            </a:endParaRPr>
          </a:p>
        </p:txBody>
      </p:sp>
      <p:sp>
        <p:nvSpPr>
          <p:cNvPr id="10" name="文本占位符 5"/>
          <p:cNvSpPr>
            <a:spLocks noGrp="1"/>
          </p:cNvSpPr>
          <p:nvPr>
            <p:ph type="body" sz="quarter" idx="10"/>
          </p:nvPr>
        </p:nvSpPr>
        <p:spPr/>
        <p:txBody>
          <a:bodyPr/>
          <a:lstStyle/>
          <a:p>
            <a:r>
              <a:rPr lang="en-US" altLang="zh-CN" dirty="0">
                <a:solidFill>
                  <a:schemeClr val="tx1"/>
                </a:solidFill>
              </a:rPr>
              <a:t>osdba@</a:t>
            </a:r>
            <a:r>
              <a:rPr lang="zh-CN" altLang="en-US" dirty="0">
                <a:solidFill>
                  <a:schemeClr val="tx1"/>
                </a:solidFill>
              </a:rPr>
              <a:t>唐成</a:t>
            </a:r>
            <a:endParaRPr lang="en-US" altLang="zh-CN" dirty="0">
              <a:solidFill>
                <a:schemeClr val="tx1"/>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kern="0" dirty="0">
                <a:solidFill>
                  <a:srgbClr val="0070C0"/>
                </a:solidFill>
                <a:latin typeface="微软雅黑" panose="020B0503020204020204" pitchFamily="34" charset="-122"/>
                <a:ea typeface="微软雅黑" panose="020B0503020204020204" pitchFamily="34" charset="-122"/>
                <a:sym typeface="+mn-ea"/>
              </a:rPr>
              <a:t>什么是国产化数据库</a:t>
            </a:r>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sp>
        <p:nvSpPr>
          <p:cNvPr id="201" name="灯片编号占位符 200"/>
          <p:cNvSpPr>
            <a:spLocks noGrp="1"/>
          </p:cNvSpPr>
          <p:nvPr>
            <p:ph type="sldNum" sz="quarter" idx="12"/>
            <p:custDataLst>
              <p:tags r:id="rId1"/>
            </p:custDataLst>
          </p:nvPr>
        </p:nvSpPr>
        <p:spPr>
          <a:xfrm>
            <a:off x="8610599" y="6651943"/>
            <a:ext cx="2909888" cy="206381"/>
          </a:xfrm>
        </p:spPr>
        <p:txBody>
          <a:bodyPr/>
          <a:lstStyle/>
          <a:p>
            <a:fld id="{5DD3DB80-B894-403A-B48E-6FDC1A72010E}" type="slidenum">
              <a:rPr lang="zh-CN" altLang="en-US" smtClean="0"/>
            </a:fld>
            <a:endParaRPr lang="zh-CN" altLang="en-US"/>
          </a:p>
        </p:txBody>
      </p:sp>
      <p:sp>
        <p:nvSpPr>
          <p:cNvPr id="6" name="文本框 5"/>
          <p:cNvSpPr txBox="1"/>
          <p:nvPr>
            <p:custDataLst>
              <p:tags r:id="rId2"/>
            </p:custDataLst>
          </p:nvPr>
        </p:nvSpPr>
        <p:spPr>
          <a:xfrm>
            <a:off x="1242060" y="3506470"/>
            <a:ext cx="9669780" cy="1568450"/>
          </a:xfrm>
          <a:prstGeom prst="rect">
            <a:avLst/>
          </a:prstGeom>
          <a:noFill/>
        </p:spPr>
        <p:txBody>
          <a:bodyPr wrap="square" rtlCol="0">
            <a:spAutoFit/>
          </a:bodyPr>
          <a:lstStyle/>
          <a:p>
            <a:r>
              <a:rPr lang="zh-CN" altLang="en-US" sz="4800" dirty="0">
                <a:latin typeface="AgencyFB" panose="02000806040000020003" pitchFamily="2" charset="0"/>
              </a:rPr>
              <a:t>是一个增强的</a:t>
            </a:r>
            <a:r>
              <a:rPr lang="en-US" altLang="zh-CN" sz="4800" dirty="0">
                <a:latin typeface="AgencyFB" panose="02000806040000020003" pitchFamily="2" charset="0"/>
              </a:rPr>
              <a:t>PostgreSQL</a:t>
            </a:r>
            <a:r>
              <a:rPr lang="zh-CN" altLang="en-US" sz="4800" dirty="0">
                <a:latin typeface="AgencyFB" panose="02000806040000020003" pitchFamily="2" charset="0"/>
              </a:rPr>
              <a:t>数据库</a:t>
            </a:r>
            <a:endParaRPr lang="zh-CN" altLang="en-US" sz="4800" dirty="0">
              <a:latin typeface="AgencyFB" panose="02000806040000020003" pitchFamily="2" charset="0"/>
            </a:endParaRPr>
          </a:p>
          <a:p>
            <a:r>
              <a:rPr lang="zh-CN" altLang="en-US" sz="4800" dirty="0">
                <a:latin typeface="AgencyFB" panose="02000806040000020003" pitchFamily="2" charset="0"/>
              </a:rPr>
              <a:t>是一款国产化数据库</a:t>
            </a:r>
            <a:endParaRPr lang="zh-CN" altLang="en-US" sz="4800" dirty="0">
              <a:latin typeface="AgencyFB" panose="02000806040000020003" pitchFamily="2" charset="0"/>
            </a:endParaRPr>
          </a:p>
        </p:txBody>
      </p:sp>
      <p:pic>
        <p:nvPicPr>
          <p:cNvPr id="101" name="图片 100"/>
          <p:cNvPicPr/>
          <p:nvPr>
            <p:custDataLst>
              <p:tags r:id="rId3"/>
            </p:custDataLst>
          </p:nvPr>
        </p:nvPicPr>
        <p:blipFill>
          <a:blip r:embed="rId4">
            <a:extLst>
              <a:ext uri="{96DAC541-7B7A-43D3-8B79-37D633B846F1}">
                <asvg:svgBlip xmlns:asvg="http://schemas.microsoft.com/office/drawing/2016/SVG/main" r:embed="rId5"/>
              </a:ext>
            </a:extLst>
          </a:blip>
          <a:stretch>
            <a:fillRect/>
          </a:stretch>
        </p:blipFill>
        <p:spPr>
          <a:xfrm>
            <a:off x="1242060" y="2242185"/>
            <a:ext cx="9192895" cy="1062355"/>
          </a:xfrm>
          <a:prstGeom prst="rect">
            <a:avLst/>
          </a:prstGeom>
          <a:noFill/>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kern="0" dirty="0">
                <a:solidFill>
                  <a:srgbClr val="0070C0"/>
                </a:solidFill>
                <a:latin typeface="微软雅黑" panose="020B0503020204020204" pitchFamily="34" charset="-122"/>
                <a:ea typeface="微软雅黑" panose="020B0503020204020204" pitchFamily="34" charset="-122"/>
                <a:sym typeface="+mn-ea"/>
              </a:rPr>
              <a:t>国产化数据库</a:t>
            </a:r>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核心特点</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sp>
        <p:nvSpPr>
          <p:cNvPr id="201" name="灯片编号占位符 200"/>
          <p:cNvSpPr>
            <a:spLocks noGrp="1"/>
          </p:cNvSpPr>
          <p:nvPr>
            <p:ph type="sldNum" sz="quarter" idx="12"/>
            <p:custDataLst>
              <p:tags r:id="rId1"/>
            </p:custDataLst>
          </p:nvPr>
        </p:nvSpPr>
        <p:spPr>
          <a:xfrm>
            <a:off x="8610599" y="6651943"/>
            <a:ext cx="2909888" cy="206381"/>
          </a:xfrm>
        </p:spPr>
        <p:txBody>
          <a:bodyPr/>
          <a:lstStyle/>
          <a:p>
            <a:fld id="{5DD3DB80-B894-403A-B48E-6FDC1A72010E}" type="slidenum">
              <a:rPr lang="zh-CN" altLang="en-US" smtClean="0"/>
            </a:fld>
            <a:endParaRPr lang="zh-CN" altLang="en-US"/>
          </a:p>
        </p:txBody>
      </p:sp>
      <p:sp>
        <p:nvSpPr>
          <p:cNvPr id="107" name="TextBox 1"/>
          <p:cNvSpPr txBox="1"/>
          <p:nvPr>
            <p:custDataLst>
              <p:tags r:id="rId2"/>
            </p:custDataLst>
          </p:nvPr>
        </p:nvSpPr>
        <p:spPr>
          <a:xfrm>
            <a:off x="7576820" y="4744085"/>
            <a:ext cx="573405" cy="237490"/>
          </a:xfrm>
          <a:prstGeom prst="rect">
            <a:avLst/>
          </a:prstGeom>
          <a:noFill/>
        </p:spPr>
        <p:txBody>
          <a:bodyPr wrap="square" lIns="0" tIns="0" rIns="0" rtlCol="0">
            <a:spAutoFit/>
          </a:bodyPr>
          <a:lstStyle/>
          <a:p>
            <a:pPr>
              <a:lnSpc>
                <a:spcPts val="1500"/>
              </a:lnSpc>
              <a:tabLst>
                <a:tab pos="190500" algn="l"/>
              </a:tabLst>
            </a:pPr>
            <a:r>
              <a:rPr lang="zh-CN" altLang="en-US" sz="1600" b="1" dirty="0">
                <a:solidFill>
                  <a:srgbClr val="FF8900"/>
                </a:solidFill>
                <a:latin typeface="微软雅黑" panose="020B0503020204020204" pitchFamily="34" charset="-122"/>
                <a:ea typeface="微软雅黑" panose="020B0503020204020204" pitchFamily="34" charset="-122"/>
                <a:cs typeface="Arial Black" panose="020B0A04020102020204" pitchFamily="34" charset="0"/>
              </a:rPr>
              <a:t>主数据库</a:t>
            </a:r>
            <a:endParaRPr lang="zh-CN" altLang="en-US" sz="1600" b="1" dirty="0">
              <a:solidFill>
                <a:srgbClr val="FF8900"/>
              </a:solidFill>
              <a:latin typeface="微软雅黑" panose="020B0503020204020204" pitchFamily="34" charset="-122"/>
              <a:ea typeface="微软雅黑" panose="020B0503020204020204" pitchFamily="34" charset="-122"/>
              <a:cs typeface="Arial Black" panose="020B0A04020102020204" pitchFamily="34" charset="0"/>
            </a:endParaRPr>
          </a:p>
        </p:txBody>
      </p:sp>
      <p:cxnSp>
        <p:nvCxnSpPr>
          <p:cNvPr id="158" name="直线连接符 157"/>
          <p:cNvCxnSpPr/>
          <p:nvPr>
            <p:custDataLst>
              <p:tags r:id="rId3"/>
            </p:custDataLst>
          </p:nvPr>
        </p:nvCxnSpPr>
        <p:spPr>
          <a:xfrm flipV="1">
            <a:off x="8473440" y="2012315"/>
            <a:ext cx="481965" cy="12065"/>
          </a:xfrm>
          <a:prstGeom prst="line">
            <a:avLst/>
          </a:prstGeom>
          <a:ln w="85725">
            <a:prstDash val="sysDot"/>
          </a:ln>
        </p:spPr>
        <p:style>
          <a:lnRef idx="1">
            <a:schemeClr val="accent1"/>
          </a:lnRef>
          <a:fillRef idx="0">
            <a:schemeClr val="accent1"/>
          </a:fillRef>
          <a:effectRef idx="0">
            <a:schemeClr val="accent1"/>
          </a:effectRef>
          <a:fontRef idx="minor">
            <a:schemeClr val="tx1"/>
          </a:fontRef>
        </p:style>
      </p:cxnSp>
      <p:cxnSp>
        <p:nvCxnSpPr>
          <p:cNvPr id="28" name="直接箭头连接符 27"/>
          <p:cNvCxnSpPr/>
          <p:nvPr>
            <p:custDataLst>
              <p:tags r:id="rId4"/>
            </p:custDataLst>
          </p:nvPr>
        </p:nvCxnSpPr>
        <p:spPr>
          <a:xfrm>
            <a:off x="6207125" y="2340610"/>
            <a:ext cx="1645285" cy="169291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9" name="直接箭头连接符 28"/>
          <p:cNvCxnSpPr/>
          <p:nvPr>
            <p:custDataLst>
              <p:tags r:id="rId5"/>
            </p:custDataLst>
          </p:nvPr>
        </p:nvCxnSpPr>
        <p:spPr>
          <a:xfrm>
            <a:off x="7849235" y="2349500"/>
            <a:ext cx="2540" cy="168402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1" name="直接箭头连接符 30"/>
          <p:cNvCxnSpPr/>
          <p:nvPr>
            <p:custDataLst>
              <p:tags r:id="rId6"/>
            </p:custDataLst>
          </p:nvPr>
        </p:nvCxnSpPr>
        <p:spPr>
          <a:xfrm flipH="1">
            <a:off x="7851775" y="2340610"/>
            <a:ext cx="1774190" cy="169291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nvGrpSpPr>
          <p:cNvPr id="36" name="组合 35"/>
          <p:cNvGrpSpPr/>
          <p:nvPr/>
        </p:nvGrpSpPr>
        <p:grpSpPr>
          <a:xfrm>
            <a:off x="5615305" y="1657350"/>
            <a:ext cx="1183005" cy="682986"/>
            <a:chOff x="3484" y="9444"/>
            <a:chExt cx="2836" cy="1893"/>
          </a:xfrm>
        </p:grpSpPr>
        <p:sp>
          <p:nvSpPr>
            <p:cNvPr id="32" name="缺角矩形 31"/>
            <p:cNvSpPr/>
            <p:nvPr>
              <p:custDataLst>
                <p:tags r:id="rId7"/>
              </p:custDataLst>
            </p:nvPr>
          </p:nvSpPr>
          <p:spPr>
            <a:xfrm>
              <a:off x="3484" y="9444"/>
              <a:ext cx="2836" cy="1893"/>
            </a:xfrm>
            <a:prstGeom prst="plaque">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4"/>
            <p:cNvSpPr txBox="1"/>
            <p:nvPr>
              <p:custDataLst>
                <p:tags r:id="rId8"/>
              </p:custDataLst>
            </p:nvPr>
          </p:nvSpPr>
          <p:spPr>
            <a:xfrm>
              <a:off x="4069" y="9466"/>
              <a:ext cx="1665" cy="740"/>
            </a:xfrm>
            <a:prstGeom prst="rect">
              <a:avLst/>
            </a:prstGeom>
            <a:noFill/>
          </p:spPr>
          <p:txBody>
            <a:bodyPr wrap="square" rtlCol="0">
              <a:noAutofit/>
            </a:bodyPr>
            <a:lstStyle/>
            <a:p>
              <a:pPr algn="ctr"/>
              <a:r>
                <a:rPr lang="zh-CN" altLang="en-US"/>
                <a:t>应用</a:t>
              </a:r>
              <a:endParaRPr lang="zh-CN" altLang="en-US"/>
            </a:p>
          </p:txBody>
        </p:sp>
      </p:grpSp>
      <p:grpSp>
        <p:nvGrpSpPr>
          <p:cNvPr id="43" name="组合 42"/>
          <p:cNvGrpSpPr/>
          <p:nvPr/>
        </p:nvGrpSpPr>
        <p:grpSpPr>
          <a:xfrm>
            <a:off x="7228205" y="1657350"/>
            <a:ext cx="1183005" cy="682986"/>
            <a:chOff x="3484" y="9444"/>
            <a:chExt cx="2836" cy="1893"/>
          </a:xfrm>
        </p:grpSpPr>
        <p:sp>
          <p:nvSpPr>
            <p:cNvPr id="44" name="缺角矩形 43"/>
            <p:cNvSpPr/>
            <p:nvPr>
              <p:custDataLst>
                <p:tags r:id="rId9"/>
              </p:custDataLst>
            </p:nvPr>
          </p:nvSpPr>
          <p:spPr>
            <a:xfrm>
              <a:off x="3484" y="9444"/>
              <a:ext cx="2836" cy="1893"/>
            </a:xfrm>
            <a:prstGeom prst="plaque">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文本框 45"/>
            <p:cNvSpPr txBox="1"/>
            <p:nvPr>
              <p:custDataLst>
                <p:tags r:id="rId10"/>
              </p:custDataLst>
            </p:nvPr>
          </p:nvSpPr>
          <p:spPr>
            <a:xfrm>
              <a:off x="4069" y="9466"/>
              <a:ext cx="1665" cy="740"/>
            </a:xfrm>
            <a:prstGeom prst="rect">
              <a:avLst/>
            </a:prstGeom>
            <a:noFill/>
          </p:spPr>
          <p:txBody>
            <a:bodyPr wrap="square" rtlCol="0">
              <a:noAutofit/>
            </a:bodyPr>
            <a:lstStyle/>
            <a:p>
              <a:pPr algn="ctr"/>
              <a:r>
                <a:rPr lang="zh-CN" altLang="en-US"/>
                <a:t>应用</a:t>
              </a:r>
              <a:endParaRPr lang="zh-CN" altLang="en-US"/>
            </a:p>
          </p:txBody>
        </p:sp>
      </p:grpSp>
      <p:grpSp>
        <p:nvGrpSpPr>
          <p:cNvPr id="51" name="组合 50"/>
          <p:cNvGrpSpPr/>
          <p:nvPr/>
        </p:nvGrpSpPr>
        <p:grpSpPr>
          <a:xfrm>
            <a:off x="9034145" y="1657350"/>
            <a:ext cx="1183005" cy="682986"/>
            <a:chOff x="3484" y="9444"/>
            <a:chExt cx="2836" cy="1893"/>
          </a:xfrm>
        </p:grpSpPr>
        <p:sp>
          <p:nvSpPr>
            <p:cNvPr id="52" name="缺角矩形 51"/>
            <p:cNvSpPr/>
            <p:nvPr>
              <p:custDataLst>
                <p:tags r:id="rId11"/>
              </p:custDataLst>
            </p:nvPr>
          </p:nvSpPr>
          <p:spPr>
            <a:xfrm>
              <a:off x="3484" y="9444"/>
              <a:ext cx="2836" cy="1893"/>
            </a:xfrm>
            <a:prstGeom prst="plaque">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文本框 53"/>
            <p:cNvSpPr txBox="1"/>
            <p:nvPr>
              <p:custDataLst>
                <p:tags r:id="rId12"/>
              </p:custDataLst>
            </p:nvPr>
          </p:nvSpPr>
          <p:spPr>
            <a:xfrm>
              <a:off x="4069" y="9466"/>
              <a:ext cx="1665" cy="740"/>
            </a:xfrm>
            <a:prstGeom prst="rect">
              <a:avLst/>
            </a:prstGeom>
            <a:noFill/>
          </p:spPr>
          <p:txBody>
            <a:bodyPr wrap="square" rtlCol="0">
              <a:noAutofit/>
            </a:bodyPr>
            <a:lstStyle/>
            <a:p>
              <a:pPr algn="ctr"/>
              <a:r>
                <a:rPr lang="zh-CN" altLang="en-US"/>
                <a:t>应用</a:t>
              </a:r>
              <a:endParaRPr lang="zh-CN" altLang="en-US"/>
            </a:p>
          </p:txBody>
        </p:sp>
      </p:grpSp>
      <p:sp>
        <p:nvSpPr>
          <p:cNvPr id="55" name="TextBox 1"/>
          <p:cNvSpPr txBox="1"/>
          <p:nvPr>
            <p:custDataLst>
              <p:tags r:id="rId13"/>
            </p:custDataLst>
          </p:nvPr>
        </p:nvSpPr>
        <p:spPr>
          <a:xfrm>
            <a:off x="9156700" y="4744085"/>
            <a:ext cx="719455" cy="237490"/>
          </a:xfrm>
          <a:prstGeom prst="rect">
            <a:avLst/>
          </a:prstGeom>
          <a:noFill/>
        </p:spPr>
        <p:txBody>
          <a:bodyPr wrap="square" lIns="0" tIns="0" rIns="0" rtlCol="0">
            <a:spAutoFit/>
          </a:bodyPr>
          <a:lstStyle/>
          <a:p>
            <a:pPr>
              <a:lnSpc>
                <a:spcPts val="1500"/>
              </a:lnSpc>
              <a:tabLst>
                <a:tab pos="190500" algn="l"/>
              </a:tabLst>
            </a:pPr>
            <a:r>
              <a:rPr lang="zh-CN" altLang="en-US" sz="1600" b="1" dirty="0">
                <a:solidFill>
                  <a:srgbClr val="FF8900"/>
                </a:solidFill>
                <a:latin typeface="微软雅黑" panose="020B0503020204020204" pitchFamily="34" charset="-122"/>
                <a:ea typeface="微软雅黑" panose="020B0503020204020204" pitchFamily="34" charset="-122"/>
                <a:cs typeface="Arial Black" panose="020B0A04020102020204" pitchFamily="34" charset="0"/>
                <a:sym typeface="+mn-ea"/>
              </a:rPr>
              <a:t>只读节点</a:t>
            </a:r>
            <a:r>
              <a:rPr lang="en-US" altLang="zh-CN" sz="1600" b="1" dirty="0">
                <a:solidFill>
                  <a:srgbClr val="FF8900"/>
                </a:solidFill>
                <a:latin typeface="微软雅黑" panose="020B0503020204020204" pitchFamily="34" charset="-122"/>
                <a:ea typeface="微软雅黑" panose="020B0503020204020204" pitchFamily="34" charset="-122"/>
                <a:cs typeface="Arial Black" panose="020B0A04020102020204" pitchFamily="34" charset="0"/>
                <a:sym typeface="+mn-ea"/>
              </a:rPr>
              <a:t>2</a:t>
            </a:r>
            <a:endParaRPr lang="en-US" altLang="zh-CN" sz="1600" b="1" dirty="0">
              <a:solidFill>
                <a:srgbClr val="FF8900"/>
              </a:solidFill>
              <a:latin typeface="微软雅黑" panose="020B0503020204020204" pitchFamily="34" charset="-122"/>
              <a:ea typeface="微软雅黑" panose="020B0503020204020204" pitchFamily="34" charset="-122"/>
              <a:cs typeface="Arial Black" panose="020B0A04020102020204" pitchFamily="34" charset="0"/>
              <a:sym typeface="+mn-ea"/>
            </a:endParaRPr>
          </a:p>
        </p:txBody>
      </p:sp>
      <p:sp>
        <p:nvSpPr>
          <p:cNvPr id="59" name="TextBox 1"/>
          <p:cNvSpPr txBox="1"/>
          <p:nvPr>
            <p:custDataLst>
              <p:tags r:id="rId14"/>
            </p:custDataLst>
          </p:nvPr>
        </p:nvSpPr>
        <p:spPr>
          <a:xfrm>
            <a:off x="6067425" y="4744085"/>
            <a:ext cx="706755" cy="237490"/>
          </a:xfrm>
          <a:prstGeom prst="rect">
            <a:avLst/>
          </a:prstGeom>
          <a:noFill/>
        </p:spPr>
        <p:txBody>
          <a:bodyPr wrap="square" lIns="0" tIns="0" rIns="0" rtlCol="0">
            <a:spAutoFit/>
          </a:bodyPr>
          <a:lstStyle/>
          <a:p>
            <a:pPr>
              <a:lnSpc>
                <a:spcPts val="1500"/>
              </a:lnSpc>
              <a:tabLst>
                <a:tab pos="190500" algn="l"/>
              </a:tabLst>
            </a:pPr>
            <a:r>
              <a:rPr lang="zh-CN" altLang="en-US" sz="1600" b="1" dirty="0">
                <a:solidFill>
                  <a:srgbClr val="FF8900"/>
                </a:solidFill>
                <a:latin typeface="微软雅黑" panose="020B0503020204020204" pitchFamily="34" charset="-122"/>
                <a:ea typeface="微软雅黑" panose="020B0503020204020204" pitchFamily="34" charset="-122"/>
                <a:cs typeface="Arial Black" panose="020B0A04020102020204" pitchFamily="34" charset="0"/>
              </a:rPr>
              <a:t>只读节点</a:t>
            </a:r>
            <a:r>
              <a:rPr lang="en-US" altLang="zh-CN" sz="1600" b="1" dirty="0">
                <a:solidFill>
                  <a:srgbClr val="FF8900"/>
                </a:solidFill>
                <a:latin typeface="微软雅黑" panose="020B0503020204020204" pitchFamily="34" charset="-122"/>
                <a:ea typeface="微软雅黑" panose="020B0503020204020204" pitchFamily="34" charset="-122"/>
                <a:cs typeface="Arial Black" panose="020B0A04020102020204" pitchFamily="34" charset="0"/>
              </a:rPr>
              <a:t>1</a:t>
            </a:r>
            <a:endParaRPr lang="en-US" altLang="zh-CN" sz="1600" b="1" dirty="0">
              <a:solidFill>
                <a:srgbClr val="FF8900"/>
              </a:solidFill>
              <a:latin typeface="微软雅黑" panose="020B0503020204020204" pitchFamily="34" charset="-122"/>
              <a:ea typeface="微软雅黑" panose="020B0503020204020204" pitchFamily="34" charset="-122"/>
              <a:cs typeface="Arial Black" panose="020B0A04020102020204" pitchFamily="34" charset="0"/>
            </a:endParaRPr>
          </a:p>
        </p:txBody>
      </p:sp>
      <p:cxnSp>
        <p:nvCxnSpPr>
          <p:cNvPr id="63" name="直接箭头连接符 62"/>
          <p:cNvCxnSpPr>
            <a:endCxn id="61" idx="4"/>
          </p:cNvCxnSpPr>
          <p:nvPr>
            <p:custDataLst>
              <p:tags r:id="rId15"/>
            </p:custDataLst>
          </p:nvPr>
        </p:nvCxnSpPr>
        <p:spPr>
          <a:xfrm flipH="1">
            <a:off x="6504305" y="4357370"/>
            <a:ext cx="1049020" cy="0"/>
          </a:xfrm>
          <a:prstGeom prst="straightConnector1">
            <a:avLst/>
          </a:prstGeom>
          <a:ln>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64" name="直接箭头连接符 63"/>
          <p:cNvCxnSpPr/>
          <p:nvPr>
            <p:custDataLst>
              <p:tags r:id="rId16"/>
            </p:custDataLst>
          </p:nvPr>
        </p:nvCxnSpPr>
        <p:spPr>
          <a:xfrm>
            <a:off x="8150860" y="4357370"/>
            <a:ext cx="1012190" cy="0"/>
          </a:xfrm>
          <a:prstGeom prst="straightConnector1">
            <a:avLst/>
          </a:prstGeom>
          <a:ln>
            <a:solidFill>
              <a:srgbClr val="00B050"/>
            </a:solidFill>
            <a:tailEnd type="arrow"/>
          </a:ln>
        </p:spPr>
        <p:style>
          <a:lnRef idx="1">
            <a:schemeClr val="accent1"/>
          </a:lnRef>
          <a:fillRef idx="0">
            <a:schemeClr val="accent1"/>
          </a:fillRef>
          <a:effectRef idx="0">
            <a:schemeClr val="accent1"/>
          </a:effectRef>
          <a:fontRef idx="minor">
            <a:schemeClr val="tx1"/>
          </a:fontRef>
        </p:style>
      </p:cxnSp>
      <p:grpSp>
        <p:nvGrpSpPr>
          <p:cNvPr id="9" name="组合 8"/>
          <p:cNvGrpSpPr/>
          <p:nvPr/>
        </p:nvGrpSpPr>
        <p:grpSpPr>
          <a:xfrm>
            <a:off x="7553325" y="4033520"/>
            <a:ext cx="597535" cy="647700"/>
            <a:chOff x="23998" y="11964"/>
            <a:chExt cx="1432" cy="1796"/>
          </a:xfrm>
        </p:grpSpPr>
        <p:sp>
          <p:nvSpPr>
            <p:cNvPr id="3" name="圆柱形 2"/>
            <p:cNvSpPr/>
            <p:nvPr>
              <p:custDataLst>
                <p:tags r:id="rId17"/>
              </p:custDataLst>
            </p:nvPr>
          </p:nvSpPr>
          <p:spPr>
            <a:xfrm>
              <a:off x="23998" y="11964"/>
              <a:ext cx="1432" cy="1796"/>
            </a:xfrm>
            <a:prstGeom prst="can">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 name="图片 3" descr="polardb"/>
            <p:cNvPicPr>
              <a:picLocks noChangeAspect="1"/>
            </p:cNvPicPr>
            <p:nvPr>
              <p:custDataLst>
                <p:tags r:id="rId18"/>
              </p:custDataLst>
            </p:nvPr>
          </p:nvPicPr>
          <p:blipFill>
            <a:blip r:embed="rId19"/>
            <a:stretch>
              <a:fillRect/>
            </a:stretch>
          </p:blipFill>
          <p:spPr>
            <a:xfrm>
              <a:off x="24138" y="12397"/>
              <a:ext cx="1152" cy="1152"/>
            </a:xfrm>
            <a:prstGeom prst="rect">
              <a:avLst/>
            </a:prstGeom>
          </p:spPr>
        </p:pic>
      </p:grpSp>
      <p:grpSp>
        <p:nvGrpSpPr>
          <p:cNvPr id="10" name="组合 9"/>
          <p:cNvGrpSpPr/>
          <p:nvPr/>
        </p:nvGrpSpPr>
        <p:grpSpPr>
          <a:xfrm>
            <a:off x="9335770" y="4033520"/>
            <a:ext cx="597535" cy="647700"/>
            <a:chOff x="27857" y="11964"/>
            <a:chExt cx="1432" cy="1796"/>
          </a:xfrm>
        </p:grpSpPr>
        <p:sp>
          <p:nvSpPr>
            <p:cNvPr id="57" name="圆柱形 56"/>
            <p:cNvSpPr/>
            <p:nvPr>
              <p:custDataLst>
                <p:tags r:id="rId20"/>
              </p:custDataLst>
            </p:nvPr>
          </p:nvSpPr>
          <p:spPr>
            <a:xfrm>
              <a:off x="27857" y="11964"/>
              <a:ext cx="1432" cy="1796"/>
            </a:xfrm>
            <a:prstGeom prst="can">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descr="polardb"/>
            <p:cNvPicPr>
              <a:picLocks noChangeAspect="1"/>
            </p:cNvPicPr>
            <p:nvPr>
              <p:custDataLst>
                <p:tags r:id="rId21"/>
              </p:custDataLst>
            </p:nvPr>
          </p:nvPicPr>
          <p:blipFill>
            <a:blip r:embed="rId19"/>
            <a:stretch>
              <a:fillRect/>
            </a:stretch>
          </p:blipFill>
          <p:spPr>
            <a:xfrm>
              <a:off x="27997" y="12447"/>
              <a:ext cx="1152" cy="1152"/>
            </a:xfrm>
            <a:prstGeom prst="rect">
              <a:avLst/>
            </a:prstGeom>
          </p:spPr>
        </p:pic>
      </p:grpSp>
      <p:grpSp>
        <p:nvGrpSpPr>
          <p:cNvPr id="8" name="组合 7"/>
          <p:cNvGrpSpPr/>
          <p:nvPr/>
        </p:nvGrpSpPr>
        <p:grpSpPr>
          <a:xfrm>
            <a:off x="5906770" y="4033520"/>
            <a:ext cx="597535" cy="647700"/>
            <a:chOff x="21419" y="14816"/>
            <a:chExt cx="1432" cy="1796"/>
          </a:xfrm>
        </p:grpSpPr>
        <p:sp>
          <p:nvSpPr>
            <p:cNvPr id="61" name="圆柱形 60"/>
            <p:cNvSpPr/>
            <p:nvPr>
              <p:custDataLst>
                <p:tags r:id="rId22"/>
              </p:custDataLst>
            </p:nvPr>
          </p:nvSpPr>
          <p:spPr>
            <a:xfrm>
              <a:off x="21419" y="14816"/>
              <a:ext cx="1432" cy="1796"/>
            </a:xfrm>
            <a:prstGeom prst="can">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 name="图片 6" descr="polardb"/>
            <p:cNvPicPr>
              <a:picLocks noChangeAspect="1"/>
            </p:cNvPicPr>
            <p:nvPr>
              <p:custDataLst>
                <p:tags r:id="rId23"/>
              </p:custDataLst>
            </p:nvPr>
          </p:nvPicPr>
          <p:blipFill>
            <a:blip r:embed="rId19"/>
            <a:stretch>
              <a:fillRect/>
            </a:stretch>
          </p:blipFill>
          <p:spPr>
            <a:xfrm>
              <a:off x="21559" y="15298"/>
              <a:ext cx="1152" cy="1152"/>
            </a:xfrm>
            <a:prstGeom prst="rect">
              <a:avLst/>
            </a:prstGeom>
          </p:spPr>
        </p:pic>
      </p:grpSp>
      <p:sp>
        <p:nvSpPr>
          <p:cNvPr id="11" name="圆柱形 10"/>
          <p:cNvSpPr/>
          <p:nvPr>
            <p:custDataLst>
              <p:tags r:id="rId24"/>
            </p:custDataLst>
          </p:nvPr>
        </p:nvSpPr>
        <p:spPr>
          <a:xfrm>
            <a:off x="6726555" y="5697220"/>
            <a:ext cx="2221230" cy="662940"/>
          </a:xfrm>
          <a:prstGeom prst="can">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a:solidFill>
                  <a:schemeClr val="tx1"/>
                </a:solidFill>
              </a:rPr>
              <a:t>共享存储</a:t>
            </a:r>
            <a:endParaRPr lang="zh-CN" altLang="en-US" sz="2400">
              <a:solidFill>
                <a:schemeClr val="tx1"/>
              </a:solidFill>
            </a:endParaRPr>
          </a:p>
        </p:txBody>
      </p:sp>
      <p:cxnSp>
        <p:nvCxnSpPr>
          <p:cNvPr id="13" name="直接箭头连接符 12"/>
          <p:cNvCxnSpPr>
            <a:endCxn id="11" idx="1"/>
          </p:cNvCxnSpPr>
          <p:nvPr>
            <p:custDataLst>
              <p:tags r:id="rId25"/>
            </p:custDataLst>
          </p:nvPr>
        </p:nvCxnSpPr>
        <p:spPr>
          <a:xfrm>
            <a:off x="6421120" y="4681855"/>
            <a:ext cx="1416050" cy="1015365"/>
          </a:xfrm>
          <a:prstGeom prst="straightConnector1">
            <a:avLst/>
          </a:prstGeom>
          <a:ln>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6" name="直接箭头连接符 5"/>
          <p:cNvCxnSpPr>
            <a:endCxn id="11" idx="1"/>
          </p:cNvCxnSpPr>
          <p:nvPr>
            <p:custDataLst>
              <p:tags r:id="rId26"/>
            </p:custDataLst>
          </p:nvPr>
        </p:nvCxnSpPr>
        <p:spPr>
          <a:xfrm flipH="1">
            <a:off x="7837170" y="4681855"/>
            <a:ext cx="14605" cy="1015365"/>
          </a:xfrm>
          <a:prstGeom prst="straightConnector1">
            <a:avLst/>
          </a:prstGeom>
          <a:ln>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a:stCxn id="57" idx="3"/>
            <a:endCxn id="11" idx="1"/>
          </p:cNvCxnSpPr>
          <p:nvPr>
            <p:custDataLst>
              <p:tags r:id="rId27"/>
            </p:custDataLst>
          </p:nvPr>
        </p:nvCxnSpPr>
        <p:spPr>
          <a:xfrm flipH="1">
            <a:off x="7837170" y="4681220"/>
            <a:ext cx="1797685" cy="1016000"/>
          </a:xfrm>
          <a:prstGeom prst="straightConnector1">
            <a:avLst/>
          </a:prstGeom>
          <a:ln>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a:stCxn id="32" idx="2"/>
            <a:endCxn id="61" idx="1"/>
          </p:cNvCxnSpPr>
          <p:nvPr>
            <p:custDataLst>
              <p:tags r:id="rId28"/>
            </p:custDataLst>
          </p:nvPr>
        </p:nvCxnSpPr>
        <p:spPr>
          <a:xfrm flipH="1">
            <a:off x="6205855" y="2340610"/>
            <a:ext cx="1270" cy="1692910"/>
          </a:xfrm>
          <a:prstGeom prst="straightConnector1">
            <a:avLst/>
          </a:prstGeom>
          <a:ln>
            <a:solidFill>
              <a:schemeClr val="tx2">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a:endCxn id="57" idx="1"/>
          </p:cNvCxnSpPr>
          <p:nvPr>
            <p:custDataLst>
              <p:tags r:id="rId29"/>
            </p:custDataLst>
          </p:nvPr>
        </p:nvCxnSpPr>
        <p:spPr>
          <a:xfrm>
            <a:off x="6207125" y="2340610"/>
            <a:ext cx="3427730" cy="1692910"/>
          </a:xfrm>
          <a:prstGeom prst="straightConnector1">
            <a:avLst/>
          </a:prstGeom>
          <a:ln>
            <a:solidFill>
              <a:schemeClr val="tx2">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a:endCxn id="57" idx="1"/>
          </p:cNvCxnSpPr>
          <p:nvPr>
            <p:custDataLst>
              <p:tags r:id="rId30"/>
            </p:custDataLst>
          </p:nvPr>
        </p:nvCxnSpPr>
        <p:spPr>
          <a:xfrm>
            <a:off x="7820025" y="2340610"/>
            <a:ext cx="1814830" cy="1692910"/>
          </a:xfrm>
          <a:prstGeom prst="straightConnector1">
            <a:avLst/>
          </a:prstGeom>
          <a:ln>
            <a:solidFill>
              <a:schemeClr val="tx2">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9" name="直接箭头连接符 18"/>
          <p:cNvCxnSpPr>
            <a:stCxn id="44" idx="2"/>
            <a:endCxn id="61" idx="1"/>
          </p:cNvCxnSpPr>
          <p:nvPr>
            <p:custDataLst>
              <p:tags r:id="rId31"/>
            </p:custDataLst>
          </p:nvPr>
        </p:nvCxnSpPr>
        <p:spPr>
          <a:xfrm flipH="1">
            <a:off x="6205855" y="2340610"/>
            <a:ext cx="1614170" cy="1692910"/>
          </a:xfrm>
          <a:prstGeom prst="straightConnector1">
            <a:avLst/>
          </a:prstGeom>
          <a:ln>
            <a:solidFill>
              <a:schemeClr val="tx2">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0" name="直接箭头连接符 19"/>
          <p:cNvCxnSpPr>
            <a:stCxn id="52" idx="2"/>
            <a:endCxn id="57" idx="1"/>
          </p:cNvCxnSpPr>
          <p:nvPr>
            <p:custDataLst>
              <p:tags r:id="rId32"/>
            </p:custDataLst>
          </p:nvPr>
        </p:nvCxnSpPr>
        <p:spPr>
          <a:xfrm>
            <a:off x="9625965" y="2340610"/>
            <a:ext cx="8890" cy="1692910"/>
          </a:xfrm>
          <a:prstGeom prst="straightConnector1">
            <a:avLst/>
          </a:prstGeom>
          <a:ln>
            <a:solidFill>
              <a:schemeClr val="tx2">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1" name="直接箭头连接符 20"/>
          <p:cNvCxnSpPr>
            <a:endCxn id="61" idx="1"/>
          </p:cNvCxnSpPr>
          <p:nvPr>
            <p:custDataLst>
              <p:tags r:id="rId33"/>
            </p:custDataLst>
          </p:nvPr>
        </p:nvCxnSpPr>
        <p:spPr>
          <a:xfrm flipH="1">
            <a:off x="6205855" y="2350135"/>
            <a:ext cx="3410585" cy="1683385"/>
          </a:xfrm>
          <a:prstGeom prst="straightConnector1">
            <a:avLst/>
          </a:prstGeom>
          <a:ln>
            <a:solidFill>
              <a:schemeClr val="tx2">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22" name="圆角矩形 21"/>
          <p:cNvSpPr/>
          <p:nvPr>
            <p:custDataLst>
              <p:tags r:id="rId34"/>
            </p:custDataLst>
          </p:nvPr>
        </p:nvSpPr>
        <p:spPr>
          <a:xfrm>
            <a:off x="480060" y="1657350"/>
            <a:ext cx="3780155" cy="4749165"/>
          </a:xfrm>
          <a:prstGeom prst="roundRect">
            <a:avLst>
              <a:gd name="adj" fmla="val 7724"/>
            </a:avLst>
          </a:prstGeom>
          <a:solidFill>
            <a:srgbClr val="D6DCE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nSpc>
                <a:spcPct val="120000"/>
              </a:lnSpc>
            </a:pPr>
            <a:r>
              <a:rPr lang="en-US" altLang="zh-CN" sz="3200">
                <a:solidFill>
                  <a:srgbClr val="FF0000"/>
                </a:solidFill>
                <a:latin typeface="幼圆" panose="02010509060101010101" charset="-122"/>
                <a:ea typeface="幼圆" panose="02010509060101010101" charset="-122"/>
              </a:rPr>
              <a:t>PolarDB </a:t>
            </a:r>
            <a:r>
              <a:rPr lang="zh-CN" altLang="en-US" sz="3200">
                <a:solidFill>
                  <a:srgbClr val="FF0000"/>
                </a:solidFill>
                <a:latin typeface="幼圆" panose="02010509060101010101" charset="-122"/>
                <a:ea typeface="幼圆" panose="02010509060101010101" charset="-122"/>
                <a:sym typeface="+mn-lt"/>
              </a:rPr>
              <a:t>最大特点是流复制的主备库可以共享一份数据</a:t>
            </a:r>
            <a:endParaRPr lang="zh-CN" altLang="en-US" sz="4000">
              <a:solidFill>
                <a:schemeClr val="tx1">
                  <a:lumMod val="65000"/>
                  <a:lumOff val="35000"/>
                </a:schemeClr>
              </a:solidFill>
              <a:latin typeface="幼圆" panose="02010509060101010101" charset="-122"/>
              <a:ea typeface="幼圆" panose="02010509060101010101" charset="-122"/>
            </a:endParaRPr>
          </a:p>
          <a:p>
            <a:pPr lvl="0">
              <a:lnSpc>
                <a:spcPct val="150000"/>
              </a:lnSpc>
              <a:defRPr sz="1800"/>
            </a:pPr>
            <a:endParaRPr lang="zh-CN" altLang="en-US" sz="4000">
              <a:solidFill>
                <a:schemeClr val="tx1">
                  <a:lumMod val="65000"/>
                  <a:lumOff val="35000"/>
                </a:schemeClr>
              </a:solidFill>
              <a:latin typeface="幼圆" panose="02010509060101010101" charset="-122"/>
              <a:ea typeface="幼圆" panose="02010509060101010101" charset="-122"/>
              <a:sym typeface="+mn-lt"/>
            </a:endParaRPr>
          </a:p>
        </p:txBody>
      </p:sp>
      <p:sp>
        <p:nvSpPr>
          <p:cNvPr id="12" name="TextBox 1"/>
          <p:cNvSpPr txBox="1"/>
          <p:nvPr>
            <p:custDataLst>
              <p:tags r:id="rId35"/>
            </p:custDataLst>
          </p:nvPr>
        </p:nvSpPr>
        <p:spPr>
          <a:xfrm>
            <a:off x="6896735" y="4239260"/>
            <a:ext cx="721360" cy="242570"/>
          </a:xfrm>
          <a:prstGeom prst="rect">
            <a:avLst/>
          </a:prstGeom>
          <a:noFill/>
        </p:spPr>
        <p:txBody>
          <a:bodyPr wrap="square" lIns="0" tIns="0" rIns="0" rtlCol="0">
            <a:noAutofit/>
          </a:bodyPr>
          <a:lstStyle/>
          <a:p>
            <a:pPr>
              <a:lnSpc>
                <a:spcPts val="1500"/>
              </a:lnSpc>
              <a:tabLst>
                <a:tab pos="190500" algn="l"/>
              </a:tabLst>
            </a:pPr>
            <a:r>
              <a:rPr lang="zh-CN" altLang="en-US" sz="1200" b="1" dirty="0">
                <a:solidFill>
                  <a:srgbClr val="00B050"/>
                </a:solidFill>
                <a:latin typeface="微软雅黑" panose="020B0503020204020204" pitchFamily="34" charset="-122"/>
                <a:ea typeface="微软雅黑" panose="020B0503020204020204" pitchFamily="34" charset="-122"/>
                <a:cs typeface="Arial Black" panose="020B0A04020102020204" pitchFamily="34" charset="0"/>
              </a:rPr>
              <a:t>流复制</a:t>
            </a:r>
            <a:r>
              <a:rPr lang="en-US" altLang="zh-CN" sz="1600" b="1" dirty="0">
                <a:solidFill>
                  <a:srgbClr val="FF8900"/>
                </a:solidFill>
                <a:latin typeface="微软雅黑" panose="020B0503020204020204" pitchFamily="34" charset="-122"/>
                <a:ea typeface="微软雅黑" panose="020B0503020204020204" pitchFamily="34" charset="-122"/>
                <a:cs typeface="Arial Black" panose="020B0A04020102020204" pitchFamily="34" charset="0"/>
              </a:rPr>
              <a:t> </a:t>
            </a:r>
            <a:endParaRPr lang="en-US" altLang="zh-CN" sz="1600" b="1" dirty="0">
              <a:solidFill>
                <a:srgbClr val="FF8900"/>
              </a:solidFill>
              <a:latin typeface="微软雅黑" panose="020B0503020204020204" pitchFamily="34" charset="-122"/>
              <a:ea typeface="微软雅黑" panose="020B0503020204020204" pitchFamily="34" charset="-122"/>
              <a:cs typeface="Arial Black" panose="020B0A04020102020204" pitchFamily="34" charset="0"/>
            </a:endParaRPr>
          </a:p>
        </p:txBody>
      </p:sp>
      <p:sp>
        <p:nvSpPr>
          <p:cNvPr id="14" name="TextBox 1"/>
          <p:cNvSpPr txBox="1"/>
          <p:nvPr>
            <p:custDataLst>
              <p:tags r:id="rId36"/>
            </p:custDataLst>
          </p:nvPr>
        </p:nvSpPr>
        <p:spPr>
          <a:xfrm>
            <a:off x="8310880" y="4239260"/>
            <a:ext cx="721360" cy="242570"/>
          </a:xfrm>
          <a:prstGeom prst="rect">
            <a:avLst/>
          </a:prstGeom>
          <a:noFill/>
        </p:spPr>
        <p:txBody>
          <a:bodyPr wrap="square" lIns="0" tIns="0" rIns="0" rtlCol="0">
            <a:noAutofit/>
          </a:bodyPr>
          <a:lstStyle/>
          <a:p>
            <a:pPr>
              <a:lnSpc>
                <a:spcPts val="1500"/>
              </a:lnSpc>
              <a:tabLst>
                <a:tab pos="190500" algn="l"/>
              </a:tabLst>
            </a:pPr>
            <a:r>
              <a:rPr lang="zh-CN" altLang="en-US" sz="1200" b="1" dirty="0">
                <a:solidFill>
                  <a:srgbClr val="00B050"/>
                </a:solidFill>
                <a:latin typeface="微软雅黑" panose="020B0503020204020204" pitchFamily="34" charset="-122"/>
                <a:ea typeface="微软雅黑" panose="020B0503020204020204" pitchFamily="34" charset="-122"/>
                <a:cs typeface="Arial Black" panose="020B0A04020102020204" pitchFamily="34" charset="0"/>
              </a:rPr>
              <a:t>流复制</a:t>
            </a:r>
            <a:r>
              <a:rPr lang="en-US" altLang="zh-CN" sz="1600" b="1" dirty="0">
                <a:solidFill>
                  <a:srgbClr val="FF8900"/>
                </a:solidFill>
                <a:latin typeface="微软雅黑" panose="020B0503020204020204" pitchFamily="34" charset="-122"/>
                <a:ea typeface="微软雅黑" panose="020B0503020204020204" pitchFamily="34" charset="-122"/>
                <a:cs typeface="Arial Black" panose="020B0A04020102020204" pitchFamily="34" charset="0"/>
              </a:rPr>
              <a:t> </a:t>
            </a:r>
            <a:endParaRPr lang="en-US" altLang="zh-CN" sz="1600" b="1" dirty="0">
              <a:solidFill>
                <a:srgbClr val="FF8900"/>
              </a:solidFill>
              <a:latin typeface="微软雅黑" panose="020B0503020204020204" pitchFamily="34" charset="-122"/>
              <a:ea typeface="微软雅黑" panose="020B0503020204020204" pitchFamily="34" charset="-122"/>
              <a:cs typeface="Arial Black" panose="020B0A04020102020204" pitchFamily="3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kern="0" dirty="0">
                <a:solidFill>
                  <a:srgbClr val="0070C0"/>
                </a:solidFill>
                <a:latin typeface="微软雅黑" panose="020B0503020204020204" pitchFamily="34" charset="-122"/>
                <a:ea typeface="微软雅黑" panose="020B0503020204020204" pitchFamily="34" charset="-122"/>
                <a:sym typeface="+mn-ea"/>
              </a:rPr>
              <a:t>国产化数据库</a:t>
            </a:r>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特点总览</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sp>
        <p:nvSpPr>
          <p:cNvPr id="201" name="灯片编号占位符 200"/>
          <p:cNvSpPr>
            <a:spLocks noGrp="1"/>
          </p:cNvSpPr>
          <p:nvPr>
            <p:ph type="sldNum" sz="quarter" idx="12"/>
            <p:custDataLst>
              <p:tags r:id="rId1"/>
            </p:custDataLst>
          </p:nvPr>
        </p:nvSpPr>
        <p:spPr>
          <a:xfrm>
            <a:off x="8610599" y="6651943"/>
            <a:ext cx="2909888" cy="206381"/>
          </a:xfrm>
        </p:spPr>
        <p:txBody>
          <a:bodyPr/>
          <a:lstStyle/>
          <a:p>
            <a:fld id="{5DD3DB80-B894-403A-B48E-6FDC1A72010E}" type="slidenum">
              <a:rPr lang="zh-CN" altLang="en-US" smtClean="0"/>
            </a:fld>
            <a:endParaRPr lang="zh-CN" altLang="en-US"/>
          </a:p>
        </p:txBody>
      </p:sp>
      <p:grpSp>
        <p:nvGrpSpPr>
          <p:cNvPr id="6" name="组合 5"/>
          <p:cNvGrpSpPr/>
          <p:nvPr/>
        </p:nvGrpSpPr>
        <p:grpSpPr>
          <a:xfrm>
            <a:off x="566457" y="1977411"/>
            <a:ext cx="10628780" cy="4438726"/>
            <a:chOff x="1683" y="4757"/>
            <a:chExt cx="35163" cy="15214"/>
          </a:xfrm>
        </p:grpSpPr>
        <p:sp>
          <p:nvSpPr>
            <p:cNvPr id="67" name="矩形"/>
            <p:cNvSpPr/>
            <p:nvPr>
              <p:custDataLst>
                <p:tags r:id="rId2"/>
              </p:custDataLst>
            </p:nvPr>
          </p:nvSpPr>
          <p:spPr>
            <a:xfrm>
              <a:off x="1699" y="4757"/>
              <a:ext cx="6451" cy="15214"/>
            </a:xfrm>
            <a:prstGeom prst="rect">
              <a:avLst/>
            </a:prstGeom>
            <a:solidFill>
              <a:srgbClr val="FFFFFF"/>
            </a:solidFill>
            <a:ln w="3175">
              <a:miter lim="400000"/>
            </a:ln>
            <a:effectLst>
              <a:outerShdw blurRad="342900" dist="12700" dir="5400000" rotWithShape="0">
                <a:srgbClr val="000000">
                  <a:alpha val="13200"/>
                </a:srgbClr>
              </a:outerShdw>
            </a:effectLst>
          </p:spPr>
          <p:txBody>
            <a:bodyPr lIns="0" tIns="0" rIns="0" bIns="0" anchor="ctr"/>
            <a:lstStyle/>
            <a:p>
              <a:pPr algn="ctr">
                <a:defRPr sz="3800" b="0">
                  <a:solidFill>
                    <a:srgbClr val="FFFFFF"/>
                  </a:solidFill>
                  <a:latin typeface="+mn-lt"/>
                  <a:ea typeface="+mn-ea"/>
                  <a:cs typeface="+mn-cs"/>
                  <a:sym typeface="Helvetica Neue Medium"/>
                </a:defRPr>
              </a:pPr>
              <a:endParaRPr sz="1800" dirty="0"/>
            </a:p>
          </p:txBody>
        </p:sp>
        <p:sp>
          <p:nvSpPr>
            <p:cNvPr id="68" name="矩形"/>
            <p:cNvSpPr/>
            <p:nvPr>
              <p:custDataLst>
                <p:tags r:id="rId3"/>
              </p:custDataLst>
            </p:nvPr>
          </p:nvSpPr>
          <p:spPr>
            <a:xfrm flipH="1">
              <a:off x="2082" y="7560"/>
              <a:ext cx="5770" cy="11737"/>
            </a:xfrm>
            <a:prstGeom prst="rect">
              <a:avLst/>
            </a:prstGeom>
            <a:gradFill>
              <a:gsLst>
                <a:gs pos="0">
                  <a:schemeClr val="accent4">
                    <a:lumMod val="60000"/>
                    <a:lumOff val="40000"/>
                  </a:schemeClr>
                </a:gs>
                <a:gs pos="100000">
                  <a:schemeClr val="accent5">
                    <a:lumMod val="50000"/>
                  </a:schemeClr>
                </a:gs>
              </a:gsLst>
              <a:lin ang="692526"/>
            </a:gradFill>
            <a:ln w="3175">
              <a:miter lim="400000"/>
            </a:ln>
          </p:spPr>
          <p:txBody>
            <a:bodyPr lIns="0" tIns="0" rIns="0" bIns="0" anchor="ctr"/>
            <a:lstStyle/>
            <a:p>
              <a:pPr algn="ctr">
                <a:defRPr sz="3800" b="0">
                  <a:solidFill>
                    <a:srgbClr val="FFFFFF"/>
                  </a:solidFill>
                  <a:latin typeface="+mn-lt"/>
                  <a:ea typeface="+mn-ea"/>
                  <a:cs typeface="+mn-cs"/>
                  <a:sym typeface="Helvetica Neue Medium"/>
                </a:defRPr>
              </a:pPr>
              <a:endParaRPr sz="1800"/>
            </a:p>
          </p:txBody>
        </p:sp>
        <p:sp>
          <p:nvSpPr>
            <p:cNvPr id="70" name="统一管理…"/>
            <p:cNvSpPr txBox="1"/>
            <p:nvPr>
              <p:custDataLst>
                <p:tags r:id="rId4"/>
              </p:custDataLst>
            </p:nvPr>
          </p:nvSpPr>
          <p:spPr>
            <a:xfrm>
              <a:off x="2553" y="8224"/>
              <a:ext cx="4962" cy="10049"/>
            </a:xfrm>
            <a:prstGeom prst="rect">
              <a:avLst/>
            </a:prstGeom>
            <a:ln w="12700">
              <a:miter lim="400000"/>
            </a:ln>
          </p:spPr>
          <p:txBody>
            <a:bodyPr wrap="square" lIns="43388" tIns="43388" rIns="43388" bIns="43388" anchor="t" anchorCtr="0">
              <a:noAutofit/>
            </a:bodyPr>
            <a:lstStyle/>
            <a:p>
              <a:pPr defTabSz="355600" fontAlgn="t">
                <a:lnSpc>
                  <a:spcPct val="150000"/>
                </a:lnSpc>
                <a:defRPr sz="1200" b="0">
                  <a:latin typeface="Helvetica"/>
                  <a:ea typeface="Helvetica"/>
                  <a:cs typeface="Helvetica"/>
                  <a:sym typeface="Helvetica"/>
                </a:defRPr>
              </a:pPr>
              <a:r>
                <a:rPr lang="en-US" altLang="zh-TW" sz="1400" b="1" dirty="0">
                  <a:solidFill>
                    <a:schemeClr val="bg1"/>
                  </a:solidFill>
                  <a:latin typeface="微软雅黑" panose="020B0503020204020204" pitchFamily="34" charset="-122"/>
                  <a:ea typeface="微软雅黑" panose="020B0503020204020204" pitchFamily="34" charset="-122"/>
                  <a:sym typeface="Helvetica"/>
                </a:rPr>
                <a:t>PolarDB</a:t>
              </a:r>
              <a:r>
                <a:rPr lang="zh-CN" altLang="en-US" sz="1400" b="1" dirty="0">
                  <a:solidFill>
                    <a:schemeClr val="bg1"/>
                  </a:solidFill>
                  <a:latin typeface="微软雅黑" panose="020B0503020204020204" pitchFamily="34" charset="-122"/>
                  <a:ea typeface="微软雅黑" panose="020B0503020204020204" pitchFamily="34" charset="-122"/>
                  <a:sym typeface="Helvetica"/>
                </a:rPr>
                <a:t>完全与</a:t>
              </a:r>
              <a:r>
                <a:rPr lang="en-US" altLang="zh-CN" sz="1400" b="1" dirty="0">
                  <a:solidFill>
                    <a:schemeClr val="bg1"/>
                  </a:solidFill>
                  <a:latin typeface="微软雅黑" panose="020B0503020204020204" pitchFamily="34" charset="-122"/>
                  <a:ea typeface="微软雅黑" panose="020B0503020204020204" pitchFamily="34" charset="-122"/>
                  <a:sym typeface="Helvetica"/>
                </a:rPr>
                <a:t>PostgreSQL</a:t>
              </a:r>
              <a:r>
                <a:rPr lang="zh-CN" altLang="en-US" sz="1400" b="1" dirty="0">
                  <a:solidFill>
                    <a:schemeClr val="bg1"/>
                  </a:solidFill>
                  <a:latin typeface="微软雅黑" panose="020B0503020204020204" pitchFamily="34" charset="-122"/>
                  <a:ea typeface="微软雅黑" panose="020B0503020204020204" pitchFamily="34" charset="-122"/>
                  <a:sym typeface="Helvetica"/>
                </a:rPr>
                <a:t>兼容，包括</a:t>
              </a:r>
              <a:r>
                <a:rPr lang="en-US" altLang="zh-CN" sz="1400" b="1" dirty="0">
                  <a:solidFill>
                    <a:schemeClr val="bg1"/>
                  </a:solidFill>
                  <a:latin typeface="微软雅黑" panose="020B0503020204020204" pitchFamily="34" charset="-122"/>
                  <a:ea typeface="微软雅黑" panose="020B0503020204020204" pitchFamily="34" charset="-122"/>
                  <a:sym typeface="Helvetica"/>
                </a:rPr>
                <a:t>SQL</a:t>
              </a:r>
              <a:r>
                <a:rPr lang="zh-CN" altLang="en-US" sz="1400" b="1" dirty="0">
                  <a:solidFill>
                    <a:schemeClr val="bg1"/>
                  </a:solidFill>
                  <a:latin typeface="微软雅黑" panose="020B0503020204020204" pitchFamily="34" charset="-122"/>
                  <a:ea typeface="微软雅黑" panose="020B0503020204020204" pitchFamily="34" charset="-122"/>
                  <a:sym typeface="Helvetica"/>
                </a:rPr>
                <a:t>的语法、第三方的插件等等</a:t>
              </a:r>
              <a:endParaRPr lang="zh-CN" altLang="en-US" sz="1400" b="1" dirty="0">
                <a:solidFill>
                  <a:schemeClr val="bg1"/>
                </a:solidFill>
                <a:latin typeface="微软雅黑" panose="020B0503020204020204" pitchFamily="34" charset="-122"/>
                <a:ea typeface="微软雅黑" panose="020B0503020204020204" pitchFamily="34" charset="-122"/>
                <a:sym typeface="Helvetica"/>
              </a:endParaRPr>
            </a:p>
          </p:txBody>
        </p:sp>
        <p:sp>
          <p:nvSpPr>
            <p:cNvPr id="71" name="矩形 42"/>
            <p:cNvSpPr/>
            <p:nvPr>
              <p:custDataLst>
                <p:tags r:id="rId5"/>
              </p:custDataLst>
            </p:nvPr>
          </p:nvSpPr>
          <p:spPr>
            <a:xfrm>
              <a:off x="1683" y="4757"/>
              <a:ext cx="6470" cy="2411"/>
            </a:xfrm>
            <a:prstGeom prst="rect">
              <a:avLst/>
            </a:prstGeom>
            <a:solidFill>
              <a:srgbClr val="D6D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rPr>
                <a:t>与</a:t>
              </a:r>
              <a:r>
                <a:rPr lang="en-US" altLang="zh-CN" sz="1600" b="1" dirty="0">
                  <a:solidFill>
                    <a:schemeClr val="tx1">
                      <a:lumMod val="75000"/>
                      <a:lumOff val="25000"/>
                    </a:schemeClr>
                  </a:solidFill>
                  <a:latin typeface="微软雅黑" panose="020B0503020204020204" pitchFamily="34" charset="-122"/>
                  <a:ea typeface="微软雅黑" panose="020B0503020204020204" pitchFamily="34" charset="-122"/>
                </a:rPr>
                <a:t>PostgreSQL</a:t>
              </a:r>
              <a:endParaRPr lang="en-US" altLang="zh-CN" sz="1600" b="1" dirty="0">
                <a:solidFill>
                  <a:schemeClr val="tx1">
                    <a:lumMod val="75000"/>
                    <a:lumOff val="25000"/>
                  </a:schemeClr>
                </a:solidFill>
                <a:latin typeface="微软雅黑" panose="020B0503020204020204" pitchFamily="34" charset="-122"/>
                <a:ea typeface="微软雅黑" panose="020B0503020204020204" pitchFamily="34" charset="-122"/>
              </a:endParaRPr>
            </a:p>
            <a:p>
              <a:pPr algn="ctr"/>
              <a:r>
                <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sym typeface="+mn-ea"/>
                </a:rPr>
                <a:t>完全</a:t>
              </a:r>
              <a:r>
                <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rPr>
                <a:t>兼容</a:t>
              </a:r>
              <a:endPar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72" name="矩形"/>
            <p:cNvSpPr/>
            <p:nvPr>
              <p:custDataLst>
                <p:tags r:id="rId6"/>
              </p:custDataLst>
            </p:nvPr>
          </p:nvSpPr>
          <p:spPr>
            <a:xfrm>
              <a:off x="8863" y="4757"/>
              <a:ext cx="6451" cy="15214"/>
            </a:xfrm>
            <a:prstGeom prst="rect">
              <a:avLst/>
            </a:prstGeom>
            <a:solidFill>
              <a:srgbClr val="FFFFFF"/>
            </a:solidFill>
            <a:ln w="3175">
              <a:miter lim="400000"/>
            </a:ln>
            <a:effectLst>
              <a:outerShdw blurRad="342900" dist="12700" dir="5400000" rotWithShape="0">
                <a:srgbClr val="000000">
                  <a:alpha val="13200"/>
                </a:srgbClr>
              </a:outerShdw>
            </a:effectLst>
          </p:spPr>
          <p:txBody>
            <a:bodyPr lIns="0" tIns="0" rIns="0" bIns="0" anchor="ctr"/>
            <a:lstStyle/>
            <a:p>
              <a:pPr algn="ctr">
                <a:defRPr sz="3800" b="0">
                  <a:solidFill>
                    <a:srgbClr val="FFFFFF"/>
                  </a:solidFill>
                  <a:latin typeface="+mn-lt"/>
                  <a:ea typeface="+mn-ea"/>
                  <a:cs typeface="+mn-cs"/>
                  <a:sym typeface="Helvetica Neue Medium"/>
                </a:defRPr>
              </a:pPr>
              <a:endParaRPr sz="1800" dirty="0"/>
            </a:p>
          </p:txBody>
        </p:sp>
        <p:sp>
          <p:nvSpPr>
            <p:cNvPr id="73" name="矩形"/>
            <p:cNvSpPr/>
            <p:nvPr>
              <p:custDataLst>
                <p:tags r:id="rId7"/>
              </p:custDataLst>
            </p:nvPr>
          </p:nvSpPr>
          <p:spPr>
            <a:xfrm flipH="1">
              <a:off x="9247" y="7560"/>
              <a:ext cx="5770" cy="11737"/>
            </a:xfrm>
            <a:prstGeom prst="rect">
              <a:avLst/>
            </a:prstGeom>
            <a:gradFill>
              <a:gsLst>
                <a:gs pos="0">
                  <a:schemeClr val="accent4">
                    <a:lumMod val="60000"/>
                    <a:lumOff val="40000"/>
                  </a:schemeClr>
                </a:gs>
                <a:gs pos="100000">
                  <a:schemeClr val="accent5">
                    <a:lumMod val="50000"/>
                  </a:schemeClr>
                </a:gs>
              </a:gsLst>
              <a:lin ang="692526"/>
            </a:gradFill>
            <a:ln w="3175">
              <a:miter lim="400000"/>
            </a:ln>
          </p:spPr>
          <p:txBody>
            <a:bodyPr lIns="0" tIns="0" rIns="0" bIns="0" anchor="ctr"/>
            <a:lstStyle/>
            <a:p>
              <a:pPr algn="ctr">
                <a:defRPr sz="3800" b="0">
                  <a:solidFill>
                    <a:srgbClr val="FFFFFF"/>
                  </a:solidFill>
                  <a:latin typeface="+mn-lt"/>
                  <a:ea typeface="+mn-ea"/>
                  <a:cs typeface="+mn-cs"/>
                  <a:sym typeface="Helvetica Neue Medium"/>
                </a:defRPr>
              </a:pPr>
              <a:endParaRPr sz="1800"/>
            </a:p>
          </p:txBody>
        </p:sp>
        <p:sp>
          <p:nvSpPr>
            <p:cNvPr id="74" name="统一管理…"/>
            <p:cNvSpPr txBox="1"/>
            <p:nvPr>
              <p:custDataLst>
                <p:tags r:id="rId8"/>
              </p:custDataLst>
            </p:nvPr>
          </p:nvSpPr>
          <p:spPr>
            <a:xfrm>
              <a:off x="9582" y="8224"/>
              <a:ext cx="5103" cy="10049"/>
            </a:xfrm>
            <a:prstGeom prst="rect">
              <a:avLst/>
            </a:prstGeom>
            <a:ln w="12700">
              <a:miter lim="400000"/>
            </a:ln>
          </p:spPr>
          <p:txBody>
            <a:bodyPr wrap="square" lIns="43388" tIns="43388" rIns="43388" bIns="43388" anchor="t" anchorCtr="0">
              <a:noAutofit/>
            </a:bodyPr>
            <a:lstStyle/>
            <a:p>
              <a:pPr defTabSz="355600" fontAlgn="auto">
                <a:lnSpc>
                  <a:spcPct val="150000"/>
                </a:lnSpc>
                <a:defRPr sz="1200" b="0">
                  <a:latin typeface="Helvetica"/>
                  <a:ea typeface="Helvetica"/>
                  <a:cs typeface="Helvetica"/>
                  <a:sym typeface="Helvetica"/>
                </a:defRPr>
              </a:pPr>
              <a:r>
                <a:rPr lang="en-US" altLang="zh-CN"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Helvetica Neue"/>
                </a:rPr>
                <a:t>PostgreSQL</a:t>
              </a:r>
              <a:r>
                <a:rPr lang="zh-CN" altLang="en-US"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Helvetica Neue"/>
                </a:rPr>
                <a:t>数据库的流复制备节点，需要应用日志，而</a:t>
              </a:r>
              <a:r>
                <a:rPr lang="en-US" altLang="zh-CN"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Helvetica Neue"/>
                </a:rPr>
                <a:t>PolarDB</a:t>
              </a:r>
              <a:r>
                <a:rPr lang="zh-CN" altLang="en-US"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Helvetica Neue"/>
                </a:rPr>
                <a:t>数据库的只读节点与主库共享存储，无需应用日志。所以延迟非常低。</a:t>
              </a:r>
              <a:endParaRPr lang="zh-CN" altLang="en-US"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Helvetica Neue"/>
              </a:endParaRPr>
            </a:p>
          </p:txBody>
        </p:sp>
        <p:sp>
          <p:nvSpPr>
            <p:cNvPr id="75" name="矩形 42"/>
            <p:cNvSpPr/>
            <p:nvPr>
              <p:custDataLst>
                <p:tags r:id="rId9"/>
              </p:custDataLst>
            </p:nvPr>
          </p:nvSpPr>
          <p:spPr>
            <a:xfrm>
              <a:off x="8847" y="4757"/>
              <a:ext cx="6470" cy="2411"/>
            </a:xfrm>
            <a:prstGeom prst="rect">
              <a:avLst/>
            </a:prstGeom>
            <a:solidFill>
              <a:srgbClr val="D6D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zh-TW" sz="1600" b="1" dirty="0">
                  <a:solidFill>
                    <a:schemeClr val="tx1">
                      <a:lumMod val="75000"/>
                      <a:lumOff val="25000"/>
                    </a:schemeClr>
                  </a:solidFill>
                  <a:latin typeface="微软雅黑" panose="020B0503020204020204" pitchFamily="34" charset="-122"/>
                  <a:ea typeface="微软雅黑" panose="020B0503020204020204" pitchFamily="34" charset="-122"/>
                </a:rPr>
                <a:t>只读节点延迟低</a:t>
              </a:r>
              <a:endParaRPr lang="zh-CN" altLang="zh-TW" sz="16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76" name="矩形"/>
            <p:cNvSpPr/>
            <p:nvPr>
              <p:custDataLst>
                <p:tags r:id="rId10"/>
              </p:custDataLst>
            </p:nvPr>
          </p:nvSpPr>
          <p:spPr>
            <a:xfrm>
              <a:off x="16040" y="4757"/>
              <a:ext cx="6451" cy="15214"/>
            </a:xfrm>
            <a:prstGeom prst="rect">
              <a:avLst/>
            </a:prstGeom>
            <a:solidFill>
              <a:srgbClr val="FFFFFF"/>
            </a:solidFill>
            <a:ln w="3175">
              <a:miter lim="400000"/>
            </a:ln>
            <a:effectLst>
              <a:outerShdw blurRad="342900" dist="12700" dir="5400000" rotWithShape="0">
                <a:srgbClr val="000000">
                  <a:alpha val="13200"/>
                </a:srgbClr>
              </a:outerShdw>
            </a:effectLst>
          </p:spPr>
          <p:txBody>
            <a:bodyPr lIns="0" tIns="0" rIns="0" bIns="0" anchor="ctr"/>
            <a:lstStyle/>
            <a:p>
              <a:pPr algn="ctr">
                <a:defRPr sz="3800" b="0">
                  <a:solidFill>
                    <a:srgbClr val="FFFFFF"/>
                  </a:solidFill>
                  <a:latin typeface="+mn-lt"/>
                  <a:ea typeface="+mn-ea"/>
                  <a:cs typeface="+mn-cs"/>
                  <a:sym typeface="Helvetica Neue Medium"/>
                </a:defRPr>
              </a:pPr>
              <a:endParaRPr sz="1800" dirty="0"/>
            </a:p>
          </p:txBody>
        </p:sp>
        <p:sp>
          <p:nvSpPr>
            <p:cNvPr id="77" name="矩形"/>
            <p:cNvSpPr/>
            <p:nvPr>
              <p:custDataLst>
                <p:tags r:id="rId11"/>
              </p:custDataLst>
            </p:nvPr>
          </p:nvSpPr>
          <p:spPr>
            <a:xfrm flipH="1">
              <a:off x="16423" y="7560"/>
              <a:ext cx="5770" cy="11737"/>
            </a:xfrm>
            <a:prstGeom prst="rect">
              <a:avLst/>
            </a:prstGeom>
            <a:gradFill>
              <a:gsLst>
                <a:gs pos="0">
                  <a:schemeClr val="accent4">
                    <a:lumMod val="60000"/>
                    <a:lumOff val="40000"/>
                  </a:schemeClr>
                </a:gs>
                <a:gs pos="100000">
                  <a:schemeClr val="accent5">
                    <a:lumMod val="50000"/>
                  </a:schemeClr>
                </a:gs>
              </a:gsLst>
              <a:lin ang="692526"/>
            </a:gradFill>
            <a:ln w="3175">
              <a:miter lim="400000"/>
            </a:ln>
          </p:spPr>
          <p:txBody>
            <a:bodyPr lIns="0" tIns="0" rIns="0" bIns="0" anchor="ctr"/>
            <a:lstStyle/>
            <a:p>
              <a:pPr algn="ctr">
                <a:defRPr sz="3800" b="0">
                  <a:solidFill>
                    <a:srgbClr val="FFFFFF"/>
                  </a:solidFill>
                  <a:latin typeface="+mn-lt"/>
                  <a:ea typeface="+mn-ea"/>
                  <a:cs typeface="+mn-cs"/>
                  <a:sym typeface="Helvetica Neue Medium"/>
                </a:defRPr>
              </a:pPr>
              <a:endParaRPr sz="1800"/>
            </a:p>
          </p:txBody>
        </p:sp>
        <p:sp>
          <p:nvSpPr>
            <p:cNvPr id="78" name="统一管理…"/>
            <p:cNvSpPr txBox="1"/>
            <p:nvPr>
              <p:custDataLst>
                <p:tags r:id="rId12"/>
              </p:custDataLst>
            </p:nvPr>
          </p:nvSpPr>
          <p:spPr>
            <a:xfrm>
              <a:off x="16750" y="8224"/>
              <a:ext cx="5107" cy="10049"/>
            </a:xfrm>
            <a:prstGeom prst="rect">
              <a:avLst/>
            </a:prstGeom>
            <a:ln w="12700">
              <a:miter lim="400000"/>
            </a:ln>
          </p:spPr>
          <p:txBody>
            <a:bodyPr wrap="square" lIns="43388" tIns="43388" rIns="43388" bIns="43388" anchor="t" anchorCtr="0">
              <a:noAutofit/>
            </a:bodyPr>
            <a:lstStyle/>
            <a:p>
              <a:pPr algn="l" defTabSz="355600" fontAlgn="auto">
                <a:lnSpc>
                  <a:spcPct val="150000"/>
                </a:lnSpc>
                <a:defRPr sz="1200" b="0">
                  <a:latin typeface="Helvetica"/>
                  <a:ea typeface="Helvetica"/>
                  <a:cs typeface="Helvetica"/>
                  <a:sym typeface="Helvetica"/>
                </a:defRPr>
              </a:pPr>
              <a:r>
                <a:rPr lang="en-US"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Helvetica Neue"/>
                </a:rPr>
                <a:t>PolarDB</a:t>
              </a:r>
              <a:r>
                <a:rPr lang="zh-CN" altLang="en-US"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Helvetica Neue"/>
                </a:rPr>
                <a:t>相对</a:t>
              </a:r>
              <a:r>
                <a:rPr lang="en-US" altLang="zh-CN"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Helvetica Neue"/>
                </a:rPr>
                <a:t>PostgreSQL</a:t>
              </a:r>
              <a:r>
                <a:rPr lang="zh-CN" altLang="en-US"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Helvetica Neue"/>
                </a:rPr>
                <a:t>做了一些优化，性能更高。。</a:t>
              </a:r>
              <a:endParaRPr lang="zh-CN" altLang="en-US"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Helvetica Neue"/>
              </a:endParaRPr>
            </a:p>
            <a:p>
              <a:pPr algn="l" defTabSz="355600" fontAlgn="auto">
                <a:lnSpc>
                  <a:spcPct val="150000"/>
                </a:lnSpc>
                <a:defRPr sz="1200" b="0">
                  <a:latin typeface="Helvetica"/>
                  <a:ea typeface="Helvetica"/>
                  <a:cs typeface="Helvetica"/>
                  <a:sym typeface="Helvetica"/>
                </a:defRPr>
              </a:pPr>
              <a:r>
                <a:rPr lang="en-US" altLang="zh-CN"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Helvetica Neue"/>
                </a:rPr>
                <a:t>PolarDB</a:t>
              </a:r>
              <a:r>
                <a:rPr lang="zh-CN" altLang="en-US"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Helvetica Neue"/>
                </a:rPr>
                <a:t>不在依赖文件系统缓存，运行更平稳。</a:t>
              </a:r>
              <a:endParaRPr lang="zh-CN" altLang="en-US"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Helvetica Neue"/>
              </a:endParaRPr>
            </a:p>
          </p:txBody>
        </p:sp>
        <p:sp>
          <p:nvSpPr>
            <p:cNvPr id="79" name="矩形 42"/>
            <p:cNvSpPr/>
            <p:nvPr>
              <p:custDataLst>
                <p:tags r:id="rId13"/>
              </p:custDataLst>
            </p:nvPr>
          </p:nvSpPr>
          <p:spPr>
            <a:xfrm>
              <a:off x="16024" y="4757"/>
              <a:ext cx="6470" cy="2411"/>
            </a:xfrm>
            <a:prstGeom prst="rect">
              <a:avLst/>
            </a:prstGeom>
            <a:solidFill>
              <a:srgbClr val="D6D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zh-TW" sz="1600" b="1" dirty="0">
                  <a:solidFill>
                    <a:schemeClr val="tx1">
                      <a:lumMod val="75000"/>
                      <a:lumOff val="25000"/>
                    </a:schemeClr>
                  </a:solidFill>
                  <a:latin typeface="微软雅黑" panose="020B0503020204020204" pitchFamily="34" charset="-122"/>
                  <a:ea typeface="微软雅黑" panose="020B0503020204020204" pitchFamily="34" charset="-122"/>
                </a:rPr>
                <a:t>性能更平稳</a:t>
              </a:r>
              <a:endParaRPr lang="zh-CN" altLang="zh-TW" sz="16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80" name="矩形"/>
            <p:cNvSpPr/>
            <p:nvPr>
              <p:custDataLst>
                <p:tags r:id="rId14"/>
              </p:custDataLst>
            </p:nvPr>
          </p:nvSpPr>
          <p:spPr>
            <a:xfrm>
              <a:off x="23228" y="4757"/>
              <a:ext cx="6451" cy="15214"/>
            </a:xfrm>
            <a:prstGeom prst="rect">
              <a:avLst/>
            </a:prstGeom>
            <a:solidFill>
              <a:srgbClr val="FFFFFF"/>
            </a:solidFill>
            <a:ln w="3175">
              <a:miter lim="400000"/>
            </a:ln>
            <a:effectLst>
              <a:outerShdw blurRad="342900" dist="12700" dir="5400000" rotWithShape="0">
                <a:srgbClr val="000000">
                  <a:alpha val="13200"/>
                </a:srgbClr>
              </a:outerShdw>
            </a:effectLst>
          </p:spPr>
          <p:txBody>
            <a:bodyPr lIns="0" tIns="0" rIns="0" bIns="0" anchor="ctr"/>
            <a:lstStyle/>
            <a:p>
              <a:pPr algn="ctr">
                <a:defRPr sz="3800" b="0">
                  <a:solidFill>
                    <a:srgbClr val="FFFFFF"/>
                  </a:solidFill>
                  <a:latin typeface="+mn-lt"/>
                  <a:ea typeface="+mn-ea"/>
                  <a:cs typeface="+mn-cs"/>
                  <a:sym typeface="Helvetica Neue Medium"/>
                </a:defRPr>
              </a:pPr>
              <a:endParaRPr sz="1800" dirty="0"/>
            </a:p>
          </p:txBody>
        </p:sp>
        <p:sp>
          <p:nvSpPr>
            <p:cNvPr id="81" name="矩形"/>
            <p:cNvSpPr/>
            <p:nvPr>
              <p:custDataLst>
                <p:tags r:id="rId15"/>
              </p:custDataLst>
            </p:nvPr>
          </p:nvSpPr>
          <p:spPr>
            <a:xfrm flipH="1">
              <a:off x="23612" y="7560"/>
              <a:ext cx="5770" cy="11737"/>
            </a:xfrm>
            <a:prstGeom prst="rect">
              <a:avLst/>
            </a:prstGeom>
            <a:gradFill>
              <a:gsLst>
                <a:gs pos="0">
                  <a:schemeClr val="accent4">
                    <a:lumMod val="60000"/>
                    <a:lumOff val="40000"/>
                  </a:schemeClr>
                </a:gs>
                <a:gs pos="100000">
                  <a:schemeClr val="accent5">
                    <a:lumMod val="50000"/>
                  </a:schemeClr>
                </a:gs>
              </a:gsLst>
              <a:lin ang="692526"/>
            </a:gradFill>
            <a:ln w="3175">
              <a:miter lim="400000"/>
            </a:ln>
          </p:spPr>
          <p:txBody>
            <a:bodyPr lIns="0" tIns="0" rIns="0" bIns="0" anchor="ctr"/>
            <a:lstStyle/>
            <a:p>
              <a:pPr algn="ctr">
                <a:defRPr sz="3800" b="0">
                  <a:solidFill>
                    <a:srgbClr val="FFFFFF"/>
                  </a:solidFill>
                  <a:latin typeface="+mn-lt"/>
                  <a:ea typeface="+mn-ea"/>
                  <a:cs typeface="+mn-cs"/>
                  <a:sym typeface="Helvetica Neue Medium"/>
                </a:defRPr>
              </a:pPr>
              <a:endParaRPr sz="1800"/>
            </a:p>
          </p:txBody>
        </p:sp>
        <p:sp>
          <p:nvSpPr>
            <p:cNvPr id="82" name="统一管理…"/>
            <p:cNvSpPr txBox="1"/>
            <p:nvPr>
              <p:custDataLst>
                <p:tags r:id="rId16"/>
              </p:custDataLst>
            </p:nvPr>
          </p:nvSpPr>
          <p:spPr>
            <a:xfrm>
              <a:off x="23933" y="8224"/>
              <a:ext cx="5012" cy="10049"/>
            </a:xfrm>
            <a:prstGeom prst="rect">
              <a:avLst/>
            </a:prstGeom>
            <a:ln w="12700">
              <a:miter lim="400000"/>
            </a:ln>
          </p:spPr>
          <p:txBody>
            <a:bodyPr wrap="square" lIns="43388" tIns="43388" rIns="43388" bIns="43388" anchor="t" anchorCtr="0">
              <a:noAutofit/>
            </a:bodyPr>
            <a:lstStyle/>
            <a:p>
              <a:pPr algn="l" defTabSz="355600" fontAlgn="auto">
                <a:lnSpc>
                  <a:spcPct val="150000"/>
                </a:lnSpc>
                <a:defRPr sz="1200" b="0">
                  <a:latin typeface="Helvetica"/>
                  <a:ea typeface="Helvetica"/>
                  <a:cs typeface="Helvetica"/>
                  <a:sym typeface="Helvetica"/>
                </a:defRPr>
              </a:pPr>
              <a:r>
                <a:rPr lang="en-US" altLang="zh-TW" sz="1400" b="1" dirty="0">
                  <a:solidFill>
                    <a:schemeClr val="bg1"/>
                  </a:solidFill>
                  <a:latin typeface="微软雅黑" panose="020B0503020204020204" pitchFamily="34" charset="-122"/>
                  <a:ea typeface="微软雅黑" panose="020B0503020204020204" pitchFamily="34" charset="-122"/>
                  <a:sym typeface="Helvetica"/>
                </a:rPr>
                <a:t>PostgreSQL</a:t>
              </a:r>
              <a:r>
                <a:rPr lang="zh-CN" altLang="en-US"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Helvetica"/>
                </a:rPr>
                <a:t>增加流复制备库，需要复制整个数据库的数据，时间通常在半个小时到数个小时之间。而使用</a:t>
              </a:r>
              <a:r>
                <a:rPr lang="en-US" altLang="zh-CN"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Helvetica"/>
                </a:rPr>
                <a:t>PolarDB</a:t>
              </a:r>
              <a:r>
                <a:rPr lang="zh-CN" altLang="en-US" sz="1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Helvetica"/>
                </a:rPr>
                <a:t>可以在数秒内建立一个只读节点</a:t>
              </a:r>
              <a:endParaRPr lang="en-US" altLang="zh-TW" sz="1400" b="1" dirty="0">
                <a:solidFill>
                  <a:schemeClr val="bg1"/>
                </a:solidFill>
                <a:latin typeface="微软雅黑" panose="020B0503020204020204" pitchFamily="34" charset="-122"/>
                <a:ea typeface="微软雅黑" panose="020B0503020204020204" pitchFamily="34" charset="-122"/>
                <a:sym typeface="Helvetica"/>
              </a:endParaRPr>
            </a:p>
            <a:p>
              <a:pPr algn="l" defTabSz="355600">
                <a:defRPr sz="1200" b="0">
                  <a:latin typeface="Helvetica"/>
                  <a:ea typeface="Helvetica"/>
                  <a:cs typeface="Helvetica"/>
                  <a:sym typeface="Helvetica"/>
                </a:defRPr>
              </a:pPr>
              <a:endParaRPr lang="zh-TW" altLang="en-US" sz="1400" b="1" dirty="0">
                <a:solidFill>
                  <a:schemeClr val="bg1"/>
                </a:solidFill>
                <a:latin typeface="Roboto" pitchFamily="2" charset="0"/>
                <a:ea typeface="Roboto" pitchFamily="2" charset="0"/>
                <a:sym typeface="Helvetica Neue"/>
              </a:endParaRPr>
            </a:p>
            <a:p>
              <a:pPr algn="l" defTabSz="355600">
                <a:defRPr sz="1200" b="0">
                  <a:latin typeface="Helvetica"/>
                  <a:ea typeface="Helvetica"/>
                  <a:cs typeface="Helvetica"/>
                  <a:sym typeface="Helvetica"/>
                </a:defRPr>
              </a:pPr>
              <a:endParaRPr lang="zh-TW" altLang="en-US" sz="1400" b="1" dirty="0">
                <a:solidFill>
                  <a:schemeClr val="bg1"/>
                </a:solidFill>
                <a:latin typeface="Roboto" pitchFamily="2" charset="0"/>
                <a:ea typeface="Roboto" pitchFamily="2" charset="0"/>
                <a:sym typeface="Helvetica Neue"/>
              </a:endParaRPr>
            </a:p>
          </p:txBody>
        </p:sp>
        <p:sp>
          <p:nvSpPr>
            <p:cNvPr id="83" name="矩形 42"/>
            <p:cNvSpPr/>
            <p:nvPr>
              <p:custDataLst>
                <p:tags r:id="rId17"/>
              </p:custDataLst>
            </p:nvPr>
          </p:nvSpPr>
          <p:spPr>
            <a:xfrm>
              <a:off x="23212" y="4757"/>
              <a:ext cx="6470" cy="2411"/>
            </a:xfrm>
            <a:prstGeom prst="rect">
              <a:avLst/>
            </a:prstGeom>
            <a:solidFill>
              <a:srgbClr val="D6D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rPr>
                <a:t>秒级增加只读节点</a:t>
              </a:r>
              <a:endParaRPr lang="zh-CN" altLang="en-US" sz="16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84" name="矩形"/>
            <p:cNvSpPr/>
            <p:nvPr>
              <p:custDataLst>
                <p:tags r:id="rId18"/>
              </p:custDataLst>
            </p:nvPr>
          </p:nvSpPr>
          <p:spPr>
            <a:xfrm>
              <a:off x="30392" y="4757"/>
              <a:ext cx="6451" cy="15214"/>
            </a:xfrm>
            <a:prstGeom prst="rect">
              <a:avLst/>
            </a:prstGeom>
            <a:solidFill>
              <a:srgbClr val="FFFFFF"/>
            </a:solidFill>
            <a:ln w="3175">
              <a:miter lim="400000"/>
            </a:ln>
            <a:effectLst>
              <a:outerShdw blurRad="342900" dist="12700" dir="5400000" rotWithShape="0">
                <a:srgbClr val="000000">
                  <a:alpha val="13200"/>
                </a:srgbClr>
              </a:outerShdw>
            </a:effectLst>
          </p:spPr>
          <p:txBody>
            <a:bodyPr lIns="0" tIns="0" rIns="0" bIns="0" anchor="ctr"/>
            <a:lstStyle/>
            <a:p>
              <a:pPr algn="ctr">
                <a:defRPr sz="3800" b="0">
                  <a:solidFill>
                    <a:srgbClr val="FFFFFF"/>
                  </a:solidFill>
                  <a:latin typeface="+mn-lt"/>
                  <a:ea typeface="+mn-ea"/>
                  <a:cs typeface="+mn-cs"/>
                  <a:sym typeface="Helvetica Neue Medium"/>
                </a:defRPr>
              </a:pPr>
              <a:endParaRPr sz="1800" dirty="0"/>
            </a:p>
          </p:txBody>
        </p:sp>
        <p:sp>
          <p:nvSpPr>
            <p:cNvPr id="85" name="矩形"/>
            <p:cNvSpPr/>
            <p:nvPr>
              <p:custDataLst>
                <p:tags r:id="rId19"/>
              </p:custDataLst>
            </p:nvPr>
          </p:nvSpPr>
          <p:spPr>
            <a:xfrm flipH="1">
              <a:off x="30776" y="7560"/>
              <a:ext cx="5770" cy="11737"/>
            </a:xfrm>
            <a:prstGeom prst="rect">
              <a:avLst/>
            </a:prstGeom>
            <a:gradFill>
              <a:gsLst>
                <a:gs pos="0">
                  <a:schemeClr val="accent4">
                    <a:lumMod val="60000"/>
                    <a:lumOff val="40000"/>
                  </a:schemeClr>
                </a:gs>
                <a:gs pos="100000">
                  <a:schemeClr val="accent5">
                    <a:lumMod val="50000"/>
                  </a:schemeClr>
                </a:gs>
              </a:gsLst>
              <a:lin ang="692526"/>
            </a:gradFill>
            <a:ln w="3175">
              <a:miter lim="400000"/>
            </a:ln>
          </p:spPr>
          <p:txBody>
            <a:bodyPr lIns="0" tIns="0" rIns="0" bIns="0" anchor="ctr"/>
            <a:lstStyle/>
            <a:p>
              <a:pPr algn="ctr">
                <a:defRPr sz="3800" b="0">
                  <a:solidFill>
                    <a:srgbClr val="FFFFFF"/>
                  </a:solidFill>
                  <a:latin typeface="+mn-lt"/>
                  <a:ea typeface="+mn-ea"/>
                  <a:cs typeface="+mn-cs"/>
                  <a:sym typeface="Helvetica Neue Medium"/>
                </a:defRPr>
              </a:pPr>
              <a:endParaRPr sz="1800"/>
            </a:p>
          </p:txBody>
        </p:sp>
        <p:sp>
          <p:nvSpPr>
            <p:cNvPr id="86" name="统一管理…"/>
            <p:cNvSpPr txBox="1"/>
            <p:nvPr>
              <p:custDataLst>
                <p:tags r:id="rId20"/>
              </p:custDataLst>
            </p:nvPr>
          </p:nvSpPr>
          <p:spPr>
            <a:xfrm>
              <a:off x="31136" y="8224"/>
              <a:ext cx="5008" cy="10049"/>
            </a:xfrm>
            <a:prstGeom prst="rect">
              <a:avLst/>
            </a:prstGeom>
            <a:ln w="12700">
              <a:miter lim="400000"/>
            </a:ln>
          </p:spPr>
          <p:txBody>
            <a:bodyPr wrap="square" lIns="43388" tIns="43388" rIns="43388" bIns="43388" anchor="t" anchorCtr="0">
              <a:noAutofit/>
            </a:bodyPr>
            <a:lstStyle/>
            <a:p>
              <a:pPr defTabSz="355600" fontAlgn="auto">
                <a:lnSpc>
                  <a:spcPct val="150000"/>
                </a:lnSpc>
                <a:defRPr sz="1200" b="0">
                  <a:latin typeface="Helvetica"/>
                  <a:ea typeface="Helvetica"/>
                  <a:cs typeface="Helvetica"/>
                  <a:sym typeface="Helvetica"/>
                </a:defRPr>
              </a:pPr>
              <a:r>
                <a:rPr lang="zh-CN" altLang="en-US" sz="1400" b="1" dirty="0">
                  <a:solidFill>
                    <a:schemeClr val="bg1"/>
                  </a:solidFill>
                  <a:latin typeface="Roboto" pitchFamily="2" charset="0"/>
                  <a:ea typeface="微软雅黑" panose="020B0503020204020204" pitchFamily="34" charset="-122"/>
                  <a:sym typeface="Helvetica Neue"/>
                </a:rPr>
                <a:t>存储计算分离的架构，数据库的大小不在受控于本地磁盘的空间大小。</a:t>
              </a:r>
              <a:endParaRPr lang="zh-CN" altLang="en-US" sz="1400" b="1" dirty="0">
                <a:solidFill>
                  <a:schemeClr val="bg1"/>
                </a:solidFill>
                <a:latin typeface="Roboto" pitchFamily="2" charset="0"/>
                <a:ea typeface="微软雅黑" panose="020B0503020204020204" pitchFamily="34" charset="-122"/>
                <a:sym typeface="Helvetica Neue"/>
              </a:endParaRPr>
            </a:p>
            <a:p>
              <a:pPr defTabSz="355600" fontAlgn="auto">
                <a:lnSpc>
                  <a:spcPct val="150000"/>
                </a:lnSpc>
                <a:defRPr sz="1200" b="0">
                  <a:latin typeface="Helvetica"/>
                  <a:ea typeface="Helvetica"/>
                  <a:cs typeface="Helvetica"/>
                  <a:sym typeface="Helvetica"/>
                </a:defRPr>
              </a:pPr>
              <a:r>
                <a:rPr lang="zh-CN" altLang="en-US" sz="1400" b="1" dirty="0">
                  <a:solidFill>
                    <a:schemeClr val="bg1"/>
                  </a:solidFill>
                  <a:latin typeface="Roboto" pitchFamily="2" charset="0"/>
                  <a:ea typeface="微软雅黑" panose="020B0503020204020204" pitchFamily="34" charset="-122"/>
                  <a:sym typeface="Helvetica Neue"/>
                </a:rPr>
                <a:t>可在线快速扩容，</a:t>
              </a:r>
              <a:endParaRPr lang="en-US" sz="1400" b="1" dirty="0">
                <a:solidFill>
                  <a:schemeClr val="bg1"/>
                </a:solidFill>
                <a:latin typeface="Roboto" pitchFamily="2" charset="0"/>
                <a:ea typeface="Roboto" pitchFamily="2" charset="0"/>
                <a:sym typeface="Helvetica Neue"/>
              </a:endParaRPr>
            </a:p>
            <a:p>
              <a:pPr defTabSz="355600">
                <a:defRPr sz="1200" b="0">
                  <a:latin typeface="Helvetica"/>
                  <a:ea typeface="Helvetica"/>
                  <a:cs typeface="Helvetica"/>
                  <a:sym typeface="Helvetica"/>
                </a:defRPr>
              </a:pPr>
              <a:endParaRPr lang="en-US" altLang="zh-TW" sz="1400" b="1" dirty="0">
                <a:solidFill>
                  <a:schemeClr val="bg1"/>
                </a:solidFill>
                <a:latin typeface="Roboto" pitchFamily="2" charset="0"/>
                <a:ea typeface="Roboto" pitchFamily="2" charset="0"/>
                <a:sym typeface="Helvetica Neue"/>
              </a:endParaRPr>
            </a:p>
          </p:txBody>
        </p:sp>
        <p:sp>
          <p:nvSpPr>
            <p:cNvPr id="87" name="矩形 42"/>
            <p:cNvSpPr/>
            <p:nvPr>
              <p:custDataLst>
                <p:tags r:id="rId21"/>
              </p:custDataLst>
            </p:nvPr>
          </p:nvSpPr>
          <p:spPr>
            <a:xfrm>
              <a:off x="30376" y="4757"/>
              <a:ext cx="6470" cy="2411"/>
            </a:xfrm>
            <a:prstGeom prst="rect">
              <a:avLst/>
            </a:prstGeom>
            <a:solidFill>
              <a:srgbClr val="D6D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zh-TW" sz="1600" b="1" dirty="0">
                  <a:solidFill>
                    <a:schemeClr val="tx1">
                      <a:lumMod val="75000"/>
                      <a:lumOff val="25000"/>
                    </a:schemeClr>
                  </a:solidFill>
                  <a:latin typeface="微软雅黑" panose="020B0503020204020204" pitchFamily="34" charset="-122"/>
                  <a:ea typeface="微软雅黑" panose="020B0503020204020204" pitchFamily="34" charset="-122"/>
                </a:rPr>
                <a:t>大库在线扩容</a:t>
              </a:r>
              <a:endParaRPr lang="zh-CN" altLang="zh-TW" sz="16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kern="0" dirty="0">
                <a:solidFill>
                  <a:srgbClr val="0070C0"/>
                </a:solidFill>
                <a:latin typeface="微软雅黑" panose="020B0503020204020204" pitchFamily="34" charset="-122"/>
                <a:ea typeface="微软雅黑" panose="020B0503020204020204" pitchFamily="34" charset="-122"/>
                <a:sym typeface="+mn-ea"/>
              </a:rPr>
              <a:t>国产化数据库</a:t>
            </a:r>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亮点功能：跨节点并行</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sp>
        <p:nvSpPr>
          <p:cNvPr id="201" name="灯片编号占位符 200"/>
          <p:cNvSpPr>
            <a:spLocks noGrp="1"/>
          </p:cNvSpPr>
          <p:nvPr>
            <p:ph type="sldNum" sz="quarter" idx="12"/>
            <p:custDataLst>
              <p:tags r:id="rId1"/>
            </p:custDataLst>
          </p:nvPr>
        </p:nvSpPr>
        <p:spPr>
          <a:xfrm>
            <a:off x="8610599" y="6651943"/>
            <a:ext cx="2909888" cy="206381"/>
          </a:xfrm>
        </p:spPr>
        <p:txBody>
          <a:bodyPr/>
          <a:lstStyle/>
          <a:p>
            <a:fld id="{5DD3DB80-B894-403A-B48E-6FDC1A72010E}" type="slidenum">
              <a:rPr lang="zh-CN" altLang="en-US" smtClean="0"/>
            </a:fld>
            <a:endParaRPr lang="zh-CN" altLang="en-US"/>
          </a:p>
        </p:txBody>
      </p:sp>
      <p:sp>
        <p:nvSpPr>
          <p:cNvPr id="3" name="文本框 2"/>
          <p:cNvSpPr txBox="1"/>
          <p:nvPr>
            <p:custDataLst>
              <p:tags r:id="rId2"/>
            </p:custDataLst>
          </p:nvPr>
        </p:nvSpPr>
        <p:spPr>
          <a:xfrm>
            <a:off x="712470" y="1572895"/>
            <a:ext cx="10553065" cy="1014730"/>
          </a:xfrm>
          <a:prstGeom prst="rect">
            <a:avLst/>
          </a:prstGeom>
          <a:noFill/>
        </p:spPr>
        <p:txBody>
          <a:bodyPr wrap="square" rtlCol="0" anchor="t">
            <a:spAutoFit/>
          </a:bodyPr>
          <a:lstStyle/>
          <a:p>
            <a:r>
              <a:rPr lang="en-US" altLang="zh-CN" sz="2000" dirty="0">
                <a:latin typeface="AgencyFB" panose="02000806040000020003" pitchFamily="2" charset="0"/>
              </a:rPr>
              <a:t>ALTER TABLE test01 SET(px_workers=100);</a:t>
            </a:r>
            <a:endParaRPr lang="en-US" altLang="zh-CN" sz="2000" dirty="0">
              <a:latin typeface="AgencyFB" panose="02000806040000020003" pitchFamily="2" charset="0"/>
            </a:endParaRPr>
          </a:p>
          <a:p>
            <a:r>
              <a:rPr lang="en-US" altLang="zh-CN" sz="2000" dirty="0">
                <a:latin typeface="AgencyFB" panose="02000806040000020003" pitchFamily="2" charset="0"/>
              </a:rPr>
              <a:t>SET polar_enable_px = ON;</a:t>
            </a:r>
            <a:endParaRPr lang="en-US" altLang="zh-CN" sz="2000" dirty="0">
              <a:latin typeface="AgencyFB" panose="02000806040000020003" pitchFamily="2" charset="0"/>
            </a:endParaRPr>
          </a:p>
          <a:p>
            <a:r>
              <a:rPr lang="en-US" altLang="zh-CN" sz="2000" dirty="0">
                <a:latin typeface="AgencyFB" panose="02000806040000020003" pitchFamily="2" charset="0"/>
              </a:rPr>
              <a:t>SET polar_px_dop_per_node = 4;</a:t>
            </a:r>
            <a:endParaRPr lang="en-US" altLang="zh-CN" sz="2000" dirty="0">
              <a:latin typeface="AgencyFB" panose="02000806040000020003" pitchFamily="2" charset="0"/>
            </a:endParaRPr>
          </a:p>
        </p:txBody>
      </p:sp>
      <p:sp>
        <p:nvSpPr>
          <p:cNvPr id="5" name="文本框 4"/>
          <p:cNvSpPr txBox="1"/>
          <p:nvPr>
            <p:custDataLst>
              <p:tags r:id="rId3"/>
            </p:custDataLst>
          </p:nvPr>
        </p:nvSpPr>
        <p:spPr>
          <a:xfrm>
            <a:off x="712470" y="1174115"/>
            <a:ext cx="10287000" cy="398780"/>
          </a:xfrm>
          <a:prstGeom prst="rect">
            <a:avLst/>
          </a:prstGeom>
          <a:noFill/>
        </p:spPr>
        <p:txBody>
          <a:bodyPr wrap="square" rtlCol="0" anchor="t">
            <a:spAutoFit/>
          </a:bodyPr>
          <a:lstStyle/>
          <a:p>
            <a:r>
              <a:rPr lang="zh-CN" altLang="en-US" sz="2000" b="1" dirty="0">
                <a:solidFill>
                  <a:srgbClr val="0070C0"/>
                </a:solidFill>
                <a:latin typeface="AgencyFB" panose="02000806040000020003" pitchFamily="2" charset="0"/>
              </a:rPr>
              <a:t>开启跨节点并行：一个大查询可以并行的在多台机器上运行</a:t>
            </a:r>
            <a:endParaRPr lang="zh-CN" altLang="en-US" sz="2000" b="1" dirty="0">
              <a:solidFill>
                <a:srgbClr val="0070C0"/>
              </a:solidFill>
              <a:latin typeface="AgencyFB" panose="02000806040000020003" pitchFamily="2" charset="0"/>
            </a:endParaRPr>
          </a:p>
        </p:txBody>
      </p:sp>
      <p:pic>
        <p:nvPicPr>
          <p:cNvPr id="101" name="图片 100"/>
          <p:cNvPicPr/>
          <p:nvPr>
            <p:custDataLst>
              <p:tags r:id="rId4"/>
            </p:custDataLst>
          </p:nvPr>
        </p:nvPicPr>
        <p:blipFill>
          <a:blip r:embed="rId5"/>
          <a:stretch>
            <a:fillRect/>
          </a:stretch>
        </p:blipFill>
        <p:spPr>
          <a:xfrm>
            <a:off x="626745" y="2663825"/>
            <a:ext cx="10553065" cy="3898265"/>
          </a:xfrm>
          <a:prstGeom prst="rect">
            <a:avLst/>
          </a:prstGeom>
          <a:noFill/>
          <a:ln w="9525">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kern="0" dirty="0">
                <a:solidFill>
                  <a:srgbClr val="0070C0"/>
                </a:solidFill>
                <a:latin typeface="微软雅黑" panose="020B0503020204020204" pitchFamily="34" charset="-122"/>
                <a:ea typeface="微软雅黑" panose="020B0503020204020204" pitchFamily="34" charset="-122"/>
                <a:sym typeface="+mn-ea"/>
              </a:rPr>
              <a:t>国产化数据库</a:t>
            </a:r>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亮点功能：并行</a:t>
            </a:r>
            <a:r>
              <a:rPr lang="en-US" altLang="zh-CN" kern="0" dirty="0">
                <a:solidFill>
                  <a:srgbClr val="0070C0"/>
                </a:solidFill>
                <a:latin typeface="微软雅黑" panose="020B0503020204020204" pitchFamily="34" charset="-122"/>
                <a:ea typeface="微软雅黑" panose="020B0503020204020204" pitchFamily="34" charset="-122"/>
                <a:sym typeface="+mn-ea"/>
              </a:rPr>
              <a:t>DML</a:t>
            </a:r>
            <a:endParaRPr lang="en-US" altLang="zh-CN" kern="0" dirty="0">
              <a:solidFill>
                <a:srgbClr val="0070C0"/>
              </a:solidFill>
              <a:latin typeface="微软雅黑" panose="020B0503020204020204" pitchFamily="34" charset="-122"/>
              <a:ea typeface="微软雅黑" panose="020B0503020204020204" pitchFamily="34" charset="-122"/>
              <a:sym typeface="+mn-ea"/>
            </a:endParaRPr>
          </a:p>
        </p:txBody>
      </p:sp>
      <p:sp>
        <p:nvSpPr>
          <p:cNvPr id="4" name="文本框 3"/>
          <p:cNvSpPr txBox="1"/>
          <p:nvPr>
            <p:custDataLst>
              <p:tags r:id="rId1"/>
            </p:custDataLst>
          </p:nvPr>
        </p:nvSpPr>
        <p:spPr>
          <a:xfrm>
            <a:off x="654685" y="1259840"/>
            <a:ext cx="4637405" cy="368300"/>
          </a:xfrm>
          <a:prstGeom prst="rect">
            <a:avLst/>
          </a:prstGeom>
          <a:noFill/>
        </p:spPr>
        <p:txBody>
          <a:bodyPr wrap="none" rtlCol="0">
            <a:spAutoFit/>
          </a:bodyPr>
          <a:lstStyle/>
          <a:p>
            <a:r>
              <a:rPr lang="zh-CN" altLang="en-US"/>
              <a:t>详细参加：https://polardbpg.com/document</a:t>
            </a:r>
            <a:endParaRPr lang="zh-CN" altLang="en-US"/>
          </a:p>
        </p:txBody>
      </p:sp>
      <p:pic>
        <p:nvPicPr>
          <p:cNvPr id="102" name="图片 101"/>
          <p:cNvPicPr/>
          <p:nvPr>
            <p:custDataLst>
              <p:tags r:id="rId2"/>
            </p:custDataLst>
          </p:nvPr>
        </p:nvPicPr>
        <p:blipFill>
          <a:blip r:embed="rId3"/>
          <a:stretch>
            <a:fillRect/>
          </a:stretch>
        </p:blipFill>
        <p:spPr>
          <a:xfrm>
            <a:off x="758190" y="1880870"/>
            <a:ext cx="10975975" cy="4037330"/>
          </a:xfrm>
          <a:prstGeom prst="rect">
            <a:avLst/>
          </a:prstGeom>
          <a:noFill/>
          <a:ln w="9525">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kern="0" dirty="0">
                <a:solidFill>
                  <a:srgbClr val="0070C0"/>
                </a:solidFill>
                <a:latin typeface="微软雅黑" panose="020B0503020204020204" pitchFamily="34" charset="-122"/>
                <a:ea typeface="微软雅黑" panose="020B0503020204020204" pitchFamily="34" charset="-122"/>
                <a:sym typeface="+mn-ea"/>
              </a:rPr>
              <a:t>极致性能：好马需要配好鞍才能发挥</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sp>
        <p:nvSpPr>
          <p:cNvPr id="201" name="灯片编号占位符 200"/>
          <p:cNvSpPr>
            <a:spLocks noGrp="1"/>
          </p:cNvSpPr>
          <p:nvPr>
            <p:ph type="sldNum" sz="quarter" idx="12"/>
            <p:custDataLst>
              <p:tags r:id="rId1"/>
            </p:custDataLst>
          </p:nvPr>
        </p:nvSpPr>
        <p:spPr>
          <a:xfrm>
            <a:off x="8610599" y="6651943"/>
            <a:ext cx="2909888" cy="206381"/>
          </a:xfrm>
        </p:spPr>
        <p:txBody>
          <a:bodyPr/>
          <a:lstStyle/>
          <a:p>
            <a:fld id="{5DD3DB80-B894-403A-B48E-6FDC1A72010E}" type="slidenum">
              <a:rPr lang="zh-CN" altLang="en-US" smtClean="0"/>
            </a:fld>
            <a:endParaRPr lang="zh-CN" altLang="en-US"/>
          </a:p>
        </p:txBody>
      </p:sp>
      <p:grpSp>
        <p:nvGrpSpPr>
          <p:cNvPr id="13" name="组合 12"/>
          <p:cNvGrpSpPr/>
          <p:nvPr/>
        </p:nvGrpSpPr>
        <p:grpSpPr>
          <a:xfrm>
            <a:off x="738753" y="3803650"/>
            <a:ext cx="2269490" cy="2294890"/>
            <a:chOff x="992" y="5990"/>
            <a:chExt cx="3574" cy="3614"/>
          </a:xfrm>
        </p:grpSpPr>
        <p:grpSp>
          <p:nvGrpSpPr>
            <p:cNvPr id="2052" name="组合 2051"/>
            <p:cNvGrpSpPr/>
            <p:nvPr/>
          </p:nvGrpSpPr>
          <p:grpSpPr>
            <a:xfrm>
              <a:off x="992" y="8406"/>
              <a:ext cx="3574" cy="1198"/>
              <a:chOff x="7364389" y="4280649"/>
              <a:chExt cx="2795637" cy="937286"/>
            </a:xfrm>
          </p:grpSpPr>
          <p:sp>
            <p:nvSpPr>
              <p:cNvPr id="30" name="文本框 4"/>
              <p:cNvSpPr txBox="1"/>
              <p:nvPr>
                <p:custDataLst>
                  <p:tags r:id="rId2"/>
                </p:custDataLst>
              </p:nvPr>
            </p:nvSpPr>
            <p:spPr>
              <a:xfrm>
                <a:off x="8156915" y="4280649"/>
                <a:ext cx="1210588" cy="377845"/>
              </a:xfrm>
              <a:prstGeom prst="rect">
                <a:avLst/>
              </a:prstGeom>
              <a:noFill/>
            </p:spPr>
            <p:txBody>
              <a:bodyPr wrap="square" rtlCol="0">
                <a:spAutoFit/>
              </a:bodyPr>
              <a:lstStyle/>
              <a:p>
                <a:r>
                  <a:rPr lang="zh-CN" altLang="en-US" sz="1400" b="1" dirty="0">
                    <a:solidFill>
                      <a:srgbClr val="0099CC"/>
                    </a:solidFill>
                    <a:latin typeface="微软雅黑" panose="020B0503020204020204" pitchFamily="34" charset="-122"/>
                    <a:ea typeface="微软雅黑" panose="020B0503020204020204" pitchFamily="34" charset="-122"/>
                  </a:rPr>
                  <a:t>存储能力</a:t>
                </a:r>
                <a:endParaRPr lang="zh-CN" altLang="en-US" sz="1400" b="1" dirty="0">
                  <a:solidFill>
                    <a:srgbClr val="0099CC"/>
                  </a:solidFill>
                  <a:latin typeface="微软雅黑" panose="020B0503020204020204" pitchFamily="34" charset="-122"/>
                  <a:ea typeface="微软雅黑" panose="020B0503020204020204" pitchFamily="34" charset="-122"/>
                </a:endParaRPr>
              </a:p>
            </p:txBody>
          </p:sp>
          <p:sp>
            <p:nvSpPr>
              <p:cNvPr id="31" name="Shape 308"/>
              <p:cNvSpPr/>
              <p:nvPr>
                <p:custDataLst>
                  <p:tags r:id="rId3"/>
                </p:custDataLst>
              </p:nvPr>
            </p:nvSpPr>
            <p:spPr>
              <a:xfrm>
                <a:off x="7364389" y="4714142"/>
                <a:ext cx="2795637" cy="503793"/>
              </a:xfrm>
              <a:prstGeom prst="rect">
                <a:avLst/>
              </a:prstGeom>
              <a:ln w="12700">
                <a:miter lim="400000"/>
              </a:ln>
            </p:spPr>
            <p:txBody>
              <a:bodyPr wrap="square" lIns="50800" tIns="50800" rIns="50800" bIns="50800" anchor="ctr">
                <a:spAutoFit/>
              </a:bodyPr>
              <a:lstStyle>
                <a:lvl1pPr>
                  <a:defRPr b="0">
                    <a:solidFill>
                      <a:srgbClr val="DEE2D6"/>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algn="ctr"/>
                <a:r>
                  <a:rPr lang="zh-CN" altLang="en-US" sz="1000" dirty="0">
                    <a:solidFill>
                      <a:srgbClr val="0099CC"/>
                    </a:solidFill>
                  </a:rPr>
                  <a:t>高性能</a:t>
                </a:r>
                <a:r>
                  <a:rPr lang="en-US" altLang="zh-CN" sz="1000" dirty="0">
                    <a:solidFill>
                      <a:srgbClr val="0099CC"/>
                    </a:solidFill>
                  </a:rPr>
                  <a:t>NVMe</a:t>
                </a:r>
                <a:r>
                  <a:rPr lang="zh-CN" altLang="en-US" sz="1000" dirty="0">
                    <a:solidFill>
                      <a:srgbClr val="0099CC"/>
                    </a:solidFill>
                  </a:rPr>
                  <a:t>的新一代存储产品</a:t>
                </a:r>
                <a:endParaRPr lang="en-US" altLang="zh-CN" sz="1000" dirty="0">
                  <a:solidFill>
                    <a:srgbClr val="0099CC"/>
                  </a:solidFill>
                </a:endParaRPr>
              </a:p>
              <a:p>
                <a:pPr algn="ctr"/>
                <a:r>
                  <a:rPr lang="zh-CN" altLang="en-US" sz="1000" dirty="0">
                    <a:solidFill>
                      <a:srgbClr val="0099CC"/>
                    </a:solidFill>
                  </a:rPr>
                  <a:t>提供极高的性能、可靠性和耐用性</a:t>
                </a:r>
                <a:endParaRPr lang="zh-CN" altLang="en-US" sz="1000" dirty="0">
                  <a:solidFill>
                    <a:srgbClr val="0099CC"/>
                  </a:solidFill>
                </a:endParaRPr>
              </a:p>
            </p:txBody>
          </p:sp>
        </p:grpSp>
        <p:grpSp>
          <p:nvGrpSpPr>
            <p:cNvPr id="52" name="组合 104"/>
            <p:cNvGrpSpPr/>
            <p:nvPr/>
          </p:nvGrpSpPr>
          <p:grpSpPr bwMode="auto">
            <a:xfrm>
              <a:off x="1633" y="5990"/>
              <a:ext cx="2288" cy="2302"/>
              <a:chOff x="6293048" y="1841195"/>
              <a:chExt cx="2722909" cy="2738041"/>
            </a:xfrm>
          </p:grpSpPr>
          <p:sp>
            <p:nvSpPr>
              <p:cNvPr id="56" name="Oval 504"/>
              <p:cNvSpPr>
                <a:spLocks noChangeAspect="1" noChangeArrowheads="1"/>
              </p:cNvSpPr>
              <p:nvPr>
                <p:custDataLst>
                  <p:tags r:id="rId4"/>
                </p:custDataLst>
              </p:nvPr>
            </p:nvSpPr>
            <p:spPr bwMode="auto">
              <a:xfrm>
                <a:off x="6293048" y="1843087"/>
                <a:ext cx="2722909" cy="2736149"/>
              </a:xfrm>
              <a:prstGeom prst="ellipse">
                <a:avLst/>
              </a:prstGeom>
              <a:gradFill rotWithShape="1">
                <a:gsLst>
                  <a:gs pos="0">
                    <a:srgbClr val="0099CC"/>
                  </a:gs>
                  <a:gs pos="100000">
                    <a:srgbClr val="007DA7"/>
                  </a:gs>
                </a:gsLst>
                <a:lin ang="5400000" scaled="1"/>
              </a:gradFill>
              <a:ln w="9525">
                <a:no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rgbClr val="FFFFFF"/>
                  </a:solidFill>
                  <a:effectLst/>
                  <a:uLnTx/>
                  <a:uFillTx/>
                  <a:latin typeface="Arial Black" panose="020B0A04020102020204" pitchFamily="34" charset="0"/>
                  <a:ea typeface="楷体_GB2312" pitchFamily="49" charset="-122"/>
                </a:endParaRPr>
              </a:p>
            </p:txBody>
          </p:sp>
          <p:sp>
            <p:nvSpPr>
              <p:cNvPr id="57" name="Oval 505"/>
              <p:cNvSpPr>
                <a:spLocks noChangeAspect="1" noChangeArrowheads="1"/>
              </p:cNvSpPr>
              <p:nvPr>
                <p:custDataLst>
                  <p:tags r:id="rId5"/>
                </p:custDataLst>
              </p:nvPr>
            </p:nvSpPr>
            <p:spPr bwMode="auto">
              <a:xfrm>
                <a:off x="6300192" y="1841195"/>
                <a:ext cx="2715006" cy="2736000"/>
              </a:xfrm>
              <a:prstGeom prst="ellipse">
                <a:avLst/>
              </a:prstGeom>
              <a:gradFill rotWithShape="1">
                <a:gsLst>
                  <a:gs pos="0">
                    <a:srgbClr val="FFFFFF">
                      <a:alpha val="50000"/>
                    </a:srgbClr>
                  </a:gs>
                  <a:gs pos="100000">
                    <a:srgbClr val="000000">
                      <a:alpha val="0"/>
                    </a:srgbClr>
                  </a:gs>
                </a:gsLst>
                <a:path path="shape">
                  <a:fillToRect l="50000" t="50000" r="50000" b="50000"/>
                </a:path>
              </a:gradFill>
              <a:ln w="9525">
                <a:no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ysClr val="windowText" lastClr="000000"/>
                  </a:solidFill>
                  <a:effectLst/>
                  <a:uLnTx/>
                  <a:uFillTx/>
                  <a:ea typeface="楷体_GB2312" pitchFamily="49" charset="-122"/>
                </a:endParaRPr>
              </a:p>
            </p:txBody>
          </p:sp>
          <p:sp>
            <p:nvSpPr>
              <p:cNvPr id="58" name="Oval 504"/>
              <p:cNvSpPr>
                <a:spLocks noChangeAspect="1" noChangeArrowheads="1"/>
              </p:cNvSpPr>
              <p:nvPr>
                <p:custDataLst>
                  <p:tags r:id="rId6"/>
                </p:custDataLst>
              </p:nvPr>
            </p:nvSpPr>
            <p:spPr bwMode="auto">
              <a:xfrm>
                <a:off x="6399425" y="1943074"/>
                <a:ext cx="2506981" cy="2520305"/>
              </a:xfrm>
              <a:prstGeom prst="ellipse">
                <a:avLst/>
              </a:prstGeom>
              <a:noFill/>
              <a:ln w="25400">
                <a:solidFill>
                  <a:srgbClr val="BBE0E3"/>
                </a:solid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rgbClr val="FFFFFF"/>
                  </a:solidFill>
                  <a:effectLst/>
                  <a:uLnTx/>
                  <a:uFillTx/>
                  <a:latin typeface="Arial Black" panose="020B0A04020102020204" pitchFamily="34" charset="0"/>
                  <a:ea typeface="楷体_GB2312" pitchFamily="49" charset="-122"/>
                </a:endParaRPr>
              </a:p>
            </p:txBody>
          </p:sp>
        </p:grpSp>
        <p:pic>
          <p:nvPicPr>
            <p:cNvPr id="3" name="Picture 3" descr="\\Mac\Home\Desktop\Intel 固态盘.png"/>
            <p:cNvPicPr>
              <a:picLocks noChangeAspect="1" noChangeArrowheads="1"/>
            </p:cNvPicPr>
            <p:nvPr>
              <p:custDataLst>
                <p:tags r:id="rId7"/>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2005" y="6571"/>
              <a:ext cx="1813" cy="10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组合 6"/>
          <p:cNvGrpSpPr/>
          <p:nvPr/>
        </p:nvGrpSpPr>
        <p:grpSpPr>
          <a:xfrm>
            <a:off x="520065" y="1252855"/>
            <a:ext cx="2706866" cy="2153585"/>
            <a:chOff x="408" y="1632"/>
            <a:chExt cx="5453" cy="4338"/>
          </a:xfrm>
        </p:grpSpPr>
        <p:sp>
          <p:nvSpPr>
            <p:cNvPr id="29" name="文本框 4"/>
            <p:cNvSpPr txBox="1"/>
            <p:nvPr>
              <p:custDataLst>
                <p:tags r:id="rId9"/>
              </p:custDataLst>
            </p:nvPr>
          </p:nvSpPr>
          <p:spPr>
            <a:xfrm>
              <a:off x="2181" y="4782"/>
              <a:ext cx="1906" cy="618"/>
            </a:xfrm>
            <a:prstGeom prst="rect">
              <a:avLst/>
            </a:prstGeom>
            <a:noFill/>
          </p:spPr>
          <p:txBody>
            <a:bodyPr wrap="square" rtlCol="0">
              <a:spAutoFit/>
            </a:bodyPr>
            <a:lstStyle/>
            <a:p>
              <a:r>
                <a:rPr lang="zh-CN" altLang="en-US" sz="1400" b="1" dirty="0">
                  <a:solidFill>
                    <a:srgbClr val="0099CC"/>
                  </a:solidFill>
                  <a:latin typeface="微软雅黑" panose="020B0503020204020204" pitchFamily="34" charset="-122"/>
                  <a:ea typeface="微软雅黑" panose="020B0503020204020204" pitchFamily="34" charset="-122"/>
                </a:rPr>
                <a:t>网络能力</a:t>
              </a:r>
              <a:endParaRPr lang="zh-CN" altLang="en-US" sz="1400" b="1" dirty="0">
                <a:solidFill>
                  <a:srgbClr val="0099CC"/>
                </a:solidFill>
                <a:latin typeface="微软雅黑" panose="020B0503020204020204" pitchFamily="34" charset="-122"/>
                <a:ea typeface="微软雅黑" panose="020B0503020204020204" pitchFamily="34" charset="-122"/>
              </a:endParaRPr>
            </a:p>
          </p:txBody>
        </p:sp>
        <p:sp>
          <p:nvSpPr>
            <p:cNvPr id="32" name="Shape 308"/>
            <p:cNvSpPr/>
            <p:nvPr>
              <p:custDataLst>
                <p:tags r:id="rId10"/>
              </p:custDataLst>
            </p:nvPr>
          </p:nvSpPr>
          <p:spPr>
            <a:xfrm>
              <a:off x="408" y="5456"/>
              <a:ext cx="5453" cy="514"/>
            </a:xfrm>
            <a:prstGeom prst="rect">
              <a:avLst/>
            </a:prstGeom>
            <a:ln w="12700">
              <a:miter lim="400000"/>
            </a:ln>
          </p:spPr>
          <p:txBody>
            <a:bodyPr wrap="square" lIns="50800" tIns="50800" rIns="50800" bIns="50800" anchor="ctr">
              <a:spAutoFit/>
            </a:bodyPr>
            <a:lstStyle>
              <a:lvl1pPr>
                <a:defRPr b="0">
                  <a:solidFill>
                    <a:srgbClr val="DEE2D6"/>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algn="ctr"/>
              <a:r>
                <a:rPr lang="en-US" altLang="zh-CN" sz="1000" dirty="0">
                  <a:solidFill>
                    <a:srgbClr val="0099CC"/>
                  </a:solidFill>
                </a:rPr>
                <a:t>56Gb/s</a:t>
              </a:r>
              <a:r>
                <a:rPr lang="zh-CN" altLang="zh-CN" sz="1000" dirty="0">
                  <a:solidFill>
                    <a:srgbClr val="0099CC"/>
                  </a:solidFill>
                </a:rPr>
                <a:t>或</a:t>
              </a:r>
              <a:r>
                <a:rPr lang="en-US" altLang="zh-CN" sz="1000" dirty="0">
                  <a:solidFill>
                    <a:srgbClr val="0099CC"/>
                  </a:solidFill>
                </a:rPr>
                <a:t>100Gb/s</a:t>
              </a:r>
              <a:r>
                <a:rPr lang="zh-CN" altLang="en-US" sz="1000" dirty="0">
                  <a:solidFill>
                    <a:srgbClr val="0099CC"/>
                  </a:solidFill>
                </a:rPr>
                <a:t>或</a:t>
              </a:r>
              <a:r>
                <a:rPr lang="en-US" altLang="zh-CN" sz="1000" dirty="0">
                  <a:solidFill>
                    <a:srgbClr val="0099CC"/>
                  </a:solidFill>
                </a:rPr>
                <a:t>200Gb/s RDMA</a:t>
              </a:r>
              <a:r>
                <a:rPr lang="zh-CN" altLang="en-US" sz="1000" dirty="0">
                  <a:solidFill>
                    <a:srgbClr val="0099CC"/>
                  </a:solidFill>
                </a:rPr>
                <a:t>网络</a:t>
              </a:r>
              <a:endParaRPr lang="zh-CN" altLang="en-US" sz="1000" dirty="0">
                <a:solidFill>
                  <a:srgbClr val="0099CC"/>
                </a:solidFill>
              </a:endParaRPr>
            </a:p>
          </p:txBody>
        </p:sp>
        <p:grpSp>
          <p:nvGrpSpPr>
            <p:cNvPr id="4" name="组合 3"/>
            <p:cNvGrpSpPr/>
            <p:nvPr/>
          </p:nvGrpSpPr>
          <p:grpSpPr>
            <a:xfrm>
              <a:off x="1722" y="1632"/>
              <a:ext cx="2818" cy="2835"/>
              <a:chOff x="6431172" y="2175269"/>
              <a:chExt cx="1789565" cy="1800200"/>
            </a:xfrm>
          </p:grpSpPr>
          <p:grpSp>
            <p:nvGrpSpPr>
              <p:cNvPr id="45" name="组合 104"/>
              <p:cNvGrpSpPr/>
              <p:nvPr/>
            </p:nvGrpSpPr>
            <p:grpSpPr bwMode="auto">
              <a:xfrm>
                <a:off x="6431172" y="2175269"/>
                <a:ext cx="1789565" cy="1800200"/>
                <a:chOff x="6293048" y="1841195"/>
                <a:chExt cx="2722909" cy="2738041"/>
              </a:xfrm>
            </p:grpSpPr>
            <p:sp>
              <p:nvSpPr>
                <p:cNvPr id="47" name="Oval 504"/>
                <p:cNvSpPr>
                  <a:spLocks noChangeAspect="1" noChangeArrowheads="1"/>
                </p:cNvSpPr>
                <p:nvPr>
                  <p:custDataLst>
                    <p:tags r:id="rId11"/>
                  </p:custDataLst>
                </p:nvPr>
              </p:nvSpPr>
              <p:spPr bwMode="auto">
                <a:xfrm>
                  <a:off x="6293048" y="1843087"/>
                  <a:ext cx="2722909" cy="2736149"/>
                </a:xfrm>
                <a:prstGeom prst="ellipse">
                  <a:avLst/>
                </a:prstGeom>
                <a:gradFill rotWithShape="1">
                  <a:gsLst>
                    <a:gs pos="0">
                      <a:srgbClr val="0099CC"/>
                    </a:gs>
                    <a:gs pos="100000">
                      <a:srgbClr val="007DA7"/>
                    </a:gs>
                  </a:gsLst>
                  <a:lin ang="5400000" scaled="1"/>
                </a:gradFill>
                <a:ln w="9525">
                  <a:no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200" b="0" i="0" u="none" strike="noStrike" kern="0" cap="none" spc="0" normalizeH="0" baseline="0" noProof="0">
                    <a:ln>
                      <a:noFill/>
                    </a:ln>
                    <a:solidFill>
                      <a:srgbClr val="FFFFFF"/>
                    </a:solidFill>
                    <a:effectLst/>
                    <a:uLnTx/>
                    <a:uFillTx/>
                    <a:latin typeface="Arial Black" panose="020B0A04020102020204" pitchFamily="34" charset="0"/>
                    <a:ea typeface="楷体_GB2312" pitchFamily="49" charset="-122"/>
                  </a:endParaRPr>
                </a:p>
              </p:txBody>
            </p:sp>
            <p:sp>
              <p:nvSpPr>
                <p:cNvPr id="48" name="Oval 505"/>
                <p:cNvSpPr>
                  <a:spLocks noChangeAspect="1" noChangeArrowheads="1"/>
                </p:cNvSpPr>
                <p:nvPr>
                  <p:custDataLst>
                    <p:tags r:id="rId12"/>
                  </p:custDataLst>
                </p:nvPr>
              </p:nvSpPr>
              <p:spPr bwMode="auto">
                <a:xfrm>
                  <a:off x="6300192" y="1841195"/>
                  <a:ext cx="2715006" cy="2736000"/>
                </a:xfrm>
                <a:prstGeom prst="ellipse">
                  <a:avLst/>
                </a:prstGeom>
                <a:gradFill rotWithShape="1">
                  <a:gsLst>
                    <a:gs pos="0">
                      <a:srgbClr val="FFFFFF">
                        <a:alpha val="50000"/>
                      </a:srgbClr>
                    </a:gs>
                    <a:gs pos="100000">
                      <a:srgbClr val="000000">
                        <a:alpha val="0"/>
                      </a:srgbClr>
                    </a:gs>
                  </a:gsLst>
                  <a:path path="shape">
                    <a:fillToRect l="50000" t="50000" r="50000" b="50000"/>
                  </a:path>
                </a:gradFill>
                <a:ln w="9525">
                  <a:no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200" b="0" i="0" u="none" strike="noStrike" kern="0" cap="none" spc="0" normalizeH="0" baseline="0" noProof="0">
                    <a:ln>
                      <a:noFill/>
                    </a:ln>
                    <a:solidFill>
                      <a:sysClr val="windowText" lastClr="000000"/>
                    </a:solidFill>
                    <a:effectLst/>
                    <a:uLnTx/>
                    <a:uFillTx/>
                    <a:ea typeface="楷体_GB2312" pitchFamily="49" charset="-122"/>
                  </a:endParaRPr>
                </a:p>
              </p:txBody>
            </p:sp>
            <p:sp>
              <p:nvSpPr>
                <p:cNvPr id="49" name="Oval 504"/>
                <p:cNvSpPr>
                  <a:spLocks noChangeAspect="1" noChangeArrowheads="1"/>
                </p:cNvSpPr>
                <p:nvPr>
                  <p:custDataLst>
                    <p:tags r:id="rId13"/>
                  </p:custDataLst>
                </p:nvPr>
              </p:nvSpPr>
              <p:spPr bwMode="auto">
                <a:xfrm>
                  <a:off x="6399425" y="1943074"/>
                  <a:ext cx="2506981" cy="2520305"/>
                </a:xfrm>
                <a:prstGeom prst="ellipse">
                  <a:avLst/>
                </a:prstGeom>
                <a:noFill/>
                <a:ln w="25400">
                  <a:solidFill>
                    <a:srgbClr val="BBE0E3"/>
                  </a:solid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200" b="0" i="0" u="none" strike="noStrike" kern="0" cap="none" spc="0" normalizeH="0" baseline="0" noProof="0">
                    <a:ln>
                      <a:noFill/>
                    </a:ln>
                    <a:solidFill>
                      <a:srgbClr val="FFFFFF"/>
                    </a:solidFill>
                    <a:effectLst/>
                    <a:uLnTx/>
                    <a:uFillTx/>
                    <a:latin typeface="Arial Black" panose="020B0A04020102020204" pitchFamily="34" charset="0"/>
                    <a:ea typeface="楷体_GB2312" pitchFamily="49" charset="-122"/>
                  </a:endParaRPr>
                </a:p>
              </p:txBody>
            </p:sp>
          </p:grpSp>
          <p:pic>
            <p:nvPicPr>
              <p:cNvPr id="24" name="IB交换机.jpg" descr="IB交换机.jpg"/>
              <p:cNvPicPr>
                <a:picLocks noChangeAspect="1"/>
              </p:cNvPicPr>
              <p:nvPr>
                <p:custDataLst>
                  <p:tags r:id="rId14"/>
                </p:custDataLst>
              </p:nvPr>
            </p:nvPicPr>
            <p:blipFill>
              <a:blip r:embed="rId15"/>
              <a:stretch>
                <a:fillRect/>
              </a:stretch>
            </p:blipFill>
            <p:spPr>
              <a:xfrm>
                <a:off x="6585923" y="3179296"/>
                <a:ext cx="1476547" cy="151200"/>
              </a:xfrm>
              <a:prstGeom prst="rect">
                <a:avLst/>
              </a:prstGeom>
              <a:ln w="3175" cap="flat">
                <a:noFill/>
                <a:miter lim="400000"/>
                <a:headEnd/>
                <a:tailEnd/>
              </a:ln>
              <a:effectLst>
                <a:outerShdw blurRad="88900" dist="38100" dir="5400000" rotWithShape="0">
                  <a:srgbClr val="000000">
                    <a:alpha val="70000"/>
                  </a:srgbClr>
                </a:outerShdw>
              </a:effectLst>
            </p:spPr>
          </p:pic>
        </p:grpSp>
        <p:pic>
          <p:nvPicPr>
            <p:cNvPr id="5" name="Picture 2" descr="\\Mac\Home\Desktop\IB卡.png"/>
            <p:cNvPicPr>
              <a:picLocks noChangeAspect="1" noChangeArrowheads="1"/>
            </p:cNvPicPr>
            <p:nvPr>
              <p:custDataLst>
                <p:tags r:id="rId16"/>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2295" y="2267"/>
              <a:ext cx="908" cy="1035"/>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Mac\Home\Desktop\IB线.png"/>
            <p:cNvPicPr>
              <a:picLocks noChangeAspect="1" noChangeArrowheads="1"/>
            </p:cNvPicPr>
            <p:nvPr>
              <p:custDataLst>
                <p:tags r:id="rId18"/>
              </p:custDataLst>
            </p:nvPr>
          </p:nvPicPr>
          <p:blipFill>
            <a:blip r:embed="rId19" cstate="print">
              <a:extLst>
                <a:ext uri="{28A0092B-C50C-407E-A947-70E740481C1C}">
                  <a14:useLocalDpi xmlns:a14="http://schemas.microsoft.com/office/drawing/2010/main" val="0"/>
                </a:ext>
              </a:extLst>
            </a:blip>
            <a:srcRect/>
            <a:stretch>
              <a:fillRect/>
            </a:stretch>
          </p:blipFill>
          <p:spPr bwMode="auto">
            <a:xfrm>
              <a:off x="3263" y="2739"/>
              <a:ext cx="995" cy="361"/>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加号 8"/>
          <p:cNvSpPr/>
          <p:nvPr>
            <p:custDataLst>
              <p:tags r:id="rId20"/>
            </p:custDataLst>
          </p:nvPr>
        </p:nvSpPr>
        <p:spPr>
          <a:xfrm>
            <a:off x="3760470" y="2816860"/>
            <a:ext cx="1536700" cy="1536700"/>
          </a:xfrm>
          <a:prstGeom prst="mathPlus">
            <a:avLst>
              <a:gd name="adj1" fmla="val 1214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圆柱形 9"/>
          <p:cNvSpPr/>
          <p:nvPr>
            <p:custDataLst>
              <p:tags r:id="rId21"/>
            </p:custDataLst>
          </p:nvPr>
        </p:nvSpPr>
        <p:spPr>
          <a:xfrm>
            <a:off x="6117590" y="3005455"/>
            <a:ext cx="1170940" cy="1348105"/>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custDataLst>
              <p:tags r:id="rId22"/>
            </p:custDataLst>
          </p:nvPr>
        </p:nvSpPr>
        <p:spPr>
          <a:xfrm>
            <a:off x="9525000" y="2815590"/>
            <a:ext cx="2223770" cy="2388235"/>
          </a:xfrm>
          <a:prstGeom prst="rect">
            <a:avLst/>
          </a:prstGeom>
          <a:noFill/>
        </p:spPr>
        <p:txBody>
          <a:bodyPr wrap="square" rtlCol="0">
            <a:noAutofit/>
          </a:bodyPr>
          <a:lstStyle/>
          <a:p>
            <a:r>
              <a:rPr lang="zh-CN" altLang="en-US" sz="4000"/>
              <a:t>高性能数据库平台</a:t>
            </a:r>
            <a:endParaRPr lang="zh-CN" altLang="en-US" sz="4000"/>
          </a:p>
        </p:txBody>
      </p:sp>
      <p:sp>
        <p:nvSpPr>
          <p:cNvPr id="12" name="等于号 11"/>
          <p:cNvSpPr/>
          <p:nvPr>
            <p:custDataLst>
              <p:tags r:id="rId23"/>
            </p:custDataLst>
          </p:nvPr>
        </p:nvSpPr>
        <p:spPr>
          <a:xfrm>
            <a:off x="7800340" y="3406140"/>
            <a:ext cx="1109980" cy="766445"/>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nvGrpSpPr>
          <p:cNvPr id="26" name="组合 25"/>
          <p:cNvGrpSpPr/>
          <p:nvPr/>
        </p:nvGrpSpPr>
        <p:grpSpPr>
          <a:xfrm>
            <a:off x="6195060" y="1843405"/>
            <a:ext cx="948690" cy="948690"/>
            <a:chOff x="12085" y="1640"/>
            <a:chExt cx="850" cy="850"/>
          </a:xfrm>
          <a:effectLst>
            <a:outerShdw blurRad="50800" dist="38100" dir="2700000" algn="tl" rotWithShape="0">
              <a:schemeClr val="accent1">
                <a:lumMod val="75000"/>
                <a:alpha val="40000"/>
              </a:schemeClr>
            </a:outerShdw>
          </a:effectLst>
        </p:grpSpPr>
        <p:sp>
          <p:nvSpPr>
            <p:cNvPr id="27" name="椭圆 26"/>
            <p:cNvSpPr>
              <a:spLocks noChangeAspect="1"/>
            </p:cNvSpPr>
            <p:nvPr>
              <p:custDataLst>
                <p:tags r:id="rId24"/>
              </p:custDataLst>
            </p:nvPr>
          </p:nvSpPr>
          <p:spPr>
            <a:xfrm>
              <a:off x="12085" y="1640"/>
              <a:ext cx="850" cy="85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8" name="图片 27" descr="polardb_icon_small"/>
            <p:cNvPicPr>
              <a:picLocks noChangeAspect="1"/>
            </p:cNvPicPr>
            <p:nvPr>
              <p:custDataLst>
                <p:tags r:id="rId25"/>
              </p:custDataLst>
            </p:nvPr>
          </p:nvPicPr>
          <p:blipFill>
            <a:blip r:embed="rId26"/>
            <a:stretch>
              <a:fillRect/>
            </a:stretch>
          </p:blipFill>
          <p:spPr>
            <a:xfrm>
              <a:off x="12246" y="1764"/>
              <a:ext cx="588" cy="603"/>
            </a:xfrm>
            <a:prstGeom prst="rect">
              <a:avLst/>
            </a:prstGeom>
          </p:spPr>
        </p:pic>
      </p:grpSp>
      <p:sp>
        <p:nvSpPr>
          <p:cNvPr id="14" name="文本框 13"/>
          <p:cNvSpPr txBox="1"/>
          <p:nvPr>
            <p:custDataLst>
              <p:tags r:id="rId27"/>
            </p:custDataLst>
          </p:nvPr>
        </p:nvSpPr>
        <p:spPr>
          <a:xfrm>
            <a:off x="4770755" y="5053965"/>
            <a:ext cx="4064000" cy="922020"/>
          </a:xfrm>
          <a:prstGeom prst="rect">
            <a:avLst/>
          </a:prstGeom>
          <a:noFill/>
        </p:spPr>
        <p:txBody>
          <a:bodyPr wrap="square" rtlCol="0">
            <a:spAutoFit/>
          </a:bodyPr>
          <a:lstStyle/>
          <a:p>
            <a:r>
              <a:rPr lang="zh-CN" altLang="en-US">
                <a:solidFill>
                  <a:srgbClr val="FF0000"/>
                </a:solidFill>
              </a:rPr>
              <a:t>高性能的硬件需要配套优秀的数据库以及高性的存储软件才能发挥出极致的性能</a:t>
            </a:r>
            <a:endParaRPr lang="zh-CN" altLang="en-US">
              <a:solidFill>
                <a:srgbClr val="FF0000"/>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kern="0" dirty="0">
                <a:solidFill>
                  <a:srgbClr val="0070C0"/>
                </a:solidFill>
                <a:latin typeface="微软雅黑" panose="020B0503020204020204" pitchFamily="34" charset="-122"/>
                <a:ea typeface="微软雅黑" panose="020B0503020204020204" pitchFamily="34" charset="-122"/>
                <a:sym typeface="+mn-ea"/>
              </a:rPr>
              <a:t>高新能</a:t>
            </a:r>
            <a:r>
              <a:rPr lang="en-US" altLang="zh-CN" kern="0" dirty="0">
                <a:solidFill>
                  <a:srgbClr val="0070C0"/>
                </a:solidFill>
                <a:latin typeface="微软雅黑" panose="020B0503020204020204" pitchFamily="34" charset="-122"/>
                <a:ea typeface="微软雅黑" panose="020B0503020204020204" pitchFamily="34" charset="-122"/>
                <a:sym typeface="+mn-ea"/>
              </a:rPr>
              <a:t>PolarDB</a:t>
            </a:r>
            <a:r>
              <a:rPr lang="zh-CN" altLang="en-US" kern="0" dirty="0">
                <a:solidFill>
                  <a:srgbClr val="0070C0"/>
                </a:solidFill>
                <a:latin typeface="微软雅黑" panose="020B0503020204020204" pitchFamily="34" charset="-122"/>
                <a:ea typeface="微软雅黑" panose="020B0503020204020204" pitchFamily="34" charset="-122"/>
                <a:sym typeface="+mn-ea"/>
              </a:rPr>
              <a:t>一体机：</a:t>
            </a:r>
            <a:r>
              <a:rPr lang="en-US" altLang="zh-CN" kern="0" dirty="0">
                <a:solidFill>
                  <a:srgbClr val="0070C0"/>
                </a:solidFill>
                <a:latin typeface="微软雅黑" panose="020B0503020204020204" pitchFamily="34" charset="-122"/>
                <a:ea typeface="微软雅黑" panose="020B0503020204020204" pitchFamily="34" charset="-122"/>
                <a:sym typeface="+mn-ea"/>
              </a:rPr>
              <a:t>CData</a:t>
            </a:r>
            <a:r>
              <a:rPr lang="zh-CN" altLang="en-US" kern="0" dirty="0">
                <a:solidFill>
                  <a:srgbClr val="0070C0"/>
                </a:solidFill>
                <a:latin typeface="微软雅黑" panose="020B0503020204020204" pitchFamily="34" charset="-122"/>
                <a:ea typeface="微软雅黑" panose="020B0503020204020204" pitchFamily="34" charset="-122"/>
                <a:sym typeface="+mn-ea"/>
              </a:rPr>
              <a:t>核心技术</a:t>
            </a:r>
            <a:endParaRPr lang="zh-CN" altLang="en-US" kern="0" dirty="0">
              <a:solidFill>
                <a:srgbClr val="0070C0"/>
              </a:solidFill>
              <a:latin typeface="微软雅黑" panose="020B0503020204020204" pitchFamily="34" charset="-122"/>
              <a:ea typeface="微软雅黑" panose="020B0503020204020204" pitchFamily="34" charset="-122"/>
              <a:sym typeface="+mn-ea"/>
            </a:endParaRPr>
          </a:p>
        </p:txBody>
      </p:sp>
      <p:sp>
        <p:nvSpPr>
          <p:cNvPr id="4" name="灯片编号占位符 3"/>
          <p:cNvSpPr>
            <a:spLocks noGrp="1"/>
          </p:cNvSpPr>
          <p:nvPr>
            <p:ph type="sldNum" sz="quarter" idx="12"/>
          </p:nvPr>
        </p:nvSpPr>
        <p:spPr>
          <a:xfrm>
            <a:off x="8610599" y="6651943"/>
            <a:ext cx="2909888" cy="206381"/>
          </a:xfrm>
        </p:spPr>
        <p:txBody>
          <a:bodyPr/>
          <a:lstStyle/>
          <a:p>
            <a:fld id="{5DD3DB80-B894-403A-B48E-6FDC1A72010E}" type="slidenum">
              <a:rPr lang="zh-CN" altLang="en-US" smtClean="0"/>
            </a:fld>
            <a:endParaRPr lang="zh-CN" altLang="en-US"/>
          </a:p>
        </p:txBody>
      </p:sp>
      <p:grpSp>
        <p:nvGrpSpPr>
          <p:cNvPr id="2052" name="组合 2051"/>
          <p:cNvGrpSpPr/>
          <p:nvPr/>
        </p:nvGrpSpPr>
        <p:grpSpPr>
          <a:xfrm>
            <a:off x="8318669" y="4829823"/>
            <a:ext cx="2795637" cy="1068970"/>
            <a:chOff x="7364389" y="4280649"/>
            <a:chExt cx="2795637" cy="1068970"/>
          </a:xfrm>
        </p:grpSpPr>
        <p:sp>
          <p:nvSpPr>
            <p:cNvPr id="30" name="文本框 4"/>
            <p:cNvSpPr txBox="1"/>
            <p:nvPr>
              <p:custDataLst>
                <p:tags r:id="rId1"/>
              </p:custDataLst>
            </p:nvPr>
          </p:nvSpPr>
          <p:spPr>
            <a:xfrm>
              <a:off x="8156915" y="4280649"/>
              <a:ext cx="1210588" cy="400110"/>
            </a:xfrm>
            <a:prstGeom prst="rect">
              <a:avLst/>
            </a:prstGeom>
            <a:noFill/>
          </p:spPr>
          <p:txBody>
            <a:bodyPr wrap="none" rtlCol="0">
              <a:spAutoFit/>
            </a:bodyPr>
            <a:lstStyle/>
            <a:p>
              <a:r>
                <a:rPr lang="zh-CN" altLang="en-US" sz="2000" b="1" dirty="0">
                  <a:solidFill>
                    <a:srgbClr val="0099CC"/>
                  </a:solidFill>
                  <a:latin typeface="微软雅黑" panose="020B0503020204020204" pitchFamily="34" charset="-122"/>
                  <a:ea typeface="微软雅黑" panose="020B0503020204020204" pitchFamily="34" charset="-122"/>
                </a:rPr>
                <a:t>存储能力</a:t>
              </a:r>
              <a:endParaRPr lang="zh-CN" altLang="en-US" sz="2000" b="1" dirty="0">
                <a:solidFill>
                  <a:srgbClr val="0099CC"/>
                </a:solidFill>
                <a:latin typeface="微软雅黑" panose="020B0503020204020204" pitchFamily="34" charset="-122"/>
                <a:ea typeface="微软雅黑" panose="020B0503020204020204" pitchFamily="34" charset="-122"/>
              </a:endParaRPr>
            </a:p>
          </p:txBody>
        </p:sp>
        <p:sp>
          <p:nvSpPr>
            <p:cNvPr id="31" name="Shape 308"/>
            <p:cNvSpPr/>
            <p:nvPr>
              <p:custDataLst>
                <p:tags r:id="rId2"/>
              </p:custDataLst>
            </p:nvPr>
          </p:nvSpPr>
          <p:spPr>
            <a:xfrm>
              <a:off x="7364389" y="4816140"/>
              <a:ext cx="2795637" cy="533479"/>
            </a:xfrm>
            <a:prstGeom prst="rect">
              <a:avLst/>
            </a:prstGeom>
            <a:ln w="12700">
              <a:miter lim="400000"/>
            </a:ln>
          </p:spPr>
          <p:txBody>
            <a:bodyPr wrap="none" lIns="50800" tIns="50800" rIns="50800" bIns="50800" anchor="ctr">
              <a:spAutoFit/>
            </a:bodyPr>
            <a:lstStyle>
              <a:lvl1pPr>
                <a:defRPr b="0">
                  <a:solidFill>
                    <a:srgbClr val="DEE2D6"/>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algn="ctr"/>
              <a:r>
                <a:rPr lang="zh-CN" altLang="en-US" sz="1400" dirty="0">
                  <a:solidFill>
                    <a:srgbClr val="0099CC"/>
                  </a:solidFill>
                </a:rPr>
                <a:t>高性能</a:t>
              </a:r>
              <a:r>
                <a:rPr lang="en-US" altLang="zh-CN" sz="1400" dirty="0">
                  <a:solidFill>
                    <a:srgbClr val="0099CC"/>
                  </a:solidFill>
                </a:rPr>
                <a:t>NVMe</a:t>
              </a:r>
              <a:r>
                <a:rPr lang="zh-CN" altLang="en-US" sz="1400" dirty="0">
                  <a:solidFill>
                    <a:srgbClr val="0099CC"/>
                  </a:solidFill>
                </a:rPr>
                <a:t>的新一代存储产品</a:t>
              </a:r>
              <a:endParaRPr lang="en-US" altLang="zh-CN" sz="1400" dirty="0">
                <a:solidFill>
                  <a:srgbClr val="0099CC"/>
                </a:solidFill>
              </a:endParaRPr>
            </a:p>
            <a:p>
              <a:pPr algn="ctr"/>
              <a:r>
                <a:rPr lang="zh-CN" altLang="en-US" sz="1400" dirty="0">
                  <a:solidFill>
                    <a:srgbClr val="0099CC"/>
                  </a:solidFill>
                </a:rPr>
                <a:t>提供极高的性能、可靠性和耐用性</a:t>
              </a:r>
              <a:endParaRPr lang="en-US" sz="1400" dirty="0">
                <a:solidFill>
                  <a:srgbClr val="0099CC"/>
                </a:solidFill>
              </a:endParaRPr>
            </a:p>
          </p:txBody>
        </p:sp>
      </p:grpSp>
      <p:grpSp>
        <p:nvGrpSpPr>
          <p:cNvPr id="2051" name="组合 2050"/>
          <p:cNvGrpSpPr/>
          <p:nvPr/>
        </p:nvGrpSpPr>
        <p:grpSpPr>
          <a:xfrm>
            <a:off x="4306421" y="4806040"/>
            <a:ext cx="3462655" cy="1316472"/>
            <a:chOff x="4059366" y="4244879"/>
            <a:chExt cx="3462655" cy="1316472"/>
          </a:xfrm>
        </p:grpSpPr>
        <p:sp>
          <p:nvSpPr>
            <p:cNvPr id="29" name="文本框 4"/>
            <p:cNvSpPr txBox="1"/>
            <p:nvPr>
              <p:custDataLst>
                <p:tags r:id="rId3"/>
              </p:custDataLst>
            </p:nvPr>
          </p:nvSpPr>
          <p:spPr>
            <a:xfrm>
              <a:off x="5185393" y="4244879"/>
              <a:ext cx="1210588" cy="400110"/>
            </a:xfrm>
            <a:prstGeom prst="rect">
              <a:avLst/>
            </a:prstGeom>
            <a:noFill/>
          </p:spPr>
          <p:txBody>
            <a:bodyPr wrap="none" rtlCol="0">
              <a:spAutoFit/>
            </a:bodyPr>
            <a:lstStyle/>
            <a:p>
              <a:r>
                <a:rPr lang="zh-CN" altLang="en-US" sz="2000" b="1" dirty="0">
                  <a:solidFill>
                    <a:srgbClr val="0099CC"/>
                  </a:solidFill>
                  <a:latin typeface="微软雅黑" panose="020B0503020204020204" pitchFamily="34" charset="-122"/>
                  <a:ea typeface="微软雅黑" panose="020B0503020204020204" pitchFamily="34" charset="-122"/>
                </a:rPr>
                <a:t>网络能力</a:t>
              </a:r>
              <a:endParaRPr lang="zh-CN" altLang="en-US" sz="2000" b="1" dirty="0">
                <a:solidFill>
                  <a:srgbClr val="0099CC"/>
                </a:solidFill>
                <a:latin typeface="微软雅黑" panose="020B0503020204020204" pitchFamily="34" charset="-122"/>
                <a:ea typeface="微软雅黑" panose="020B0503020204020204" pitchFamily="34" charset="-122"/>
              </a:endParaRPr>
            </a:p>
          </p:txBody>
        </p:sp>
        <p:sp>
          <p:nvSpPr>
            <p:cNvPr id="32" name="Shape 308"/>
            <p:cNvSpPr/>
            <p:nvPr>
              <p:custDataLst>
                <p:tags r:id="rId4"/>
              </p:custDataLst>
            </p:nvPr>
          </p:nvSpPr>
          <p:spPr>
            <a:xfrm>
              <a:off x="4059366" y="4813956"/>
              <a:ext cx="3462655" cy="747395"/>
            </a:xfrm>
            <a:prstGeom prst="rect">
              <a:avLst/>
            </a:prstGeom>
            <a:ln w="12700">
              <a:miter lim="400000"/>
            </a:ln>
          </p:spPr>
          <p:txBody>
            <a:bodyPr wrap="none" lIns="50800" tIns="50800" rIns="50800" bIns="50800" anchor="ctr">
              <a:spAutoFit/>
            </a:bodyPr>
            <a:lstStyle>
              <a:lvl1pPr>
                <a:defRPr b="0">
                  <a:solidFill>
                    <a:srgbClr val="DEE2D6"/>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algn="ctr"/>
              <a:r>
                <a:rPr lang="en-US" altLang="zh-CN" sz="1400" dirty="0">
                  <a:solidFill>
                    <a:srgbClr val="0099CC"/>
                  </a:solidFill>
                </a:rPr>
                <a:t>56Gb/s</a:t>
              </a:r>
              <a:r>
                <a:rPr lang="zh-CN" altLang="zh-CN" sz="1400" dirty="0">
                  <a:solidFill>
                    <a:srgbClr val="0099CC"/>
                  </a:solidFill>
                </a:rPr>
                <a:t>或</a:t>
              </a:r>
              <a:r>
                <a:rPr lang="en-US" altLang="zh-CN" sz="1400" dirty="0">
                  <a:solidFill>
                    <a:srgbClr val="0099CC"/>
                  </a:solidFill>
                </a:rPr>
                <a:t>100Gb/s</a:t>
              </a:r>
              <a:r>
                <a:rPr lang="zh-CN" altLang="en-US" sz="1400" dirty="0">
                  <a:solidFill>
                    <a:srgbClr val="0099CC"/>
                  </a:solidFill>
                </a:rPr>
                <a:t>或</a:t>
              </a:r>
              <a:r>
                <a:rPr lang="en-US" altLang="zh-CN" sz="1400" dirty="0">
                  <a:solidFill>
                    <a:srgbClr val="0099CC"/>
                  </a:solidFill>
                </a:rPr>
                <a:t>200Gb/s RDMA</a:t>
              </a:r>
              <a:r>
                <a:rPr lang="zh-CN" altLang="en-US" sz="1400" dirty="0">
                  <a:solidFill>
                    <a:srgbClr val="0099CC"/>
                  </a:solidFill>
                </a:rPr>
                <a:t>网络</a:t>
              </a:r>
              <a:endParaRPr lang="zh-CN" altLang="en-US" sz="1400" dirty="0">
                <a:solidFill>
                  <a:srgbClr val="0099CC"/>
                </a:solidFill>
              </a:endParaRPr>
            </a:p>
            <a:p>
              <a:pPr algn="ctr"/>
              <a:r>
                <a:rPr lang="zh-CN" altLang="en-US" sz="1400" dirty="0">
                  <a:solidFill>
                    <a:srgbClr val="0099CC"/>
                  </a:solidFill>
                </a:rPr>
                <a:t>提供</a:t>
              </a:r>
              <a:r>
                <a:rPr lang="zh-CN" altLang="zh-CN" sz="1400" dirty="0">
                  <a:solidFill>
                    <a:srgbClr val="0099CC"/>
                  </a:solidFill>
                </a:rPr>
                <a:t>高效的计算和存储互联</a:t>
              </a:r>
              <a:endParaRPr lang="zh-CN" altLang="en-US" sz="1400" dirty="0">
                <a:solidFill>
                  <a:srgbClr val="0099CC"/>
                </a:solidFill>
              </a:endParaRPr>
            </a:p>
            <a:p>
              <a:pPr algn="ctr"/>
              <a:endParaRPr lang="en-US" sz="1400" dirty="0">
                <a:solidFill>
                  <a:srgbClr val="0099CC"/>
                </a:solidFill>
              </a:endParaRPr>
            </a:p>
          </p:txBody>
        </p:sp>
      </p:grpSp>
      <p:grpSp>
        <p:nvGrpSpPr>
          <p:cNvPr id="2049" name="组合 2048"/>
          <p:cNvGrpSpPr/>
          <p:nvPr/>
        </p:nvGrpSpPr>
        <p:grpSpPr>
          <a:xfrm>
            <a:off x="1547207" y="4829823"/>
            <a:ext cx="1701800" cy="1080926"/>
            <a:chOff x="2012943" y="4280649"/>
            <a:chExt cx="1701800" cy="1080926"/>
          </a:xfrm>
        </p:grpSpPr>
        <p:sp>
          <p:nvSpPr>
            <p:cNvPr id="16" name="文本框 4"/>
            <p:cNvSpPr txBox="1"/>
            <p:nvPr>
              <p:custDataLst>
                <p:tags r:id="rId5"/>
              </p:custDataLst>
            </p:nvPr>
          </p:nvSpPr>
          <p:spPr>
            <a:xfrm>
              <a:off x="2258547" y="4280649"/>
              <a:ext cx="1210588" cy="400110"/>
            </a:xfrm>
            <a:prstGeom prst="rect">
              <a:avLst/>
            </a:prstGeom>
            <a:noFill/>
          </p:spPr>
          <p:txBody>
            <a:bodyPr wrap="none" rtlCol="0">
              <a:spAutoFit/>
            </a:bodyPr>
            <a:lstStyle/>
            <a:p>
              <a:r>
                <a:rPr lang="zh-CN" altLang="en-US" sz="2000" b="1" dirty="0">
                  <a:solidFill>
                    <a:srgbClr val="0099CC"/>
                  </a:solidFill>
                  <a:latin typeface="微软雅黑" panose="020B0503020204020204" pitchFamily="34" charset="-122"/>
                  <a:ea typeface="微软雅黑" panose="020B0503020204020204" pitchFamily="34" charset="-122"/>
                </a:rPr>
                <a:t>计算能力</a:t>
              </a:r>
              <a:endParaRPr lang="zh-CN" altLang="en-US" sz="2000" b="1" dirty="0">
                <a:solidFill>
                  <a:srgbClr val="0099CC"/>
                </a:solidFill>
                <a:latin typeface="微软雅黑" panose="020B0503020204020204" pitchFamily="34" charset="-122"/>
                <a:ea typeface="微软雅黑" panose="020B0503020204020204" pitchFamily="34" charset="-122"/>
              </a:endParaRPr>
            </a:p>
          </p:txBody>
        </p:sp>
        <p:sp>
          <p:nvSpPr>
            <p:cNvPr id="33" name="Shape 308"/>
            <p:cNvSpPr/>
            <p:nvPr>
              <p:custDataLst>
                <p:tags r:id="rId6"/>
              </p:custDataLst>
            </p:nvPr>
          </p:nvSpPr>
          <p:spPr>
            <a:xfrm>
              <a:off x="2012943" y="4829445"/>
              <a:ext cx="1701800" cy="532130"/>
            </a:xfrm>
            <a:prstGeom prst="rect">
              <a:avLst/>
            </a:prstGeom>
            <a:ln w="12700">
              <a:miter lim="400000"/>
            </a:ln>
          </p:spPr>
          <p:txBody>
            <a:bodyPr wrap="none" lIns="50800" tIns="50800" rIns="50800" bIns="50800" anchor="ctr">
              <a:spAutoFit/>
            </a:bodyPr>
            <a:lstStyle>
              <a:lvl1pPr>
                <a:defRPr b="0">
                  <a:solidFill>
                    <a:srgbClr val="DEE2D6"/>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algn="ctr"/>
              <a:r>
                <a:rPr lang="zh-CN" sz="1400" dirty="0">
                  <a:solidFill>
                    <a:srgbClr val="0099CC"/>
                  </a:solidFill>
                </a:rPr>
                <a:t>高性能国产</a:t>
              </a:r>
              <a:r>
                <a:rPr sz="1400" dirty="0">
                  <a:solidFill>
                    <a:srgbClr val="0099CC"/>
                  </a:solidFill>
                </a:rPr>
                <a:t>CPU</a:t>
              </a:r>
              <a:endParaRPr lang="en-US" sz="1400" dirty="0">
                <a:solidFill>
                  <a:srgbClr val="0099CC"/>
                </a:solidFill>
              </a:endParaRPr>
            </a:p>
            <a:p>
              <a:pPr algn="ctr"/>
              <a:r>
                <a:rPr lang="zh-CN" altLang="en-US" sz="1400" dirty="0">
                  <a:solidFill>
                    <a:srgbClr val="0099CC"/>
                  </a:solidFill>
                </a:rPr>
                <a:t>提供强劲的运算能力</a:t>
              </a:r>
              <a:endParaRPr lang="en-US" sz="1400" dirty="0">
                <a:solidFill>
                  <a:srgbClr val="0099CC"/>
                </a:solidFill>
              </a:endParaRPr>
            </a:p>
          </p:txBody>
        </p:sp>
      </p:grpSp>
      <p:sp>
        <p:nvSpPr>
          <p:cNvPr id="34" name="文本框 4"/>
          <p:cNvSpPr txBox="1"/>
          <p:nvPr>
            <p:custDataLst>
              <p:tags r:id="rId7"/>
            </p:custDataLst>
          </p:nvPr>
        </p:nvSpPr>
        <p:spPr>
          <a:xfrm>
            <a:off x="0" y="1407152"/>
            <a:ext cx="12191999" cy="583565"/>
          </a:xfrm>
          <a:prstGeom prst="rect">
            <a:avLst/>
          </a:prstGeom>
          <a:noFill/>
        </p:spPr>
        <p:txBody>
          <a:bodyPr wrap="square" rtlCol="0">
            <a:spAutoFit/>
          </a:bodyPr>
          <a:lstStyle/>
          <a:p>
            <a:pPr algn="ctr"/>
            <a:r>
              <a:rPr lang="zh-CN" altLang="en-US" sz="1600" b="1" dirty="0">
                <a:solidFill>
                  <a:schemeClr val="accent2"/>
                </a:solidFill>
                <a:latin typeface="微软雅黑" panose="020B0503020204020204" pitchFamily="34" charset="-122"/>
                <a:ea typeface="微软雅黑" panose="020B0503020204020204" pitchFamily="34" charset="-122"/>
                <a:sym typeface="+mn-ea"/>
              </a:rPr>
              <a:t>将数据库的最佳实践与快速发展的硬件相结合，把计算能力、网络能力、存储能力等各方面做到最佳优化，</a:t>
            </a:r>
            <a:endParaRPr lang="zh-CN" altLang="en-US" sz="1600" b="1" dirty="0">
              <a:solidFill>
                <a:schemeClr val="accent2"/>
              </a:solidFill>
              <a:latin typeface="微软雅黑" panose="020B0503020204020204" pitchFamily="34" charset="-122"/>
              <a:ea typeface="微软雅黑" panose="020B0503020204020204" pitchFamily="34" charset="-122"/>
              <a:sym typeface="+mn-ea"/>
            </a:endParaRPr>
          </a:p>
          <a:p>
            <a:pPr algn="ctr"/>
            <a:r>
              <a:rPr lang="zh-CN" altLang="en-US" sz="1600" b="1" dirty="0">
                <a:solidFill>
                  <a:schemeClr val="accent2"/>
                </a:solidFill>
                <a:latin typeface="微软雅黑" panose="020B0503020204020204" pitchFamily="34" charset="-122"/>
                <a:ea typeface="微软雅黑" panose="020B0503020204020204" pitchFamily="34" charset="-122"/>
                <a:sym typeface="+mn-ea"/>
              </a:rPr>
              <a:t>提供一套高性能、高可靠、最佳性价比的数据库平台。</a:t>
            </a:r>
            <a:endParaRPr lang="zh-CN" altLang="en-US" sz="1600" b="1" dirty="0">
              <a:solidFill>
                <a:schemeClr val="accent2"/>
              </a:solidFill>
              <a:latin typeface="微软雅黑" panose="020B0503020204020204" pitchFamily="34" charset="-122"/>
              <a:ea typeface="微软雅黑" panose="020B0503020204020204" pitchFamily="34" charset="-122"/>
              <a:sym typeface="+mn-ea"/>
            </a:endParaRPr>
          </a:p>
        </p:txBody>
      </p:sp>
      <p:grpSp>
        <p:nvGrpSpPr>
          <p:cNvPr id="52" name="组合 104"/>
          <p:cNvGrpSpPr/>
          <p:nvPr/>
        </p:nvGrpSpPr>
        <p:grpSpPr bwMode="auto">
          <a:xfrm>
            <a:off x="8819609" y="2940788"/>
            <a:ext cx="1789565" cy="1800200"/>
            <a:chOff x="6293048" y="1841195"/>
            <a:chExt cx="2722909" cy="2738041"/>
          </a:xfrm>
        </p:grpSpPr>
        <p:sp>
          <p:nvSpPr>
            <p:cNvPr id="56" name="Oval 504"/>
            <p:cNvSpPr>
              <a:spLocks noChangeAspect="1" noChangeArrowheads="1"/>
            </p:cNvSpPr>
            <p:nvPr>
              <p:custDataLst>
                <p:tags r:id="rId8"/>
              </p:custDataLst>
            </p:nvPr>
          </p:nvSpPr>
          <p:spPr bwMode="auto">
            <a:xfrm>
              <a:off x="6293048" y="1843087"/>
              <a:ext cx="2722909" cy="2736149"/>
            </a:xfrm>
            <a:prstGeom prst="ellipse">
              <a:avLst/>
            </a:prstGeom>
            <a:gradFill rotWithShape="1">
              <a:gsLst>
                <a:gs pos="0">
                  <a:srgbClr val="0099CC"/>
                </a:gs>
                <a:gs pos="100000">
                  <a:srgbClr val="007DA7"/>
                </a:gs>
              </a:gsLst>
              <a:lin ang="5400000" scaled="1"/>
            </a:gradFill>
            <a:ln w="9525">
              <a:no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rgbClr val="FFFFFF"/>
                </a:solidFill>
                <a:effectLst/>
                <a:uLnTx/>
                <a:uFillTx/>
                <a:latin typeface="Arial Black" panose="020B0A04020102020204" pitchFamily="34" charset="0"/>
                <a:ea typeface="楷体_GB2312" pitchFamily="49" charset="-122"/>
              </a:endParaRPr>
            </a:p>
          </p:txBody>
        </p:sp>
        <p:sp>
          <p:nvSpPr>
            <p:cNvPr id="57" name="Oval 505"/>
            <p:cNvSpPr>
              <a:spLocks noChangeAspect="1" noChangeArrowheads="1"/>
            </p:cNvSpPr>
            <p:nvPr>
              <p:custDataLst>
                <p:tags r:id="rId9"/>
              </p:custDataLst>
            </p:nvPr>
          </p:nvSpPr>
          <p:spPr bwMode="auto">
            <a:xfrm>
              <a:off x="6300192" y="1841195"/>
              <a:ext cx="2715006" cy="2736000"/>
            </a:xfrm>
            <a:prstGeom prst="ellipse">
              <a:avLst/>
            </a:prstGeom>
            <a:gradFill rotWithShape="1">
              <a:gsLst>
                <a:gs pos="0">
                  <a:srgbClr val="FFFFFF">
                    <a:alpha val="50000"/>
                  </a:srgbClr>
                </a:gs>
                <a:gs pos="100000">
                  <a:srgbClr val="000000">
                    <a:alpha val="0"/>
                  </a:srgbClr>
                </a:gs>
              </a:gsLst>
              <a:path path="shape">
                <a:fillToRect l="50000" t="50000" r="50000" b="50000"/>
              </a:path>
            </a:gradFill>
            <a:ln w="9525">
              <a:no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ysClr val="windowText" lastClr="000000"/>
                </a:solidFill>
                <a:effectLst/>
                <a:uLnTx/>
                <a:uFillTx/>
                <a:ea typeface="楷体_GB2312" pitchFamily="49" charset="-122"/>
              </a:endParaRPr>
            </a:p>
          </p:txBody>
        </p:sp>
        <p:sp>
          <p:nvSpPr>
            <p:cNvPr id="58" name="Oval 504"/>
            <p:cNvSpPr>
              <a:spLocks noChangeAspect="1" noChangeArrowheads="1"/>
            </p:cNvSpPr>
            <p:nvPr>
              <p:custDataLst>
                <p:tags r:id="rId10"/>
              </p:custDataLst>
            </p:nvPr>
          </p:nvSpPr>
          <p:spPr bwMode="auto">
            <a:xfrm>
              <a:off x="6399425" y="1943074"/>
              <a:ext cx="2506981" cy="2520305"/>
            </a:xfrm>
            <a:prstGeom prst="ellipse">
              <a:avLst/>
            </a:prstGeom>
            <a:noFill/>
            <a:ln w="25400">
              <a:solidFill>
                <a:srgbClr val="BBE0E3"/>
              </a:solid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rgbClr val="FFFFFF"/>
                </a:solidFill>
                <a:effectLst/>
                <a:uLnTx/>
                <a:uFillTx/>
                <a:latin typeface="Arial Black" panose="020B0A04020102020204" pitchFamily="34" charset="0"/>
                <a:ea typeface="楷体_GB2312" pitchFamily="49" charset="-122"/>
              </a:endParaRPr>
            </a:p>
          </p:txBody>
        </p:sp>
      </p:grpSp>
      <p:grpSp>
        <p:nvGrpSpPr>
          <p:cNvPr id="37" name="组合 104"/>
          <p:cNvGrpSpPr/>
          <p:nvPr/>
        </p:nvGrpSpPr>
        <p:grpSpPr bwMode="auto">
          <a:xfrm>
            <a:off x="1501140" y="2939415"/>
            <a:ext cx="1789430" cy="1800225"/>
            <a:chOff x="6293048" y="1841195"/>
            <a:chExt cx="2722909" cy="2738041"/>
          </a:xfrm>
        </p:grpSpPr>
        <p:sp>
          <p:nvSpPr>
            <p:cNvPr id="41" name="Oval 504"/>
            <p:cNvSpPr>
              <a:spLocks noChangeAspect="1" noChangeArrowheads="1"/>
            </p:cNvSpPr>
            <p:nvPr>
              <p:custDataLst>
                <p:tags r:id="rId11"/>
              </p:custDataLst>
            </p:nvPr>
          </p:nvSpPr>
          <p:spPr bwMode="auto">
            <a:xfrm>
              <a:off x="6293048" y="1843087"/>
              <a:ext cx="2722909" cy="2736149"/>
            </a:xfrm>
            <a:prstGeom prst="ellipse">
              <a:avLst/>
            </a:prstGeom>
            <a:gradFill rotWithShape="1">
              <a:gsLst>
                <a:gs pos="0">
                  <a:srgbClr val="0099CC"/>
                </a:gs>
                <a:gs pos="100000">
                  <a:srgbClr val="007DA7"/>
                </a:gs>
              </a:gsLst>
              <a:lin ang="5400000" scaled="1"/>
            </a:gradFill>
            <a:ln w="9525">
              <a:no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rgbClr val="FFFFFF"/>
                </a:solidFill>
                <a:effectLst/>
                <a:uLnTx/>
                <a:uFillTx/>
                <a:latin typeface="Arial Black" panose="020B0A04020102020204" pitchFamily="34" charset="0"/>
                <a:ea typeface="楷体_GB2312" pitchFamily="49" charset="-122"/>
              </a:endParaRPr>
            </a:p>
          </p:txBody>
        </p:sp>
        <p:sp>
          <p:nvSpPr>
            <p:cNvPr id="42" name="Oval 505"/>
            <p:cNvSpPr>
              <a:spLocks noChangeAspect="1" noChangeArrowheads="1"/>
            </p:cNvSpPr>
            <p:nvPr>
              <p:custDataLst>
                <p:tags r:id="rId12"/>
              </p:custDataLst>
            </p:nvPr>
          </p:nvSpPr>
          <p:spPr bwMode="auto">
            <a:xfrm>
              <a:off x="6300192" y="1841195"/>
              <a:ext cx="2715006" cy="2736000"/>
            </a:xfrm>
            <a:prstGeom prst="ellipse">
              <a:avLst/>
            </a:prstGeom>
            <a:gradFill rotWithShape="1">
              <a:gsLst>
                <a:gs pos="0">
                  <a:srgbClr val="FFFFFF">
                    <a:alpha val="50000"/>
                  </a:srgbClr>
                </a:gs>
                <a:gs pos="100000">
                  <a:srgbClr val="000000">
                    <a:alpha val="0"/>
                  </a:srgbClr>
                </a:gs>
              </a:gsLst>
              <a:path path="shape">
                <a:fillToRect l="50000" t="50000" r="50000" b="50000"/>
              </a:path>
            </a:gradFill>
            <a:ln w="9525">
              <a:no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ysClr val="windowText" lastClr="000000"/>
                </a:solidFill>
                <a:effectLst/>
                <a:uLnTx/>
                <a:uFillTx/>
                <a:ea typeface="楷体_GB2312" pitchFamily="49" charset="-122"/>
              </a:endParaRPr>
            </a:p>
          </p:txBody>
        </p:sp>
        <p:sp>
          <p:nvSpPr>
            <p:cNvPr id="43" name="Oval 504"/>
            <p:cNvSpPr>
              <a:spLocks noChangeAspect="1" noChangeArrowheads="1"/>
            </p:cNvSpPr>
            <p:nvPr>
              <p:custDataLst>
                <p:tags r:id="rId13"/>
              </p:custDataLst>
            </p:nvPr>
          </p:nvSpPr>
          <p:spPr bwMode="auto">
            <a:xfrm>
              <a:off x="6399425" y="1943074"/>
              <a:ext cx="2506981" cy="2520305"/>
            </a:xfrm>
            <a:prstGeom prst="ellipse">
              <a:avLst/>
            </a:prstGeom>
            <a:noFill/>
            <a:ln w="25400">
              <a:solidFill>
                <a:srgbClr val="BBE0E3"/>
              </a:solid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rgbClr val="FFFFFF"/>
                </a:solidFill>
                <a:effectLst/>
                <a:uLnTx/>
                <a:uFillTx/>
                <a:latin typeface="Arial Black" panose="020B0A04020102020204" pitchFamily="34" charset="0"/>
                <a:ea typeface="楷体_GB2312" pitchFamily="49" charset="-122"/>
              </a:endParaRPr>
            </a:p>
          </p:txBody>
        </p:sp>
      </p:grpSp>
      <p:pic>
        <p:nvPicPr>
          <p:cNvPr id="3" name="Picture 3" descr="\\Mac\Home\Desktop\Intel 固态盘.png"/>
          <p:cNvPicPr>
            <a:picLocks noChangeAspect="1" noChangeArrowheads="1"/>
          </p:cNvPicPr>
          <p:nvPr>
            <p:custDataLst>
              <p:tags r:id="rId14"/>
            </p:custDataLst>
          </p:nvPr>
        </p:nvPicPr>
        <p:blipFill>
          <a:blip r:embed="rId15">
            <a:extLst>
              <a:ext uri="{28A0092B-C50C-407E-A947-70E740481C1C}">
                <a14:useLocalDpi xmlns:a14="http://schemas.microsoft.com/office/drawing/2010/main" val="0"/>
              </a:ext>
            </a:extLst>
          </a:blip>
          <a:srcRect/>
          <a:stretch>
            <a:fillRect/>
          </a:stretch>
        </p:blipFill>
        <p:spPr bwMode="auto">
          <a:xfrm>
            <a:off x="8969766" y="3405138"/>
            <a:ext cx="1493445" cy="840063"/>
          </a:xfrm>
          <a:prstGeom prst="rect">
            <a:avLst/>
          </a:prstGeom>
          <a:noFill/>
          <a:extLst>
            <a:ext uri="{909E8E84-426E-40DD-AFC4-6F175D3DCCD1}">
              <a14:hiddenFill xmlns:a14="http://schemas.microsoft.com/office/drawing/2010/main">
                <a:solidFill>
                  <a:srgbClr val="FFFFFF"/>
                </a:solidFill>
              </a14:hiddenFill>
            </a:ext>
          </a:extLst>
        </p:spPr>
      </p:pic>
      <p:grpSp>
        <p:nvGrpSpPr>
          <p:cNvPr id="6" name="组合 5"/>
          <p:cNvGrpSpPr/>
          <p:nvPr/>
        </p:nvGrpSpPr>
        <p:grpSpPr>
          <a:xfrm>
            <a:off x="5201216" y="2854435"/>
            <a:ext cx="1789565" cy="1800200"/>
            <a:chOff x="5201216" y="2329044"/>
            <a:chExt cx="1789565" cy="1800200"/>
          </a:xfrm>
        </p:grpSpPr>
        <p:grpSp>
          <p:nvGrpSpPr>
            <p:cNvPr id="5" name="组合 4"/>
            <p:cNvGrpSpPr/>
            <p:nvPr/>
          </p:nvGrpSpPr>
          <p:grpSpPr>
            <a:xfrm>
              <a:off x="5201216" y="2329044"/>
              <a:ext cx="1789565" cy="1800200"/>
              <a:chOff x="6431172" y="2175269"/>
              <a:chExt cx="1789565" cy="1800200"/>
            </a:xfrm>
          </p:grpSpPr>
          <p:grpSp>
            <p:nvGrpSpPr>
              <p:cNvPr id="45" name="组合 104"/>
              <p:cNvGrpSpPr/>
              <p:nvPr/>
            </p:nvGrpSpPr>
            <p:grpSpPr bwMode="auto">
              <a:xfrm>
                <a:off x="6431172" y="2175269"/>
                <a:ext cx="1789565" cy="1800200"/>
                <a:chOff x="6293048" y="1841195"/>
                <a:chExt cx="2722909" cy="2738041"/>
              </a:xfrm>
            </p:grpSpPr>
            <p:sp>
              <p:nvSpPr>
                <p:cNvPr id="47" name="Oval 504"/>
                <p:cNvSpPr>
                  <a:spLocks noChangeAspect="1" noChangeArrowheads="1"/>
                </p:cNvSpPr>
                <p:nvPr>
                  <p:custDataLst>
                    <p:tags r:id="rId16"/>
                  </p:custDataLst>
                </p:nvPr>
              </p:nvSpPr>
              <p:spPr bwMode="auto">
                <a:xfrm>
                  <a:off x="6293048" y="1843087"/>
                  <a:ext cx="2722909" cy="2736149"/>
                </a:xfrm>
                <a:prstGeom prst="ellipse">
                  <a:avLst/>
                </a:prstGeom>
                <a:gradFill rotWithShape="1">
                  <a:gsLst>
                    <a:gs pos="0">
                      <a:srgbClr val="0099CC"/>
                    </a:gs>
                    <a:gs pos="100000">
                      <a:srgbClr val="007DA7"/>
                    </a:gs>
                  </a:gsLst>
                  <a:lin ang="5400000" scaled="1"/>
                </a:gradFill>
                <a:ln w="9525">
                  <a:no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rgbClr val="FFFFFF"/>
                    </a:solidFill>
                    <a:effectLst/>
                    <a:uLnTx/>
                    <a:uFillTx/>
                    <a:latin typeface="Arial Black" panose="020B0A04020102020204" pitchFamily="34" charset="0"/>
                    <a:ea typeface="楷体_GB2312" pitchFamily="49" charset="-122"/>
                  </a:endParaRPr>
                </a:p>
              </p:txBody>
            </p:sp>
            <p:sp>
              <p:nvSpPr>
                <p:cNvPr id="48" name="Oval 505"/>
                <p:cNvSpPr>
                  <a:spLocks noChangeAspect="1" noChangeArrowheads="1"/>
                </p:cNvSpPr>
                <p:nvPr>
                  <p:custDataLst>
                    <p:tags r:id="rId17"/>
                  </p:custDataLst>
                </p:nvPr>
              </p:nvSpPr>
              <p:spPr bwMode="auto">
                <a:xfrm>
                  <a:off x="6300192" y="1841195"/>
                  <a:ext cx="2715006" cy="2736000"/>
                </a:xfrm>
                <a:prstGeom prst="ellipse">
                  <a:avLst/>
                </a:prstGeom>
                <a:gradFill rotWithShape="1">
                  <a:gsLst>
                    <a:gs pos="0">
                      <a:srgbClr val="FFFFFF">
                        <a:alpha val="50000"/>
                      </a:srgbClr>
                    </a:gs>
                    <a:gs pos="100000">
                      <a:srgbClr val="000000">
                        <a:alpha val="0"/>
                      </a:srgbClr>
                    </a:gs>
                  </a:gsLst>
                  <a:path path="shape">
                    <a:fillToRect l="50000" t="50000" r="50000" b="50000"/>
                  </a:path>
                </a:gradFill>
                <a:ln w="9525">
                  <a:no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ysClr val="windowText" lastClr="000000"/>
                    </a:solidFill>
                    <a:effectLst/>
                    <a:uLnTx/>
                    <a:uFillTx/>
                    <a:ea typeface="楷体_GB2312" pitchFamily="49" charset="-122"/>
                  </a:endParaRPr>
                </a:p>
              </p:txBody>
            </p:sp>
            <p:sp>
              <p:nvSpPr>
                <p:cNvPr id="49" name="Oval 504"/>
                <p:cNvSpPr>
                  <a:spLocks noChangeAspect="1" noChangeArrowheads="1"/>
                </p:cNvSpPr>
                <p:nvPr>
                  <p:custDataLst>
                    <p:tags r:id="rId18"/>
                  </p:custDataLst>
                </p:nvPr>
              </p:nvSpPr>
              <p:spPr bwMode="auto">
                <a:xfrm>
                  <a:off x="6399425" y="1943074"/>
                  <a:ext cx="2506981" cy="2520305"/>
                </a:xfrm>
                <a:prstGeom prst="ellipse">
                  <a:avLst/>
                </a:prstGeom>
                <a:noFill/>
                <a:ln w="25400">
                  <a:solidFill>
                    <a:srgbClr val="BBE0E3"/>
                  </a:solid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1800" b="0" i="0" u="none" strike="noStrike" kern="0" cap="none" spc="0" normalizeH="0" baseline="0" noProof="0">
                    <a:ln>
                      <a:noFill/>
                    </a:ln>
                    <a:solidFill>
                      <a:srgbClr val="FFFFFF"/>
                    </a:solidFill>
                    <a:effectLst/>
                    <a:uLnTx/>
                    <a:uFillTx/>
                    <a:latin typeface="Arial Black" panose="020B0A04020102020204" pitchFamily="34" charset="0"/>
                    <a:ea typeface="楷体_GB2312" pitchFamily="49" charset="-122"/>
                  </a:endParaRPr>
                </a:p>
              </p:txBody>
            </p:sp>
          </p:grpSp>
          <p:pic>
            <p:nvPicPr>
              <p:cNvPr id="24" name="IB交换机.jpg" descr="IB交换机.jpg"/>
              <p:cNvPicPr>
                <a:picLocks noChangeAspect="1"/>
              </p:cNvPicPr>
              <p:nvPr>
                <p:custDataLst>
                  <p:tags r:id="rId19"/>
                </p:custDataLst>
              </p:nvPr>
            </p:nvPicPr>
            <p:blipFill>
              <a:blip r:embed="rId20"/>
              <a:stretch>
                <a:fillRect/>
              </a:stretch>
            </p:blipFill>
            <p:spPr>
              <a:xfrm>
                <a:off x="6585923" y="3179296"/>
                <a:ext cx="1476547" cy="151200"/>
              </a:xfrm>
              <a:prstGeom prst="rect">
                <a:avLst/>
              </a:prstGeom>
              <a:ln w="3175" cap="flat">
                <a:noFill/>
                <a:miter lim="400000"/>
                <a:headEnd/>
                <a:tailEnd/>
              </a:ln>
              <a:effectLst>
                <a:outerShdw blurRad="88900" dist="38100" dir="5400000" rotWithShape="0">
                  <a:srgbClr val="000000">
                    <a:alpha val="70000"/>
                  </a:srgbClr>
                </a:outerShdw>
              </a:effectLst>
            </p:spPr>
          </p:pic>
        </p:grpSp>
        <p:pic>
          <p:nvPicPr>
            <p:cNvPr id="7" name="Picture 2" descr="\\Mac\Home\Desktop\IB卡.png"/>
            <p:cNvPicPr>
              <a:picLocks noChangeAspect="1" noChangeArrowheads="1"/>
            </p:cNvPicPr>
            <p:nvPr>
              <p:custDataLst>
                <p:tags r:id="rId21"/>
              </p:custDataLst>
            </p:nvPr>
          </p:nvPicPr>
          <p:blipFill>
            <a:blip r:embed="rId22">
              <a:extLst>
                <a:ext uri="{28A0092B-C50C-407E-A947-70E740481C1C}">
                  <a14:useLocalDpi xmlns:a14="http://schemas.microsoft.com/office/drawing/2010/main" val="0"/>
                </a:ext>
              </a:extLst>
            </a:blip>
            <a:srcRect/>
            <a:stretch>
              <a:fillRect/>
            </a:stretch>
          </p:blipFill>
          <p:spPr bwMode="auto">
            <a:xfrm>
              <a:off x="5565405" y="2732036"/>
              <a:ext cx="576263" cy="657225"/>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Mac\Home\Desktop\IB线.png"/>
            <p:cNvPicPr>
              <a:picLocks noChangeAspect="1" noChangeArrowheads="1"/>
            </p:cNvPicPr>
            <p:nvPr>
              <p:custDataLst>
                <p:tags r:id="rId23"/>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6179713" y="3031868"/>
              <a:ext cx="631535" cy="228978"/>
            </a:xfrm>
            <a:prstGeom prst="rect">
              <a:avLst/>
            </a:prstGeom>
            <a:noFill/>
            <a:extLst>
              <a:ext uri="{909E8E84-426E-40DD-AFC4-6F175D3DCCD1}">
                <a14:hiddenFill xmlns:a14="http://schemas.microsoft.com/office/drawing/2010/main">
                  <a:solidFill>
                    <a:srgbClr val="FFFFFF"/>
                  </a:solidFill>
                </a14:hiddenFill>
              </a:ext>
            </a:extLst>
          </p:spPr>
        </p:pic>
      </p:grpSp>
      <p:pic>
        <p:nvPicPr>
          <p:cNvPr id="8" name="图片 7" descr="111"/>
          <p:cNvPicPr>
            <a:picLocks noChangeAspect="1"/>
          </p:cNvPicPr>
          <p:nvPr>
            <p:custDataLst>
              <p:tags r:id="rId25"/>
            </p:custDataLst>
          </p:nvPr>
        </p:nvPicPr>
        <p:blipFill>
          <a:blip r:embed="rId26"/>
          <a:stretch>
            <a:fillRect/>
          </a:stretch>
        </p:blipFill>
        <p:spPr>
          <a:xfrm>
            <a:off x="1858010" y="3404870"/>
            <a:ext cx="1024255" cy="993140"/>
          </a:xfrm>
          <a:prstGeom prst="rect">
            <a:avLst/>
          </a:prstGeom>
        </p:spPr>
      </p:pic>
    </p:spTree>
  </p:cSld>
  <p:clrMapOvr>
    <a:masterClrMapping/>
  </p:clrMapOvr>
</p:sld>
</file>

<file path=ppt/tags/tag1.xml><?xml version="1.0" encoding="utf-8"?>
<p:tagLst xmlns:p="http://schemas.openxmlformats.org/presentationml/2006/main">
  <p:tag name="KSO_WM_BEAUTIFY_FLAG" val=""/>
</p:tagLst>
</file>

<file path=ppt/tags/tag10.xml><?xml version="1.0" encoding="utf-8"?>
<p:tagLst xmlns:p="http://schemas.openxmlformats.org/presentationml/2006/main">
  <p:tag name="KSO_WM_BEAUTIFY_FLAG" val=""/>
</p:tagLst>
</file>

<file path=ppt/tags/tag100.xml><?xml version="1.0" encoding="utf-8"?>
<p:tagLst xmlns:p="http://schemas.openxmlformats.org/presentationml/2006/main">
  <p:tag name="KSO_WM_BEAUTIFY_FLAG" val=""/>
</p:tagLst>
</file>

<file path=ppt/tags/tag101.xml><?xml version="1.0" encoding="utf-8"?>
<p:tagLst xmlns:p="http://schemas.openxmlformats.org/presentationml/2006/main">
  <p:tag name="KSO_WM_BEAUTIFY_FLAG" val=""/>
</p:tagLst>
</file>

<file path=ppt/tags/tag102.xml><?xml version="1.0" encoding="utf-8"?>
<p:tagLst xmlns:p="http://schemas.openxmlformats.org/presentationml/2006/main">
  <p:tag name="KSO_WM_BEAUTIFY_FLAG" val=""/>
</p:tagLst>
</file>

<file path=ppt/tags/tag103.xml><?xml version="1.0" encoding="utf-8"?>
<p:tagLst xmlns:p="http://schemas.openxmlformats.org/presentationml/2006/main">
  <p:tag name="KSO_WM_BEAUTIFY_FLAG" val=""/>
</p:tagLst>
</file>

<file path=ppt/tags/tag104.xml><?xml version="1.0" encoding="utf-8"?>
<p:tagLst xmlns:p="http://schemas.openxmlformats.org/presentationml/2006/main">
  <p:tag name="KSO_WM_BEAUTIFY_FLAG" val=""/>
</p:tagLst>
</file>

<file path=ppt/tags/tag105.xml><?xml version="1.0" encoding="utf-8"?>
<p:tagLst xmlns:p="http://schemas.openxmlformats.org/presentationml/2006/main">
  <p:tag name="KSO_WM_BEAUTIFY_FLAG" val=""/>
</p:tagLst>
</file>

<file path=ppt/tags/tag106.xml><?xml version="1.0" encoding="utf-8"?>
<p:tagLst xmlns:p="http://schemas.openxmlformats.org/presentationml/2006/main">
  <p:tag name="KSO_WM_BEAUTIFY_FLAG" val=""/>
</p:tagLst>
</file>

<file path=ppt/tags/tag107.xml><?xml version="1.0" encoding="utf-8"?>
<p:tagLst xmlns:p="http://schemas.openxmlformats.org/presentationml/2006/main">
  <p:tag name="KSO_WM_BEAUTIFY_FLAG" val=""/>
</p:tagLst>
</file>

<file path=ppt/tags/tag108.xml><?xml version="1.0" encoding="utf-8"?>
<p:tagLst xmlns:p="http://schemas.openxmlformats.org/presentationml/2006/main">
  <p:tag name="KSO_WM_BEAUTIFY_FLAG" val=""/>
</p:tagLst>
</file>

<file path=ppt/tags/tag109.xml><?xml version="1.0" encoding="utf-8"?>
<p:tagLst xmlns:p="http://schemas.openxmlformats.org/presentationml/2006/main">
  <p:tag name="KSO_WM_BEAUTIFY_FLAG" val=""/>
</p:tagLst>
</file>

<file path=ppt/tags/tag11.xml><?xml version="1.0" encoding="utf-8"?>
<p:tagLst xmlns:p="http://schemas.openxmlformats.org/presentationml/2006/main">
  <p:tag name="KSO_WM_BEAUTIFY_FLAG" val=""/>
</p:tagLst>
</file>

<file path=ppt/tags/tag110.xml><?xml version="1.0" encoding="utf-8"?>
<p:tagLst xmlns:p="http://schemas.openxmlformats.org/presentationml/2006/main">
  <p:tag name="KSO_WM_BEAUTIFY_FLAG" val=""/>
</p:tagLst>
</file>

<file path=ppt/tags/tag111.xml><?xml version="1.0" encoding="utf-8"?>
<p:tagLst xmlns:p="http://schemas.openxmlformats.org/presentationml/2006/main">
  <p:tag name="KSO_WM_BEAUTIFY_FLAG" val=""/>
</p:tagLst>
</file>

<file path=ppt/tags/tag112.xml><?xml version="1.0" encoding="utf-8"?>
<p:tagLst xmlns:p="http://schemas.openxmlformats.org/presentationml/2006/main">
  <p:tag name="KSO_WM_BEAUTIFY_FLAG" val=""/>
</p:tagLst>
</file>

<file path=ppt/tags/tag113.xml><?xml version="1.0" encoding="utf-8"?>
<p:tagLst xmlns:p="http://schemas.openxmlformats.org/presentationml/2006/main">
  <p:tag name="KSO_WM_BEAUTIFY_FLAG" val=""/>
</p:tagLst>
</file>

<file path=ppt/tags/tag114.xml><?xml version="1.0" encoding="utf-8"?>
<p:tagLst xmlns:p="http://schemas.openxmlformats.org/presentationml/2006/main">
  <p:tag name="KSO_WM_BEAUTIFY_FLAG" val=""/>
</p:tagLst>
</file>

<file path=ppt/tags/tag115.xml><?xml version="1.0" encoding="utf-8"?>
<p:tagLst xmlns:p="http://schemas.openxmlformats.org/presentationml/2006/main">
  <p:tag name="KSO_WM_BEAUTIFY_FLAG" val=""/>
</p:tagLst>
</file>

<file path=ppt/tags/tag116.xml><?xml version="1.0" encoding="utf-8"?>
<p:tagLst xmlns:p="http://schemas.openxmlformats.org/presentationml/2006/main">
  <p:tag name="KSO_WM_BEAUTIFY_FLAG" val=""/>
</p:tagLst>
</file>

<file path=ppt/tags/tag117.xml><?xml version="1.0" encoding="utf-8"?>
<p:tagLst xmlns:p="http://schemas.openxmlformats.org/presentationml/2006/main">
  <p:tag name="KSO_WM_BEAUTIFY_FLAG" val=""/>
</p:tagLst>
</file>

<file path=ppt/tags/tag118.xml><?xml version="1.0" encoding="utf-8"?>
<p:tagLst xmlns:p="http://schemas.openxmlformats.org/presentationml/2006/main">
  <p:tag name="KSO_WM_BEAUTIFY_FLAG" val=""/>
</p:tagLst>
</file>

<file path=ppt/tags/tag119.xml><?xml version="1.0" encoding="utf-8"?>
<p:tagLst xmlns:p="http://schemas.openxmlformats.org/presentationml/2006/main">
  <p:tag name="KSO_WM_BEAUTIFY_FLAG" val=""/>
</p:tagLst>
</file>

<file path=ppt/tags/tag12.xml><?xml version="1.0" encoding="utf-8"?>
<p:tagLst xmlns:p="http://schemas.openxmlformats.org/presentationml/2006/main">
  <p:tag name="KSO_WM_BEAUTIFY_FLAG" val=""/>
</p:tagLst>
</file>

<file path=ppt/tags/tag120.xml><?xml version="1.0" encoding="utf-8"?>
<p:tagLst xmlns:p="http://schemas.openxmlformats.org/presentationml/2006/main">
  <p:tag name="KSO_WM_BEAUTIFY_FLAG" val=""/>
</p:tagLst>
</file>

<file path=ppt/tags/tag121.xml><?xml version="1.0" encoding="utf-8"?>
<p:tagLst xmlns:p="http://schemas.openxmlformats.org/presentationml/2006/main">
  <p:tag name="KSO_WM_BEAUTIFY_FLAG" val=""/>
</p:tagLst>
</file>

<file path=ppt/tags/tag122.xml><?xml version="1.0" encoding="utf-8"?>
<p:tagLst xmlns:p="http://schemas.openxmlformats.org/presentationml/2006/main">
  <p:tag name="KSO_WM_BEAUTIFY_FLAG" val=""/>
</p:tagLst>
</file>

<file path=ppt/tags/tag123.xml><?xml version="1.0" encoding="utf-8"?>
<p:tagLst xmlns:p="http://schemas.openxmlformats.org/presentationml/2006/main">
  <p:tag name="KSO_WM_BEAUTIFY_FLAG" val=""/>
</p:tagLst>
</file>

<file path=ppt/tags/tag124.xml><?xml version="1.0" encoding="utf-8"?>
<p:tagLst xmlns:p="http://schemas.openxmlformats.org/presentationml/2006/main">
  <p:tag name="KSO_WM_BEAUTIFY_FLAG" val=""/>
</p:tagLst>
</file>

<file path=ppt/tags/tag125.xml><?xml version="1.0" encoding="utf-8"?>
<p:tagLst xmlns:p="http://schemas.openxmlformats.org/presentationml/2006/main">
  <p:tag name="KSO_WM_BEAUTIFY_FLAG" val=""/>
</p:tagLst>
</file>

<file path=ppt/tags/tag126.xml><?xml version="1.0" encoding="utf-8"?>
<p:tagLst xmlns:p="http://schemas.openxmlformats.org/presentationml/2006/main">
  <p:tag name="KSO_WM_BEAUTIFY_FLAG" val=""/>
</p:tagLst>
</file>

<file path=ppt/tags/tag127.xml><?xml version="1.0" encoding="utf-8"?>
<p:tagLst xmlns:p="http://schemas.openxmlformats.org/presentationml/2006/main">
  <p:tag name="KSO_WM_BEAUTIFY_FLAG" val=""/>
</p:tagLst>
</file>

<file path=ppt/tags/tag128.xml><?xml version="1.0" encoding="utf-8"?>
<p:tagLst xmlns:p="http://schemas.openxmlformats.org/presentationml/2006/main">
  <p:tag name="KSO_WM_BEAUTIFY_FLAG" val=""/>
</p:tagLst>
</file>

<file path=ppt/tags/tag129.xml><?xml version="1.0" encoding="utf-8"?>
<p:tagLst xmlns:p="http://schemas.openxmlformats.org/presentationml/2006/main">
  <p:tag name="KSO_WM_BEAUTIFY_FLAG" val=""/>
</p:tagLst>
</file>

<file path=ppt/tags/tag13.xml><?xml version="1.0" encoding="utf-8"?>
<p:tagLst xmlns:p="http://schemas.openxmlformats.org/presentationml/2006/main">
  <p:tag name="KSO_WM_BEAUTIFY_FLAG" val=""/>
</p:tagLst>
</file>

<file path=ppt/tags/tag130.xml><?xml version="1.0" encoding="utf-8"?>
<p:tagLst xmlns:p="http://schemas.openxmlformats.org/presentationml/2006/main">
  <p:tag name="KSO_WM_BEAUTIFY_FLAG" val=""/>
</p:tagLst>
</file>

<file path=ppt/tags/tag131.xml><?xml version="1.0" encoding="utf-8"?>
<p:tagLst xmlns:p="http://schemas.openxmlformats.org/presentationml/2006/main">
  <p:tag name="KSO_WM_BEAUTIFY_FLAG" val=""/>
</p:tagLst>
</file>

<file path=ppt/tags/tag132.xml><?xml version="1.0" encoding="utf-8"?>
<p:tagLst xmlns:p="http://schemas.openxmlformats.org/presentationml/2006/main">
  <p:tag name="KSO_WM_BEAUTIFY_FLAG" val=""/>
</p:tagLst>
</file>

<file path=ppt/tags/tag133.xml><?xml version="1.0" encoding="utf-8"?>
<p:tagLst xmlns:p="http://schemas.openxmlformats.org/presentationml/2006/main">
  <p:tag name="KSO_WM_BEAUTIFY_FLAG" val=""/>
</p:tagLst>
</file>

<file path=ppt/tags/tag134.xml><?xml version="1.0" encoding="utf-8"?>
<p:tagLst xmlns:p="http://schemas.openxmlformats.org/presentationml/2006/main">
  <p:tag name="KSO_WM_BEAUTIFY_FLAG" val=""/>
</p:tagLst>
</file>

<file path=ppt/tags/tag135.xml><?xml version="1.0" encoding="utf-8"?>
<p:tagLst xmlns:p="http://schemas.openxmlformats.org/presentationml/2006/main">
  <p:tag name="KSO_WM_BEAUTIFY_FLAG" val=""/>
</p:tagLst>
</file>

<file path=ppt/tags/tag136.xml><?xml version="1.0" encoding="utf-8"?>
<p:tagLst xmlns:p="http://schemas.openxmlformats.org/presentationml/2006/main">
  <p:tag name="KSO_WM_BEAUTIFY_FLAG" val=""/>
</p:tagLst>
</file>

<file path=ppt/tags/tag137.xml><?xml version="1.0" encoding="utf-8"?>
<p:tagLst xmlns:p="http://schemas.openxmlformats.org/presentationml/2006/main">
  <p:tag name="KSO_WM_BEAUTIFY_FLAG" val=""/>
</p:tagLst>
</file>

<file path=ppt/tags/tag138.xml><?xml version="1.0" encoding="utf-8"?>
<p:tagLst xmlns:p="http://schemas.openxmlformats.org/presentationml/2006/main">
  <p:tag name="KSO_WM_BEAUTIFY_FLAG" val=""/>
</p:tagLst>
</file>

<file path=ppt/tags/tag139.xml><?xml version="1.0" encoding="utf-8"?>
<p:tagLst xmlns:p="http://schemas.openxmlformats.org/presentationml/2006/main">
  <p:tag name="KSO_WM_BEAUTIFY_FLAG" val=""/>
</p:tagLst>
</file>

<file path=ppt/tags/tag14.xml><?xml version="1.0" encoding="utf-8"?>
<p:tagLst xmlns:p="http://schemas.openxmlformats.org/presentationml/2006/main">
  <p:tag name="KSO_WM_BEAUTIFY_FLAG" val=""/>
</p:tagLst>
</file>

<file path=ppt/tags/tag140.xml><?xml version="1.0" encoding="utf-8"?>
<p:tagLst xmlns:p="http://schemas.openxmlformats.org/presentationml/2006/main">
  <p:tag name="KSO_WM_BEAUTIFY_FLAG" val=""/>
</p:tagLst>
</file>

<file path=ppt/tags/tag141.xml><?xml version="1.0" encoding="utf-8"?>
<p:tagLst xmlns:p="http://schemas.openxmlformats.org/presentationml/2006/main">
  <p:tag name="KSO_WM_BEAUTIFY_FLAG" val=""/>
</p:tagLst>
</file>

<file path=ppt/tags/tag142.xml><?xml version="1.0" encoding="utf-8"?>
<p:tagLst xmlns:p="http://schemas.openxmlformats.org/presentationml/2006/main">
  <p:tag name="KSO_WM_BEAUTIFY_FLAG" val=""/>
</p:tagLst>
</file>

<file path=ppt/tags/tag143.xml><?xml version="1.0" encoding="utf-8"?>
<p:tagLst xmlns:p="http://schemas.openxmlformats.org/presentationml/2006/main">
  <p:tag name="KSO_WM_BEAUTIFY_FLAG" val=""/>
</p:tagLst>
</file>

<file path=ppt/tags/tag144.xml><?xml version="1.0" encoding="utf-8"?>
<p:tagLst xmlns:p="http://schemas.openxmlformats.org/presentationml/2006/main">
  <p:tag name="KSO_WM_BEAUTIFY_FLAG" val=""/>
</p:tagLst>
</file>

<file path=ppt/tags/tag145.xml><?xml version="1.0" encoding="utf-8"?>
<p:tagLst xmlns:p="http://schemas.openxmlformats.org/presentationml/2006/main">
  <p:tag name="KSO_WM_BEAUTIFY_FLAG" val=""/>
</p:tagLst>
</file>

<file path=ppt/tags/tag146.xml><?xml version="1.0" encoding="utf-8"?>
<p:tagLst xmlns:p="http://schemas.openxmlformats.org/presentationml/2006/main">
  <p:tag name="KSO_WM_BEAUTIFY_FLAG" val=""/>
</p:tagLst>
</file>

<file path=ppt/tags/tag147.xml><?xml version="1.0" encoding="utf-8"?>
<p:tagLst xmlns:p="http://schemas.openxmlformats.org/presentationml/2006/main">
  <p:tag name="KSO_WM_BEAUTIFY_FLAG" val=""/>
</p:tagLst>
</file>

<file path=ppt/tags/tag148.xml><?xml version="1.0" encoding="utf-8"?>
<p:tagLst xmlns:p="http://schemas.openxmlformats.org/presentationml/2006/main">
  <p:tag name="KSO_WM_BEAUTIFY_FLAG" val=""/>
</p:tagLst>
</file>

<file path=ppt/tags/tag149.xml><?xml version="1.0" encoding="utf-8"?>
<p:tagLst xmlns:p="http://schemas.openxmlformats.org/presentationml/2006/main">
  <p:tag name="KSO_WM_BEAUTIFY_FLAG" val=""/>
</p:tagLst>
</file>

<file path=ppt/tags/tag15.xml><?xml version="1.0" encoding="utf-8"?>
<p:tagLst xmlns:p="http://schemas.openxmlformats.org/presentationml/2006/main">
  <p:tag name="KSO_WM_BEAUTIFY_FLAG" val=""/>
</p:tagLst>
</file>

<file path=ppt/tags/tag150.xml><?xml version="1.0" encoding="utf-8"?>
<p:tagLst xmlns:p="http://schemas.openxmlformats.org/presentationml/2006/main">
  <p:tag name="KSO_WM_BEAUTIFY_FLAG" val=""/>
</p:tagLst>
</file>

<file path=ppt/tags/tag151.xml><?xml version="1.0" encoding="utf-8"?>
<p:tagLst xmlns:p="http://schemas.openxmlformats.org/presentationml/2006/main">
  <p:tag name="KSO_WM_BEAUTIFY_FLAG" val=""/>
</p:tagLst>
</file>

<file path=ppt/tags/tag152.xml><?xml version="1.0" encoding="utf-8"?>
<p:tagLst xmlns:p="http://schemas.openxmlformats.org/presentationml/2006/main">
  <p:tag name="KSO_WM_BEAUTIFY_FLAG" val=""/>
</p:tagLst>
</file>

<file path=ppt/tags/tag153.xml><?xml version="1.0" encoding="utf-8"?>
<p:tagLst xmlns:p="http://schemas.openxmlformats.org/presentationml/2006/main">
  <p:tag name="KSO_WM_BEAUTIFY_FLAG" val=""/>
</p:tagLst>
</file>

<file path=ppt/tags/tag154.xml><?xml version="1.0" encoding="utf-8"?>
<p:tagLst xmlns:p="http://schemas.openxmlformats.org/presentationml/2006/main">
  <p:tag name="KSO_WM_BEAUTIFY_FLAG" val=""/>
</p:tagLst>
</file>

<file path=ppt/tags/tag155.xml><?xml version="1.0" encoding="utf-8"?>
<p:tagLst xmlns:p="http://schemas.openxmlformats.org/presentationml/2006/main">
  <p:tag name="KSO_WM_BEAUTIFY_FLAG" val=""/>
</p:tagLst>
</file>

<file path=ppt/tags/tag156.xml><?xml version="1.0" encoding="utf-8"?>
<p:tagLst xmlns:p="http://schemas.openxmlformats.org/presentationml/2006/main">
  <p:tag name="KSO_WM_BEAUTIFY_FLAG" val=""/>
</p:tagLst>
</file>

<file path=ppt/tags/tag157.xml><?xml version="1.0" encoding="utf-8"?>
<p:tagLst xmlns:p="http://schemas.openxmlformats.org/presentationml/2006/main">
  <p:tag name="KSO_WM_BEAUTIFY_FLAG" val=""/>
</p:tagLst>
</file>

<file path=ppt/tags/tag158.xml><?xml version="1.0" encoding="utf-8"?>
<p:tagLst xmlns:p="http://schemas.openxmlformats.org/presentationml/2006/main">
  <p:tag name="KSO_WM_BEAUTIFY_FLAG" val=""/>
</p:tagLst>
</file>

<file path=ppt/tags/tag159.xml><?xml version="1.0" encoding="utf-8"?>
<p:tagLst xmlns:p="http://schemas.openxmlformats.org/presentationml/2006/main">
  <p:tag name="KSO_WM_BEAUTIFY_FLAG" val=""/>
</p:tagLst>
</file>

<file path=ppt/tags/tag16.xml><?xml version="1.0" encoding="utf-8"?>
<p:tagLst xmlns:p="http://schemas.openxmlformats.org/presentationml/2006/main">
  <p:tag name="KSO_WM_BEAUTIFY_FLAG" val=""/>
</p:tagLst>
</file>

<file path=ppt/tags/tag160.xml><?xml version="1.0" encoding="utf-8"?>
<p:tagLst xmlns:p="http://schemas.openxmlformats.org/presentationml/2006/main">
  <p:tag name="KSO_WM_BEAUTIFY_FLAG" val=""/>
</p:tagLst>
</file>

<file path=ppt/tags/tag161.xml><?xml version="1.0" encoding="utf-8"?>
<p:tagLst xmlns:p="http://schemas.openxmlformats.org/presentationml/2006/main">
  <p:tag name="KSO_WM_BEAUTIFY_FLAG" val=""/>
</p:tagLst>
</file>

<file path=ppt/tags/tag162.xml><?xml version="1.0" encoding="utf-8"?>
<p:tagLst xmlns:p="http://schemas.openxmlformats.org/presentationml/2006/main">
  <p:tag name="KSO_WM_BEAUTIFY_FLAG" val=""/>
</p:tagLst>
</file>

<file path=ppt/tags/tag163.xml><?xml version="1.0" encoding="utf-8"?>
<p:tagLst xmlns:p="http://schemas.openxmlformats.org/presentationml/2006/main">
  <p:tag name="KSO_WM_BEAUTIFY_FLAG" val=""/>
</p:tagLst>
</file>

<file path=ppt/tags/tag164.xml><?xml version="1.0" encoding="utf-8"?>
<p:tagLst xmlns:p="http://schemas.openxmlformats.org/presentationml/2006/main">
  <p:tag name="KSO_WM_BEAUTIFY_FLAG" val=""/>
</p:tagLst>
</file>

<file path=ppt/tags/tag165.xml><?xml version="1.0" encoding="utf-8"?>
<p:tagLst xmlns:p="http://schemas.openxmlformats.org/presentationml/2006/main">
  <p:tag name="KSO_WM_BEAUTIFY_FLAG" val=""/>
</p:tagLst>
</file>

<file path=ppt/tags/tag166.xml><?xml version="1.0" encoding="utf-8"?>
<p:tagLst xmlns:p="http://schemas.openxmlformats.org/presentationml/2006/main">
  <p:tag name="KSO_WM_BEAUTIFY_FLAG" val=""/>
</p:tagLst>
</file>

<file path=ppt/tags/tag167.xml><?xml version="1.0" encoding="utf-8"?>
<p:tagLst xmlns:p="http://schemas.openxmlformats.org/presentationml/2006/main">
  <p:tag name="KSO_WM_BEAUTIFY_FLAG" val=""/>
</p:tagLst>
</file>

<file path=ppt/tags/tag168.xml><?xml version="1.0" encoding="utf-8"?>
<p:tagLst xmlns:p="http://schemas.openxmlformats.org/presentationml/2006/main">
  <p:tag name="KSO_WM_BEAUTIFY_FLAG" val=""/>
</p:tagLst>
</file>

<file path=ppt/tags/tag169.xml><?xml version="1.0" encoding="utf-8"?>
<p:tagLst xmlns:p="http://schemas.openxmlformats.org/presentationml/2006/main">
  <p:tag name="KSO_WM_BEAUTIFY_FLAG" val=""/>
</p:tagLst>
</file>

<file path=ppt/tags/tag17.xml><?xml version="1.0" encoding="utf-8"?>
<p:tagLst xmlns:p="http://schemas.openxmlformats.org/presentationml/2006/main">
  <p:tag name="KSO_WM_BEAUTIFY_FLAG" val=""/>
</p:tagLst>
</file>

<file path=ppt/tags/tag170.xml><?xml version="1.0" encoding="utf-8"?>
<p:tagLst xmlns:p="http://schemas.openxmlformats.org/presentationml/2006/main">
  <p:tag name="KSO_WM_BEAUTIFY_FLAG" val=""/>
</p:tagLst>
</file>

<file path=ppt/tags/tag171.xml><?xml version="1.0" encoding="utf-8"?>
<p:tagLst xmlns:p="http://schemas.openxmlformats.org/presentationml/2006/main">
  <p:tag name="KSO_WM_BEAUTIFY_FLAG" val=""/>
</p:tagLst>
</file>

<file path=ppt/tags/tag172.xml><?xml version="1.0" encoding="utf-8"?>
<p:tagLst xmlns:p="http://schemas.openxmlformats.org/presentationml/2006/main">
  <p:tag name="KSO_WM_BEAUTIFY_FLAG" val=""/>
</p:tagLst>
</file>

<file path=ppt/tags/tag173.xml><?xml version="1.0" encoding="utf-8"?>
<p:tagLst xmlns:p="http://schemas.openxmlformats.org/presentationml/2006/main">
  <p:tag name="KSO_WM_BEAUTIFY_FLAG" val=""/>
</p:tagLst>
</file>

<file path=ppt/tags/tag174.xml><?xml version="1.0" encoding="utf-8"?>
<p:tagLst xmlns:p="http://schemas.openxmlformats.org/presentationml/2006/main">
  <p:tag name="KSO_WM_BEAUTIFY_FLAG" val=""/>
</p:tagLst>
</file>

<file path=ppt/tags/tag175.xml><?xml version="1.0" encoding="utf-8"?>
<p:tagLst xmlns:p="http://schemas.openxmlformats.org/presentationml/2006/main">
  <p:tag name="KSO_WM_BEAUTIFY_FLAG" val=""/>
</p:tagLst>
</file>

<file path=ppt/tags/tag176.xml><?xml version="1.0" encoding="utf-8"?>
<p:tagLst xmlns:p="http://schemas.openxmlformats.org/presentationml/2006/main">
  <p:tag name="KSO_WM_BEAUTIFY_FLAG" val=""/>
</p:tagLst>
</file>

<file path=ppt/tags/tag177.xml><?xml version="1.0" encoding="utf-8"?>
<p:tagLst xmlns:p="http://schemas.openxmlformats.org/presentationml/2006/main">
  <p:tag name="KSO_WM_BEAUTIFY_FLAG" val=""/>
</p:tagLst>
</file>

<file path=ppt/tags/tag178.xml><?xml version="1.0" encoding="utf-8"?>
<p:tagLst xmlns:p="http://schemas.openxmlformats.org/presentationml/2006/main">
  <p:tag name="KSO_WM_BEAUTIFY_FLAG" val=""/>
</p:tagLst>
</file>

<file path=ppt/tags/tag179.xml><?xml version="1.0" encoding="utf-8"?>
<p:tagLst xmlns:p="http://schemas.openxmlformats.org/presentationml/2006/main">
  <p:tag name="KSO_WM_BEAUTIFY_FLAG" val=""/>
</p:tagLst>
</file>

<file path=ppt/tags/tag18.xml><?xml version="1.0" encoding="utf-8"?>
<p:tagLst xmlns:p="http://schemas.openxmlformats.org/presentationml/2006/main">
  <p:tag name="KSO_WM_BEAUTIFY_FLAG" val=""/>
</p:tagLst>
</file>

<file path=ppt/tags/tag180.xml><?xml version="1.0" encoding="utf-8"?>
<p:tagLst xmlns:p="http://schemas.openxmlformats.org/presentationml/2006/main">
  <p:tag name="KSO_WM_BEAUTIFY_FLAG" val=""/>
</p:tagLst>
</file>

<file path=ppt/tags/tag181.xml><?xml version="1.0" encoding="utf-8"?>
<p:tagLst xmlns:p="http://schemas.openxmlformats.org/presentationml/2006/main">
  <p:tag name="KSO_WM_BEAUTIFY_FLAG" val=""/>
</p:tagLst>
</file>

<file path=ppt/tags/tag182.xml><?xml version="1.0" encoding="utf-8"?>
<p:tagLst xmlns:p="http://schemas.openxmlformats.org/presentationml/2006/main">
  <p:tag name="KSO_WM_BEAUTIFY_FLAG" val=""/>
</p:tagLst>
</file>

<file path=ppt/tags/tag183.xml><?xml version="1.0" encoding="utf-8"?>
<p:tagLst xmlns:p="http://schemas.openxmlformats.org/presentationml/2006/main">
  <p:tag name="KSO_WM_BEAUTIFY_FLAG" val=""/>
</p:tagLst>
</file>

<file path=ppt/tags/tag184.xml><?xml version="1.0" encoding="utf-8"?>
<p:tagLst xmlns:p="http://schemas.openxmlformats.org/presentationml/2006/main">
  <p:tag name="KSO_WM_BEAUTIFY_FLAG" val=""/>
</p:tagLst>
</file>

<file path=ppt/tags/tag185.xml><?xml version="1.0" encoding="utf-8"?>
<p:tagLst xmlns:p="http://schemas.openxmlformats.org/presentationml/2006/main">
  <p:tag name="KSO_WM_BEAUTIFY_FLAG" val=""/>
</p:tagLst>
</file>

<file path=ppt/tags/tag186.xml><?xml version="1.0" encoding="utf-8"?>
<p:tagLst xmlns:p="http://schemas.openxmlformats.org/presentationml/2006/main">
  <p:tag name="KSO_WM_BEAUTIFY_FLAG" val=""/>
</p:tagLst>
</file>

<file path=ppt/tags/tag187.xml><?xml version="1.0" encoding="utf-8"?>
<p:tagLst xmlns:p="http://schemas.openxmlformats.org/presentationml/2006/main">
  <p:tag name="KSO_WM_BEAUTIFY_FLAG" val=""/>
</p:tagLst>
</file>

<file path=ppt/tags/tag188.xml><?xml version="1.0" encoding="utf-8"?>
<p:tagLst xmlns:p="http://schemas.openxmlformats.org/presentationml/2006/main">
  <p:tag name="KSO_WM_BEAUTIFY_FLAG" val=""/>
</p:tagLst>
</file>

<file path=ppt/tags/tag189.xml><?xml version="1.0" encoding="utf-8"?>
<p:tagLst xmlns:p="http://schemas.openxmlformats.org/presentationml/2006/main">
  <p:tag name="KSO_WM_BEAUTIFY_FLAG" val=""/>
</p:tagLst>
</file>

<file path=ppt/tags/tag19.xml><?xml version="1.0" encoding="utf-8"?>
<p:tagLst xmlns:p="http://schemas.openxmlformats.org/presentationml/2006/main">
  <p:tag name="KSO_WM_BEAUTIFY_FLAG" val=""/>
</p:tagLst>
</file>

<file path=ppt/tags/tag190.xml><?xml version="1.0" encoding="utf-8"?>
<p:tagLst xmlns:p="http://schemas.openxmlformats.org/presentationml/2006/main">
  <p:tag name="KSO_WM_BEAUTIFY_FLAG" val=""/>
</p:tagLst>
</file>

<file path=ppt/tags/tag191.xml><?xml version="1.0" encoding="utf-8"?>
<p:tagLst xmlns:p="http://schemas.openxmlformats.org/presentationml/2006/main">
  <p:tag name="KSO_WM_BEAUTIFY_FLAG" val=""/>
</p:tagLst>
</file>

<file path=ppt/tags/tag192.xml><?xml version="1.0" encoding="utf-8"?>
<p:tagLst xmlns:p="http://schemas.openxmlformats.org/presentationml/2006/main">
  <p:tag name="KSO_WM_BEAUTIFY_FLAG" val=""/>
</p:tagLst>
</file>

<file path=ppt/tags/tag193.xml><?xml version="1.0" encoding="utf-8"?>
<p:tagLst xmlns:p="http://schemas.openxmlformats.org/presentationml/2006/main">
  <p:tag name="KSO_WM_BEAUTIFY_FLAG" val=""/>
</p:tagLst>
</file>

<file path=ppt/tags/tag194.xml><?xml version="1.0" encoding="utf-8"?>
<p:tagLst xmlns:p="http://schemas.openxmlformats.org/presentationml/2006/main">
  <p:tag name="KSO_WM_BEAUTIFY_FLAG" val=""/>
</p:tagLst>
</file>

<file path=ppt/tags/tag195.xml><?xml version="1.0" encoding="utf-8"?>
<p:tagLst xmlns:p="http://schemas.openxmlformats.org/presentationml/2006/main">
  <p:tag name="KSO_WM_BEAUTIFY_FLAG" val=""/>
</p:tagLst>
</file>

<file path=ppt/tags/tag196.xml><?xml version="1.0" encoding="utf-8"?>
<p:tagLst xmlns:p="http://schemas.openxmlformats.org/presentationml/2006/main">
  <p:tag name="KSO_WM_BEAUTIFY_FLAG" val=""/>
</p:tagLst>
</file>

<file path=ppt/tags/tag197.xml><?xml version="1.0" encoding="utf-8"?>
<p:tagLst xmlns:p="http://schemas.openxmlformats.org/presentationml/2006/main">
  <p:tag name="KSO_WM_BEAUTIFY_FLAG" val=""/>
</p:tagLst>
</file>

<file path=ppt/tags/tag198.xml><?xml version="1.0" encoding="utf-8"?>
<p:tagLst xmlns:p="http://schemas.openxmlformats.org/presentationml/2006/main">
  <p:tag name="KSO_WM_BEAUTIFY_FLAG" val=""/>
</p:tagLst>
</file>

<file path=ppt/tags/tag199.xml><?xml version="1.0" encoding="utf-8"?>
<p:tagLst xmlns:p="http://schemas.openxmlformats.org/presentationml/2006/main">
  <p:tag name="KSO_WM_BEAUTIFY_FLAG" val=""/>
</p:tagLst>
</file>

<file path=ppt/tags/tag2.xml><?xml version="1.0" encoding="utf-8"?>
<p:tagLst xmlns:p="http://schemas.openxmlformats.org/presentationml/2006/main">
  <p:tag name="KSO_WM_BEAUTIFY_FLAG" val=""/>
</p:tagLst>
</file>

<file path=ppt/tags/tag20.xml><?xml version="1.0" encoding="utf-8"?>
<p:tagLst xmlns:p="http://schemas.openxmlformats.org/presentationml/2006/main">
  <p:tag name="KSO_WM_BEAUTIFY_FLAG" val=""/>
</p:tagLst>
</file>

<file path=ppt/tags/tag200.xml><?xml version="1.0" encoding="utf-8"?>
<p:tagLst xmlns:p="http://schemas.openxmlformats.org/presentationml/2006/main">
  <p:tag name="KSO_WM_BEAUTIFY_FLAG" val=""/>
</p:tagLst>
</file>

<file path=ppt/tags/tag201.xml><?xml version="1.0" encoding="utf-8"?>
<p:tagLst xmlns:p="http://schemas.openxmlformats.org/presentationml/2006/main">
  <p:tag name="KSO_WM_BEAUTIFY_FLAG" val=""/>
</p:tagLst>
</file>

<file path=ppt/tags/tag202.xml><?xml version="1.0" encoding="utf-8"?>
<p:tagLst xmlns:p="http://schemas.openxmlformats.org/presentationml/2006/main">
  <p:tag name="KSO_WM_BEAUTIFY_FLAG" val=""/>
</p:tagLst>
</file>

<file path=ppt/tags/tag203.xml><?xml version="1.0" encoding="utf-8"?>
<p:tagLst xmlns:p="http://schemas.openxmlformats.org/presentationml/2006/main">
  <p:tag name="KSO_WM_BEAUTIFY_FLAG" val=""/>
</p:tagLst>
</file>

<file path=ppt/tags/tag204.xml><?xml version="1.0" encoding="utf-8"?>
<p:tagLst xmlns:p="http://schemas.openxmlformats.org/presentationml/2006/main">
  <p:tag name="KSO_WM_BEAUTIFY_FLAG" val=""/>
</p:tagLst>
</file>

<file path=ppt/tags/tag205.xml><?xml version="1.0" encoding="utf-8"?>
<p:tagLst xmlns:p="http://schemas.openxmlformats.org/presentationml/2006/main">
  <p:tag name="KSO_WM_BEAUTIFY_FLAG" val=""/>
</p:tagLst>
</file>

<file path=ppt/tags/tag206.xml><?xml version="1.0" encoding="utf-8"?>
<p:tagLst xmlns:p="http://schemas.openxmlformats.org/presentationml/2006/main">
  <p:tag name="KSO_WM_BEAUTIFY_FLAG" val=""/>
</p:tagLst>
</file>

<file path=ppt/tags/tag207.xml><?xml version="1.0" encoding="utf-8"?>
<p:tagLst xmlns:p="http://schemas.openxmlformats.org/presentationml/2006/main">
  <p:tag name="KSO_WM_BEAUTIFY_FLAG" val=""/>
</p:tagLst>
</file>

<file path=ppt/tags/tag208.xml><?xml version="1.0" encoding="utf-8"?>
<p:tagLst xmlns:p="http://schemas.openxmlformats.org/presentationml/2006/main">
  <p:tag name="KSO_WM_BEAUTIFY_FLAG" val=""/>
</p:tagLst>
</file>

<file path=ppt/tags/tag209.xml><?xml version="1.0" encoding="utf-8"?>
<p:tagLst xmlns:p="http://schemas.openxmlformats.org/presentationml/2006/main">
  <p:tag name="KSO_WM_BEAUTIFY_FLAG" val=""/>
</p:tagLst>
</file>

<file path=ppt/tags/tag21.xml><?xml version="1.0" encoding="utf-8"?>
<p:tagLst xmlns:p="http://schemas.openxmlformats.org/presentationml/2006/main">
  <p:tag name="KSO_WM_BEAUTIFY_FLAG" val=""/>
</p:tagLst>
</file>

<file path=ppt/tags/tag210.xml><?xml version="1.0" encoding="utf-8"?>
<p:tagLst xmlns:p="http://schemas.openxmlformats.org/presentationml/2006/main">
  <p:tag name="KSO_WM_BEAUTIFY_FLAG" val=""/>
</p:tagLst>
</file>

<file path=ppt/tags/tag211.xml><?xml version="1.0" encoding="utf-8"?>
<p:tagLst xmlns:p="http://schemas.openxmlformats.org/presentationml/2006/main">
  <p:tag name="KSO_WM_BEAUTIFY_FLAG" val=""/>
</p:tagLst>
</file>

<file path=ppt/tags/tag212.xml><?xml version="1.0" encoding="utf-8"?>
<p:tagLst xmlns:p="http://schemas.openxmlformats.org/presentationml/2006/main">
  <p:tag name="KSO_WM_BEAUTIFY_FLAG" val=""/>
</p:tagLst>
</file>

<file path=ppt/tags/tag213.xml><?xml version="1.0" encoding="utf-8"?>
<p:tagLst xmlns:p="http://schemas.openxmlformats.org/presentationml/2006/main">
  <p:tag name="KSO_WM_BEAUTIFY_FLAG" val=""/>
</p:tagLst>
</file>

<file path=ppt/tags/tag214.xml><?xml version="1.0" encoding="utf-8"?>
<p:tagLst xmlns:p="http://schemas.openxmlformats.org/presentationml/2006/main">
  <p:tag name="KSO_WM_BEAUTIFY_FLAG" val=""/>
</p:tagLst>
</file>

<file path=ppt/tags/tag215.xml><?xml version="1.0" encoding="utf-8"?>
<p:tagLst xmlns:p="http://schemas.openxmlformats.org/presentationml/2006/main">
  <p:tag name="KSO_WM_BEAUTIFY_FLAG" val=""/>
</p:tagLst>
</file>

<file path=ppt/tags/tag216.xml><?xml version="1.0" encoding="utf-8"?>
<p:tagLst xmlns:p="http://schemas.openxmlformats.org/presentationml/2006/main">
  <p:tag name="KSO_WM_BEAUTIFY_FLAG" val=""/>
</p:tagLst>
</file>

<file path=ppt/tags/tag217.xml><?xml version="1.0" encoding="utf-8"?>
<p:tagLst xmlns:p="http://schemas.openxmlformats.org/presentationml/2006/main">
  <p:tag name="KSO_WM_BEAUTIFY_FLAG" val=""/>
</p:tagLst>
</file>

<file path=ppt/tags/tag218.xml><?xml version="1.0" encoding="utf-8"?>
<p:tagLst xmlns:p="http://schemas.openxmlformats.org/presentationml/2006/main">
  <p:tag name="KSO_WM_BEAUTIFY_FLAG" val=""/>
</p:tagLst>
</file>

<file path=ppt/tags/tag219.xml><?xml version="1.0" encoding="utf-8"?>
<p:tagLst xmlns:p="http://schemas.openxmlformats.org/presentationml/2006/main">
  <p:tag name="KSO_WM_BEAUTIFY_FLAG" val=""/>
</p:tagLst>
</file>

<file path=ppt/tags/tag22.xml><?xml version="1.0" encoding="utf-8"?>
<p:tagLst xmlns:p="http://schemas.openxmlformats.org/presentationml/2006/main">
  <p:tag name="KSO_WM_BEAUTIFY_FLAG" val=""/>
</p:tagLst>
</file>

<file path=ppt/tags/tag220.xml><?xml version="1.0" encoding="utf-8"?>
<p:tagLst xmlns:p="http://schemas.openxmlformats.org/presentationml/2006/main">
  <p:tag name="KSO_WM_BEAUTIFY_FLAG" val=""/>
</p:tagLst>
</file>

<file path=ppt/tags/tag221.xml><?xml version="1.0" encoding="utf-8"?>
<p:tagLst xmlns:p="http://schemas.openxmlformats.org/presentationml/2006/main">
  <p:tag name="KSO_WM_BEAUTIFY_FLAG" val=""/>
</p:tagLst>
</file>

<file path=ppt/tags/tag222.xml><?xml version="1.0" encoding="utf-8"?>
<p:tagLst xmlns:p="http://schemas.openxmlformats.org/presentationml/2006/main">
  <p:tag name="KSO_WM_BEAUTIFY_FLAG" val=""/>
</p:tagLst>
</file>

<file path=ppt/tags/tag223.xml><?xml version="1.0" encoding="utf-8"?>
<p:tagLst xmlns:p="http://schemas.openxmlformats.org/presentationml/2006/main">
  <p:tag name="KSO_WM_BEAUTIFY_FLAG" val=""/>
</p:tagLst>
</file>

<file path=ppt/tags/tag224.xml><?xml version="1.0" encoding="utf-8"?>
<p:tagLst xmlns:p="http://schemas.openxmlformats.org/presentationml/2006/main">
  <p:tag name="KSO_WM_BEAUTIFY_FLAG" val=""/>
</p:tagLst>
</file>

<file path=ppt/tags/tag225.xml><?xml version="1.0" encoding="utf-8"?>
<p:tagLst xmlns:p="http://schemas.openxmlformats.org/presentationml/2006/main">
  <p:tag name="KSO_WM_BEAUTIFY_FLAG" val=""/>
</p:tagLst>
</file>

<file path=ppt/tags/tag226.xml><?xml version="1.0" encoding="utf-8"?>
<p:tagLst xmlns:p="http://schemas.openxmlformats.org/presentationml/2006/main">
  <p:tag name="KSO_WM_BEAUTIFY_FLAG" val=""/>
</p:tagLst>
</file>

<file path=ppt/tags/tag227.xml><?xml version="1.0" encoding="utf-8"?>
<p:tagLst xmlns:p="http://schemas.openxmlformats.org/presentationml/2006/main">
  <p:tag name="KSO_WM_BEAUTIFY_FLAG" val=""/>
</p:tagLst>
</file>

<file path=ppt/tags/tag228.xml><?xml version="1.0" encoding="utf-8"?>
<p:tagLst xmlns:p="http://schemas.openxmlformats.org/presentationml/2006/main">
  <p:tag name="KSO_WM_BEAUTIFY_FLAG" val=""/>
</p:tagLst>
</file>

<file path=ppt/tags/tag229.xml><?xml version="1.0" encoding="utf-8"?>
<p:tagLst xmlns:p="http://schemas.openxmlformats.org/presentationml/2006/main">
  <p:tag name="KSO_WM_BEAUTIFY_FLAG" val=""/>
</p:tagLst>
</file>

<file path=ppt/tags/tag23.xml><?xml version="1.0" encoding="utf-8"?>
<p:tagLst xmlns:p="http://schemas.openxmlformats.org/presentationml/2006/main">
  <p:tag name="KSO_WM_BEAUTIFY_FLAG" val=""/>
</p:tagLst>
</file>

<file path=ppt/tags/tag230.xml><?xml version="1.0" encoding="utf-8"?>
<p:tagLst xmlns:p="http://schemas.openxmlformats.org/presentationml/2006/main">
  <p:tag name="KSO_WM_BEAUTIFY_FLAG" val=""/>
</p:tagLst>
</file>

<file path=ppt/tags/tag231.xml><?xml version="1.0" encoding="utf-8"?>
<p:tagLst xmlns:p="http://schemas.openxmlformats.org/presentationml/2006/main">
  <p:tag name="KSO_WM_BEAUTIFY_FLAG" val=""/>
</p:tagLst>
</file>

<file path=ppt/tags/tag232.xml><?xml version="1.0" encoding="utf-8"?>
<p:tagLst xmlns:p="http://schemas.openxmlformats.org/presentationml/2006/main">
  <p:tag name="KSO_WM_BEAUTIFY_FLAG" val=""/>
</p:tagLst>
</file>

<file path=ppt/tags/tag233.xml><?xml version="1.0" encoding="utf-8"?>
<p:tagLst xmlns:p="http://schemas.openxmlformats.org/presentationml/2006/main">
  <p:tag name="KSO_WM_BEAUTIFY_FLAG" val=""/>
</p:tagLst>
</file>

<file path=ppt/tags/tag234.xml><?xml version="1.0" encoding="utf-8"?>
<p:tagLst xmlns:p="http://schemas.openxmlformats.org/presentationml/2006/main">
  <p:tag name="KSO_WM_BEAUTIFY_FLAG" val=""/>
</p:tagLst>
</file>

<file path=ppt/tags/tag235.xml><?xml version="1.0" encoding="utf-8"?>
<p:tagLst xmlns:p="http://schemas.openxmlformats.org/presentationml/2006/main">
  <p:tag name="KSO_WM_BEAUTIFY_FLAG" val=""/>
</p:tagLst>
</file>

<file path=ppt/tags/tag236.xml><?xml version="1.0" encoding="utf-8"?>
<p:tagLst xmlns:p="http://schemas.openxmlformats.org/presentationml/2006/main">
  <p:tag name="KSO_WM_BEAUTIFY_FLAG" val=""/>
</p:tagLst>
</file>

<file path=ppt/tags/tag237.xml><?xml version="1.0" encoding="utf-8"?>
<p:tagLst xmlns:p="http://schemas.openxmlformats.org/presentationml/2006/main">
  <p:tag name="KSO_WM_BEAUTIFY_FLAG" val=""/>
</p:tagLst>
</file>

<file path=ppt/tags/tag238.xml><?xml version="1.0" encoding="utf-8"?>
<p:tagLst xmlns:p="http://schemas.openxmlformats.org/presentationml/2006/main">
  <p:tag name="KSO_WM_BEAUTIFY_FLAG" val=""/>
</p:tagLst>
</file>

<file path=ppt/tags/tag239.xml><?xml version="1.0" encoding="utf-8"?>
<p:tagLst xmlns:p="http://schemas.openxmlformats.org/presentationml/2006/main">
  <p:tag name="KSO_WM_BEAUTIFY_FLAG" val=""/>
</p:tagLst>
</file>

<file path=ppt/tags/tag24.xml><?xml version="1.0" encoding="utf-8"?>
<p:tagLst xmlns:p="http://schemas.openxmlformats.org/presentationml/2006/main">
  <p:tag name="KSO_WM_BEAUTIFY_FLAG" val=""/>
</p:tagLst>
</file>

<file path=ppt/tags/tag240.xml><?xml version="1.0" encoding="utf-8"?>
<p:tagLst xmlns:p="http://schemas.openxmlformats.org/presentationml/2006/main">
  <p:tag name="KSO_WM_BEAUTIFY_FLAG" val=""/>
</p:tagLst>
</file>

<file path=ppt/tags/tag241.xml><?xml version="1.0" encoding="utf-8"?>
<p:tagLst xmlns:p="http://schemas.openxmlformats.org/presentationml/2006/main">
  <p:tag name="KSO_WM_BEAUTIFY_FLAG" val=""/>
</p:tagLst>
</file>

<file path=ppt/tags/tag242.xml><?xml version="1.0" encoding="utf-8"?>
<p:tagLst xmlns:p="http://schemas.openxmlformats.org/presentationml/2006/main">
  <p:tag name="KSO_WM_BEAUTIFY_FLAG" val=""/>
</p:tagLst>
</file>

<file path=ppt/tags/tag243.xml><?xml version="1.0" encoding="utf-8"?>
<p:tagLst xmlns:p="http://schemas.openxmlformats.org/presentationml/2006/main">
  <p:tag name="KSO_WM_BEAUTIFY_FLAG" val=""/>
</p:tagLst>
</file>

<file path=ppt/tags/tag244.xml><?xml version="1.0" encoding="utf-8"?>
<p:tagLst xmlns:p="http://schemas.openxmlformats.org/presentationml/2006/main">
  <p:tag name="KSO_WM_BEAUTIFY_FLAG" val=""/>
</p:tagLst>
</file>

<file path=ppt/tags/tag245.xml><?xml version="1.0" encoding="utf-8"?>
<p:tagLst xmlns:p="http://schemas.openxmlformats.org/presentationml/2006/main">
  <p:tag name="KSO_WM_BEAUTIFY_FLAG" val=""/>
</p:tagLst>
</file>

<file path=ppt/tags/tag246.xml><?xml version="1.0" encoding="utf-8"?>
<p:tagLst xmlns:p="http://schemas.openxmlformats.org/presentationml/2006/main">
  <p:tag name="KSO_WM_BEAUTIFY_FLAG" val=""/>
</p:tagLst>
</file>

<file path=ppt/tags/tag247.xml><?xml version="1.0" encoding="utf-8"?>
<p:tagLst xmlns:p="http://schemas.openxmlformats.org/presentationml/2006/main">
  <p:tag name="KSO_WM_BEAUTIFY_FLAG" val=""/>
</p:tagLst>
</file>

<file path=ppt/tags/tag248.xml><?xml version="1.0" encoding="utf-8"?>
<p:tagLst xmlns:p="http://schemas.openxmlformats.org/presentationml/2006/main">
  <p:tag name="KSO_WM_BEAUTIFY_FLAG" val=""/>
</p:tagLst>
</file>

<file path=ppt/tags/tag249.xml><?xml version="1.0" encoding="utf-8"?>
<p:tagLst xmlns:p="http://schemas.openxmlformats.org/presentationml/2006/main">
  <p:tag name="KSO_WM_BEAUTIFY_FLAG" val=""/>
</p:tagLst>
</file>

<file path=ppt/tags/tag25.xml><?xml version="1.0" encoding="utf-8"?>
<p:tagLst xmlns:p="http://schemas.openxmlformats.org/presentationml/2006/main">
  <p:tag name="KSO_WM_BEAUTIFY_FLAG" val=""/>
</p:tagLst>
</file>

<file path=ppt/tags/tag250.xml><?xml version="1.0" encoding="utf-8"?>
<p:tagLst xmlns:p="http://schemas.openxmlformats.org/presentationml/2006/main">
  <p:tag name="KSO_WM_BEAUTIFY_FLAG" val=""/>
</p:tagLst>
</file>

<file path=ppt/tags/tag251.xml><?xml version="1.0" encoding="utf-8"?>
<p:tagLst xmlns:p="http://schemas.openxmlformats.org/presentationml/2006/main">
  <p:tag name="KSO_WM_BEAUTIFY_FLAG" val=""/>
</p:tagLst>
</file>

<file path=ppt/tags/tag252.xml><?xml version="1.0" encoding="utf-8"?>
<p:tagLst xmlns:p="http://schemas.openxmlformats.org/presentationml/2006/main">
  <p:tag name="KSO_WM_BEAUTIFY_FLAG" val=""/>
</p:tagLst>
</file>

<file path=ppt/tags/tag253.xml><?xml version="1.0" encoding="utf-8"?>
<p:tagLst xmlns:p="http://schemas.openxmlformats.org/presentationml/2006/main">
  <p:tag name="KSO_WM_BEAUTIFY_FLAG" val=""/>
</p:tagLst>
</file>

<file path=ppt/tags/tag254.xml><?xml version="1.0" encoding="utf-8"?>
<p:tagLst xmlns:p="http://schemas.openxmlformats.org/presentationml/2006/main">
  <p:tag name="KSO_WM_BEAUTIFY_FLAG" val=""/>
</p:tagLst>
</file>

<file path=ppt/tags/tag255.xml><?xml version="1.0" encoding="utf-8"?>
<p:tagLst xmlns:p="http://schemas.openxmlformats.org/presentationml/2006/main">
  <p:tag name="KSO_WM_BEAUTIFY_FLAG" val=""/>
</p:tagLst>
</file>

<file path=ppt/tags/tag256.xml><?xml version="1.0" encoding="utf-8"?>
<p:tagLst xmlns:p="http://schemas.openxmlformats.org/presentationml/2006/main">
  <p:tag name="KSO_WM_BEAUTIFY_FLAG" val=""/>
</p:tagLst>
</file>

<file path=ppt/tags/tag257.xml><?xml version="1.0" encoding="utf-8"?>
<p:tagLst xmlns:p="http://schemas.openxmlformats.org/presentationml/2006/main">
  <p:tag name="KSO_WM_BEAUTIFY_FLAG" val=""/>
</p:tagLst>
</file>

<file path=ppt/tags/tag258.xml><?xml version="1.0" encoding="utf-8"?>
<p:tagLst xmlns:p="http://schemas.openxmlformats.org/presentationml/2006/main">
  <p:tag name="KSO_WM_BEAUTIFY_FLAG" val=""/>
</p:tagLst>
</file>

<file path=ppt/tags/tag259.xml><?xml version="1.0" encoding="utf-8"?>
<p:tagLst xmlns:p="http://schemas.openxmlformats.org/presentationml/2006/main">
  <p:tag name="KSO_WM_BEAUTIFY_FLAG" val=""/>
</p:tagLst>
</file>

<file path=ppt/tags/tag26.xml><?xml version="1.0" encoding="utf-8"?>
<p:tagLst xmlns:p="http://schemas.openxmlformats.org/presentationml/2006/main">
  <p:tag name="KSO_WM_BEAUTIFY_FLAG" val=""/>
</p:tagLst>
</file>

<file path=ppt/tags/tag260.xml><?xml version="1.0" encoding="utf-8"?>
<p:tagLst xmlns:p="http://schemas.openxmlformats.org/presentationml/2006/main">
  <p:tag name="KSO_WM_BEAUTIFY_FLAG" val=""/>
</p:tagLst>
</file>

<file path=ppt/tags/tag261.xml><?xml version="1.0" encoding="utf-8"?>
<p:tagLst xmlns:p="http://schemas.openxmlformats.org/presentationml/2006/main">
  <p:tag name="KSO_WM_BEAUTIFY_FLAG" val=""/>
</p:tagLst>
</file>

<file path=ppt/tags/tag262.xml><?xml version="1.0" encoding="utf-8"?>
<p:tagLst xmlns:p="http://schemas.openxmlformats.org/presentationml/2006/main">
  <p:tag name="KSO_WM_BEAUTIFY_FLAG" val=""/>
</p:tagLst>
</file>

<file path=ppt/tags/tag263.xml><?xml version="1.0" encoding="utf-8"?>
<p:tagLst xmlns:p="http://schemas.openxmlformats.org/presentationml/2006/main">
  <p:tag name="KSO_WM_BEAUTIFY_FLAG" val=""/>
</p:tagLst>
</file>

<file path=ppt/tags/tag264.xml><?xml version="1.0" encoding="utf-8"?>
<p:tagLst xmlns:p="http://schemas.openxmlformats.org/presentationml/2006/main">
  <p:tag name="KSO_WM_BEAUTIFY_FLAG" val=""/>
</p:tagLst>
</file>

<file path=ppt/tags/tag265.xml><?xml version="1.0" encoding="utf-8"?>
<p:tagLst xmlns:p="http://schemas.openxmlformats.org/presentationml/2006/main">
  <p:tag name="KSO_WM_BEAUTIFY_FLAG" val=""/>
</p:tagLst>
</file>

<file path=ppt/tags/tag266.xml><?xml version="1.0" encoding="utf-8"?>
<p:tagLst xmlns:p="http://schemas.openxmlformats.org/presentationml/2006/main">
  <p:tag name="KSO_WM_BEAUTIFY_FLAG" val=""/>
</p:tagLst>
</file>

<file path=ppt/tags/tag267.xml><?xml version="1.0" encoding="utf-8"?>
<p:tagLst xmlns:p="http://schemas.openxmlformats.org/presentationml/2006/main">
  <p:tag name="KSO_WM_BEAUTIFY_FLAG" val=""/>
</p:tagLst>
</file>

<file path=ppt/tags/tag268.xml><?xml version="1.0" encoding="utf-8"?>
<p:tagLst xmlns:p="http://schemas.openxmlformats.org/presentationml/2006/main">
  <p:tag name="KSO_WM_BEAUTIFY_FLAG" val=""/>
</p:tagLst>
</file>

<file path=ppt/tags/tag269.xml><?xml version="1.0" encoding="utf-8"?>
<p:tagLst xmlns:p="http://schemas.openxmlformats.org/presentationml/2006/main">
  <p:tag name="KSO_WM_BEAUTIFY_FLAG" val=""/>
</p:tagLst>
</file>

<file path=ppt/tags/tag27.xml><?xml version="1.0" encoding="utf-8"?>
<p:tagLst xmlns:p="http://schemas.openxmlformats.org/presentationml/2006/main">
  <p:tag name="KSO_WM_BEAUTIFY_FLAG" val=""/>
</p:tagLst>
</file>

<file path=ppt/tags/tag270.xml><?xml version="1.0" encoding="utf-8"?>
<p:tagLst xmlns:p="http://schemas.openxmlformats.org/presentationml/2006/main">
  <p:tag name="KSO_WM_BEAUTIFY_FLAG" val=""/>
</p:tagLst>
</file>

<file path=ppt/tags/tag271.xml><?xml version="1.0" encoding="utf-8"?>
<p:tagLst xmlns:p="http://schemas.openxmlformats.org/presentationml/2006/main">
  <p:tag name="KSO_WM_BEAUTIFY_FLAG" val=""/>
</p:tagLst>
</file>

<file path=ppt/tags/tag272.xml><?xml version="1.0" encoding="utf-8"?>
<p:tagLst xmlns:p="http://schemas.openxmlformats.org/presentationml/2006/main">
  <p:tag name="KSO_WM_BEAUTIFY_FLAG" val=""/>
</p:tagLst>
</file>

<file path=ppt/tags/tag273.xml><?xml version="1.0" encoding="utf-8"?>
<p:tagLst xmlns:p="http://schemas.openxmlformats.org/presentationml/2006/main">
  <p:tag name="KSO_WM_BEAUTIFY_FLAG" val=""/>
</p:tagLst>
</file>

<file path=ppt/tags/tag274.xml><?xml version="1.0" encoding="utf-8"?>
<p:tagLst xmlns:p="http://schemas.openxmlformats.org/presentationml/2006/main">
  <p:tag name="KSO_WM_BEAUTIFY_FLAG" val=""/>
</p:tagLst>
</file>

<file path=ppt/tags/tag275.xml><?xml version="1.0" encoding="utf-8"?>
<p:tagLst xmlns:p="http://schemas.openxmlformats.org/presentationml/2006/main">
  <p:tag name="KSO_WM_BEAUTIFY_FLAG" val=""/>
</p:tagLst>
</file>

<file path=ppt/tags/tag276.xml><?xml version="1.0" encoding="utf-8"?>
<p:tagLst xmlns:p="http://schemas.openxmlformats.org/presentationml/2006/main">
  <p:tag name="KSO_WM_BEAUTIFY_FLAG" val=""/>
</p:tagLst>
</file>

<file path=ppt/tags/tag277.xml><?xml version="1.0" encoding="utf-8"?>
<p:tagLst xmlns:p="http://schemas.openxmlformats.org/presentationml/2006/main">
  <p:tag name="KSO_WM_BEAUTIFY_FLAG" val=""/>
</p:tagLst>
</file>

<file path=ppt/tags/tag278.xml><?xml version="1.0" encoding="utf-8"?>
<p:tagLst xmlns:p="http://schemas.openxmlformats.org/presentationml/2006/main">
  <p:tag name="KSO_WM_BEAUTIFY_FLAG" val=""/>
</p:tagLst>
</file>

<file path=ppt/tags/tag279.xml><?xml version="1.0" encoding="utf-8"?>
<p:tagLst xmlns:p="http://schemas.openxmlformats.org/presentationml/2006/main">
  <p:tag name="KSO_WM_BEAUTIFY_FLAG" val=""/>
</p:tagLst>
</file>

<file path=ppt/tags/tag28.xml><?xml version="1.0" encoding="utf-8"?>
<p:tagLst xmlns:p="http://schemas.openxmlformats.org/presentationml/2006/main">
  <p:tag name="KSO_WM_BEAUTIFY_FLAG" val=""/>
</p:tagLst>
</file>

<file path=ppt/tags/tag280.xml><?xml version="1.0" encoding="utf-8"?>
<p:tagLst xmlns:p="http://schemas.openxmlformats.org/presentationml/2006/main">
  <p:tag name="KSO_WM_BEAUTIFY_FLAG" val=""/>
</p:tagLst>
</file>

<file path=ppt/tags/tag281.xml><?xml version="1.0" encoding="utf-8"?>
<p:tagLst xmlns:p="http://schemas.openxmlformats.org/presentationml/2006/main">
  <p:tag name="KSO_WM_BEAUTIFY_FLAG" val=""/>
</p:tagLst>
</file>

<file path=ppt/tags/tag282.xml><?xml version="1.0" encoding="utf-8"?>
<p:tagLst xmlns:p="http://schemas.openxmlformats.org/presentationml/2006/main">
  <p:tag name="KSO_WM_BEAUTIFY_FLAG" val=""/>
</p:tagLst>
</file>

<file path=ppt/tags/tag283.xml><?xml version="1.0" encoding="utf-8"?>
<p:tagLst xmlns:p="http://schemas.openxmlformats.org/presentationml/2006/main">
  <p:tag name="KSO_WM_BEAUTIFY_FLAG" val=""/>
</p:tagLst>
</file>

<file path=ppt/tags/tag284.xml><?xml version="1.0" encoding="utf-8"?>
<p:tagLst xmlns:p="http://schemas.openxmlformats.org/presentationml/2006/main">
  <p:tag name="KSO_WM_BEAUTIFY_FLAG" val=""/>
</p:tagLst>
</file>

<file path=ppt/tags/tag285.xml><?xml version="1.0" encoding="utf-8"?>
<p:tagLst xmlns:p="http://schemas.openxmlformats.org/presentationml/2006/main">
  <p:tag name="KSO_WM_BEAUTIFY_FLAG" val=""/>
</p:tagLst>
</file>

<file path=ppt/tags/tag286.xml><?xml version="1.0" encoding="utf-8"?>
<p:tagLst xmlns:p="http://schemas.openxmlformats.org/presentationml/2006/main">
  <p:tag name="KSO_WM_BEAUTIFY_FLAG" val=""/>
</p:tagLst>
</file>

<file path=ppt/tags/tag287.xml><?xml version="1.0" encoding="utf-8"?>
<p:tagLst xmlns:p="http://schemas.openxmlformats.org/presentationml/2006/main">
  <p:tag name="KSO_WM_BEAUTIFY_FLAG" val=""/>
</p:tagLst>
</file>

<file path=ppt/tags/tag288.xml><?xml version="1.0" encoding="utf-8"?>
<p:tagLst xmlns:p="http://schemas.openxmlformats.org/presentationml/2006/main">
  <p:tag name="KSO_WM_BEAUTIFY_FLAG" val=""/>
</p:tagLst>
</file>

<file path=ppt/tags/tag289.xml><?xml version="1.0" encoding="utf-8"?>
<p:tagLst xmlns:p="http://schemas.openxmlformats.org/presentationml/2006/main">
  <p:tag name="KSO_WM_BEAUTIFY_FLAG" val=""/>
</p:tagLst>
</file>

<file path=ppt/tags/tag29.xml><?xml version="1.0" encoding="utf-8"?>
<p:tagLst xmlns:p="http://schemas.openxmlformats.org/presentationml/2006/main">
  <p:tag name="KSO_WM_BEAUTIFY_FLAG" val=""/>
</p:tagLst>
</file>

<file path=ppt/tags/tag290.xml><?xml version="1.0" encoding="utf-8"?>
<p:tagLst xmlns:p="http://schemas.openxmlformats.org/presentationml/2006/main">
  <p:tag name="KSO_WM_BEAUTIFY_FLAG" val=""/>
</p:tagLst>
</file>

<file path=ppt/tags/tag291.xml><?xml version="1.0" encoding="utf-8"?>
<p:tagLst xmlns:p="http://schemas.openxmlformats.org/presentationml/2006/main">
  <p:tag name="KSO_WM_BEAUTIFY_FLAG" val=""/>
</p:tagLst>
</file>

<file path=ppt/tags/tag292.xml><?xml version="1.0" encoding="utf-8"?>
<p:tagLst xmlns:p="http://schemas.openxmlformats.org/presentationml/2006/main">
  <p:tag name="KSO_WM_BEAUTIFY_FLAG" val=""/>
</p:tagLst>
</file>

<file path=ppt/tags/tag293.xml><?xml version="1.0" encoding="utf-8"?>
<p:tagLst xmlns:p="http://schemas.openxmlformats.org/presentationml/2006/main">
  <p:tag name="KSO_WM_BEAUTIFY_FLAG" val=""/>
</p:tagLst>
</file>

<file path=ppt/tags/tag294.xml><?xml version="1.0" encoding="utf-8"?>
<p:tagLst xmlns:p="http://schemas.openxmlformats.org/presentationml/2006/main">
  <p:tag name="KSO_WM_BEAUTIFY_FLAG" val=""/>
</p:tagLst>
</file>

<file path=ppt/tags/tag295.xml><?xml version="1.0" encoding="utf-8"?>
<p:tagLst xmlns:p="http://schemas.openxmlformats.org/presentationml/2006/main">
  <p:tag name="KSO_WM_BEAUTIFY_FLAG" val=""/>
</p:tagLst>
</file>

<file path=ppt/tags/tag296.xml><?xml version="1.0" encoding="utf-8"?>
<p:tagLst xmlns:p="http://schemas.openxmlformats.org/presentationml/2006/main">
  <p:tag name="KSO_WM_BEAUTIFY_FLAG" val=""/>
</p:tagLst>
</file>

<file path=ppt/tags/tag297.xml><?xml version="1.0" encoding="utf-8"?>
<p:tagLst xmlns:p="http://schemas.openxmlformats.org/presentationml/2006/main">
  <p:tag name="KSO_WM_BEAUTIFY_FLAG" val=""/>
</p:tagLst>
</file>

<file path=ppt/tags/tag298.xml><?xml version="1.0" encoding="utf-8"?>
<p:tagLst xmlns:p="http://schemas.openxmlformats.org/presentationml/2006/main">
  <p:tag name="KSO_WM_BEAUTIFY_FLAG" val=""/>
</p:tagLst>
</file>

<file path=ppt/tags/tag299.xml><?xml version="1.0" encoding="utf-8"?>
<p:tagLst xmlns:p="http://schemas.openxmlformats.org/presentationml/2006/main">
  <p:tag name="KSO_WM_BEAUTIFY_FLAG" val=""/>
</p:tagLst>
</file>

<file path=ppt/tags/tag3.xml><?xml version="1.0" encoding="utf-8"?>
<p:tagLst xmlns:p="http://schemas.openxmlformats.org/presentationml/2006/main">
  <p:tag name="KSO_WM_BEAUTIFY_FLAG" val=""/>
</p:tagLst>
</file>

<file path=ppt/tags/tag30.xml><?xml version="1.0" encoding="utf-8"?>
<p:tagLst xmlns:p="http://schemas.openxmlformats.org/presentationml/2006/main">
  <p:tag name="KSO_WM_BEAUTIFY_FLAG" val=""/>
</p:tagLst>
</file>

<file path=ppt/tags/tag300.xml><?xml version="1.0" encoding="utf-8"?>
<p:tagLst xmlns:p="http://schemas.openxmlformats.org/presentationml/2006/main">
  <p:tag name="KSO_WM_BEAUTIFY_FLAG" val=""/>
</p:tagLst>
</file>

<file path=ppt/tags/tag301.xml><?xml version="1.0" encoding="utf-8"?>
<p:tagLst xmlns:p="http://schemas.openxmlformats.org/presentationml/2006/main">
  <p:tag name="KSO_WM_BEAUTIFY_FLAG" val=""/>
</p:tagLst>
</file>

<file path=ppt/tags/tag302.xml><?xml version="1.0" encoding="utf-8"?>
<p:tagLst xmlns:p="http://schemas.openxmlformats.org/presentationml/2006/main">
  <p:tag name="KSO_WM_BEAUTIFY_FLAG" val=""/>
</p:tagLst>
</file>

<file path=ppt/tags/tag303.xml><?xml version="1.0" encoding="utf-8"?>
<p:tagLst xmlns:p="http://schemas.openxmlformats.org/presentationml/2006/main">
  <p:tag name="KSO_WM_BEAUTIFY_FLAG" val=""/>
</p:tagLst>
</file>

<file path=ppt/tags/tag304.xml><?xml version="1.0" encoding="utf-8"?>
<p:tagLst xmlns:p="http://schemas.openxmlformats.org/presentationml/2006/main">
  <p:tag name="KSO_WM_BEAUTIFY_FLAG" val=""/>
</p:tagLst>
</file>

<file path=ppt/tags/tag305.xml><?xml version="1.0" encoding="utf-8"?>
<p:tagLst xmlns:p="http://schemas.openxmlformats.org/presentationml/2006/main">
  <p:tag name="KSO_WM_BEAUTIFY_FLAG" val=""/>
</p:tagLst>
</file>

<file path=ppt/tags/tag306.xml><?xml version="1.0" encoding="utf-8"?>
<p:tagLst xmlns:p="http://schemas.openxmlformats.org/presentationml/2006/main">
  <p:tag name="KSO_WM_BEAUTIFY_FLAG" val=""/>
</p:tagLst>
</file>

<file path=ppt/tags/tag307.xml><?xml version="1.0" encoding="utf-8"?>
<p:tagLst xmlns:p="http://schemas.openxmlformats.org/presentationml/2006/main">
  <p:tag name="KSO_WM_BEAUTIFY_FLAG" val=""/>
</p:tagLst>
</file>

<file path=ppt/tags/tag308.xml><?xml version="1.0" encoding="utf-8"?>
<p:tagLst xmlns:p="http://schemas.openxmlformats.org/presentationml/2006/main">
  <p:tag name="KSO_WM_BEAUTIFY_FLAG" val=""/>
</p:tagLst>
</file>

<file path=ppt/tags/tag309.xml><?xml version="1.0" encoding="utf-8"?>
<p:tagLst xmlns:p="http://schemas.openxmlformats.org/presentationml/2006/main">
  <p:tag name="KSO_WM_BEAUTIFY_FLAG" val=""/>
</p:tagLst>
</file>

<file path=ppt/tags/tag31.xml><?xml version="1.0" encoding="utf-8"?>
<p:tagLst xmlns:p="http://schemas.openxmlformats.org/presentationml/2006/main">
  <p:tag name="KSO_WM_BEAUTIFY_FLAG" val=""/>
</p:tagLst>
</file>

<file path=ppt/tags/tag310.xml><?xml version="1.0" encoding="utf-8"?>
<p:tagLst xmlns:p="http://schemas.openxmlformats.org/presentationml/2006/main">
  <p:tag name="KSO_WM_BEAUTIFY_FLAG" val=""/>
</p:tagLst>
</file>

<file path=ppt/tags/tag311.xml><?xml version="1.0" encoding="utf-8"?>
<p:tagLst xmlns:p="http://schemas.openxmlformats.org/presentationml/2006/main">
  <p:tag name="KSO_WM_BEAUTIFY_FLAG" val=""/>
</p:tagLst>
</file>

<file path=ppt/tags/tag312.xml><?xml version="1.0" encoding="utf-8"?>
<p:tagLst xmlns:p="http://schemas.openxmlformats.org/presentationml/2006/main">
  <p:tag name="KSO_WM_BEAUTIFY_FLAG" val=""/>
</p:tagLst>
</file>

<file path=ppt/tags/tag313.xml><?xml version="1.0" encoding="utf-8"?>
<p:tagLst xmlns:p="http://schemas.openxmlformats.org/presentationml/2006/main">
  <p:tag name="KSO_WM_BEAUTIFY_FLAG" val=""/>
</p:tagLst>
</file>

<file path=ppt/tags/tag314.xml><?xml version="1.0" encoding="utf-8"?>
<p:tagLst xmlns:p="http://schemas.openxmlformats.org/presentationml/2006/main">
  <p:tag name="KSO_WM_BEAUTIFY_FLAG" val=""/>
</p:tagLst>
</file>

<file path=ppt/tags/tag315.xml><?xml version="1.0" encoding="utf-8"?>
<p:tagLst xmlns:p="http://schemas.openxmlformats.org/presentationml/2006/main">
  <p:tag name="KSO_WM_BEAUTIFY_FLAG" val=""/>
</p:tagLst>
</file>

<file path=ppt/tags/tag316.xml><?xml version="1.0" encoding="utf-8"?>
<p:tagLst xmlns:p="http://schemas.openxmlformats.org/presentationml/2006/main">
  <p:tag name="KSO_WM_BEAUTIFY_FLAG" val=""/>
</p:tagLst>
</file>

<file path=ppt/tags/tag317.xml><?xml version="1.0" encoding="utf-8"?>
<p:tagLst xmlns:p="http://schemas.openxmlformats.org/presentationml/2006/main">
  <p:tag name="KSO_WM_BEAUTIFY_FLAG" val=""/>
</p:tagLst>
</file>

<file path=ppt/tags/tag318.xml><?xml version="1.0" encoding="utf-8"?>
<p:tagLst xmlns:p="http://schemas.openxmlformats.org/presentationml/2006/main">
  <p:tag name="KSO_WM_BEAUTIFY_FLAG" val=""/>
</p:tagLst>
</file>

<file path=ppt/tags/tag319.xml><?xml version="1.0" encoding="utf-8"?>
<p:tagLst xmlns:p="http://schemas.openxmlformats.org/presentationml/2006/main">
  <p:tag name="KSO_WM_BEAUTIFY_FLAG" val=""/>
</p:tagLst>
</file>

<file path=ppt/tags/tag32.xml><?xml version="1.0" encoding="utf-8"?>
<p:tagLst xmlns:p="http://schemas.openxmlformats.org/presentationml/2006/main">
  <p:tag name="KSO_WM_BEAUTIFY_FLAG" val=""/>
</p:tagLst>
</file>

<file path=ppt/tags/tag320.xml><?xml version="1.0" encoding="utf-8"?>
<p:tagLst xmlns:p="http://schemas.openxmlformats.org/presentationml/2006/main">
  <p:tag name="KSO_WM_BEAUTIFY_FLAG" val=""/>
</p:tagLst>
</file>

<file path=ppt/tags/tag321.xml><?xml version="1.0" encoding="utf-8"?>
<p:tagLst xmlns:p="http://schemas.openxmlformats.org/presentationml/2006/main">
  <p:tag name="KSO_WM_BEAUTIFY_FLAG" val=""/>
</p:tagLst>
</file>

<file path=ppt/tags/tag322.xml><?xml version="1.0" encoding="utf-8"?>
<p:tagLst xmlns:p="http://schemas.openxmlformats.org/presentationml/2006/main">
  <p:tag name="KSO_WM_BEAUTIFY_FLAG" val=""/>
</p:tagLst>
</file>

<file path=ppt/tags/tag323.xml><?xml version="1.0" encoding="utf-8"?>
<p:tagLst xmlns:p="http://schemas.openxmlformats.org/presentationml/2006/main">
  <p:tag name="KSO_WM_BEAUTIFY_FLAG" val=""/>
</p:tagLst>
</file>

<file path=ppt/tags/tag324.xml><?xml version="1.0" encoding="utf-8"?>
<p:tagLst xmlns:p="http://schemas.openxmlformats.org/presentationml/2006/main">
  <p:tag name="KSO_WM_BEAUTIFY_FLAG" val=""/>
</p:tagLst>
</file>

<file path=ppt/tags/tag325.xml><?xml version="1.0" encoding="utf-8"?>
<p:tagLst xmlns:p="http://schemas.openxmlformats.org/presentationml/2006/main">
  <p:tag name="KSO_WM_BEAUTIFY_FLAG" val=""/>
</p:tagLst>
</file>

<file path=ppt/tags/tag326.xml><?xml version="1.0" encoding="utf-8"?>
<p:tagLst xmlns:p="http://schemas.openxmlformats.org/presentationml/2006/main">
  <p:tag name="KSO_WM_BEAUTIFY_FLAG" val=""/>
</p:tagLst>
</file>

<file path=ppt/tags/tag327.xml><?xml version="1.0" encoding="utf-8"?>
<p:tagLst xmlns:p="http://schemas.openxmlformats.org/presentationml/2006/main">
  <p:tag name="KSO_WM_BEAUTIFY_FLAG" val=""/>
</p:tagLst>
</file>

<file path=ppt/tags/tag328.xml><?xml version="1.0" encoding="utf-8"?>
<p:tagLst xmlns:p="http://schemas.openxmlformats.org/presentationml/2006/main">
  <p:tag name="KSO_WM_BEAUTIFY_FLAG" val=""/>
</p:tagLst>
</file>

<file path=ppt/tags/tag329.xml><?xml version="1.0" encoding="utf-8"?>
<p:tagLst xmlns:p="http://schemas.openxmlformats.org/presentationml/2006/main">
  <p:tag name="KSO_WM_BEAUTIFY_FLAG" val=""/>
</p:tagLst>
</file>

<file path=ppt/tags/tag33.xml><?xml version="1.0" encoding="utf-8"?>
<p:tagLst xmlns:p="http://schemas.openxmlformats.org/presentationml/2006/main">
  <p:tag name="KSO_WM_BEAUTIFY_FLAG" val=""/>
</p:tagLst>
</file>

<file path=ppt/tags/tag330.xml><?xml version="1.0" encoding="utf-8"?>
<p:tagLst xmlns:p="http://schemas.openxmlformats.org/presentationml/2006/main">
  <p:tag name="KSO_WM_BEAUTIFY_FLAG" val=""/>
</p:tagLst>
</file>

<file path=ppt/tags/tag331.xml><?xml version="1.0" encoding="utf-8"?>
<p:tagLst xmlns:p="http://schemas.openxmlformats.org/presentationml/2006/main">
  <p:tag name="KSO_WM_BEAUTIFY_FLAG" val=""/>
</p:tagLst>
</file>

<file path=ppt/tags/tag332.xml><?xml version="1.0" encoding="utf-8"?>
<p:tagLst xmlns:p="http://schemas.openxmlformats.org/presentationml/2006/main">
  <p:tag name="KSO_WM_BEAUTIFY_FLAG" val=""/>
</p:tagLst>
</file>

<file path=ppt/tags/tag333.xml><?xml version="1.0" encoding="utf-8"?>
<p:tagLst xmlns:p="http://schemas.openxmlformats.org/presentationml/2006/main">
  <p:tag name="KSO_WM_BEAUTIFY_FLAG" val=""/>
</p:tagLst>
</file>

<file path=ppt/tags/tag334.xml><?xml version="1.0" encoding="utf-8"?>
<p:tagLst xmlns:p="http://schemas.openxmlformats.org/presentationml/2006/main">
  <p:tag name="KSO_WM_BEAUTIFY_FLAG" val=""/>
</p:tagLst>
</file>

<file path=ppt/tags/tag335.xml><?xml version="1.0" encoding="utf-8"?>
<p:tagLst xmlns:p="http://schemas.openxmlformats.org/presentationml/2006/main">
  <p:tag name="KSO_WM_BEAUTIFY_FLAG" val=""/>
</p:tagLst>
</file>

<file path=ppt/tags/tag336.xml><?xml version="1.0" encoding="utf-8"?>
<p:tagLst xmlns:p="http://schemas.openxmlformats.org/presentationml/2006/main">
  <p:tag name="KSO_WM_BEAUTIFY_FLAG" val=""/>
</p:tagLst>
</file>

<file path=ppt/tags/tag337.xml><?xml version="1.0" encoding="utf-8"?>
<p:tagLst xmlns:p="http://schemas.openxmlformats.org/presentationml/2006/main">
  <p:tag name="KSO_WM_BEAUTIFY_FLAG" val=""/>
</p:tagLst>
</file>

<file path=ppt/tags/tag338.xml><?xml version="1.0" encoding="utf-8"?>
<p:tagLst xmlns:p="http://schemas.openxmlformats.org/presentationml/2006/main">
  <p:tag name="KSO_WM_BEAUTIFY_FLAG" val=""/>
</p:tagLst>
</file>

<file path=ppt/tags/tag339.xml><?xml version="1.0" encoding="utf-8"?>
<p:tagLst xmlns:p="http://schemas.openxmlformats.org/presentationml/2006/main">
  <p:tag name="KSO_WM_BEAUTIFY_FLAG" val=""/>
</p:tagLst>
</file>

<file path=ppt/tags/tag34.xml><?xml version="1.0" encoding="utf-8"?>
<p:tagLst xmlns:p="http://schemas.openxmlformats.org/presentationml/2006/main">
  <p:tag name="KSO_WM_BEAUTIFY_FLAG" val=""/>
</p:tagLst>
</file>

<file path=ppt/tags/tag340.xml><?xml version="1.0" encoding="utf-8"?>
<p:tagLst xmlns:p="http://schemas.openxmlformats.org/presentationml/2006/main">
  <p:tag name="KSO_WM_BEAUTIFY_FLAG" val=""/>
</p:tagLst>
</file>

<file path=ppt/tags/tag341.xml><?xml version="1.0" encoding="utf-8"?>
<p:tagLst xmlns:p="http://schemas.openxmlformats.org/presentationml/2006/main">
  <p:tag name="KSO_WM_BEAUTIFY_FLAG" val=""/>
</p:tagLst>
</file>

<file path=ppt/tags/tag342.xml><?xml version="1.0" encoding="utf-8"?>
<p:tagLst xmlns:p="http://schemas.openxmlformats.org/presentationml/2006/main">
  <p:tag name="KSO_WM_BEAUTIFY_FLAG" val=""/>
</p:tagLst>
</file>

<file path=ppt/tags/tag343.xml><?xml version="1.0" encoding="utf-8"?>
<p:tagLst xmlns:p="http://schemas.openxmlformats.org/presentationml/2006/main">
  <p:tag name="KSO_WM_BEAUTIFY_FLAG" val=""/>
</p:tagLst>
</file>

<file path=ppt/tags/tag344.xml><?xml version="1.0" encoding="utf-8"?>
<p:tagLst xmlns:p="http://schemas.openxmlformats.org/presentationml/2006/main">
  <p:tag name="KSO_WM_BEAUTIFY_FLAG" val=""/>
</p:tagLst>
</file>

<file path=ppt/tags/tag345.xml><?xml version="1.0" encoding="utf-8"?>
<p:tagLst xmlns:p="http://schemas.openxmlformats.org/presentationml/2006/main">
  <p:tag name="KSO_WM_BEAUTIFY_FLAG" val=""/>
</p:tagLst>
</file>

<file path=ppt/tags/tag346.xml><?xml version="1.0" encoding="utf-8"?>
<p:tagLst xmlns:p="http://schemas.openxmlformats.org/presentationml/2006/main">
  <p:tag name="KSO_WM_BEAUTIFY_FLAG" val=""/>
</p:tagLst>
</file>

<file path=ppt/tags/tag347.xml><?xml version="1.0" encoding="utf-8"?>
<p:tagLst xmlns:p="http://schemas.openxmlformats.org/presentationml/2006/main">
  <p:tag name="KSO_WM_BEAUTIFY_FLAG" val=""/>
</p:tagLst>
</file>

<file path=ppt/tags/tag348.xml><?xml version="1.0" encoding="utf-8"?>
<p:tagLst xmlns:p="http://schemas.openxmlformats.org/presentationml/2006/main">
  <p:tag name="KSO_WM_BEAUTIFY_FLAG" val=""/>
</p:tagLst>
</file>

<file path=ppt/tags/tag349.xml><?xml version="1.0" encoding="utf-8"?>
<p:tagLst xmlns:p="http://schemas.openxmlformats.org/presentationml/2006/main">
  <p:tag name="KSO_WM_BEAUTIFY_FLAG" val=""/>
</p:tagLst>
</file>

<file path=ppt/tags/tag35.xml><?xml version="1.0" encoding="utf-8"?>
<p:tagLst xmlns:p="http://schemas.openxmlformats.org/presentationml/2006/main">
  <p:tag name="KSO_WM_BEAUTIFY_FLAG" val=""/>
</p:tagLst>
</file>

<file path=ppt/tags/tag350.xml><?xml version="1.0" encoding="utf-8"?>
<p:tagLst xmlns:p="http://schemas.openxmlformats.org/presentationml/2006/main">
  <p:tag name="KSO_WM_BEAUTIFY_FLAG" val=""/>
</p:tagLst>
</file>

<file path=ppt/tags/tag351.xml><?xml version="1.0" encoding="utf-8"?>
<p:tagLst xmlns:p="http://schemas.openxmlformats.org/presentationml/2006/main">
  <p:tag name="KSO_WM_BEAUTIFY_FLAG" val=""/>
</p:tagLst>
</file>

<file path=ppt/tags/tag352.xml><?xml version="1.0" encoding="utf-8"?>
<p:tagLst xmlns:p="http://schemas.openxmlformats.org/presentationml/2006/main">
  <p:tag name="KSO_WM_BEAUTIFY_FLAG" val=""/>
</p:tagLst>
</file>

<file path=ppt/tags/tag353.xml><?xml version="1.0" encoding="utf-8"?>
<p:tagLst xmlns:p="http://schemas.openxmlformats.org/presentationml/2006/main">
  <p:tag name="KSO_WM_BEAUTIFY_FLAG" val=""/>
</p:tagLst>
</file>

<file path=ppt/tags/tag354.xml><?xml version="1.0" encoding="utf-8"?>
<p:tagLst xmlns:p="http://schemas.openxmlformats.org/presentationml/2006/main">
  <p:tag name="KSO_WM_BEAUTIFY_FLAG" val=""/>
</p:tagLst>
</file>

<file path=ppt/tags/tag355.xml><?xml version="1.0" encoding="utf-8"?>
<p:tagLst xmlns:p="http://schemas.openxmlformats.org/presentationml/2006/main">
  <p:tag name="KSO_WM_BEAUTIFY_FLAG" val=""/>
</p:tagLst>
</file>

<file path=ppt/tags/tag356.xml><?xml version="1.0" encoding="utf-8"?>
<p:tagLst xmlns:p="http://schemas.openxmlformats.org/presentationml/2006/main">
  <p:tag name="KSO_WM_BEAUTIFY_FLAG" val=""/>
</p:tagLst>
</file>

<file path=ppt/tags/tag357.xml><?xml version="1.0" encoding="utf-8"?>
<p:tagLst xmlns:p="http://schemas.openxmlformats.org/presentationml/2006/main">
  <p:tag name="KSO_WM_BEAUTIFY_FLAG" val=""/>
</p:tagLst>
</file>

<file path=ppt/tags/tag358.xml><?xml version="1.0" encoding="utf-8"?>
<p:tagLst xmlns:p="http://schemas.openxmlformats.org/presentationml/2006/main">
  <p:tag name="KSO_WM_BEAUTIFY_FLAG" val=""/>
</p:tagLst>
</file>

<file path=ppt/tags/tag359.xml><?xml version="1.0" encoding="utf-8"?>
<p:tagLst xmlns:p="http://schemas.openxmlformats.org/presentationml/2006/main">
  <p:tag name="KSO_WM_BEAUTIFY_FLAG" val=""/>
</p:tagLst>
</file>

<file path=ppt/tags/tag36.xml><?xml version="1.0" encoding="utf-8"?>
<p:tagLst xmlns:p="http://schemas.openxmlformats.org/presentationml/2006/main">
  <p:tag name="KSO_WM_BEAUTIFY_FLAG" val=""/>
</p:tagLst>
</file>

<file path=ppt/tags/tag360.xml><?xml version="1.0" encoding="utf-8"?>
<p:tagLst xmlns:p="http://schemas.openxmlformats.org/presentationml/2006/main">
  <p:tag name="KSO_WM_BEAUTIFY_FLAG" val=""/>
</p:tagLst>
</file>

<file path=ppt/tags/tag361.xml><?xml version="1.0" encoding="utf-8"?>
<p:tagLst xmlns:p="http://schemas.openxmlformats.org/presentationml/2006/main">
  <p:tag name="KSO_WM_BEAUTIFY_FLAG" val=""/>
</p:tagLst>
</file>

<file path=ppt/tags/tag362.xml><?xml version="1.0" encoding="utf-8"?>
<p:tagLst xmlns:p="http://schemas.openxmlformats.org/presentationml/2006/main">
  <p:tag name="KSO_WM_BEAUTIFY_FLAG" val=""/>
</p:tagLst>
</file>

<file path=ppt/tags/tag363.xml><?xml version="1.0" encoding="utf-8"?>
<p:tagLst xmlns:p="http://schemas.openxmlformats.org/presentationml/2006/main">
  <p:tag name="KSO_WM_BEAUTIFY_FLAG" val=""/>
</p:tagLst>
</file>

<file path=ppt/tags/tag364.xml><?xml version="1.0" encoding="utf-8"?>
<p:tagLst xmlns:p="http://schemas.openxmlformats.org/presentationml/2006/main">
  <p:tag name="KSO_WM_BEAUTIFY_FLAG" val=""/>
</p:tagLst>
</file>

<file path=ppt/tags/tag365.xml><?xml version="1.0" encoding="utf-8"?>
<p:tagLst xmlns:p="http://schemas.openxmlformats.org/presentationml/2006/main">
  <p:tag name="KSO_WM_BEAUTIFY_FLAG" val=""/>
</p:tagLst>
</file>

<file path=ppt/tags/tag366.xml><?xml version="1.0" encoding="utf-8"?>
<p:tagLst xmlns:p="http://schemas.openxmlformats.org/presentationml/2006/main">
  <p:tag name="KSO_WM_BEAUTIFY_FLAG" val=""/>
</p:tagLst>
</file>

<file path=ppt/tags/tag367.xml><?xml version="1.0" encoding="utf-8"?>
<p:tagLst xmlns:p="http://schemas.openxmlformats.org/presentationml/2006/main">
  <p:tag name="KSO_WM_BEAUTIFY_FLAG" val=""/>
</p:tagLst>
</file>

<file path=ppt/tags/tag368.xml><?xml version="1.0" encoding="utf-8"?>
<p:tagLst xmlns:p="http://schemas.openxmlformats.org/presentationml/2006/main">
  <p:tag name="KSO_WM_BEAUTIFY_FLAG" val=""/>
</p:tagLst>
</file>

<file path=ppt/tags/tag369.xml><?xml version="1.0" encoding="utf-8"?>
<p:tagLst xmlns:p="http://schemas.openxmlformats.org/presentationml/2006/main">
  <p:tag name="KSO_WM_BEAUTIFY_FLAG" val=""/>
</p:tagLst>
</file>

<file path=ppt/tags/tag37.xml><?xml version="1.0" encoding="utf-8"?>
<p:tagLst xmlns:p="http://schemas.openxmlformats.org/presentationml/2006/main">
  <p:tag name="KSO_WM_BEAUTIFY_FLAG" val=""/>
</p:tagLst>
</file>

<file path=ppt/tags/tag370.xml><?xml version="1.0" encoding="utf-8"?>
<p:tagLst xmlns:p="http://schemas.openxmlformats.org/presentationml/2006/main">
  <p:tag name="KSO_WM_BEAUTIFY_FLAG" val=""/>
</p:tagLst>
</file>

<file path=ppt/tags/tag371.xml><?xml version="1.0" encoding="utf-8"?>
<p:tagLst xmlns:p="http://schemas.openxmlformats.org/presentationml/2006/main">
  <p:tag name="KSO_WM_BEAUTIFY_FLAG" val=""/>
</p:tagLst>
</file>

<file path=ppt/tags/tag372.xml><?xml version="1.0" encoding="utf-8"?>
<p:tagLst xmlns:p="http://schemas.openxmlformats.org/presentationml/2006/main">
  <p:tag name="KSO_WM_BEAUTIFY_FLAG" val=""/>
</p:tagLst>
</file>

<file path=ppt/tags/tag373.xml><?xml version="1.0" encoding="utf-8"?>
<p:tagLst xmlns:p="http://schemas.openxmlformats.org/presentationml/2006/main">
  <p:tag name="KSO_WM_BEAUTIFY_FLAG" val=""/>
</p:tagLst>
</file>

<file path=ppt/tags/tag374.xml><?xml version="1.0" encoding="utf-8"?>
<p:tagLst xmlns:p="http://schemas.openxmlformats.org/presentationml/2006/main">
  <p:tag name="KSO_WM_BEAUTIFY_FLAG" val=""/>
</p:tagLst>
</file>

<file path=ppt/tags/tag375.xml><?xml version="1.0" encoding="utf-8"?>
<p:tagLst xmlns:p="http://schemas.openxmlformats.org/presentationml/2006/main">
  <p:tag name="KSO_WM_BEAUTIFY_FLAG" val=""/>
</p:tagLst>
</file>

<file path=ppt/tags/tag376.xml><?xml version="1.0" encoding="utf-8"?>
<p:tagLst xmlns:p="http://schemas.openxmlformats.org/presentationml/2006/main">
  <p:tag name="KSO_WM_BEAUTIFY_FLAG" val=""/>
</p:tagLst>
</file>

<file path=ppt/tags/tag377.xml><?xml version="1.0" encoding="utf-8"?>
<p:tagLst xmlns:p="http://schemas.openxmlformats.org/presentationml/2006/main">
  <p:tag name="KSO_WM_BEAUTIFY_FLAG" val=""/>
</p:tagLst>
</file>

<file path=ppt/tags/tag378.xml><?xml version="1.0" encoding="utf-8"?>
<p:tagLst xmlns:p="http://schemas.openxmlformats.org/presentationml/2006/main">
  <p:tag name="KSO_WM_BEAUTIFY_FLAG" val=""/>
</p:tagLst>
</file>

<file path=ppt/tags/tag379.xml><?xml version="1.0" encoding="utf-8"?>
<p:tagLst xmlns:p="http://schemas.openxmlformats.org/presentationml/2006/main">
  <p:tag name="KSO_WM_BEAUTIFY_FLAG" val=""/>
</p:tagLst>
</file>

<file path=ppt/tags/tag38.xml><?xml version="1.0" encoding="utf-8"?>
<p:tagLst xmlns:p="http://schemas.openxmlformats.org/presentationml/2006/main">
  <p:tag name="KSO_WM_BEAUTIFY_FLAG" val=""/>
</p:tagLst>
</file>

<file path=ppt/tags/tag380.xml><?xml version="1.0" encoding="utf-8"?>
<p:tagLst xmlns:p="http://schemas.openxmlformats.org/presentationml/2006/main">
  <p:tag name="KSO_WM_BEAUTIFY_FLAG" val=""/>
</p:tagLst>
</file>

<file path=ppt/tags/tag381.xml><?xml version="1.0" encoding="utf-8"?>
<p:tagLst xmlns:p="http://schemas.openxmlformats.org/presentationml/2006/main">
  <p:tag name="KSO_WM_BEAUTIFY_FLAG" val=""/>
</p:tagLst>
</file>

<file path=ppt/tags/tag382.xml><?xml version="1.0" encoding="utf-8"?>
<p:tagLst xmlns:p="http://schemas.openxmlformats.org/presentationml/2006/main">
  <p:tag name="KSO_WM_BEAUTIFY_FLAG" val=""/>
</p:tagLst>
</file>

<file path=ppt/tags/tag383.xml><?xml version="1.0" encoding="utf-8"?>
<p:tagLst xmlns:p="http://schemas.openxmlformats.org/presentationml/2006/main">
  <p:tag name="KSO_WM_BEAUTIFY_FLAG" val=""/>
</p:tagLst>
</file>

<file path=ppt/tags/tag384.xml><?xml version="1.0" encoding="utf-8"?>
<p:tagLst xmlns:p="http://schemas.openxmlformats.org/presentationml/2006/main">
  <p:tag name="KSO_WM_BEAUTIFY_FLAG" val=""/>
</p:tagLst>
</file>

<file path=ppt/tags/tag385.xml><?xml version="1.0" encoding="utf-8"?>
<p:tagLst xmlns:p="http://schemas.openxmlformats.org/presentationml/2006/main">
  <p:tag name="KSO_WM_BEAUTIFY_FLAG" val=""/>
</p:tagLst>
</file>

<file path=ppt/tags/tag386.xml><?xml version="1.0" encoding="utf-8"?>
<p:tagLst xmlns:p="http://schemas.openxmlformats.org/presentationml/2006/main">
  <p:tag name="KSO_WM_BEAUTIFY_FLAG" val=""/>
</p:tagLst>
</file>

<file path=ppt/tags/tag387.xml><?xml version="1.0" encoding="utf-8"?>
<p:tagLst xmlns:p="http://schemas.openxmlformats.org/presentationml/2006/main">
  <p:tag name="KSO_WM_BEAUTIFY_FLAG" val=""/>
</p:tagLst>
</file>

<file path=ppt/tags/tag388.xml><?xml version="1.0" encoding="utf-8"?>
<p:tagLst xmlns:p="http://schemas.openxmlformats.org/presentationml/2006/main">
  <p:tag name="KSO_WM_BEAUTIFY_FLAG" val=""/>
</p:tagLst>
</file>

<file path=ppt/tags/tag389.xml><?xml version="1.0" encoding="utf-8"?>
<p:tagLst xmlns:p="http://schemas.openxmlformats.org/presentationml/2006/main">
  <p:tag name="KSO_WM_BEAUTIFY_FLAG" val=""/>
</p:tagLst>
</file>

<file path=ppt/tags/tag39.xml><?xml version="1.0" encoding="utf-8"?>
<p:tagLst xmlns:p="http://schemas.openxmlformats.org/presentationml/2006/main">
  <p:tag name="KSO_WM_BEAUTIFY_FLAG" val=""/>
</p:tagLst>
</file>

<file path=ppt/tags/tag390.xml><?xml version="1.0" encoding="utf-8"?>
<p:tagLst xmlns:p="http://schemas.openxmlformats.org/presentationml/2006/main">
  <p:tag name="KSO_WM_BEAUTIFY_FLAG" val=""/>
</p:tagLst>
</file>

<file path=ppt/tags/tag391.xml><?xml version="1.0" encoding="utf-8"?>
<p:tagLst xmlns:p="http://schemas.openxmlformats.org/presentationml/2006/main">
  <p:tag name="KSO_WM_BEAUTIFY_FLAG" val=""/>
</p:tagLst>
</file>

<file path=ppt/tags/tag392.xml><?xml version="1.0" encoding="utf-8"?>
<p:tagLst xmlns:p="http://schemas.openxmlformats.org/presentationml/2006/main">
  <p:tag name="KSO_WM_BEAUTIFY_FLAG" val=""/>
</p:tagLst>
</file>

<file path=ppt/tags/tag393.xml><?xml version="1.0" encoding="utf-8"?>
<p:tagLst xmlns:p="http://schemas.openxmlformats.org/presentationml/2006/main">
  <p:tag name="KSO_WM_BEAUTIFY_FLAG" val=""/>
</p:tagLst>
</file>

<file path=ppt/tags/tag394.xml><?xml version="1.0" encoding="utf-8"?>
<p:tagLst xmlns:p="http://schemas.openxmlformats.org/presentationml/2006/main">
  <p:tag name="KSO_WM_BEAUTIFY_FLAG" val=""/>
</p:tagLst>
</file>

<file path=ppt/tags/tag395.xml><?xml version="1.0" encoding="utf-8"?>
<p:tagLst xmlns:p="http://schemas.openxmlformats.org/presentationml/2006/main">
  <p:tag name="KSO_WM_BEAUTIFY_FLAG" val=""/>
</p:tagLst>
</file>

<file path=ppt/tags/tag396.xml><?xml version="1.0" encoding="utf-8"?>
<p:tagLst xmlns:p="http://schemas.openxmlformats.org/presentationml/2006/main">
  <p:tag name="KSO_WM_BEAUTIFY_FLAG" val=""/>
</p:tagLst>
</file>

<file path=ppt/tags/tag397.xml><?xml version="1.0" encoding="utf-8"?>
<p:tagLst xmlns:p="http://schemas.openxmlformats.org/presentationml/2006/main">
  <p:tag name="KSO_WM_BEAUTIFY_FLAG" val=""/>
</p:tagLst>
</file>

<file path=ppt/tags/tag398.xml><?xml version="1.0" encoding="utf-8"?>
<p:tagLst xmlns:p="http://schemas.openxmlformats.org/presentationml/2006/main">
  <p:tag name="KSO_WM_BEAUTIFY_FLAG" val=""/>
</p:tagLst>
</file>

<file path=ppt/tags/tag399.xml><?xml version="1.0" encoding="utf-8"?>
<p:tagLst xmlns:p="http://schemas.openxmlformats.org/presentationml/2006/main">
  <p:tag name="KSO_WM_BEAUTIFY_FLAG" val=""/>
</p:tagLst>
</file>

<file path=ppt/tags/tag4.xml><?xml version="1.0" encoding="utf-8"?>
<p:tagLst xmlns:p="http://schemas.openxmlformats.org/presentationml/2006/main">
  <p:tag name="KSO_WM_BEAUTIFY_FLAG" val=""/>
</p:tagLst>
</file>

<file path=ppt/tags/tag40.xml><?xml version="1.0" encoding="utf-8"?>
<p:tagLst xmlns:p="http://schemas.openxmlformats.org/presentationml/2006/main">
  <p:tag name="KSO_WM_BEAUTIFY_FLAG" val=""/>
</p:tagLst>
</file>

<file path=ppt/tags/tag400.xml><?xml version="1.0" encoding="utf-8"?>
<p:tagLst xmlns:p="http://schemas.openxmlformats.org/presentationml/2006/main">
  <p:tag name="KSO_WM_BEAUTIFY_FLAG" val=""/>
</p:tagLst>
</file>

<file path=ppt/tags/tag401.xml><?xml version="1.0" encoding="utf-8"?>
<p:tagLst xmlns:p="http://schemas.openxmlformats.org/presentationml/2006/main">
  <p:tag name="KSO_WM_BEAUTIFY_FLAG" val=""/>
</p:tagLst>
</file>

<file path=ppt/tags/tag402.xml><?xml version="1.0" encoding="utf-8"?>
<p:tagLst xmlns:p="http://schemas.openxmlformats.org/presentationml/2006/main">
  <p:tag name="KSO_WM_BEAUTIFY_FLAG" val=""/>
</p:tagLst>
</file>

<file path=ppt/tags/tag403.xml><?xml version="1.0" encoding="utf-8"?>
<p:tagLst xmlns:p="http://schemas.openxmlformats.org/presentationml/2006/main">
  <p:tag name="KSO_WM_BEAUTIFY_FLAG" val=""/>
</p:tagLst>
</file>

<file path=ppt/tags/tag404.xml><?xml version="1.0" encoding="utf-8"?>
<p:tagLst xmlns:p="http://schemas.openxmlformats.org/presentationml/2006/main">
  <p:tag name="KSO_WM_BEAUTIFY_FLAG" val=""/>
</p:tagLst>
</file>

<file path=ppt/tags/tag405.xml><?xml version="1.0" encoding="utf-8"?>
<p:tagLst xmlns:p="http://schemas.openxmlformats.org/presentationml/2006/main">
  <p:tag name="KSO_WM_BEAUTIFY_FLAG" val=""/>
</p:tagLst>
</file>

<file path=ppt/tags/tag406.xml><?xml version="1.0" encoding="utf-8"?>
<p:tagLst xmlns:p="http://schemas.openxmlformats.org/presentationml/2006/main">
  <p:tag name="KSO_WM_BEAUTIFY_FLAG" val=""/>
</p:tagLst>
</file>

<file path=ppt/tags/tag407.xml><?xml version="1.0" encoding="utf-8"?>
<p:tagLst xmlns:p="http://schemas.openxmlformats.org/presentationml/2006/main">
  <p:tag name="KSO_WM_BEAUTIFY_FLAG" val=""/>
</p:tagLst>
</file>

<file path=ppt/tags/tag408.xml><?xml version="1.0" encoding="utf-8"?>
<p:tagLst xmlns:p="http://schemas.openxmlformats.org/presentationml/2006/main">
  <p:tag name="KSO_WM_BEAUTIFY_FLAG" val=""/>
</p:tagLst>
</file>

<file path=ppt/tags/tag409.xml><?xml version="1.0" encoding="utf-8"?>
<p:tagLst xmlns:p="http://schemas.openxmlformats.org/presentationml/2006/main">
  <p:tag name="KSO_WM_BEAUTIFY_FLAG" val=""/>
</p:tagLst>
</file>

<file path=ppt/tags/tag41.xml><?xml version="1.0" encoding="utf-8"?>
<p:tagLst xmlns:p="http://schemas.openxmlformats.org/presentationml/2006/main">
  <p:tag name="KSO_WM_BEAUTIFY_FLAG" val=""/>
</p:tagLst>
</file>

<file path=ppt/tags/tag410.xml><?xml version="1.0" encoding="utf-8"?>
<p:tagLst xmlns:p="http://schemas.openxmlformats.org/presentationml/2006/main">
  <p:tag name="KSO_WM_BEAUTIFY_FLAG" val=""/>
</p:tagLst>
</file>

<file path=ppt/tags/tag411.xml><?xml version="1.0" encoding="utf-8"?>
<p:tagLst xmlns:p="http://schemas.openxmlformats.org/presentationml/2006/main">
  <p:tag name="KSO_WM_BEAUTIFY_FLAG" val=""/>
</p:tagLst>
</file>

<file path=ppt/tags/tag412.xml><?xml version="1.0" encoding="utf-8"?>
<p:tagLst xmlns:p="http://schemas.openxmlformats.org/presentationml/2006/main">
  <p:tag name="KSO_WM_BEAUTIFY_FLAG" val=""/>
</p:tagLst>
</file>

<file path=ppt/tags/tag413.xml><?xml version="1.0" encoding="utf-8"?>
<p:tagLst xmlns:p="http://schemas.openxmlformats.org/presentationml/2006/main">
  <p:tag name="KSO_WM_BEAUTIFY_FLAG" val=""/>
</p:tagLst>
</file>

<file path=ppt/tags/tag414.xml><?xml version="1.0" encoding="utf-8"?>
<p:tagLst xmlns:p="http://schemas.openxmlformats.org/presentationml/2006/main">
  <p:tag name="KSO_WM_BEAUTIFY_FLAG" val=""/>
</p:tagLst>
</file>

<file path=ppt/tags/tag415.xml><?xml version="1.0" encoding="utf-8"?>
<p:tagLst xmlns:p="http://schemas.openxmlformats.org/presentationml/2006/main">
  <p:tag name="KSO_WM_BEAUTIFY_FLAG" val=""/>
</p:tagLst>
</file>

<file path=ppt/tags/tag416.xml><?xml version="1.0" encoding="utf-8"?>
<p:tagLst xmlns:p="http://schemas.openxmlformats.org/presentationml/2006/main">
  <p:tag name="KSO_WM_BEAUTIFY_FLAG" val=""/>
</p:tagLst>
</file>

<file path=ppt/tags/tag417.xml><?xml version="1.0" encoding="utf-8"?>
<p:tagLst xmlns:p="http://schemas.openxmlformats.org/presentationml/2006/main">
  <p:tag name="KSO_WM_BEAUTIFY_FLAG" val=""/>
</p:tagLst>
</file>

<file path=ppt/tags/tag418.xml><?xml version="1.0" encoding="utf-8"?>
<p:tagLst xmlns:p="http://schemas.openxmlformats.org/presentationml/2006/main">
  <p:tag name="KSO_WM_BEAUTIFY_FLAG" val=""/>
</p:tagLst>
</file>

<file path=ppt/tags/tag419.xml><?xml version="1.0" encoding="utf-8"?>
<p:tagLst xmlns:p="http://schemas.openxmlformats.org/presentationml/2006/main">
  <p:tag name="KSO_WM_BEAUTIFY_FLAG" val=""/>
</p:tagLst>
</file>

<file path=ppt/tags/tag42.xml><?xml version="1.0" encoding="utf-8"?>
<p:tagLst xmlns:p="http://schemas.openxmlformats.org/presentationml/2006/main">
  <p:tag name="KSO_WM_BEAUTIFY_FLAG" val=""/>
</p:tagLst>
</file>

<file path=ppt/tags/tag420.xml><?xml version="1.0" encoding="utf-8"?>
<p:tagLst xmlns:p="http://schemas.openxmlformats.org/presentationml/2006/main">
  <p:tag name="KSO_WM_BEAUTIFY_FLAG" val=""/>
</p:tagLst>
</file>

<file path=ppt/tags/tag421.xml><?xml version="1.0" encoding="utf-8"?>
<p:tagLst xmlns:p="http://schemas.openxmlformats.org/presentationml/2006/main">
  <p:tag name="KSO_WM_BEAUTIFY_FLAG" val=""/>
</p:tagLst>
</file>

<file path=ppt/tags/tag422.xml><?xml version="1.0" encoding="utf-8"?>
<p:tagLst xmlns:p="http://schemas.openxmlformats.org/presentationml/2006/main">
  <p:tag name="KSO_WM_BEAUTIFY_FLAG" val=""/>
</p:tagLst>
</file>

<file path=ppt/tags/tag423.xml><?xml version="1.0" encoding="utf-8"?>
<p:tagLst xmlns:p="http://schemas.openxmlformats.org/presentationml/2006/main">
  <p:tag name="KSO_WM_BEAUTIFY_FLAG" val=""/>
</p:tagLst>
</file>

<file path=ppt/tags/tag424.xml><?xml version="1.0" encoding="utf-8"?>
<p:tagLst xmlns:p="http://schemas.openxmlformats.org/presentationml/2006/main">
  <p:tag name="KSO_WM_BEAUTIFY_FLAG" val=""/>
</p:tagLst>
</file>

<file path=ppt/tags/tag425.xml><?xml version="1.0" encoding="utf-8"?>
<p:tagLst xmlns:p="http://schemas.openxmlformats.org/presentationml/2006/main">
  <p:tag name="KSO_WM_BEAUTIFY_FLAG" val=""/>
</p:tagLst>
</file>

<file path=ppt/tags/tag426.xml><?xml version="1.0" encoding="utf-8"?>
<p:tagLst xmlns:p="http://schemas.openxmlformats.org/presentationml/2006/main">
  <p:tag name="KSO_WM_BEAUTIFY_FLAG" val=""/>
</p:tagLst>
</file>

<file path=ppt/tags/tag427.xml><?xml version="1.0" encoding="utf-8"?>
<p:tagLst xmlns:p="http://schemas.openxmlformats.org/presentationml/2006/main">
  <p:tag name="KSO_WM_BEAUTIFY_FLAG" val=""/>
</p:tagLst>
</file>

<file path=ppt/tags/tag428.xml><?xml version="1.0" encoding="utf-8"?>
<p:tagLst xmlns:p="http://schemas.openxmlformats.org/presentationml/2006/main">
  <p:tag name="KSO_WM_BEAUTIFY_FLAG" val=""/>
</p:tagLst>
</file>

<file path=ppt/tags/tag429.xml><?xml version="1.0" encoding="utf-8"?>
<p:tagLst xmlns:p="http://schemas.openxmlformats.org/presentationml/2006/main">
  <p:tag name="KSO_WM_BEAUTIFY_FLAG" val=""/>
</p:tagLst>
</file>

<file path=ppt/tags/tag43.xml><?xml version="1.0" encoding="utf-8"?>
<p:tagLst xmlns:p="http://schemas.openxmlformats.org/presentationml/2006/main">
  <p:tag name="KSO_WM_BEAUTIFY_FLAG" val=""/>
</p:tagLst>
</file>

<file path=ppt/tags/tag430.xml><?xml version="1.0" encoding="utf-8"?>
<p:tagLst xmlns:p="http://schemas.openxmlformats.org/presentationml/2006/main">
  <p:tag name="KSO_WM_BEAUTIFY_FLAG" val=""/>
</p:tagLst>
</file>

<file path=ppt/tags/tag431.xml><?xml version="1.0" encoding="utf-8"?>
<p:tagLst xmlns:p="http://schemas.openxmlformats.org/presentationml/2006/main">
  <p:tag name="KSO_WM_BEAUTIFY_FLAG" val=""/>
</p:tagLst>
</file>

<file path=ppt/tags/tag432.xml><?xml version="1.0" encoding="utf-8"?>
<p:tagLst xmlns:p="http://schemas.openxmlformats.org/presentationml/2006/main">
  <p:tag name="KSO_WM_BEAUTIFY_FLAG" val=""/>
</p:tagLst>
</file>

<file path=ppt/tags/tag433.xml><?xml version="1.0" encoding="utf-8"?>
<p:tagLst xmlns:p="http://schemas.openxmlformats.org/presentationml/2006/main">
  <p:tag name="KSO_WM_BEAUTIFY_FLAG" val=""/>
</p:tagLst>
</file>

<file path=ppt/tags/tag434.xml><?xml version="1.0" encoding="utf-8"?>
<p:tagLst xmlns:p="http://schemas.openxmlformats.org/presentationml/2006/main">
  <p:tag name="KSO_WM_BEAUTIFY_FLAG" val=""/>
</p:tagLst>
</file>

<file path=ppt/tags/tag435.xml><?xml version="1.0" encoding="utf-8"?>
<p:tagLst xmlns:p="http://schemas.openxmlformats.org/presentationml/2006/main">
  <p:tag name="KSO_WM_BEAUTIFY_FLAG" val=""/>
</p:tagLst>
</file>

<file path=ppt/tags/tag436.xml><?xml version="1.0" encoding="utf-8"?>
<p:tagLst xmlns:p="http://schemas.openxmlformats.org/presentationml/2006/main">
  <p:tag name="KSO_WM_BEAUTIFY_FLAG" val=""/>
</p:tagLst>
</file>

<file path=ppt/tags/tag437.xml><?xml version="1.0" encoding="utf-8"?>
<p:tagLst xmlns:p="http://schemas.openxmlformats.org/presentationml/2006/main">
  <p:tag name="KSO_WM_BEAUTIFY_FLAG" val=""/>
</p:tagLst>
</file>

<file path=ppt/tags/tag438.xml><?xml version="1.0" encoding="utf-8"?>
<p:tagLst xmlns:p="http://schemas.openxmlformats.org/presentationml/2006/main">
  <p:tag name="KSO_WM_BEAUTIFY_FLAG" val=""/>
</p:tagLst>
</file>

<file path=ppt/tags/tag439.xml><?xml version="1.0" encoding="utf-8"?>
<p:tagLst xmlns:p="http://schemas.openxmlformats.org/presentationml/2006/main">
  <p:tag name="KSO_WM_BEAUTIFY_FLAG" val=""/>
</p:tagLst>
</file>

<file path=ppt/tags/tag44.xml><?xml version="1.0" encoding="utf-8"?>
<p:tagLst xmlns:p="http://schemas.openxmlformats.org/presentationml/2006/main">
  <p:tag name="KSO_WM_BEAUTIFY_FLAG" val=""/>
</p:tagLst>
</file>

<file path=ppt/tags/tag440.xml><?xml version="1.0" encoding="utf-8"?>
<p:tagLst xmlns:p="http://schemas.openxmlformats.org/presentationml/2006/main">
  <p:tag name="KSO_WM_BEAUTIFY_FLAG" val=""/>
</p:tagLst>
</file>

<file path=ppt/tags/tag441.xml><?xml version="1.0" encoding="utf-8"?>
<p:tagLst xmlns:p="http://schemas.openxmlformats.org/presentationml/2006/main">
  <p:tag name="KSO_WM_BEAUTIFY_FLAG" val=""/>
</p:tagLst>
</file>

<file path=ppt/tags/tag442.xml><?xml version="1.0" encoding="utf-8"?>
<p:tagLst xmlns:p="http://schemas.openxmlformats.org/presentationml/2006/main">
  <p:tag name="KSO_WM_BEAUTIFY_FLAG" val=""/>
</p:tagLst>
</file>

<file path=ppt/tags/tag443.xml><?xml version="1.0" encoding="utf-8"?>
<p:tagLst xmlns:p="http://schemas.openxmlformats.org/presentationml/2006/main">
  <p:tag name="KSO_WM_BEAUTIFY_FLAG" val=""/>
</p:tagLst>
</file>

<file path=ppt/tags/tag444.xml><?xml version="1.0" encoding="utf-8"?>
<p:tagLst xmlns:p="http://schemas.openxmlformats.org/presentationml/2006/main">
  <p:tag name="KSO_WM_BEAUTIFY_FLAG" val=""/>
</p:tagLst>
</file>

<file path=ppt/tags/tag445.xml><?xml version="1.0" encoding="utf-8"?>
<p:tagLst xmlns:p="http://schemas.openxmlformats.org/presentationml/2006/main">
  <p:tag name="KSO_WM_BEAUTIFY_FLAG" val=""/>
</p:tagLst>
</file>

<file path=ppt/tags/tag446.xml><?xml version="1.0" encoding="utf-8"?>
<p:tagLst xmlns:p="http://schemas.openxmlformats.org/presentationml/2006/main">
  <p:tag name="KSO_WM_BEAUTIFY_FLAG" val=""/>
</p:tagLst>
</file>

<file path=ppt/tags/tag447.xml><?xml version="1.0" encoding="utf-8"?>
<p:tagLst xmlns:p="http://schemas.openxmlformats.org/presentationml/2006/main">
  <p:tag name="KSO_WM_BEAUTIFY_FLAG" val=""/>
</p:tagLst>
</file>

<file path=ppt/tags/tag448.xml><?xml version="1.0" encoding="utf-8"?>
<p:tagLst xmlns:p="http://schemas.openxmlformats.org/presentationml/2006/main">
  <p:tag name="KSO_WM_BEAUTIFY_FLAG" val=""/>
</p:tagLst>
</file>

<file path=ppt/tags/tag449.xml><?xml version="1.0" encoding="utf-8"?>
<p:tagLst xmlns:p="http://schemas.openxmlformats.org/presentationml/2006/main">
  <p:tag name="KSO_WM_BEAUTIFY_FLAG" val=""/>
</p:tagLst>
</file>

<file path=ppt/tags/tag45.xml><?xml version="1.0" encoding="utf-8"?>
<p:tagLst xmlns:p="http://schemas.openxmlformats.org/presentationml/2006/main">
  <p:tag name="KSO_WM_BEAUTIFY_FLAG" val=""/>
</p:tagLst>
</file>

<file path=ppt/tags/tag450.xml><?xml version="1.0" encoding="utf-8"?>
<p:tagLst xmlns:p="http://schemas.openxmlformats.org/presentationml/2006/main">
  <p:tag name="KSO_WM_BEAUTIFY_FLAG" val=""/>
</p:tagLst>
</file>

<file path=ppt/tags/tag451.xml><?xml version="1.0" encoding="utf-8"?>
<p:tagLst xmlns:p="http://schemas.openxmlformats.org/presentationml/2006/main">
  <p:tag name="KSO_WM_BEAUTIFY_FLAG" val=""/>
</p:tagLst>
</file>

<file path=ppt/tags/tag452.xml><?xml version="1.0" encoding="utf-8"?>
<p:tagLst xmlns:p="http://schemas.openxmlformats.org/presentationml/2006/main">
  <p:tag name="KSO_WM_BEAUTIFY_FLAG" val=""/>
</p:tagLst>
</file>

<file path=ppt/tags/tag453.xml><?xml version="1.0" encoding="utf-8"?>
<p:tagLst xmlns:p="http://schemas.openxmlformats.org/presentationml/2006/main">
  <p:tag name="KSO_WM_BEAUTIFY_FLAG" val=""/>
</p:tagLst>
</file>

<file path=ppt/tags/tag454.xml><?xml version="1.0" encoding="utf-8"?>
<p:tagLst xmlns:p="http://schemas.openxmlformats.org/presentationml/2006/main">
  <p:tag name="KSO_WM_BEAUTIFY_FLAG" val=""/>
</p:tagLst>
</file>

<file path=ppt/tags/tag455.xml><?xml version="1.0" encoding="utf-8"?>
<p:tagLst xmlns:p="http://schemas.openxmlformats.org/presentationml/2006/main">
  <p:tag name="KSO_WM_BEAUTIFY_FLAG" val=""/>
</p:tagLst>
</file>

<file path=ppt/tags/tag456.xml><?xml version="1.0" encoding="utf-8"?>
<p:tagLst xmlns:p="http://schemas.openxmlformats.org/presentationml/2006/main">
  <p:tag name="KSO_WM_BEAUTIFY_FLAG" val=""/>
</p:tagLst>
</file>

<file path=ppt/tags/tag457.xml><?xml version="1.0" encoding="utf-8"?>
<p:tagLst xmlns:p="http://schemas.openxmlformats.org/presentationml/2006/main">
  <p:tag name="KSO_WM_BEAUTIFY_FLAG" val=""/>
</p:tagLst>
</file>

<file path=ppt/tags/tag458.xml><?xml version="1.0" encoding="utf-8"?>
<p:tagLst xmlns:p="http://schemas.openxmlformats.org/presentationml/2006/main">
  <p:tag name="KSO_WM_BEAUTIFY_FLAG" val=""/>
</p:tagLst>
</file>

<file path=ppt/tags/tag459.xml><?xml version="1.0" encoding="utf-8"?>
<p:tagLst xmlns:p="http://schemas.openxmlformats.org/presentationml/2006/main">
  <p:tag name="KSO_WM_BEAUTIFY_FLAG" val=""/>
</p:tagLst>
</file>

<file path=ppt/tags/tag46.xml><?xml version="1.0" encoding="utf-8"?>
<p:tagLst xmlns:p="http://schemas.openxmlformats.org/presentationml/2006/main">
  <p:tag name="KSO_WM_BEAUTIFY_FLAG" val=""/>
</p:tagLst>
</file>

<file path=ppt/tags/tag460.xml><?xml version="1.0" encoding="utf-8"?>
<p:tagLst xmlns:p="http://schemas.openxmlformats.org/presentationml/2006/main">
  <p:tag name="KSO_WM_BEAUTIFY_FLAG" val=""/>
</p:tagLst>
</file>

<file path=ppt/tags/tag461.xml><?xml version="1.0" encoding="utf-8"?>
<p:tagLst xmlns:p="http://schemas.openxmlformats.org/presentationml/2006/main">
  <p:tag name="KSO_WM_BEAUTIFY_FLAG" val=""/>
</p:tagLst>
</file>

<file path=ppt/tags/tag462.xml><?xml version="1.0" encoding="utf-8"?>
<p:tagLst xmlns:p="http://schemas.openxmlformats.org/presentationml/2006/main">
  <p:tag name="KSO_WM_BEAUTIFY_FLAG" val=""/>
</p:tagLst>
</file>

<file path=ppt/tags/tag463.xml><?xml version="1.0" encoding="utf-8"?>
<p:tagLst xmlns:p="http://schemas.openxmlformats.org/presentationml/2006/main">
  <p:tag name="KSO_WM_BEAUTIFY_FLAG" val=""/>
</p:tagLst>
</file>

<file path=ppt/tags/tag464.xml><?xml version="1.0" encoding="utf-8"?>
<p:tagLst xmlns:p="http://schemas.openxmlformats.org/presentationml/2006/main">
  <p:tag name="KSO_WM_BEAUTIFY_FLAG" val=""/>
</p:tagLst>
</file>

<file path=ppt/tags/tag465.xml><?xml version="1.0" encoding="utf-8"?>
<p:tagLst xmlns:p="http://schemas.openxmlformats.org/presentationml/2006/main">
  <p:tag name="KSO_WM_BEAUTIFY_FLAG" val=""/>
</p:tagLst>
</file>

<file path=ppt/tags/tag466.xml><?xml version="1.0" encoding="utf-8"?>
<p:tagLst xmlns:p="http://schemas.openxmlformats.org/presentationml/2006/main">
  <p:tag name="KSO_WM_BEAUTIFY_FLAG" val=""/>
</p:tagLst>
</file>

<file path=ppt/tags/tag467.xml><?xml version="1.0" encoding="utf-8"?>
<p:tagLst xmlns:p="http://schemas.openxmlformats.org/presentationml/2006/main">
  <p:tag name="KSO_WM_BEAUTIFY_FLAG" val=""/>
</p:tagLst>
</file>

<file path=ppt/tags/tag468.xml><?xml version="1.0" encoding="utf-8"?>
<p:tagLst xmlns:p="http://schemas.openxmlformats.org/presentationml/2006/main">
  <p:tag name="KSO_WM_BEAUTIFY_FLAG" val=""/>
</p:tagLst>
</file>

<file path=ppt/tags/tag469.xml><?xml version="1.0" encoding="utf-8"?>
<p:tagLst xmlns:p="http://schemas.openxmlformats.org/presentationml/2006/main">
  <p:tag name="KSO_WM_BEAUTIFY_FLAG" val=""/>
</p:tagLst>
</file>

<file path=ppt/tags/tag47.xml><?xml version="1.0" encoding="utf-8"?>
<p:tagLst xmlns:p="http://schemas.openxmlformats.org/presentationml/2006/main">
  <p:tag name="KSO_WM_BEAUTIFY_FLAG" val=""/>
</p:tagLst>
</file>

<file path=ppt/tags/tag470.xml><?xml version="1.0" encoding="utf-8"?>
<p:tagLst xmlns:p="http://schemas.openxmlformats.org/presentationml/2006/main">
  <p:tag name="KSO_WM_BEAUTIFY_FLAG" val=""/>
</p:tagLst>
</file>

<file path=ppt/tags/tag471.xml><?xml version="1.0" encoding="utf-8"?>
<p:tagLst xmlns:p="http://schemas.openxmlformats.org/presentationml/2006/main">
  <p:tag name="KSO_WM_BEAUTIFY_FLAG" val=""/>
</p:tagLst>
</file>

<file path=ppt/tags/tag472.xml><?xml version="1.0" encoding="utf-8"?>
<p:tagLst xmlns:p="http://schemas.openxmlformats.org/presentationml/2006/main">
  <p:tag name="KSO_WM_BEAUTIFY_FLAG" val=""/>
</p:tagLst>
</file>

<file path=ppt/tags/tag473.xml><?xml version="1.0" encoding="utf-8"?>
<p:tagLst xmlns:p="http://schemas.openxmlformats.org/presentationml/2006/main">
  <p:tag name="KSO_WM_BEAUTIFY_FLAG" val=""/>
</p:tagLst>
</file>

<file path=ppt/tags/tag474.xml><?xml version="1.0" encoding="utf-8"?>
<p:tagLst xmlns:p="http://schemas.openxmlformats.org/presentationml/2006/main">
  <p:tag name="KSO_WM_BEAUTIFY_FLAG" val=""/>
</p:tagLst>
</file>

<file path=ppt/tags/tag475.xml><?xml version="1.0" encoding="utf-8"?>
<p:tagLst xmlns:p="http://schemas.openxmlformats.org/presentationml/2006/main">
  <p:tag name="KSO_WM_BEAUTIFY_FLAG" val=""/>
</p:tagLst>
</file>

<file path=ppt/tags/tag476.xml><?xml version="1.0" encoding="utf-8"?>
<p:tagLst xmlns:p="http://schemas.openxmlformats.org/presentationml/2006/main">
  <p:tag name="KSO_WM_BEAUTIFY_FLAG" val=""/>
</p:tagLst>
</file>

<file path=ppt/tags/tag477.xml><?xml version="1.0" encoding="utf-8"?>
<p:tagLst xmlns:p="http://schemas.openxmlformats.org/presentationml/2006/main">
  <p:tag name="KSO_WM_BEAUTIFY_FLAG" val=""/>
</p:tagLst>
</file>

<file path=ppt/tags/tag478.xml><?xml version="1.0" encoding="utf-8"?>
<p:tagLst xmlns:p="http://schemas.openxmlformats.org/presentationml/2006/main">
  <p:tag name="KSO_WM_BEAUTIFY_FLAG" val=""/>
</p:tagLst>
</file>

<file path=ppt/tags/tag479.xml><?xml version="1.0" encoding="utf-8"?>
<p:tagLst xmlns:p="http://schemas.openxmlformats.org/presentationml/2006/main">
  <p:tag name="KSO_WM_BEAUTIFY_FLAG" val=""/>
</p:tagLst>
</file>

<file path=ppt/tags/tag48.xml><?xml version="1.0" encoding="utf-8"?>
<p:tagLst xmlns:p="http://schemas.openxmlformats.org/presentationml/2006/main">
  <p:tag name="KSO_WM_BEAUTIFY_FLAG" val=""/>
</p:tagLst>
</file>

<file path=ppt/tags/tag480.xml><?xml version="1.0" encoding="utf-8"?>
<p:tagLst xmlns:p="http://schemas.openxmlformats.org/presentationml/2006/main">
  <p:tag name="KSO_WM_BEAUTIFY_FLAG" val=""/>
</p:tagLst>
</file>

<file path=ppt/tags/tag481.xml><?xml version="1.0" encoding="utf-8"?>
<p:tagLst xmlns:p="http://schemas.openxmlformats.org/presentationml/2006/main">
  <p:tag name="KSO_WM_BEAUTIFY_FLAG" val=""/>
</p:tagLst>
</file>

<file path=ppt/tags/tag482.xml><?xml version="1.0" encoding="utf-8"?>
<p:tagLst xmlns:p="http://schemas.openxmlformats.org/presentationml/2006/main">
  <p:tag name="KSO_WM_BEAUTIFY_FLAG" val=""/>
</p:tagLst>
</file>

<file path=ppt/tags/tag483.xml><?xml version="1.0" encoding="utf-8"?>
<p:tagLst xmlns:p="http://schemas.openxmlformats.org/presentationml/2006/main">
  <p:tag name="KSO_WM_BEAUTIFY_FLAG" val=""/>
</p:tagLst>
</file>

<file path=ppt/tags/tag484.xml><?xml version="1.0" encoding="utf-8"?>
<p:tagLst xmlns:p="http://schemas.openxmlformats.org/presentationml/2006/main">
  <p:tag name="KSO_WM_BEAUTIFY_FLAG" val=""/>
</p:tagLst>
</file>

<file path=ppt/tags/tag485.xml><?xml version="1.0" encoding="utf-8"?>
<p:tagLst xmlns:p="http://schemas.openxmlformats.org/presentationml/2006/main">
  <p:tag name="KSO_WM_BEAUTIFY_FLAG" val=""/>
</p:tagLst>
</file>

<file path=ppt/tags/tag486.xml><?xml version="1.0" encoding="utf-8"?>
<p:tagLst xmlns:p="http://schemas.openxmlformats.org/presentationml/2006/main">
  <p:tag name="KSO_WM_BEAUTIFY_FLAG" val=""/>
</p:tagLst>
</file>

<file path=ppt/tags/tag487.xml><?xml version="1.0" encoding="utf-8"?>
<p:tagLst xmlns:p="http://schemas.openxmlformats.org/presentationml/2006/main">
  <p:tag name="KSO_WM_BEAUTIFY_FLAG" val=""/>
</p:tagLst>
</file>

<file path=ppt/tags/tag488.xml><?xml version="1.0" encoding="utf-8"?>
<p:tagLst xmlns:p="http://schemas.openxmlformats.org/presentationml/2006/main">
  <p:tag name="KSO_WM_BEAUTIFY_FLAG" val=""/>
</p:tagLst>
</file>

<file path=ppt/tags/tag489.xml><?xml version="1.0" encoding="utf-8"?>
<p:tagLst xmlns:p="http://schemas.openxmlformats.org/presentationml/2006/main">
  <p:tag name="KSO_WM_BEAUTIFY_FLAG" val=""/>
</p:tagLst>
</file>

<file path=ppt/tags/tag49.xml><?xml version="1.0" encoding="utf-8"?>
<p:tagLst xmlns:p="http://schemas.openxmlformats.org/presentationml/2006/main">
  <p:tag name="KSO_WM_BEAUTIFY_FLAG" val=""/>
</p:tagLst>
</file>

<file path=ppt/tags/tag490.xml><?xml version="1.0" encoding="utf-8"?>
<p:tagLst xmlns:p="http://schemas.openxmlformats.org/presentationml/2006/main">
  <p:tag name="KSO_WM_BEAUTIFY_FLAG" val=""/>
</p:tagLst>
</file>

<file path=ppt/tags/tag491.xml><?xml version="1.0" encoding="utf-8"?>
<p:tagLst xmlns:p="http://schemas.openxmlformats.org/presentationml/2006/main">
  <p:tag name="KSO_WM_BEAUTIFY_FLAG" val=""/>
</p:tagLst>
</file>

<file path=ppt/tags/tag492.xml><?xml version="1.0" encoding="utf-8"?>
<p:tagLst xmlns:p="http://schemas.openxmlformats.org/presentationml/2006/main">
  <p:tag name="KSO_WM_BEAUTIFY_FLAG" val=""/>
</p:tagLst>
</file>

<file path=ppt/tags/tag493.xml><?xml version="1.0" encoding="utf-8"?>
<p:tagLst xmlns:p="http://schemas.openxmlformats.org/presentationml/2006/main">
  <p:tag name="KSO_WM_BEAUTIFY_FLAG" val=""/>
</p:tagLst>
</file>

<file path=ppt/tags/tag494.xml><?xml version="1.0" encoding="utf-8"?>
<p:tagLst xmlns:p="http://schemas.openxmlformats.org/presentationml/2006/main">
  <p:tag name="KSO_WM_BEAUTIFY_FLAG" val=""/>
</p:tagLst>
</file>

<file path=ppt/tags/tag495.xml><?xml version="1.0" encoding="utf-8"?>
<p:tagLst xmlns:p="http://schemas.openxmlformats.org/presentationml/2006/main">
  <p:tag name="KSO_WM_BEAUTIFY_FLAG" val=""/>
</p:tagLst>
</file>

<file path=ppt/tags/tag496.xml><?xml version="1.0" encoding="utf-8"?>
<p:tagLst xmlns:p="http://schemas.openxmlformats.org/presentationml/2006/main">
  <p:tag name="KSO_WM_BEAUTIFY_FLAG" val=""/>
</p:tagLst>
</file>

<file path=ppt/tags/tag497.xml><?xml version="1.0" encoding="utf-8"?>
<p:tagLst xmlns:p="http://schemas.openxmlformats.org/presentationml/2006/main">
  <p:tag name="KSO_WM_BEAUTIFY_FLAG" val=""/>
</p:tagLst>
</file>

<file path=ppt/tags/tag498.xml><?xml version="1.0" encoding="utf-8"?>
<p:tagLst xmlns:p="http://schemas.openxmlformats.org/presentationml/2006/main">
  <p:tag name="KSO_WM_BEAUTIFY_FLAG" val=""/>
</p:tagLst>
</file>

<file path=ppt/tags/tag499.xml><?xml version="1.0" encoding="utf-8"?>
<p:tagLst xmlns:p="http://schemas.openxmlformats.org/presentationml/2006/main">
  <p:tag name="KSO_WM_BEAUTIFY_FLAG" val=""/>
</p:tagLst>
</file>

<file path=ppt/tags/tag5.xml><?xml version="1.0" encoding="utf-8"?>
<p:tagLst xmlns:p="http://schemas.openxmlformats.org/presentationml/2006/main">
  <p:tag name="KSO_WM_BEAUTIFY_FLAG" val=""/>
</p:tagLst>
</file>

<file path=ppt/tags/tag50.xml><?xml version="1.0" encoding="utf-8"?>
<p:tagLst xmlns:p="http://schemas.openxmlformats.org/presentationml/2006/main">
  <p:tag name="KSO_WM_BEAUTIFY_FLAG" val=""/>
</p:tagLst>
</file>

<file path=ppt/tags/tag500.xml><?xml version="1.0" encoding="utf-8"?>
<p:tagLst xmlns:p="http://schemas.openxmlformats.org/presentationml/2006/main">
  <p:tag name="KSO_WM_BEAUTIFY_FLAG" val=""/>
</p:tagLst>
</file>

<file path=ppt/tags/tag501.xml><?xml version="1.0" encoding="utf-8"?>
<p:tagLst xmlns:p="http://schemas.openxmlformats.org/presentationml/2006/main">
  <p:tag name="KSO_WM_BEAUTIFY_FLAG" val=""/>
</p:tagLst>
</file>

<file path=ppt/tags/tag502.xml><?xml version="1.0" encoding="utf-8"?>
<p:tagLst xmlns:p="http://schemas.openxmlformats.org/presentationml/2006/main">
  <p:tag name="KSO_WM_BEAUTIFY_FLAG" val=""/>
</p:tagLst>
</file>

<file path=ppt/tags/tag503.xml><?xml version="1.0" encoding="utf-8"?>
<p:tagLst xmlns:p="http://schemas.openxmlformats.org/presentationml/2006/main">
  <p:tag name="KSO_WM_BEAUTIFY_FLAG" val=""/>
</p:tagLst>
</file>

<file path=ppt/tags/tag504.xml><?xml version="1.0" encoding="utf-8"?>
<p:tagLst xmlns:p="http://schemas.openxmlformats.org/presentationml/2006/main">
  <p:tag name="KSO_WM_BEAUTIFY_FLAG" val=""/>
</p:tagLst>
</file>

<file path=ppt/tags/tag505.xml><?xml version="1.0" encoding="utf-8"?>
<p:tagLst xmlns:p="http://schemas.openxmlformats.org/presentationml/2006/main">
  <p:tag name="KSO_WM_BEAUTIFY_FLAG" val=""/>
</p:tagLst>
</file>

<file path=ppt/tags/tag506.xml><?xml version="1.0" encoding="utf-8"?>
<p:tagLst xmlns:p="http://schemas.openxmlformats.org/presentationml/2006/main">
  <p:tag name="KSO_WM_BEAUTIFY_FLAG" val=""/>
</p:tagLst>
</file>

<file path=ppt/tags/tag507.xml><?xml version="1.0" encoding="utf-8"?>
<p:tagLst xmlns:p="http://schemas.openxmlformats.org/presentationml/2006/main">
  <p:tag name="KSO_WM_BEAUTIFY_FLAG" val=""/>
</p:tagLst>
</file>

<file path=ppt/tags/tag508.xml><?xml version="1.0" encoding="utf-8"?>
<p:tagLst xmlns:p="http://schemas.openxmlformats.org/presentationml/2006/main">
  <p:tag name="KSO_WM_BEAUTIFY_FLAG" val=""/>
</p:tagLst>
</file>

<file path=ppt/tags/tag509.xml><?xml version="1.0" encoding="utf-8"?>
<p:tagLst xmlns:p="http://schemas.openxmlformats.org/presentationml/2006/main">
  <p:tag name="KSO_WM_BEAUTIFY_FLAG" val=""/>
</p:tagLst>
</file>

<file path=ppt/tags/tag51.xml><?xml version="1.0" encoding="utf-8"?>
<p:tagLst xmlns:p="http://schemas.openxmlformats.org/presentationml/2006/main">
  <p:tag name="KSO_WM_BEAUTIFY_FLAG" val=""/>
</p:tagLst>
</file>

<file path=ppt/tags/tag510.xml><?xml version="1.0" encoding="utf-8"?>
<p:tagLst xmlns:p="http://schemas.openxmlformats.org/presentationml/2006/main">
  <p:tag name="KSO_WM_BEAUTIFY_FLAG" val=""/>
</p:tagLst>
</file>

<file path=ppt/tags/tag511.xml><?xml version="1.0" encoding="utf-8"?>
<p:tagLst xmlns:p="http://schemas.openxmlformats.org/presentationml/2006/main">
  <p:tag name="KSO_WM_BEAUTIFY_FLAG" val=""/>
</p:tagLst>
</file>

<file path=ppt/tags/tag512.xml><?xml version="1.0" encoding="utf-8"?>
<p:tagLst xmlns:p="http://schemas.openxmlformats.org/presentationml/2006/main">
  <p:tag name="KSO_WM_BEAUTIFY_FLAG" val=""/>
</p:tagLst>
</file>

<file path=ppt/tags/tag513.xml><?xml version="1.0" encoding="utf-8"?>
<p:tagLst xmlns:p="http://schemas.openxmlformats.org/presentationml/2006/main">
  <p:tag name="KSO_WM_BEAUTIFY_FLAG" val=""/>
</p:tagLst>
</file>

<file path=ppt/tags/tag514.xml><?xml version="1.0" encoding="utf-8"?>
<p:tagLst xmlns:p="http://schemas.openxmlformats.org/presentationml/2006/main">
  <p:tag name="KSO_WM_BEAUTIFY_FLAG" val=""/>
</p:tagLst>
</file>

<file path=ppt/tags/tag515.xml><?xml version="1.0" encoding="utf-8"?>
<p:tagLst xmlns:p="http://schemas.openxmlformats.org/presentationml/2006/main">
  <p:tag name="KSO_WM_BEAUTIFY_FLAG" val=""/>
</p:tagLst>
</file>

<file path=ppt/tags/tag516.xml><?xml version="1.0" encoding="utf-8"?>
<p:tagLst xmlns:p="http://schemas.openxmlformats.org/presentationml/2006/main">
  <p:tag name="KSO_WM_BEAUTIFY_FLAG" val=""/>
</p:tagLst>
</file>

<file path=ppt/tags/tag517.xml><?xml version="1.0" encoding="utf-8"?>
<p:tagLst xmlns:p="http://schemas.openxmlformats.org/presentationml/2006/main">
  <p:tag name="KSO_WM_BEAUTIFY_FLAG" val=""/>
</p:tagLst>
</file>

<file path=ppt/tags/tag518.xml><?xml version="1.0" encoding="utf-8"?>
<p:tagLst xmlns:p="http://schemas.openxmlformats.org/presentationml/2006/main">
  <p:tag name="KSO_WM_BEAUTIFY_FLAG" val=""/>
</p:tagLst>
</file>

<file path=ppt/tags/tag519.xml><?xml version="1.0" encoding="utf-8"?>
<p:tagLst xmlns:p="http://schemas.openxmlformats.org/presentationml/2006/main">
  <p:tag name="KSO_WM_BEAUTIFY_FLAG" val=""/>
</p:tagLst>
</file>

<file path=ppt/tags/tag52.xml><?xml version="1.0" encoding="utf-8"?>
<p:tagLst xmlns:p="http://schemas.openxmlformats.org/presentationml/2006/main">
  <p:tag name="KSO_WM_BEAUTIFY_FLAG" val=""/>
</p:tagLst>
</file>

<file path=ppt/tags/tag520.xml><?xml version="1.0" encoding="utf-8"?>
<p:tagLst xmlns:p="http://schemas.openxmlformats.org/presentationml/2006/main">
  <p:tag name="KSO_WM_BEAUTIFY_FLAG" val=""/>
</p:tagLst>
</file>

<file path=ppt/tags/tag521.xml><?xml version="1.0" encoding="utf-8"?>
<p:tagLst xmlns:p="http://schemas.openxmlformats.org/presentationml/2006/main">
  <p:tag name="KSO_WM_BEAUTIFY_FLAG" val=""/>
</p:tagLst>
</file>

<file path=ppt/tags/tag522.xml><?xml version="1.0" encoding="utf-8"?>
<p:tagLst xmlns:p="http://schemas.openxmlformats.org/presentationml/2006/main">
  <p:tag name="KSO_WM_BEAUTIFY_FLAG" val=""/>
</p:tagLst>
</file>

<file path=ppt/tags/tag523.xml><?xml version="1.0" encoding="utf-8"?>
<p:tagLst xmlns:p="http://schemas.openxmlformats.org/presentationml/2006/main">
  <p:tag name="KSO_WM_BEAUTIFY_FLAG" val=""/>
</p:tagLst>
</file>

<file path=ppt/tags/tag524.xml><?xml version="1.0" encoding="utf-8"?>
<p:tagLst xmlns:p="http://schemas.openxmlformats.org/presentationml/2006/main">
  <p:tag name="KSO_WM_BEAUTIFY_FLAG" val=""/>
</p:tagLst>
</file>

<file path=ppt/tags/tag525.xml><?xml version="1.0" encoding="utf-8"?>
<p:tagLst xmlns:p="http://schemas.openxmlformats.org/presentationml/2006/main">
  <p:tag name="KSO_WM_BEAUTIFY_FLAG" val=""/>
</p:tagLst>
</file>

<file path=ppt/tags/tag526.xml><?xml version="1.0" encoding="utf-8"?>
<p:tagLst xmlns:p="http://schemas.openxmlformats.org/presentationml/2006/main">
  <p:tag name="KSO_WM_BEAUTIFY_FLAG" val=""/>
</p:tagLst>
</file>

<file path=ppt/tags/tag527.xml><?xml version="1.0" encoding="utf-8"?>
<p:tagLst xmlns:p="http://schemas.openxmlformats.org/presentationml/2006/main">
  <p:tag name="KSO_WM_BEAUTIFY_FLAG" val=""/>
</p:tagLst>
</file>

<file path=ppt/tags/tag528.xml><?xml version="1.0" encoding="utf-8"?>
<p:tagLst xmlns:p="http://schemas.openxmlformats.org/presentationml/2006/main">
  <p:tag name="KSO_WM_BEAUTIFY_FLAG" val=""/>
</p:tagLst>
</file>

<file path=ppt/tags/tag529.xml><?xml version="1.0" encoding="utf-8"?>
<p:tagLst xmlns:p="http://schemas.openxmlformats.org/presentationml/2006/main">
  <p:tag name="KSO_WM_BEAUTIFY_FLAG" val=""/>
</p:tagLst>
</file>

<file path=ppt/tags/tag53.xml><?xml version="1.0" encoding="utf-8"?>
<p:tagLst xmlns:p="http://schemas.openxmlformats.org/presentationml/2006/main">
  <p:tag name="KSO_WM_BEAUTIFY_FLAG" val=""/>
</p:tagLst>
</file>

<file path=ppt/tags/tag530.xml><?xml version="1.0" encoding="utf-8"?>
<p:tagLst xmlns:p="http://schemas.openxmlformats.org/presentationml/2006/main">
  <p:tag name="KSO_WM_BEAUTIFY_FLAG" val=""/>
</p:tagLst>
</file>

<file path=ppt/tags/tag531.xml><?xml version="1.0" encoding="utf-8"?>
<p:tagLst xmlns:p="http://schemas.openxmlformats.org/presentationml/2006/main">
  <p:tag name="KSO_WM_BEAUTIFY_FLAG" val=""/>
</p:tagLst>
</file>

<file path=ppt/tags/tag532.xml><?xml version="1.0" encoding="utf-8"?>
<p:tagLst xmlns:p="http://schemas.openxmlformats.org/presentationml/2006/main">
  <p:tag name="KSO_WM_BEAUTIFY_FLAG" val=""/>
</p:tagLst>
</file>

<file path=ppt/tags/tag533.xml><?xml version="1.0" encoding="utf-8"?>
<p:tagLst xmlns:p="http://schemas.openxmlformats.org/presentationml/2006/main">
  <p:tag name="KSO_WM_BEAUTIFY_FLAG" val=""/>
</p:tagLst>
</file>

<file path=ppt/tags/tag534.xml><?xml version="1.0" encoding="utf-8"?>
<p:tagLst xmlns:p="http://schemas.openxmlformats.org/presentationml/2006/main">
  <p:tag name="KSO_WM_BEAUTIFY_FLAG" val=""/>
</p:tagLst>
</file>

<file path=ppt/tags/tag535.xml><?xml version="1.0" encoding="utf-8"?>
<p:tagLst xmlns:p="http://schemas.openxmlformats.org/presentationml/2006/main">
  <p:tag name="KSO_WM_BEAUTIFY_FLAG" val=""/>
</p:tagLst>
</file>

<file path=ppt/tags/tag536.xml><?xml version="1.0" encoding="utf-8"?>
<p:tagLst xmlns:p="http://schemas.openxmlformats.org/presentationml/2006/main">
  <p:tag name="KSO_WM_BEAUTIFY_FLAG" val=""/>
</p:tagLst>
</file>

<file path=ppt/tags/tag537.xml><?xml version="1.0" encoding="utf-8"?>
<p:tagLst xmlns:p="http://schemas.openxmlformats.org/presentationml/2006/main">
  <p:tag name="KSO_WM_BEAUTIFY_FLAG" val=""/>
</p:tagLst>
</file>

<file path=ppt/tags/tag538.xml><?xml version="1.0" encoding="utf-8"?>
<p:tagLst xmlns:p="http://schemas.openxmlformats.org/presentationml/2006/main">
  <p:tag name="KSO_WM_BEAUTIFY_FLAG" val=""/>
</p:tagLst>
</file>

<file path=ppt/tags/tag539.xml><?xml version="1.0" encoding="utf-8"?>
<p:tagLst xmlns:p="http://schemas.openxmlformats.org/presentationml/2006/main">
  <p:tag name="KSO_WM_BEAUTIFY_FLAG" val=""/>
</p:tagLst>
</file>

<file path=ppt/tags/tag54.xml><?xml version="1.0" encoding="utf-8"?>
<p:tagLst xmlns:p="http://schemas.openxmlformats.org/presentationml/2006/main">
  <p:tag name="KSO_WM_BEAUTIFY_FLAG" val=""/>
</p:tagLst>
</file>

<file path=ppt/tags/tag540.xml><?xml version="1.0" encoding="utf-8"?>
<p:tagLst xmlns:p="http://schemas.openxmlformats.org/presentationml/2006/main">
  <p:tag name="KSO_WM_BEAUTIFY_FLAG" val=""/>
</p:tagLst>
</file>

<file path=ppt/tags/tag541.xml><?xml version="1.0" encoding="utf-8"?>
<p:tagLst xmlns:p="http://schemas.openxmlformats.org/presentationml/2006/main">
  <p:tag name="KSO_WM_BEAUTIFY_FLAG" val=""/>
</p:tagLst>
</file>

<file path=ppt/tags/tag542.xml><?xml version="1.0" encoding="utf-8"?>
<p:tagLst xmlns:p="http://schemas.openxmlformats.org/presentationml/2006/main">
  <p:tag name="KSO_WM_BEAUTIFY_FLAG" val=""/>
</p:tagLst>
</file>

<file path=ppt/tags/tag543.xml><?xml version="1.0" encoding="utf-8"?>
<p:tagLst xmlns:p="http://schemas.openxmlformats.org/presentationml/2006/main">
  <p:tag name="KSO_WM_BEAUTIFY_FLAG" val=""/>
</p:tagLst>
</file>

<file path=ppt/tags/tag544.xml><?xml version="1.0" encoding="utf-8"?>
<p:tagLst xmlns:p="http://schemas.openxmlformats.org/presentationml/2006/main">
  <p:tag name="KSO_WM_BEAUTIFY_FLAG" val=""/>
</p:tagLst>
</file>

<file path=ppt/tags/tag545.xml><?xml version="1.0" encoding="utf-8"?>
<p:tagLst xmlns:p="http://schemas.openxmlformats.org/presentationml/2006/main">
  <p:tag name="KSO_WM_BEAUTIFY_FLAG" val=""/>
</p:tagLst>
</file>

<file path=ppt/tags/tag546.xml><?xml version="1.0" encoding="utf-8"?>
<p:tagLst xmlns:p="http://schemas.openxmlformats.org/presentationml/2006/main">
  <p:tag name="KSO_WM_BEAUTIFY_FLAG" val=""/>
</p:tagLst>
</file>

<file path=ppt/tags/tag547.xml><?xml version="1.0" encoding="utf-8"?>
<p:tagLst xmlns:p="http://schemas.openxmlformats.org/presentationml/2006/main">
  <p:tag name="KSO_WM_BEAUTIFY_FLAG" val=""/>
</p:tagLst>
</file>

<file path=ppt/tags/tag548.xml><?xml version="1.0" encoding="utf-8"?>
<p:tagLst xmlns:p="http://schemas.openxmlformats.org/presentationml/2006/main">
  <p:tag name="KSO_WM_BEAUTIFY_FLAG" val=""/>
</p:tagLst>
</file>

<file path=ppt/tags/tag549.xml><?xml version="1.0" encoding="utf-8"?>
<p:tagLst xmlns:p="http://schemas.openxmlformats.org/presentationml/2006/main">
  <p:tag name="KSO_WM_BEAUTIFY_FLAG" val=""/>
</p:tagLst>
</file>

<file path=ppt/tags/tag55.xml><?xml version="1.0" encoding="utf-8"?>
<p:tagLst xmlns:p="http://schemas.openxmlformats.org/presentationml/2006/main">
  <p:tag name="KSO_WM_BEAUTIFY_FLAG" val=""/>
</p:tagLst>
</file>

<file path=ppt/tags/tag550.xml><?xml version="1.0" encoding="utf-8"?>
<p:tagLst xmlns:p="http://schemas.openxmlformats.org/presentationml/2006/main">
  <p:tag name="KSO_WM_BEAUTIFY_FLAG" val=""/>
</p:tagLst>
</file>

<file path=ppt/tags/tag551.xml><?xml version="1.0" encoding="utf-8"?>
<p:tagLst xmlns:p="http://schemas.openxmlformats.org/presentationml/2006/main">
  <p:tag name="KSO_WM_BEAUTIFY_FLAG" val=""/>
</p:tagLst>
</file>

<file path=ppt/tags/tag552.xml><?xml version="1.0" encoding="utf-8"?>
<p:tagLst xmlns:p="http://schemas.openxmlformats.org/presentationml/2006/main">
  <p:tag name="KSO_WM_BEAUTIFY_FLAG" val=""/>
</p:tagLst>
</file>

<file path=ppt/tags/tag553.xml><?xml version="1.0" encoding="utf-8"?>
<p:tagLst xmlns:p="http://schemas.openxmlformats.org/presentationml/2006/main">
  <p:tag name="KSO_WM_BEAUTIFY_FLAG" val=""/>
</p:tagLst>
</file>

<file path=ppt/tags/tag554.xml><?xml version="1.0" encoding="utf-8"?>
<p:tagLst xmlns:p="http://schemas.openxmlformats.org/presentationml/2006/main">
  <p:tag name="KSO_WM_BEAUTIFY_FLAG" val=""/>
</p:tagLst>
</file>

<file path=ppt/tags/tag555.xml><?xml version="1.0" encoding="utf-8"?>
<p:tagLst xmlns:p="http://schemas.openxmlformats.org/presentationml/2006/main">
  <p:tag name="KSO_WM_BEAUTIFY_FLAG" val=""/>
</p:tagLst>
</file>

<file path=ppt/tags/tag556.xml><?xml version="1.0" encoding="utf-8"?>
<p:tagLst xmlns:p="http://schemas.openxmlformats.org/presentationml/2006/main">
  <p:tag name="KSO_WM_BEAUTIFY_FLAG" val=""/>
</p:tagLst>
</file>

<file path=ppt/tags/tag557.xml><?xml version="1.0" encoding="utf-8"?>
<p:tagLst xmlns:p="http://schemas.openxmlformats.org/presentationml/2006/main">
  <p:tag name="KSO_WM_BEAUTIFY_FLAG" val=""/>
</p:tagLst>
</file>

<file path=ppt/tags/tag558.xml><?xml version="1.0" encoding="utf-8"?>
<p:tagLst xmlns:p="http://schemas.openxmlformats.org/presentationml/2006/main">
  <p:tag name="KSO_WM_BEAUTIFY_FLAG" val=""/>
</p:tagLst>
</file>

<file path=ppt/tags/tag559.xml><?xml version="1.0" encoding="utf-8"?>
<p:tagLst xmlns:p="http://schemas.openxmlformats.org/presentationml/2006/main">
  <p:tag name="KSO_WM_BEAUTIFY_FLAG" val=""/>
</p:tagLst>
</file>

<file path=ppt/tags/tag56.xml><?xml version="1.0" encoding="utf-8"?>
<p:tagLst xmlns:p="http://schemas.openxmlformats.org/presentationml/2006/main">
  <p:tag name="KSO_WM_BEAUTIFY_FLAG" val=""/>
</p:tagLst>
</file>

<file path=ppt/tags/tag560.xml><?xml version="1.0" encoding="utf-8"?>
<p:tagLst xmlns:p="http://schemas.openxmlformats.org/presentationml/2006/main">
  <p:tag name="KSO_WM_BEAUTIFY_FLAG" val=""/>
</p:tagLst>
</file>

<file path=ppt/tags/tag561.xml><?xml version="1.0" encoding="utf-8"?>
<p:tagLst xmlns:p="http://schemas.openxmlformats.org/presentationml/2006/main">
  <p:tag name="KSO_WM_BEAUTIFY_FLAG" val=""/>
</p:tagLst>
</file>

<file path=ppt/tags/tag562.xml><?xml version="1.0" encoding="utf-8"?>
<p:tagLst xmlns:p="http://schemas.openxmlformats.org/presentationml/2006/main">
  <p:tag name="KSO_WM_BEAUTIFY_FLAG" val=""/>
</p:tagLst>
</file>

<file path=ppt/tags/tag563.xml><?xml version="1.0" encoding="utf-8"?>
<p:tagLst xmlns:p="http://schemas.openxmlformats.org/presentationml/2006/main">
  <p:tag name="KSO_WM_BEAUTIFY_FLAG" val=""/>
</p:tagLst>
</file>

<file path=ppt/tags/tag564.xml><?xml version="1.0" encoding="utf-8"?>
<p:tagLst xmlns:p="http://schemas.openxmlformats.org/presentationml/2006/main">
  <p:tag name="KSO_WM_BEAUTIFY_FLAG" val=""/>
</p:tagLst>
</file>

<file path=ppt/tags/tag565.xml><?xml version="1.0" encoding="utf-8"?>
<p:tagLst xmlns:p="http://schemas.openxmlformats.org/presentationml/2006/main">
  <p:tag name="KSO_WM_BEAUTIFY_FLAG" val=""/>
</p:tagLst>
</file>

<file path=ppt/tags/tag566.xml><?xml version="1.0" encoding="utf-8"?>
<p:tagLst xmlns:p="http://schemas.openxmlformats.org/presentationml/2006/main">
  <p:tag name="KSO_WM_BEAUTIFY_FLAG" val=""/>
</p:tagLst>
</file>

<file path=ppt/tags/tag567.xml><?xml version="1.0" encoding="utf-8"?>
<p:tagLst xmlns:p="http://schemas.openxmlformats.org/presentationml/2006/main">
  <p:tag name="KSO_WM_BEAUTIFY_FLAG" val=""/>
</p:tagLst>
</file>

<file path=ppt/tags/tag568.xml><?xml version="1.0" encoding="utf-8"?>
<p:tagLst xmlns:p="http://schemas.openxmlformats.org/presentationml/2006/main">
  <p:tag name="KSO_WM_BEAUTIFY_FLAG" val=""/>
</p:tagLst>
</file>

<file path=ppt/tags/tag569.xml><?xml version="1.0" encoding="utf-8"?>
<p:tagLst xmlns:p="http://schemas.openxmlformats.org/presentationml/2006/main">
  <p:tag name="KSO_WM_BEAUTIFY_FLAG" val=""/>
</p:tagLst>
</file>

<file path=ppt/tags/tag57.xml><?xml version="1.0" encoding="utf-8"?>
<p:tagLst xmlns:p="http://schemas.openxmlformats.org/presentationml/2006/main">
  <p:tag name="KSO_WM_BEAUTIFY_FLAG" val=""/>
</p:tagLst>
</file>

<file path=ppt/tags/tag570.xml><?xml version="1.0" encoding="utf-8"?>
<p:tagLst xmlns:p="http://schemas.openxmlformats.org/presentationml/2006/main">
  <p:tag name="KSO_WM_BEAUTIFY_FLAG" val=""/>
</p:tagLst>
</file>

<file path=ppt/tags/tag571.xml><?xml version="1.0" encoding="utf-8"?>
<p:tagLst xmlns:p="http://schemas.openxmlformats.org/presentationml/2006/main">
  <p:tag name="KSO_WM_BEAUTIFY_FLAG" val=""/>
</p:tagLst>
</file>

<file path=ppt/tags/tag572.xml><?xml version="1.0" encoding="utf-8"?>
<p:tagLst xmlns:p="http://schemas.openxmlformats.org/presentationml/2006/main">
  <p:tag name="KSO_WM_BEAUTIFY_FLAG" val=""/>
</p:tagLst>
</file>

<file path=ppt/tags/tag573.xml><?xml version="1.0" encoding="utf-8"?>
<p:tagLst xmlns:p="http://schemas.openxmlformats.org/presentationml/2006/main">
  <p:tag name="KSO_WM_BEAUTIFY_FLAG" val=""/>
</p:tagLst>
</file>

<file path=ppt/tags/tag574.xml><?xml version="1.0" encoding="utf-8"?>
<p:tagLst xmlns:p="http://schemas.openxmlformats.org/presentationml/2006/main">
  <p:tag name="KSO_WM_BEAUTIFY_FLAG" val=""/>
</p:tagLst>
</file>

<file path=ppt/tags/tag575.xml><?xml version="1.0" encoding="utf-8"?>
<p:tagLst xmlns:p="http://schemas.openxmlformats.org/presentationml/2006/main">
  <p:tag name="KSO_WM_BEAUTIFY_FLAG" val=""/>
</p:tagLst>
</file>

<file path=ppt/tags/tag576.xml><?xml version="1.0" encoding="utf-8"?>
<p:tagLst xmlns:p="http://schemas.openxmlformats.org/presentationml/2006/main">
  <p:tag name="KSO_WM_BEAUTIFY_FLAG" val=""/>
</p:tagLst>
</file>

<file path=ppt/tags/tag577.xml><?xml version="1.0" encoding="utf-8"?>
<p:tagLst xmlns:p="http://schemas.openxmlformats.org/presentationml/2006/main">
  <p:tag name="KSO_WM_BEAUTIFY_FLAG" val=""/>
</p:tagLst>
</file>

<file path=ppt/tags/tag578.xml><?xml version="1.0" encoding="utf-8"?>
<p:tagLst xmlns:p="http://schemas.openxmlformats.org/presentationml/2006/main">
  <p:tag name="KSO_WM_BEAUTIFY_FLAG" val=""/>
</p:tagLst>
</file>

<file path=ppt/tags/tag579.xml><?xml version="1.0" encoding="utf-8"?>
<p:tagLst xmlns:p="http://schemas.openxmlformats.org/presentationml/2006/main">
  <p:tag name="KSO_WM_BEAUTIFY_FLAG" val=""/>
</p:tagLst>
</file>

<file path=ppt/tags/tag58.xml><?xml version="1.0" encoding="utf-8"?>
<p:tagLst xmlns:p="http://schemas.openxmlformats.org/presentationml/2006/main">
  <p:tag name="KSO_WM_BEAUTIFY_FLAG" val=""/>
</p:tagLst>
</file>

<file path=ppt/tags/tag580.xml><?xml version="1.0" encoding="utf-8"?>
<p:tagLst xmlns:p="http://schemas.openxmlformats.org/presentationml/2006/main">
  <p:tag name="KSO_WM_BEAUTIFY_FLAG" val=""/>
</p:tagLst>
</file>

<file path=ppt/tags/tag581.xml><?xml version="1.0" encoding="utf-8"?>
<p:tagLst xmlns:p="http://schemas.openxmlformats.org/presentationml/2006/main">
  <p:tag name="KSO_WM_BEAUTIFY_FLAG" val=""/>
</p:tagLst>
</file>

<file path=ppt/tags/tag582.xml><?xml version="1.0" encoding="utf-8"?>
<p:tagLst xmlns:p="http://schemas.openxmlformats.org/presentationml/2006/main">
  <p:tag name="KSO_WM_BEAUTIFY_FLAG" val=""/>
</p:tagLst>
</file>

<file path=ppt/tags/tag583.xml><?xml version="1.0" encoding="utf-8"?>
<p:tagLst xmlns:p="http://schemas.openxmlformats.org/presentationml/2006/main">
  <p:tag name="KSO_WM_BEAUTIFY_FLAG" val=""/>
</p:tagLst>
</file>

<file path=ppt/tags/tag584.xml><?xml version="1.0" encoding="utf-8"?>
<p:tagLst xmlns:p="http://schemas.openxmlformats.org/presentationml/2006/main">
  <p:tag name="KSO_WM_BEAUTIFY_FLAG" val=""/>
</p:tagLst>
</file>

<file path=ppt/tags/tag585.xml><?xml version="1.0" encoding="utf-8"?>
<p:tagLst xmlns:p="http://schemas.openxmlformats.org/presentationml/2006/main">
  <p:tag name="KSO_WM_BEAUTIFY_FLAG" val=""/>
</p:tagLst>
</file>

<file path=ppt/tags/tag586.xml><?xml version="1.0" encoding="utf-8"?>
<p:tagLst xmlns:p="http://schemas.openxmlformats.org/presentationml/2006/main">
  <p:tag name="KSO_WM_BEAUTIFY_FLAG" val=""/>
</p:tagLst>
</file>

<file path=ppt/tags/tag587.xml><?xml version="1.0" encoding="utf-8"?>
<p:tagLst xmlns:p="http://schemas.openxmlformats.org/presentationml/2006/main">
  <p:tag name="KSO_WM_BEAUTIFY_FLAG" val=""/>
</p:tagLst>
</file>

<file path=ppt/tags/tag588.xml><?xml version="1.0" encoding="utf-8"?>
<p:tagLst xmlns:p="http://schemas.openxmlformats.org/presentationml/2006/main">
  <p:tag name="KSO_WM_BEAUTIFY_FLAG" val=""/>
</p:tagLst>
</file>

<file path=ppt/tags/tag589.xml><?xml version="1.0" encoding="utf-8"?>
<p:tagLst xmlns:p="http://schemas.openxmlformats.org/presentationml/2006/main">
  <p:tag name="KSO_WM_BEAUTIFY_FLAG" val=""/>
</p:tagLst>
</file>

<file path=ppt/tags/tag59.xml><?xml version="1.0" encoding="utf-8"?>
<p:tagLst xmlns:p="http://schemas.openxmlformats.org/presentationml/2006/main">
  <p:tag name="KSO_WM_BEAUTIFY_FLAG" val=""/>
</p:tagLst>
</file>

<file path=ppt/tags/tag590.xml><?xml version="1.0" encoding="utf-8"?>
<p:tagLst xmlns:p="http://schemas.openxmlformats.org/presentationml/2006/main">
  <p:tag name="KSO_WM_BEAUTIFY_FLAG" val=""/>
</p:tagLst>
</file>

<file path=ppt/tags/tag591.xml><?xml version="1.0" encoding="utf-8"?>
<p:tagLst xmlns:p="http://schemas.openxmlformats.org/presentationml/2006/main">
  <p:tag name="KSO_WM_BEAUTIFY_FLAG" val=""/>
</p:tagLst>
</file>

<file path=ppt/tags/tag592.xml><?xml version="1.0" encoding="utf-8"?>
<p:tagLst xmlns:p="http://schemas.openxmlformats.org/presentationml/2006/main">
  <p:tag name="KSO_WM_BEAUTIFY_FLAG" val=""/>
</p:tagLst>
</file>

<file path=ppt/tags/tag593.xml><?xml version="1.0" encoding="utf-8"?>
<p:tagLst xmlns:p="http://schemas.openxmlformats.org/presentationml/2006/main">
  <p:tag name="KSO_WM_BEAUTIFY_FLAG" val=""/>
</p:tagLst>
</file>

<file path=ppt/tags/tag594.xml><?xml version="1.0" encoding="utf-8"?>
<p:tagLst xmlns:p="http://schemas.openxmlformats.org/presentationml/2006/main">
  <p:tag name="KSO_WM_BEAUTIFY_FLAG" val=""/>
</p:tagLst>
</file>

<file path=ppt/tags/tag595.xml><?xml version="1.0" encoding="utf-8"?>
<p:tagLst xmlns:p="http://schemas.openxmlformats.org/presentationml/2006/main">
  <p:tag name="KSO_WM_BEAUTIFY_FLAG" val=""/>
</p:tagLst>
</file>

<file path=ppt/tags/tag596.xml><?xml version="1.0" encoding="utf-8"?>
<p:tagLst xmlns:p="http://schemas.openxmlformats.org/presentationml/2006/main">
  <p:tag name="KSO_WM_BEAUTIFY_FLAG" val=""/>
</p:tagLst>
</file>

<file path=ppt/tags/tag597.xml><?xml version="1.0" encoding="utf-8"?>
<p:tagLst xmlns:p="http://schemas.openxmlformats.org/presentationml/2006/main">
  <p:tag name="KSO_WM_BEAUTIFY_FLAG" val=""/>
</p:tagLst>
</file>

<file path=ppt/tags/tag598.xml><?xml version="1.0" encoding="utf-8"?>
<p:tagLst xmlns:p="http://schemas.openxmlformats.org/presentationml/2006/main">
  <p:tag name="KSO_WM_BEAUTIFY_FLAG" val=""/>
</p:tagLst>
</file>

<file path=ppt/tags/tag599.xml><?xml version="1.0" encoding="utf-8"?>
<p:tagLst xmlns:p="http://schemas.openxmlformats.org/presentationml/2006/main">
  <p:tag name="KSO_WM_BEAUTIFY_FLAG" val=""/>
</p:tagLst>
</file>

<file path=ppt/tags/tag6.xml><?xml version="1.0" encoding="utf-8"?>
<p:tagLst xmlns:p="http://schemas.openxmlformats.org/presentationml/2006/main">
  <p:tag name="KSO_WM_BEAUTIFY_FLAG" val=""/>
</p:tagLst>
</file>

<file path=ppt/tags/tag60.xml><?xml version="1.0" encoding="utf-8"?>
<p:tagLst xmlns:p="http://schemas.openxmlformats.org/presentationml/2006/main">
  <p:tag name="KSO_WM_BEAUTIFY_FLAG" val=""/>
</p:tagLst>
</file>

<file path=ppt/tags/tag600.xml><?xml version="1.0" encoding="utf-8"?>
<p:tagLst xmlns:p="http://schemas.openxmlformats.org/presentationml/2006/main">
  <p:tag name="KSO_WM_BEAUTIFY_FLAG" val=""/>
</p:tagLst>
</file>

<file path=ppt/tags/tag601.xml><?xml version="1.0" encoding="utf-8"?>
<p:tagLst xmlns:p="http://schemas.openxmlformats.org/presentationml/2006/main">
  <p:tag name="KSO_WM_BEAUTIFY_FLAG" val=""/>
</p:tagLst>
</file>

<file path=ppt/tags/tag602.xml><?xml version="1.0" encoding="utf-8"?>
<p:tagLst xmlns:p="http://schemas.openxmlformats.org/presentationml/2006/main">
  <p:tag name="KSO_WM_BEAUTIFY_FLAG" val=""/>
</p:tagLst>
</file>

<file path=ppt/tags/tag603.xml><?xml version="1.0" encoding="utf-8"?>
<p:tagLst xmlns:p="http://schemas.openxmlformats.org/presentationml/2006/main">
  <p:tag name="KSO_WM_BEAUTIFY_FLAG" val=""/>
</p:tagLst>
</file>

<file path=ppt/tags/tag604.xml><?xml version="1.0" encoding="utf-8"?>
<p:tagLst xmlns:p="http://schemas.openxmlformats.org/presentationml/2006/main">
  <p:tag name="KSO_WM_BEAUTIFY_FLAG" val=""/>
</p:tagLst>
</file>

<file path=ppt/tags/tag605.xml><?xml version="1.0" encoding="utf-8"?>
<p:tagLst xmlns:p="http://schemas.openxmlformats.org/presentationml/2006/main">
  <p:tag name="KSO_WM_BEAUTIFY_FLAG" val=""/>
</p:tagLst>
</file>

<file path=ppt/tags/tag606.xml><?xml version="1.0" encoding="utf-8"?>
<p:tagLst xmlns:p="http://schemas.openxmlformats.org/presentationml/2006/main">
  <p:tag name="KSO_WM_BEAUTIFY_FLAG" val=""/>
</p:tagLst>
</file>

<file path=ppt/tags/tag607.xml><?xml version="1.0" encoding="utf-8"?>
<p:tagLst xmlns:p="http://schemas.openxmlformats.org/presentationml/2006/main">
  <p:tag name="KSO_WM_BEAUTIFY_FLAG" val=""/>
</p:tagLst>
</file>

<file path=ppt/tags/tag608.xml><?xml version="1.0" encoding="utf-8"?>
<p:tagLst xmlns:p="http://schemas.openxmlformats.org/presentationml/2006/main">
  <p:tag name="KSO_WM_BEAUTIFY_FLAG" val=""/>
</p:tagLst>
</file>

<file path=ppt/tags/tag609.xml><?xml version="1.0" encoding="utf-8"?>
<p:tagLst xmlns:p="http://schemas.openxmlformats.org/presentationml/2006/main">
  <p:tag name="KSO_WM_BEAUTIFY_FLAG" val=""/>
</p:tagLst>
</file>

<file path=ppt/tags/tag61.xml><?xml version="1.0" encoding="utf-8"?>
<p:tagLst xmlns:p="http://schemas.openxmlformats.org/presentationml/2006/main">
  <p:tag name="KSO_WM_BEAUTIFY_FLAG" val=""/>
</p:tagLst>
</file>

<file path=ppt/tags/tag610.xml><?xml version="1.0" encoding="utf-8"?>
<p:tagLst xmlns:p="http://schemas.openxmlformats.org/presentationml/2006/main">
  <p:tag name="KSO_WM_BEAUTIFY_FLAG" val=""/>
</p:tagLst>
</file>

<file path=ppt/tags/tag611.xml><?xml version="1.0" encoding="utf-8"?>
<p:tagLst xmlns:p="http://schemas.openxmlformats.org/presentationml/2006/main">
  <p:tag name="KSO_WM_BEAUTIFY_FLAG" val=""/>
</p:tagLst>
</file>

<file path=ppt/tags/tag612.xml><?xml version="1.0" encoding="utf-8"?>
<p:tagLst xmlns:p="http://schemas.openxmlformats.org/presentationml/2006/main">
  <p:tag name="KSO_WM_BEAUTIFY_FLAG" val=""/>
</p:tagLst>
</file>

<file path=ppt/tags/tag613.xml><?xml version="1.0" encoding="utf-8"?>
<p:tagLst xmlns:p="http://schemas.openxmlformats.org/presentationml/2006/main">
  <p:tag name="KSO_WM_BEAUTIFY_FLAG" val=""/>
</p:tagLst>
</file>

<file path=ppt/tags/tag614.xml><?xml version="1.0" encoding="utf-8"?>
<p:tagLst xmlns:p="http://schemas.openxmlformats.org/presentationml/2006/main">
  <p:tag name="KSO_WM_BEAUTIFY_FLAG" val=""/>
</p:tagLst>
</file>

<file path=ppt/tags/tag615.xml><?xml version="1.0" encoding="utf-8"?>
<p:tagLst xmlns:p="http://schemas.openxmlformats.org/presentationml/2006/main">
  <p:tag name="KSO_WM_BEAUTIFY_FLAG" val=""/>
</p:tagLst>
</file>

<file path=ppt/tags/tag616.xml><?xml version="1.0" encoding="utf-8"?>
<p:tagLst xmlns:p="http://schemas.openxmlformats.org/presentationml/2006/main">
  <p:tag name="KSO_WM_BEAUTIFY_FLAG" val=""/>
</p:tagLst>
</file>

<file path=ppt/tags/tag617.xml><?xml version="1.0" encoding="utf-8"?>
<p:tagLst xmlns:p="http://schemas.openxmlformats.org/presentationml/2006/main">
  <p:tag name="KSO_WM_BEAUTIFY_FLAG" val=""/>
</p:tagLst>
</file>

<file path=ppt/tags/tag618.xml><?xml version="1.0" encoding="utf-8"?>
<p:tagLst xmlns:p="http://schemas.openxmlformats.org/presentationml/2006/main">
  <p:tag name="KSO_WM_BEAUTIFY_FLAG" val=""/>
</p:tagLst>
</file>

<file path=ppt/tags/tag619.xml><?xml version="1.0" encoding="utf-8"?>
<p:tagLst xmlns:p="http://schemas.openxmlformats.org/presentationml/2006/main">
  <p:tag name="KSO_WM_BEAUTIFY_FLAG" val=""/>
</p:tagLst>
</file>

<file path=ppt/tags/tag62.xml><?xml version="1.0" encoding="utf-8"?>
<p:tagLst xmlns:p="http://schemas.openxmlformats.org/presentationml/2006/main">
  <p:tag name="KSO_WM_BEAUTIFY_FLAG" val=""/>
</p:tagLst>
</file>

<file path=ppt/tags/tag620.xml><?xml version="1.0" encoding="utf-8"?>
<p:tagLst xmlns:p="http://schemas.openxmlformats.org/presentationml/2006/main">
  <p:tag name="KSO_WM_BEAUTIFY_FLAG" val=""/>
</p:tagLst>
</file>

<file path=ppt/tags/tag621.xml><?xml version="1.0" encoding="utf-8"?>
<p:tagLst xmlns:p="http://schemas.openxmlformats.org/presentationml/2006/main">
  <p:tag name="KSO_WM_BEAUTIFY_FLAG" val=""/>
</p:tagLst>
</file>

<file path=ppt/tags/tag622.xml><?xml version="1.0" encoding="utf-8"?>
<p:tagLst xmlns:p="http://schemas.openxmlformats.org/presentationml/2006/main">
  <p:tag name="KSO_WM_BEAUTIFY_FLAG" val=""/>
</p:tagLst>
</file>

<file path=ppt/tags/tag623.xml><?xml version="1.0" encoding="utf-8"?>
<p:tagLst xmlns:p="http://schemas.openxmlformats.org/presentationml/2006/main">
  <p:tag name="KSO_WM_BEAUTIFY_FLAG" val=""/>
</p:tagLst>
</file>

<file path=ppt/tags/tag624.xml><?xml version="1.0" encoding="utf-8"?>
<p:tagLst xmlns:p="http://schemas.openxmlformats.org/presentationml/2006/main">
  <p:tag name="KSO_WM_BEAUTIFY_FLAG" val=""/>
</p:tagLst>
</file>

<file path=ppt/tags/tag625.xml><?xml version="1.0" encoding="utf-8"?>
<p:tagLst xmlns:p="http://schemas.openxmlformats.org/presentationml/2006/main">
  <p:tag name="KSO_WM_BEAUTIFY_FLAG" val=""/>
</p:tagLst>
</file>

<file path=ppt/tags/tag626.xml><?xml version="1.0" encoding="utf-8"?>
<p:tagLst xmlns:p="http://schemas.openxmlformats.org/presentationml/2006/main">
  <p:tag name="KSO_WM_BEAUTIFY_FLAG" val=""/>
</p:tagLst>
</file>

<file path=ppt/tags/tag627.xml><?xml version="1.0" encoding="utf-8"?>
<p:tagLst xmlns:p="http://schemas.openxmlformats.org/presentationml/2006/main">
  <p:tag name="KSO_WM_BEAUTIFY_FLAG" val=""/>
</p:tagLst>
</file>

<file path=ppt/tags/tag628.xml><?xml version="1.0" encoding="utf-8"?>
<p:tagLst xmlns:p="http://schemas.openxmlformats.org/presentationml/2006/main">
  <p:tag name="KSO_WM_BEAUTIFY_FLAG" val=""/>
</p:tagLst>
</file>

<file path=ppt/tags/tag629.xml><?xml version="1.0" encoding="utf-8"?>
<p:tagLst xmlns:p="http://schemas.openxmlformats.org/presentationml/2006/main">
  <p:tag name="KSO_WM_BEAUTIFY_FLAG" val=""/>
</p:tagLst>
</file>

<file path=ppt/tags/tag63.xml><?xml version="1.0" encoding="utf-8"?>
<p:tagLst xmlns:p="http://schemas.openxmlformats.org/presentationml/2006/main">
  <p:tag name="KSO_WM_BEAUTIFY_FLAG" val=""/>
</p:tagLst>
</file>

<file path=ppt/tags/tag630.xml><?xml version="1.0" encoding="utf-8"?>
<p:tagLst xmlns:p="http://schemas.openxmlformats.org/presentationml/2006/main">
  <p:tag name="KSO_WM_BEAUTIFY_FLAG" val=""/>
</p:tagLst>
</file>

<file path=ppt/tags/tag631.xml><?xml version="1.0" encoding="utf-8"?>
<p:tagLst xmlns:p="http://schemas.openxmlformats.org/presentationml/2006/main">
  <p:tag name="KSO_WM_BEAUTIFY_FLAG" val=""/>
</p:tagLst>
</file>

<file path=ppt/tags/tag632.xml><?xml version="1.0" encoding="utf-8"?>
<p:tagLst xmlns:p="http://schemas.openxmlformats.org/presentationml/2006/main">
  <p:tag name="KSO_WM_BEAUTIFY_FLAG" val=""/>
</p:tagLst>
</file>

<file path=ppt/tags/tag633.xml><?xml version="1.0" encoding="utf-8"?>
<p:tagLst xmlns:p="http://schemas.openxmlformats.org/presentationml/2006/main">
  <p:tag name="KSO_WM_BEAUTIFY_FLAG" val=""/>
</p:tagLst>
</file>

<file path=ppt/tags/tag634.xml><?xml version="1.0" encoding="utf-8"?>
<p:tagLst xmlns:p="http://schemas.openxmlformats.org/presentationml/2006/main">
  <p:tag name="KSO_WM_BEAUTIFY_FLAG" val=""/>
</p:tagLst>
</file>

<file path=ppt/tags/tag635.xml><?xml version="1.0" encoding="utf-8"?>
<p:tagLst xmlns:p="http://schemas.openxmlformats.org/presentationml/2006/main">
  <p:tag name="KSO_WM_BEAUTIFY_FLAG" val=""/>
</p:tagLst>
</file>

<file path=ppt/tags/tag636.xml><?xml version="1.0" encoding="utf-8"?>
<p:tagLst xmlns:p="http://schemas.openxmlformats.org/presentationml/2006/main">
  <p:tag name="KSO_WM_BEAUTIFY_FLAG" val=""/>
</p:tagLst>
</file>

<file path=ppt/tags/tag637.xml><?xml version="1.0" encoding="utf-8"?>
<p:tagLst xmlns:p="http://schemas.openxmlformats.org/presentationml/2006/main">
  <p:tag name="KSO_WM_BEAUTIFY_FLAG" val=""/>
</p:tagLst>
</file>

<file path=ppt/tags/tag638.xml><?xml version="1.0" encoding="utf-8"?>
<p:tagLst xmlns:p="http://schemas.openxmlformats.org/presentationml/2006/main">
  <p:tag name="KSO_WM_BEAUTIFY_FLAG" val=""/>
</p:tagLst>
</file>

<file path=ppt/tags/tag639.xml><?xml version="1.0" encoding="utf-8"?>
<p:tagLst xmlns:p="http://schemas.openxmlformats.org/presentationml/2006/main">
  <p:tag name="KSO_WM_BEAUTIFY_FLAG" val=""/>
</p:tagLst>
</file>

<file path=ppt/tags/tag64.xml><?xml version="1.0" encoding="utf-8"?>
<p:tagLst xmlns:p="http://schemas.openxmlformats.org/presentationml/2006/main">
  <p:tag name="KSO_WM_BEAUTIFY_FLAG" val=""/>
</p:tagLst>
</file>

<file path=ppt/tags/tag640.xml><?xml version="1.0" encoding="utf-8"?>
<p:tagLst xmlns:p="http://schemas.openxmlformats.org/presentationml/2006/main">
  <p:tag name="THINKCELLSHAPEDONOTDELETE" val="thinkcellActiveDocDoNotDelete"/>
</p:tagLst>
</file>

<file path=ppt/tags/tag641.xml><?xml version="1.0" encoding="utf-8"?>
<p:tagLst xmlns:p="http://schemas.openxmlformats.org/presentationml/2006/main">
  <p:tag name="THINKCELLSHAPEDONOTDELETE" val="t1Smkff3fSzGMOuItfjj3Fw"/>
</p:tagLst>
</file>

<file path=ppt/tags/tag642.xml><?xml version="1.0" encoding="utf-8"?>
<p:tagLst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d9328476-1967-40c8-956a-ae77ed6f3f5f"/>
  <p:tag name="KSO_WPP_MARK_KEY" val="b6615204-e759-495b-be2f-80de8b95d91e"/>
  <p:tag name="COMMONDATA" val="eyJoZGlkIjoiODViY2JkMjU3NGYzZTEwMzZmMGFkZWViYmNkYWU3NDIifQ=="/>
</p:tagLst>
</file>

<file path=ppt/tags/tag65.xml><?xml version="1.0" encoding="utf-8"?>
<p:tagLst xmlns:p="http://schemas.openxmlformats.org/presentationml/2006/main">
  <p:tag name="KSO_WM_BEAUTIFY_FLAG" val=""/>
</p:tagLst>
</file>

<file path=ppt/tags/tag66.xml><?xml version="1.0" encoding="utf-8"?>
<p:tagLst xmlns:p="http://schemas.openxmlformats.org/presentationml/2006/main">
  <p:tag name="KSO_WM_BEAUTIFY_FLAG" val=""/>
</p:tagLst>
</file>

<file path=ppt/tags/tag67.xml><?xml version="1.0" encoding="utf-8"?>
<p:tagLst xmlns:p="http://schemas.openxmlformats.org/presentationml/2006/main">
  <p:tag name="KSO_WM_BEAUTIFY_FLAG" val=""/>
</p:tagLst>
</file>

<file path=ppt/tags/tag68.xml><?xml version="1.0" encoding="utf-8"?>
<p:tagLst xmlns:p="http://schemas.openxmlformats.org/presentationml/2006/main">
  <p:tag name="KSO_WM_BEAUTIFY_FLAG" val=""/>
</p:tagLst>
</file>

<file path=ppt/tags/tag69.xml><?xml version="1.0" encoding="utf-8"?>
<p:tagLst xmlns:p="http://schemas.openxmlformats.org/presentationml/2006/main">
  <p:tag name="KSO_WM_BEAUTIFY_FLAG" val=""/>
</p:tagLst>
</file>

<file path=ppt/tags/tag7.xml><?xml version="1.0" encoding="utf-8"?>
<p:tagLst xmlns:p="http://schemas.openxmlformats.org/presentationml/2006/main">
  <p:tag name="KSO_WM_BEAUTIFY_FLAG" val=""/>
</p:tagLst>
</file>

<file path=ppt/tags/tag70.xml><?xml version="1.0" encoding="utf-8"?>
<p:tagLst xmlns:p="http://schemas.openxmlformats.org/presentationml/2006/main">
  <p:tag name="KSO_WM_BEAUTIFY_FLAG" val=""/>
</p:tagLst>
</file>

<file path=ppt/tags/tag71.xml><?xml version="1.0" encoding="utf-8"?>
<p:tagLst xmlns:p="http://schemas.openxmlformats.org/presentationml/2006/main">
  <p:tag name="KSO_WM_BEAUTIFY_FLAG" val=""/>
</p:tagLst>
</file>

<file path=ppt/tags/tag72.xml><?xml version="1.0" encoding="utf-8"?>
<p:tagLst xmlns:p="http://schemas.openxmlformats.org/presentationml/2006/main">
  <p:tag name="KSO_WM_BEAUTIFY_FLAG" val=""/>
  <p:tag name="KSO_WM_UNIT_PLACING_PICTURE_USER_VIEWPORT" val="{&quot;height&quot;:1322.9338582677165,&quot;width&quot;:2351.8818897637793}"/>
</p:tagLst>
</file>

<file path=ppt/tags/tag73.xml><?xml version="1.0" encoding="utf-8"?>
<p:tagLst xmlns:p="http://schemas.openxmlformats.org/presentationml/2006/main">
  <p:tag name="KSO_WM_BEAUTIFY_FLAG" val=""/>
</p:tagLst>
</file>

<file path=ppt/tags/tag74.xml><?xml version="1.0" encoding="utf-8"?>
<p:tagLst xmlns:p="http://schemas.openxmlformats.org/presentationml/2006/main">
  <p:tag name="KSO_WM_BEAUTIFY_FLAG" val=""/>
</p:tagLst>
</file>

<file path=ppt/tags/tag75.xml><?xml version="1.0" encoding="utf-8"?>
<p:tagLst xmlns:p="http://schemas.openxmlformats.org/presentationml/2006/main">
  <p:tag name="KSO_WM_BEAUTIFY_FLAG" val=""/>
</p:tagLst>
</file>

<file path=ppt/tags/tag76.xml><?xml version="1.0" encoding="utf-8"?>
<p:tagLst xmlns:p="http://schemas.openxmlformats.org/presentationml/2006/main">
  <p:tag name="KSO_WM_BEAUTIFY_FLAG" val=""/>
</p:tagLst>
</file>

<file path=ppt/tags/tag77.xml><?xml version="1.0" encoding="utf-8"?>
<p:tagLst xmlns:p="http://schemas.openxmlformats.org/presentationml/2006/main">
  <p:tag name="KSO_WM_BEAUTIFY_FLAG" val=""/>
</p:tagLst>
</file>

<file path=ppt/tags/tag78.xml><?xml version="1.0" encoding="utf-8"?>
<p:tagLst xmlns:p="http://schemas.openxmlformats.org/presentationml/2006/main">
  <p:tag name="KSO_WM_BEAUTIFY_FLAG" val=""/>
</p:tagLst>
</file>

<file path=ppt/tags/tag79.xml><?xml version="1.0" encoding="utf-8"?>
<p:tagLst xmlns:p="http://schemas.openxmlformats.org/presentationml/2006/main">
  <p:tag name="KSO_WM_BEAUTIFY_FLAG" val=""/>
</p:tagLst>
</file>

<file path=ppt/tags/tag8.xml><?xml version="1.0" encoding="utf-8"?>
<p:tagLst xmlns:p="http://schemas.openxmlformats.org/presentationml/2006/main">
  <p:tag name="KSO_WM_BEAUTIFY_FLAG" val=""/>
</p:tagLst>
</file>

<file path=ppt/tags/tag80.xml><?xml version="1.0" encoding="utf-8"?>
<p:tagLst xmlns:p="http://schemas.openxmlformats.org/presentationml/2006/main">
  <p:tag name="KSO_WM_BEAUTIFY_FLAG" val=""/>
</p:tagLst>
</file>

<file path=ppt/tags/tag81.xml><?xml version="1.0" encoding="utf-8"?>
<p:tagLst xmlns:p="http://schemas.openxmlformats.org/presentationml/2006/main">
  <p:tag name="KSO_WM_BEAUTIFY_FLAG" val=""/>
</p:tagLst>
</file>

<file path=ppt/tags/tag82.xml><?xml version="1.0" encoding="utf-8"?>
<p:tagLst xmlns:p="http://schemas.openxmlformats.org/presentationml/2006/main">
  <p:tag name="KSO_WM_BEAUTIFY_FLAG" val=""/>
</p:tagLst>
</file>

<file path=ppt/tags/tag83.xml><?xml version="1.0" encoding="utf-8"?>
<p:tagLst xmlns:p="http://schemas.openxmlformats.org/presentationml/2006/main">
  <p:tag name="KSO_WM_BEAUTIFY_FLAG" val=""/>
</p:tagLst>
</file>

<file path=ppt/tags/tag84.xml><?xml version="1.0" encoding="utf-8"?>
<p:tagLst xmlns:p="http://schemas.openxmlformats.org/presentationml/2006/main">
  <p:tag name="KSO_WM_BEAUTIFY_FLAG" val=""/>
</p:tagLst>
</file>

<file path=ppt/tags/tag85.xml><?xml version="1.0" encoding="utf-8"?>
<p:tagLst xmlns:p="http://schemas.openxmlformats.org/presentationml/2006/main">
  <p:tag name="KSO_WM_BEAUTIFY_FLAG" val=""/>
</p:tagLst>
</file>

<file path=ppt/tags/tag86.xml><?xml version="1.0" encoding="utf-8"?>
<p:tagLst xmlns:p="http://schemas.openxmlformats.org/presentationml/2006/main">
  <p:tag name="KSO_WM_BEAUTIFY_FLAG" val=""/>
</p:tagLst>
</file>

<file path=ppt/tags/tag87.xml><?xml version="1.0" encoding="utf-8"?>
<p:tagLst xmlns:p="http://schemas.openxmlformats.org/presentationml/2006/main">
  <p:tag name="KSO_WM_BEAUTIFY_FLAG" val=""/>
</p:tagLst>
</file>

<file path=ppt/tags/tag88.xml><?xml version="1.0" encoding="utf-8"?>
<p:tagLst xmlns:p="http://schemas.openxmlformats.org/presentationml/2006/main">
  <p:tag name="KSO_WM_BEAUTIFY_FLAG" val=""/>
</p:tagLst>
</file>

<file path=ppt/tags/tag89.xml><?xml version="1.0" encoding="utf-8"?>
<p:tagLst xmlns:p="http://schemas.openxmlformats.org/presentationml/2006/main">
  <p:tag name="KSO_WM_BEAUTIFY_FLAG" val=""/>
</p:tagLst>
</file>

<file path=ppt/tags/tag9.xml><?xml version="1.0" encoding="utf-8"?>
<p:tagLst xmlns:p="http://schemas.openxmlformats.org/presentationml/2006/main">
  <p:tag name="KSO_WM_BEAUTIFY_FLAG" val=""/>
</p:tagLst>
</file>

<file path=ppt/tags/tag90.xml><?xml version="1.0" encoding="utf-8"?>
<p:tagLst xmlns:p="http://schemas.openxmlformats.org/presentationml/2006/main">
  <p:tag name="KSO_WM_BEAUTIFY_FLAG" val=""/>
</p:tagLst>
</file>

<file path=ppt/tags/tag91.xml><?xml version="1.0" encoding="utf-8"?>
<p:tagLst xmlns:p="http://schemas.openxmlformats.org/presentationml/2006/main">
  <p:tag name="KSO_WM_BEAUTIFY_FLAG" val=""/>
</p:tagLst>
</file>

<file path=ppt/tags/tag92.xml><?xml version="1.0" encoding="utf-8"?>
<p:tagLst xmlns:p="http://schemas.openxmlformats.org/presentationml/2006/main">
  <p:tag name="KSO_WM_BEAUTIFY_FLAG" val=""/>
</p:tagLst>
</file>

<file path=ppt/tags/tag93.xml><?xml version="1.0" encoding="utf-8"?>
<p:tagLst xmlns:p="http://schemas.openxmlformats.org/presentationml/2006/main">
  <p:tag name="KSO_WM_BEAUTIFY_FLAG" val=""/>
</p:tagLst>
</file>

<file path=ppt/tags/tag94.xml><?xml version="1.0" encoding="utf-8"?>
<p:tagLst xmlns:p="http://schemas.openxmlformats.org/presentationml/2006/main">
  <p:tag name="KSO_WM_BEAUTIFY_FLAG" val=""/>
</p:tagLst>
</file>

<file path=ppt/tags/tag95.xml><?xml version="1.0" encoding="utf-8"?>
<p:tagLst xmlns:p="http://schemas.openxmlformats.org/presentationml/2006/main">
  <p:tag name="KSO_WM_BEAUTIFY_FLAG" val=""/>
</p:tagLst>
</file>

<file path=ppt/tags/tag96.xml><?xml version="1.0" encoding="utf-8"?>
<p:tagLst xmlns:p="http://schemas.openxmlformats.org/presentationml/2006/main">
  <p:tag name="KSO_WM_BEAUTIFY_FLAG" val=""/>
</p:tagLst>
</file>

<file path=ppt/tags/tag97.xml><?xml version="1.0" encoding="utf-8"?>
<p:tagLst xmlns:p="http://schemas.openxmlformats.org/presentationml/2006/main">
  <p:tag name="KSO_WM_BEAUTIFY_FLAG" val=""/>
</p:tagLst>
</file>

<file path=ppt/tags/tag98.xml><?xml version="1.0" encoding="utf-8"?>
<p:tagLst xmlns:p="http://schemas.openxmlformats.org/presentationml/2006/main">
  <p:tag name="KSO_WM_BEAUTIFY_FLAG" val=""/>
</p:tagLst>
</file>

<file path=ppt/tags/tag99.xml><?xml version="1.0" encoding="utf-8"?>
<p:tagLst xmlns:p="http://schemas.openxmlformats.org/presentationml/2006/main">
  <p:tag name="KSO_WM_BEAUTIFY_FLAG" val=""/>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1A66"/>
      </a:accent1>
      <a:accent2>
        <a:srgbClr val="1C7DFF"/>
      </a:accent2>
      <a:accent3>
        <a:srgbClr val="0066F1"/>
      </a:accent3>
      <a:accent4>
        <a:srgbClr val="779AF8"/>
      </a:accent4>
      <a:accent5>
        <a:srgbClr val="56E395"/>
      </a:accent5>
      <a:accent6>
        <a:srgbClr val="F4BA4A"/>
      </a:accent6>
      <a:hlink>
        <a:srgbClr val="026CA2"/>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1A66"/>
    </a:accent1>
    <a:accent2>
      <a:srgbClr val="1C7DFF"/>
    </a:accent2>
    <a:accent3>
      <a:srgbClr val="0066F1"/>
    </a:accent3>
    <a:accent4>
      <a:srgbClr val="779AF8"/>
    </a:accent4>
    <a:accent5>
      <a:srgbClr val="56E395"/>
    </a:accent5>
    <a:accent6>
      <a:srgbClr val="F4BA4A"/>
    </a:accent6>
    <a:hlink>
      <a:srgbClr val="026CA2"/>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0</TotalTime>
  <Words>4575</Words>
  <Application>WPS 演示</Application>
  <PresentationFormat>宽屏</PresentationFormat>
  <Paragraphs>863</Paragraphs>
  <Slides>27</Slides>
  <Notes>0</Notes>
  <HiddenSlides>0</HiddenSlides>
  <MMClips>0</MMClips>
  <ScaleCrop>false</ScaleCrop>
  <HeadingPairs>
    <vt:vector size="8" baseType="variant">
      <vt:variant>
        <vt:lpstr>已用的字体</vt:lpstr>
      </vt:variant>
      <vt:variant>
        <vt:i4>22</vt:i4>
      </vt:variant>
      <vt:variant>
        <vt:lpstr>主题</vt:lpstr>
      </vt:variant>
      <vt:variant>
        <vt:i4>1</vt:i4>
      </vt:variant>
      <vt:variant>
        <vt:lpstr>嵌入 OLE 服务器</vt:lpstr>
      </vt:variant>
      <vt:variant>
        <vt:i4>1</vt:i4>
      </vt:variant>
      <vt:variant>
        <vt:lpstr>幻灯片标题</vt:lpstr>
      </vt:variant>
      <vt:variant>
        <vt:i4>27</vt:i4>
      </vt:variant>
    </vt:vector>
  </HeadingPairs>
  <TitlesOfParts>
    <vt:vector size="51" baseType="lpstr">
      <vt:lpstr>Arial</vt:lpstr>
      <vt:lpstr>宋体</vt:lpstr>
      <vt:lpstr>Wingdings</vt:lpstr>
      <vt:lpstr>微软雅黑</vt:lpstr>
      <vt:lpstr>AgencyFB</vt:lpstr>
      <vt:lpstr>Yu Gothic UI Semibold</vt:lpstr>
      <vt:lpstr>Arial Black</vt:lpstr>
      <vt:lpstr>幼圆</vt:lpstr>
      <vt:lpstr>Helvetica Neue Medium</vt:lpstr>
      <vt:lpstr>Helvetica</vt:lpstr>
      <vt:lpstr>Helvetica Neue</vt:lpstr>
      <vt:lpstr>Roboto</vt:lpstr>
      <vt:lpstr>楷体_GB2312</vt:lpstr>
      <vt:lpstr>Verdana</vt:lpstr>
      <vt:lpstr>Arial Unicode MS</vt:lpstr>
      <vt:lpstr>Calibri</vt:lpstr>
      <vt:lpstr>Times New Roman</vt:lpstr>
      <vt:lpstr>FrutigerNext LT Regular</vt:lpstr>
      <vt:lpstr>黑体</vt:lpstr>
      <vt:lpstr>Impact</vt:lpstr>
      <vt:lpstr>等线</vt:lpstr>
      <vt:lpstr>新宋体</vt:lpstr>
      <vt:lpstr>主题5</vt:lpstr>
      <vt:lpstr>TCLayout.ActiveDocument.1</vt:lpstr>
      <vt:lpstr>PowerPoint 演示文稿</vt:lpstr>
      <vt:lpstr>PowerPoint 演示文稿</vt:lpstr>
      <vt:lpstr>什么是国产化数据库PolarDB？</vt:lpstr>
      <vt:lpstr>国产化数据库PolarDB：核心特点</vt:lpstr>
      <vt:lpstr>国产化数据库PolarDB：特点总览</vt:lpstr>
      <vt:lpstr>国产化数据库PolarDB亮点功能：跨节点并行</vt:lpstr>
      <vt:lpstr>国产化数据库PolarDB亮点功能：并行DML</vt:lpstr>
      <vt:lpstr>极致性能：好马需要配好鞍才能发挥</vt:lpstr>
      <vt:lpstr>高新能PolarDB一体机：CData核心技术</vt:lpstr>
      <vt:lpstr>高新能PolarDB一体机：CData核心技术</vt:lpstr>
      <vt:lpstr>高新能PolarDB一体机：CData架构</vt:lpstr>
      <vt:lpstr>高新能PolarDB一体机：CData存储多副本</vt:lpstr>
      <vt:lpstr>高新能PolarDB一体机：CData的水平扩展</vt:lpstr>
      <vt:lpstr>高新能PolarDB一体机：CData核心软件CFabric</vt:lpstr>
      <vt:lpstr>高新能PolarDB一体机：CData核心软件CFabric</vt:lpstr>
      <vt:lpstr>高新能PolarDB一体机：CData核心软件CFabric</vt:lpstr>
      <vt:lpstr>国产化数据库PolarDB的要求</vt:lpstr>
      <vt:lpstr>CData提供：弹性共享盘ESDisk</vt:lpstr>
      <vt:lpstr>CData提供：弹性共享盘ESDisk</vt:lpstr>
      <vt:lpstr>CData提供：弹性共享盘ESDisk</vt:lpstr>
      <vt:lpstr>PolarDB一体机CData的高可用</vt:lpstr>
      <vt:lpstr>PolarDB一体机CData的使用场景之高性能</vt:lpstr>
      <vt:lpstr>PolarDB一体机CData的使用场景之高性能</vt:lpstr>
      <vt:lpstr>PolarDB一体机CData的使用场景之高性能</vt:lpstr>
      <vt:lpstr>PolarDB一体机CData的使用场景之强一致性场景</vt:lpstr>
      <vt:lpstr>PolarDB一体机CData的使用场景之大容量场景</vt:lpstr>
      <vt:lpstr>THANKS</vt:lpstr>
    </vt:vector>
  </TitlesOfParts>
  <Company>iSlide</Company>
  <LinksUpToDate>false</LinksUpToDate>
  <SharedDoc>false</SharedDoc>
  <HyperlinksChanged>false</HyperlinksChanged>
  <AppVersion>14.0000</AppVersion>
  <Manager>iSlide</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osdba</cp:lastModifiedBy>
  <cp:revision>71</cp:revision>
  <cp:lastPrinted>2019-05-23T16:00:00Z</cp:lastPrinted>
  <dcterms:created xsi:type="dcterms:W3CDTF">2019-05-23T16:00:00Z</dcterms:created>
  <dcterms:modified xsi:type="dcterms:W3CDTF">2023-06-14T13:36: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1.1.0.14309</vt:lpwstr>
  </property>
  <property fmtid="{D5CDD505-2E9C-101B-9397-08002B2CF9AE}" pid="4" name="ICV">
    <vt:lpwstr>7C38898DDC8F43A2BB2E69376FFE2969</vt:lpwstr>
  </property>
</Properties>
</file>